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  <p:sldMasterId id="2147483724" r:id="rId2"/>
  </p:sldMasterIdLst>
  <p:notesMasterIdLst>
    <p:notesMasterId r:id="rId4"/>
  </p:notesMasterIdLst>
  <p:sldIdLst>
    <p:sldId id="2242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UJRI Soukaina MOROCCO 1" initials="TSM1" lastIdx="1" clrIdx="0">
    <p:extLst>
      <p:ext uri="{19B8F6BF-5375-455C-9EA6-DF929625EA0E}">
        <p15:presenceInfo xmlns:p15="http://schemas.microsoft.com/office/powerpoint/2012/main" userId="S-1-5-21-1367370928-238555667-2913276313-1452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33878"/>
    <a:srgbClr val="0071BA"/>
    <a:srgbClr val="4FD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6" autoAdjust="0"/>
    <p:restoredTop sz="93910" autoAdjust="0"/>
  </p:normalViewPr>
  <p:slideViewPr>
    <p:cSldViewPr snapToGrid="0">
      <p:cViewPr varScale="1">
        <p:scale>
          <a:sx n="88" d="100"/>
          <a:sy n="88" d="100"/>
        </p:scale>
        <p:origin x="509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1C57C5-A4D6-4FA4-9FAC-D09D69BF94D9}" type="datetimeFigureOut">
              <a:rPr lang="fr-FR" smtClean="0"/>
              <a:t>20/12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F4E72C-5EDB-4402-8D24-31673FF8C8F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44856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749910"/>
            <a:ext cx="12192000" cy="3108092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988843"/>
            <a:ext cx="12192000" cy="1761068"/>
          </a:xfrm>
          <a:prstGeom prst="rect">
            <a:avLst/>
          </a:prstGeom>
          <a:solidFill>
            <a:schemeClr val="tx2">
              <a:alpha val="1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519936" y="2130441"/>
            <a:ext cx="6432715" cy="1470025"/>
          </a:xfrm>
        </p:spPr>
        <p:txBody>
          <a:bodyPr>
            <a:noAutofit/>
          </a:bodyPr>
          <a:lstStyle>
            <a:lvl1pPr>
              <a:defRPr sz="4267" b="1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711957" y="3886200"/>
            <a:ext cx="6048672" cy="1752600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608668" y="-16930"/>
            <a:ext cx="3584219" cy="6874932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 descr="D:\LOGO SERVIER blanc [Converti].e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2806" y="2372883"/>
            <a:ext cx="3175943" cy="104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3216683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Freeform 141"/>
          <p:cNvSpPr>
            <a:spLocks/>
          </p:cNvSpPr>
          <p:nvPr userDrawn="1"/>
        </p:nvSpPr>
        <p:spPr bwMode="auto">
          <a:xfrm>
            <a:off x="5964708" y="3729902"/>
            <a:ext cx="115581" cy="139033"/>
          </a:xfrm>
          <a:custGeom>
            <a:avLst/>
            <a:gdLst>
              <a:gd name="T0" fmla="*/ 2147483646 w 37"/>
              <a:gd name="T1" fmla="*/ 2147483646 h 51"/>
              <a:gd name="T2" fmla="*/ 2147483646 w 37"/>
              <a:gd name="T3" fmla="*/ 2147483646 h 51"/>
              <a:gd name="T4" fmla="*/ 2147483646 w 37"/>
              <a:gd name="T5" fmla="*/ 2147483646 h 51"/>
              <a:gd name="T6" fmla="*/ 2147483646 w 37"/>
              <a:gd name="T7" fmla="*/ 2147483646 h 51"/>
              <a:gd name="T8" fmla="*/ 2147483646 w 37"/>
              <a:gd name="T9" fmla="*/ 2147483646 h 51"/>
              <a:gd name="T10" fmla="*/ 2147483646 w 37"/>
              <a:gd name="T11" fmla="*/ 2147483646 h 51"/>
              <a:gd name="T12" fmla="*/ 2147483646 w 37"/>
              <a:gd name="T13" fmla="*/ 2147483646 h 51"/>
              <a:gd name="T14" fmla="*/ 2147483646 w 37"/>
              <a:gd name="T15" fmla="*/ 2147483646 h 51"/>
              <a:gd name="T16" fmla="*/ 2147483646 w 37"/>
              <a:gd name="T17" fmla="*/ 2147483646 h 51"/>
              <a:gd name="T18" fmla="*/ 2147483646 w 37"/>
              <a:gd name="T19" fmla="*/ 2147483646 h 51"/>
              <a:gd name="T20" fmla="*/ 2147483646 w 37"/>
              <a:gd name="T21" fmla="*/ 2147483646 h 51"/>
              <a:gd name="T22" fmla="*/ 2147483646 w 37"/>
              <a:gd name="T23" fmla="*/ 2147483646 h 51"/>
              <a:gd name="T24" fmla="*/ 2147483646 w 37"/>
              <a:gd name="T25" fmla="*/ 2147483646 h 51"/>
              <a:gd name="T26" fmla="*/ 0 w 37"/>
              <a:gd name="T27" fmla="*/ 2147483646 h 51"/>
              <a:gd name="T28" fmla="*/ 2147483646 w 37"/>
              <a:gd name="T29" fmla="*/ 2147483646 h 51"/>
              <a:gd name="T30" fmla="*/ 0 w 37"/>
              <a:gd name="T31" fmla="*/ 2147483646 h 51"/>
              <a:gd name="T32" fmla="*/ 2147483646 w 37"/>
              <a:gd name="T33" fmla="*/ 2147483646 h 51"/>
              <a:gd name="T34" fmla="*/ 2147483646 w 37"/>
              <a:gd name="T35" fmla="*/ 2147483646 h 51"/>
              <a:gd name="T36" fmla="*/ 2147483646 w 37"/>
              <a:gd name="T37" fmla="*/ 2147483646 h 51"/>
              <a:gd name="T38" fmla="*/ 2147483646 w 37"/>
              <a:gd name="T39" fmla="*/ 2147483646 h 51"/>
              <a:gd name="T40" fmla="*/ 2147483646 w 37"/>
              <a:gd name="T41" fmla="*/ 2147483646 h 51"/>
              <a:gd name="T42" fmla="*/ 2147483646 w 37"/>
              <a:gd name="T43" fmla="*/ 2147483646 h 51"/>
              <a:gd name="T44" fmla="*/ 2147483646 w 37"/>
              <a:gd name="T45" fmla="*/ 2147483646 h 51"/>
              <a:gd name="T46" fmla="*/ 2147483646 w 37"/>
              <a:gd name="T47" fmla="*/ 2147483646 h 51"/>
              <a:gd name="T48" fmla="*/ 2147483646 w 37"/>
              <a:gd name="T49" fmla="*/ 2147483646 h 51"/>
              <a:gd name="T50" fmla="*/ 2147483646 w 37"/>
              <a:gd name="T51" fmla="*/ 2147483646 h 51"/>
              <a:gd name="T52" fmla="*/ 2147483646 w 37"/>
              <a:gd name="T53" fmla="*/ 2147483646 h 51"/>
              <a:gd name="T54" fmla="*/ 2147483646 w 37"/>
              <a:gd name="T55" fmla="*/ 2147483646 h 51"/>
              <a:gd name="T56" fmla="*/ 2147483646 w 37"/>
              <a:gd name="T57" fmla="*/ 2147483646 h 51"/>
              <a:gd name="T58" fmla="*/ 2147483646 w 37"/>
              <a:gd name="T59" fmla="*/ 2147483646 h 51"/>
              <a:gd name="T60" fmla="*/ 2147483646 w 37"/>
              <a:gd name="T61" fmla="*/ 2147483646 h 51"/>
              <a:gd name="T62" fmla="*/ 2147483646 w 37"/>
              <a:gd name="T63" fmla="*/ 2147483646 h 51"/>
              <a:gd name="T64" fmla="*/ 2147483646 w 37"/>
              <a:gd name="T65" fmla="*/ 2147483646 h 51"/>
              <a:gd name="T66" fmla="*/ 2147483646 w 37"/>
              <a:gd name="T67" fmla="*/ 2147483646 h 51"/>
              <a:gd name="T68" fmla="*/ 2147483646 w 37"/>
              <a:gd name="T69" fmla="*/ 2147483646 h 51"/>
              <a:gd name="T70" fmla="*/ 2147483646 w 37"/>
              <a:gd name="T71" fmla="*/ 2147483646 h 51"/>
              <a:gd name="T72" fmla="*/ 2147483646 w 37"/>
              <a:gd name="T73" fmla="*/ 2147483646 h 51"/>
              <a:gd name="T74" fmla="*/ 2147483646 w 37"/>
              <a:gd name="T75" fmla="*/ 2147483646 h 51"/>
              <a:gd name="T76" fmla="*/ 2147483646 w 37"/>
              <a:gd name="T77" fmla="*/ 2147483646 h 51"/>
              <a:gd name="T78" fmla="*/ 2147483646 w 37"/>
              <a:gd name="T79" fmla="*/ 2147483646 h 5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7"/>
              <a:gd name="T121" fmla="*/ 0 h 51"/>
              <a:gd name="T122" fmla="*/ 37 w 37"/>
              <a:gd name="T123" fmla="*/ 51 h 5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7" h="51">
                <a:moveTo>
                  <a:pt x="36" y="37"/>
                </a:moveTo>
                <a:cubicBezTo>
                  <a:pt x="35" y="34"/>
                  <a:pt x="34" y="31"/>
                  <a:pt x="33" y="29"/>
                </a:cubicBezTo>
                <a:cubicBezTo>
                  <a:pt x="34" y="28"/>
                  <a:pt x="35" y="27"/>
                  <a:pt x="35" y="26"/>
                </a:cubicBezTo>
                <a:cubicBezTo>
                  <a:pt x="35" y="25"/>
                  <a:pt x="34" y="24"/>
                  <a:pt x="33" y="23"/>
                </a:cubicBezTo>
                <a:cubicBezTo>
                  <a:pt x="32" y="22"/>
                  <a:pt x="30" y="22"/>
                  <a:pt x="29" y="21"/>
                </a:cubicBezTo>
                <a:cubicBezTo>
                  <a:pt x="27" y="20"/>
                  <a:pt x="25" y="19"/>
                  <a:pt x="23" y="18"/>
                </a:cubicBezTo>
                <a:cubicBezTo>
                  <a:pt x="23" y="17"/>
                  <a:pt x="24" y="16"/>
                  <a:pt x="24" y="14"/>
                </a:cubicBezTo>
                <a:cubicBezTo>
                  <a:pt x="22" y="14"/>
                  <a:pt x="20" y="13"/>
                  <a:pt x="18" y="13"/>
                </a:cubicBezTo>
                <a:cubicBezTo>
                  <a:pt x="17" y="11"/>
                  <a:pt x="16" y="10"/>
                  <a:pt x="15" y="8"/>
                </a:cubicBezTo>
                <a:cubicBezTo>
                  <a:pt x="14" y="6"/>
                  <a:pt x="13" y="3"/>
                  <a:pt x="12" y="1"/>
                </a:cubicBezTo>
                <a:cubicBezTo>
                  <a:pt x="11" y="0"/>
                  <a:pt x="11" y="1"/>
                  <a:pt x="9" y="1"/>
                </a:cubicBezTo>
                <a:cubicBezTo>
                  <a:pt x="8" y="1"/>
                  <a:pt x="6" y="0"/>
                  <a:pt x="5" y="1"/>
                </a:cubicBezTo>
                <a:cubicBezTo>
                  <a:pt x="3" y="2"/>
                  <a:pt x="3" y="3"/>
                  <a:pt x="1" y="3"/>
                </a:cubicBezTo>
                <a:cubicBezTo>
                  <a:pt x="0" y="4"/>
                  <a:pt x="0" y="4"/>
                  <a:pt x="0" y="4"/>
                </a:cubicBezTo>
                <a:cubicBezTo>
                  <a:pt x="0" y="4"/>
                  <a:pt x="1" y="6"/>
                  <a:pt x="1" y="7"/>
                </a:cubicBezTo>
                <a:cubicBezTo>
                  <a:pt x="1" y="7"/>
                  <a:pt x="0" y="8"/>
                  <a:pt x="0" y="9"/>
                </a:cubicBezTo>
                <a:cubicBezTo>
                  <a:pt x="1" y="9"/>
                  <a:pt x="1" y="12"/>
                  <a:pt x="1" y="13"/>
                </a:cubicBezTo>
                <a:cubicBezTo>
                  <a:pt x="2" y="13"/>
                  <a:pt x="3" y="13"/>
                  <a:pt x="3" y="13"/>
                </a:cubicBezTo>
                <a:cubicBezTo>
                  <a:pt x="3" y="14"/>
                  <a:pt x="3" y="16"/>
                  <a:pt x="2" y="17"/>
                </a:cubicBezTo>
                <a:cubicBezTo>
                  <a:pt x="2" y="18"/>
                  <a:pt x="2" y="18"/>
                  <a:pt x="2" y="18"/>
                </a:cubicBezTo>
                <a:cubicBezTo>
                  <a:pt x="4" y="18"/>
                  <a:pt x="5" y="19"/>
                  <a:pt x="4" y="21"/>
                </a:cubicBezTo>
                <a:cubicBezTo>
                  <a:pt x="4" y="22"/>
                  <a:pt x="3" y="23"/>
                  <a:pt x="4" y="24"/>
                </a:cubicBezTo>
                <a:cubicBezTo>
                  <a:pt x="4" y="26"/>
                  <a:pt x="6" y="26"/>
                  <a:pt x="8" y="27"/>
                </a:cubicBezTo>
                <a:cubicBezTo>
                  <a:pt x="7" y="28"/>
                  <a:pt x="4" y="28"/>
                  <a:pt x="3" y="30"/>
                </a:cubicBezTo>
                <a:cubicBezTo>
                  <a:pt x="3" y="31"/>
                  <a:pt x="6" y="32"/>
                  <a:pt x="6" y="34"/>
                </a:cubicBezTo>
                <a:cubicBezTo>
                  <a:pt x="5" y="34"/>
                  <a:pt x="4" y="35"/>
                  <a:pt x="4" y="35"/>
                </a:cubicBezTo>
                <a:cubicBezTo>
                  <a:pt x="5" y="37"/>
                  <a:pt x="5" y="37"/>
                  <a:pt x="5" y="37"/>
                </a:cubicBezTo>
                <a:cubicBezTo>
                  <a:pt x="7" y="39"/>
                  <a:pt x="7" y="39"/>
                  <a:pt x="7" y="39"/>
                </a:cubicBezTo>
                <a:cubicBezTo>
                  <a:pt x="7" y="40"/>
                  <a:pt x="7" y="40"/>
                  <a:pt x="7" y="40"/>
                </a:cubicBezTo>
                <a:cubicBezTo>
                  <a:pt x="10" y="41"/>
                  <a:pt x="10" y="41"/>
                  <a:pt x="10" y="41"/>
                </a:cubicBezTo>
                <a:cubicBezTo>
                  <a:pt x="11" y="42"/>
                  <a:pt x="11" y="42"/>
                  <a:pt x="11" y="42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3"/>
                  <a:pt x="13" y="43"/>
                  <a:pt x="13" y="44"/>
                </a:cubicBezTo>
                <a:cubicBezTo>
                  <a:pt x="13" y="43"/>
                  <a:pt x="13" y="42"/>
                  <a:pt x="14" y="42"/>
                </a:cubicBezTo>
                <a:cubicBezTo>
                  <a:pt x="15" y="40"/>
                  <a:pt x="17" y="40"/>
                  <a:pt x="18" y="41"/>
                </a:cubicBezTo>
                <a:cubicBezTo>
                  <a:pt x="21" y="43"/>
                  <a:pt x="23" y="48"/>
                  <a:pt x="26" y="50"/>
                </a:cubicBezTo>
                <a:cubicBezTo>
                  <a:pt x="28" y="51"/>
                  <a:pt x="30" y="49"/>
                  <a:pt x="32" y="48"/>
                </a:cubicBezTo>
                <a:cubicBezTo>
                  <a:pt x="33" y="47"/>
                  <a:pt x="33" y="47"/>
                  <a:pt x="33" y="47"/>
                </a:cubicBezTo>
                <a:cubicBezTo>
                  <a:pt x="33" y="45"/>
                  <a:pt x="36" y="43"/>
                  <a:pt x="37" y="41"/>
                </a:cubicBezTo>
                <a:cubicBezTo>
                  <a:pt x="37" y="40"/>
                  <a:pt x="36" y="38"/>
                  <a:pt x="36" y="3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6" name="Freeform 142"/>
          <p:cNvSpPr>
            <a:spLocks/>
          </p:cNvSpPr>
          <p:nvPr userDrawn="1"/>
        </p:nvSpPr>
        <p:spPr bwMode="auto">
          <a:xfrm>
            <a:off x="5951307" y="3825382"/>
            <a:ext cx="53603" cy="56953"/>
          </a:xfrm>
          <a:custGeom>
            <a:avLst/>
            <a:gdLst>
              <a:gd name="T0" fmla="*/ 2147483646 w 17"/>
              <a:gd name="T1" fmla="*/ 2147483646 h 21"/>
              <a:gd name="T2" fmla="*/ 2147483646 w 17"/>
              <a:gd name="T3" fmla="*/ 2147483646 h 21"/>
              <a:gd name="T4" fmla="*/ 2147483646 w 17"/>
              <a:gd name="T5" fmla="*/ 2147483646 h 21"/>
              <a:gd name="T6" fmla="*/ 2147483646 w 17"/>
              <a:gd name="T7" fmla="*/ 2147483646 h 21"/>
              <a:gd name="T8" fmla="*/ 2147483646 w 17"/>
              <a:gd name="T9" fmla="*/ 0 h 21"/>
              <a:gd name="T10" fmla="*/ 2147483646 w 17"/>
              <a:gd name="T11" fmla="*/ 0 h 21"/>
              <a:gd name="T12" fmla="*/ 2147483646 w 17"/>
              <a:gd name="T13" fmla="*/ 2147483646 h 21"/>
              <a:gd name="T14" fmla="*/ 2147483646 w 17"/>
              <a:gd name="T15" fmla="*/ 2147483646 h 21"/>
              <a:gd name="T16" fmla="*/ 2147483646 w 17"/>
              <a:gd name="T17" fmla="*/ 2147483646 h 21"/>
              <a:gd name="T18" fmla="*/ 2147483646 w 17"/>
              <a:gd name="T19" fmla="*/ 2147483646 h 21"/>
              <a:gd name="T20" fmla="*/ 2147483646 w 17"/>
              <a:gd name="T21" fmla="*/ 2147483646 h 21"/>
              <a:gd name="T22" fmla="*/ 2147483646 w 17"/>
              <a:gd name="T23" fmla="*/ 2147483646 h 21"/>
              <a:gd name="T24" fmla="*/ 2147483646 w 17"/>
              <a:gd name="T25" fmla="*/ 2147483646 h 21"/>
              <a:gd name="T26" fmla="*/ 2147483646 w 17"/>
              <a:gd name="T27" fmla="*/ 2147483646 h 21"/>
              <a:gd name="T28" fmla="*/ 2147483646 w 17"/>
              <a:gd name="T29" fmla="*/ 2147483646 h 21"/>
              <a:gd name="T30" fmla="*/ 2147483646 w 17"/>
              <a:gd name="T31" fmla="*/ 2147483646 h 21"/>
              <a:gd name="T32" fmla="*/ 2147483646 w 17"/>
              <a:gd name="T33" fmla="*/ 2147483646 h 21"/>
              <a:gd name="T34" fmla="*/ 2147483646 w 17"/>
              <a:gd name="T35" fmla="*/ 2147483646 h 21"/>
              <a:gd name="T36" fmla="*/ 2147483646 w 17"/>
              <a:gd name="T37" fmla="*/ 2147483646 h 21"/>
              <a:gd name="T38" fmla="*/ 2147483646 w 17"/>
              <a:gd name="T39" fmla="*/ 2147483646 h 21"/>
              <a:gd name="T40" fmla="*/ 2147483646 w 17"/>
              <a:gd name="T41" fmla="*/ 2147483646 h 21"/>
              <a:gd name="T42" fmla="*/ 0 w 17"/>
              <a:gd name="T43" fmla="*/ 2147483646 h 21"/>
              <a:gd name="T44" fmla="*/ 2147483646 w 17"/>
              <a:gd name="T45" fmla="*/ 2147483646 h 2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7"/>
              <a:gd name="T70" fmla="*/ 0 h 21"/>
              <a:gd name="T71" fmla="*/ 17 w 17"/>
              <a:gd name="T72" fmla="*/ 21 h 2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7" h="21">
                <a:moveTo>
                  <a:pt x="1" y="12"/>
                </a:moveTo>
                <a:cubicBezTo>
                  <a:pt x="1" y="9"/>
                  <a:pt x="3" y="6"/>
                  <a:pt x="3" y="3"/>
                </a:cubicBezTo>
                <a:cubicBezTo>
                  <a:pt x="4" y="3"/>
                  <a:pt x="5" y="3"/>
                  <a:pt x="5" y="3"/>
                </a:cubicBezTo>
                <a:cubicBezTo>
                  <a:pt x="6" y="2"/>
                  <a:pt x="5" y="2"/>
                  <a:pt x="6" y="1"/>
                </a:cubicBezTo>
                <a:cubicBezTo>
                  <a:pt x="6" y="1"/>
                  <a:pt x="6" y="1"/>
                  <a:pt x="7" y="0"/>
                </a:cubicBezTo>
                <a:cubicBezTo>
                  <a:pt x="7" y="0"/>
                  <a:pt x="7" y="0"/>
                  <a:pt x="8" y="0"/>
                </a:cubicBezTo>
                <a:cubicBezTo>
                  <a:pt x="9" y="2"/>
                  <a:pt x="9" y="2"/>
                  <a:pt x="9" y="2"/>
                </a:cubicBezTo>
                <a:cubicBezTo>
                  <a:pt x="11" y="4"/>
                  <a:pt x="11" y="4"/>
                  <a:pt x="11" y="4"/>
                </a:cubicBezTo>
                <a:cubicBezTo>
                  <a:pt x="11" y="5"/>
                  <a:pt x="11" y="5"/>
                  <a:pt x="11" y="5"/>
                </a:cubicBezTo>
                <a:cubicBezTo>
                  <a:pt x="14" y="6"/>
                  <a:pt x="14" y="6"/>
                  <a:pt x="14" y="6"/>
                </a:cubicBezTo>
                <a:cubicBezTo>
                  <a:pt x="15" y="7"/>
                  <a:pt x="15" y="7"/>
                  <a:pt x="15" y="7"/>
                </a:cubicBezTo>
                <a:cubicBezTo>
                  <a:pt x="17" y="8"/>
                  <a:pt x="17" y="8"/>
                  <a:pt x="17" y="8"/>
                </a:cubicBezTo>
                <a:cubicBezTo>
                  <a:pt x="17" y="9"/>
                  <a:pt x="17" y="10"/>
                  <a:pt x="16" y="11"/>
                </a:cubicBezTo>
                <a:cubicBezTo>
                  <a:pt x="16" y="12"/>
                  <a:pt x="16" y="12"/>
                  <a:pt x="16" y="12"/>
                </a:cubicBezTo>
                <a:cubicBezTo>
                  <a:pt x="15" y="11"/>
                  <a:pt x="14" y="11"/>
                  <a:pt x="12" y="11"/>
                </a:cubicBezTo>
                <a:cubicBezTo>
                  <a:pt x="9" y="12"/>
                  <a:pt x="9" y="12"/>
                  <a:pt x="9" y="15"/>
                </a:cubicBezTo>
                <a:cubicBezTo>
                  <a:pt x="9" y="17"/>
                  <a:pt x="8" y="19"/>
                  <a:pt x="8" y="21"/>
                </a:cubicBezTo>
                <a:cubicBezTo>
                  <a:pt x="8" y="21"/>
                  <a:pt x="8" y="21"/>
                  <a:pt x="8" y="21"/>
                </a:cubicBezTo>
                <a:cubicBezTo>
                  <a:pt x="7" y="21"/>
                  <a:pt x="7" y="20"/>
                  <a:pt x="6" y="18"/>
                </a:cubicBezTo>
                <a:cubicBezTo>
                  <a:pt x="4" y="16"/>
                  <a:pt x="4" y="17"/>
                  <a:pt x="2" y="17"/>
                </a:cubicBezTo>
                <a:cubicBezTo>
                  <a:pt x="1" y="16"/>
                  <a:pt x="1" y="16"/>
                  <a:pt x="1" y="16"/>
                </a:cubicBezTo>
                <a:cubicBezTo>
                  <a:pt x="0" y="14"/>
                  <a:pt x="0" y="14"/>
                  <a:pt x="0" y="14"/>
                </a:cubicBezTo>
                <a:lnTo>
                  <a:pt x="1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0" name="Freeform 137"/>
          <p:cNvSpPr>
            <a:spLocks/>
          </p:cNvSpPr>
          <p:nvPr userDrawn="1"/>
        </p:nvSpPr>
        <p:spPr bwMode="auto">
          <a:xfrm>
            <a:off x="5259493" y="3371431"/>
            <a:ext cx="112232" cy="167509"/>
          </a:xfrm>
          <a:custGeom>
            <a:avLst/>
            <a:gdLst>
              <a:gd name="T0" fmla="*/ 2147483646 w 42"/>
              <a:gd name="T1" fmla="*/ 2147483646 h 61"/>
              <a:gd name="T2" fmla="*/ 2147483646 w 42"/>
              <a:gd name="T3" fmla="*/ 2147483646 h 61"/>
              <a:gd name="T4" fmla="*/ 2147483646 w 42"/>
              <a:gd name="T5" fmla="*/ 2147483646 h 61"/>
              <a:gd name="T6" fmla="*/ 2147483646 w 42"/>
              <a:gd name="T7" fmla="*/ 2147483646 h 61"/>
              <a:gd name="T8" fmla="*/ 2147483646 w 42"/>
              <a:gd name="T9" fmla="*/ 2147483646 h 61"/>
              <a:gd name="T10" fmla="*/ 2147483646 w 42"/>
              <a:gd name="T11" fmla="*/ 2147483646 h 61"/>
              <a:gd name="T12" fmla="*/ 2147483646 w 42"/>
              <a:gd name="T13" fmla="*/ 2147483646 h 61"/>
              <a:gd name="T14" fmla="*/ 2147483646 w 42"/>
              <a:gd name="T15" fmla="*/ 2147483646 h 61"/>
              <a:gd name="T16" fmla="*/ 2147483646 w 42"/>
              <a:gd name="T17" fmla="*/ 2147483646 h 61"/>
              <a:gd name="T18" fmla="*/ 2147483646 w 42"/>
              <a:gd name="T19" fmla="*/ 2147483646 h 61"/>
              <a:gd name="T20" fmla="*/ 2147483646 w 42"/>
              <a:gd name="T21" fmla="*/ 2147483646 h 61"/>
              <a:gd name="T22" fmla="*/ 2147483646 w 42"/>
              <a:gd name="T23" fmla="*/ 2147483646 h 61"/>
              <a:gd name="T24" fmla="*/ 2147483646 w 42"/>
              <a:gd name="T25" fmla="*/ 2147483646 h 61"/>
              <a:gd name="T26" fmla="*/ 2147483646 w 42"/>
              <a:gd name="T27" fmla="*/ 2147483646 h 61"/>
              <a:gd name="T28" fmla="*/ 2147483646 w 42"/>
              <a:gd name="T29" fmla="*/ 2147483646 h 61"/>
              <a:gd name="T30" fmla="*/ 2147483646 w 42"/>
              <a:gd name="T31" fmla="*/ 2147483646 h 61"/>
              <a:gd name="T32" fmla="*/ 2147483646 w 42"/>
              <a:gd name="T33" fmla="*/ 2147483646 h 61"/>
              <a:gd name="T34" fmla="*/ 2147483646 w 42"/>
              <a:gd name="T35" fmla="*/ 2147483646 h 61"/>
              <a:gd name="T36" fmla="*/ 2147483646 w 42"/>
              <a:gd name="T37" fmla="*/ 2147483646 h 61"/>
              <a:gd name="T38" fmla="*/ 2147483646 w 42"/>
              <a:gd name="T39" fmla="*/ 2147483646 h 61"/>
              <a:gd name="T40" fmla="*/ 2147483646 w 42"/>
              <a:gd name="T41" fmla="*/ 2147483646 h 61"/>
              <a:gd name="T42" fmla="*/ 2147483646 w 42"/>
              <a:gd name="T43" fmla="*/ 2147483646 h 61"/>
              <a:gd name="T44" fmla="*/ 2147483646 w 42"/>
              <a:gd name="T45" fmla="*/ 2147483646 h 61"/>
              <a:gd name="T46" fmla="*/ 2147483646 w 42"/>
              <a:gd name="T47" fmla="*/ 2147483646 h 61"/>
              <a:gd name="T48" fmla="*/ 2147483646 w 42"/>
              <a:gd name="T49" fmla="*/ 2147483646 h 61"/>
              <a:gd name="T50" fmla="*/ 2147483646 w 42"/>
              <a:gd name="T51" fmla="*/ 2147483646 h 61"/>
              <a:gd name="T52" fmla="*/ 2147483646 w 42"/>
              <a:gd name="T53" fmla="*/ 2147483646 h 61"/>
              <a:gd name="T54" fmla="*/ 2147483646 w 42"/>
              <a:gd name="T55" fmla="*/ 2147483646 h 61"/>
              <a:gd name="T56" fmla="*/ 2147483646 w 42"/>
              <a:gd name="T57" fmla="*/ 2147483646 h 61"/>
              <a:gd name="T58" fmla="*/ 2147483646 w 42"/>
              <a:gd name="T59" fmla="*/ 2147483646 h 61"/>
              <a:gd name="T60" fmla="*/ 2147483646 w 42"/>
              <a:gd name="T61" fmla="*/ 2147483646 h 61"/>
              <a:gd name="T62" fmla="*/ 2147483646 w 42"/>
              <a:gd name="T63" fmla="*/ 2147483646 h 61"/>
              <a:gd name="T64" fmla="*/ 2147483646 w 42"/>
              <a:gd name="T65" fmla="*/ 2147483646 h 61"/>
              <a:gd name="T66" fmla="*/ 2147483646 w 42"/>
              <a:gd name="T67" fmla="*/ 2147483646 h 61"/>
              <a:gd name="T68" fmla="*/ 2147483646 w 42"/>
              <a:gd name="T69" fmla="*/ 2147483646 h 61"/>
              <a:gd name="T70" fmla="*/ 2147483646 w 42"/>
              <a:gd name="T71" fmla="*/ 2147483646 h 61"/>
              <a:gd name="T72" fmla="*/ 2147483646 w 42"/>
              <a:gd name="T73" fmla="*/ 2147483646 h 61"/>
              <a:gd name="T74" fmla="*/ 2147483646 w 42"/>
              <a:gd name="T75" fmla="*/ 2147483646 h 61"/>
              <a:gd name="T76" fmla="*/ 2147483646 w 42"/>
              <a:gd name="T77" fmla="*/ 2147483646 h 61"/>
              <a:gd name="T78" fmla="*/ 2147483646 w 42"/>
              <a:gd name="T79" fmla="*/ 2147483646 h 61"/>
              <a:gd name="T80" fmla="*/ 2147483646 w 42"/>
              <a:gd name="T81" fmla="*/ 2147483646 h 61"/>
              <a:gd name="T82" fmla="*/ 2147483646 w 42"/>
              <a:gd name="T83" fmla="*/ 2147483646 h 61"/>
              <a:gd name="T84" fmla="*/ 2147483646 w 42"/>
              <a:gd name="T85" fmla="*/ 2147483646 h 61"/>
              <a:gd name="T86" fmla="*/ 2147483646 w 42"/>
              <a:gd name="T87" fmla="*/ 2147483646 h 61"/>
              <a:gd name="T88" fmla="*/ 2147483646 w 42"/>
              <a:gd name="T89" fmla="*/ 2147483646 h 61"/>
              <a:gd name="T90" fmla="*/ 2147483646 w 42"/>
              <a:gd name="T91" fmla="*/ 2147483646 h 61"/>
              <a:gd name="T92" fmla="*/ 2147483646 w 42"/>
              <a:gd name="T93" fmla="*/ 2147483646 h 61"/>
              <a:gd name="T94" fmla="*/ 2147483646 w 42"/>
              <a:gd name="T95" fmla="*/ 2147483646 h 61"/>
              <a:gd name="T96" fmla="*/ 2147483646 w 42"/>
              <a:gd name="T97" fmla="*/ 2147483646 h 61"/>
              <a:gd name="T98" fmla="*/ 2147483646 w 42"/>
              <a:gd name="T99" fmla="*/ 2147483646 h 61"/>
              <a:gd name="T100" fmla="*/ 2147483646 w 42"/>
              <a:gd name="T101" fmla="*/ 2147483646 h 61"/>
              <a:gd name="T102" fmla="*/ 2147483646 w 42"/>
              <a:gd name="T103" fmla="*/ 2147483646 h 61"/>
              <a:gd name="T104" fmla="*/ 2147483646 w 42"/>
              <a:gd name="T105" fmla="*/ 2147483646 h 61"/>
              <a:gd name="T106" fmla="*/ 2147483646 w 42"/>
              <a:gd name="T107" fmla="*/ 2147483646 h 61"/>
              <a:gd name="T108" fmla="*/ 2147483646 w 42"/>
              <a:gd name="T109" fmla="*/ 2147483646 h 61"/>
              <a:gd name="T110" fmla="*/ 2147483646 w 42"/>
              <a:gd name="T111" fmla="*/ 2147483646 h 6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2"/>
              <a:gd name="T169" fmla="*/ 0 h 61"/>
              <a:gd name="T170" fmla="*/ 42 w 42"/>
              <a:gd name="T171" fmla="*/ 61 h 6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2" h="61">
                <a:moveTo>
                  <a:pt x="41" y="36"/>
                </a:moveTo>
                <a:cubicBezTo>
                  <a:pt x="41" y="35"/>
                  <a:pt x="41" y="33"/>
                  <a:pt x="40" y="32"/>
                </a:cubicBezTo>
                <a:cubicBezTo>
                  <a:pt x="39" y="31"/>
                  <a:pt x="39" y="29"/>
                  <a:pt x="39" y="28"/>
                </a:cubicBezTo>
                <a:cubicBezTo>
                  <a:pt x="38" y="26"/>
                  <a:pt x="37" y="25"/>
                  <a:pt x="38" y="24"/>
                </a:cubicBezTo>
                <a:cubicBezTo>
                  <a:pt x="39" y="23"/>
                  <a:pt x="39" y="22"/>
                  <a:pt x="40" y="22"/>
                </a:cubicBezTo>
                <a:cubicBezTo>
                  <a:pt x="40" y="22"/>
                  <a:pt x="40" y="22"/>
                  <a:pt x="40" y="22"/>
                </a:cubicBezTo>
                <a:cubicBezTo>
                  <a:pt x="40" y="22"/>
                  <a:pt x="40" y="21"/>
                  <a:pt x="39" y="20"/>
                </a:cubicBezTo>
                <a:cubicBezTo>
                  <a:pt x="38" y="20"/>
                  <a:pt x="36" y="21"/>
                  <a:pt x="36" y="21"/>
                </a:cubicBezTo>
                <a:cubicBezTo>
                  <a:pt x="35" y="21"/>
                  <a:pt x="36" y="19"/>
                  <a:pt x="36" y="19"/>
                </a:cubicBezTo>
                <a:cubicBezTo>
                  <a:pt x="36" y="19"/>
                  <a:pt x="33" y="16"/>
                  <a:pt x="33" y="16"/>
                </a:cubicBezTo>
                <a:cubicBezTo>
                  <a:pt x="32" y="16"/>
                  <a:pt x="31" y="19"/>
                  <a:pt x="31" y="20"/>
                </a:cubicBezTo>
                <a:cubicBezTo>
                  <a:pt x="30" y="21"/>
                  <a:pt x="27" y="20"/>
                  <a:pt x="27" y="20"/>
                </a:cubicBezTo>
                <a:cubicBezTo>
                  <a:pt x="25" y="17"/>
                  <a:pt x="25" y="17"/>
                  <a:pt x="25" y="17"/>
                </a:cubicBezTo>
                <a:cubicBezTo>
                  <a:pt x="25" y="17"/>
                  <a:pt x="23" y="17"/>
                  <a:pt x="23" y="15"/>
                </a:cubicBezTo>
                <a:cubicBezTo>
                  <a:pt x="23" y="14"/>
                  <a:pt x="25" y="14"/>
                  <a:pt x="25" y="14"/>
                </a:cubicBezTo>
                <a:cubicBezTo>
                  <a:pt x="25" y="14"/>
                  <a:pt x="26" y="14"/>
                  <a:pt x="27" y="13"/>
                </a:cubicBezTo>
                <a:cubicBezTo>
                  <a:pt x="27" y="13"/>
                  <a:pt x="25" y="12"/>
                  <a:pt x="25" y="11"/>
                </a:cubicBezTo>
                <a:cubicBezTo>
                  <a:pt x="26" y="11"/>
                  <a:pt x="27" y="11"/>
                  <a:pt x="28" y="11"/>
                </a:cubicBezTo>
                <a:cubicBezTo>
                  <a:pt x="28" y="11"/>
                  <a:pt x="29" y="10"/>
                  <a:pt x="29" y="10"/>
                </a:cubicBezTo>
                <a:cubicBezTo>
                  <a:pt x="31" y="6"/>
                  <a:pt x="31" y="6"/>
                  <a:pt x="31" y="6"/>
                </a:cubicBezTo>
                <a:cubicBezTo>
                  <a:pt x="30" y="6"/>
                  <a:pt x="30" y="6"/>
                  <a:pt x="31" y="5"/>
                </a:cubicBezTo>
                <a:cubicBezTo>
                  <a:pt x="32" y="5"/>
                  <a:pt x="33" y="3"/>
                  <a:pt x="32" y="3"/>
                </a:cubicBezTo>
                <a:cubicBezTo>
                  <a:pt x="30" y="2"/>
                  <a:pt x="31" y="0"/>
                  <a:pt x="30" y="1"/>
                </a:cubicBezTo>
                <a:cubicBezTo>
                  <a:pt x="29" y="2"/>
                  <a:pt x="27" y="2"/>
                  <a:pt x="28" y="3"/>
                </a:cubicBezTo>
                <a:cubicBezTo>
                  <a:pt x="29" y="5"/>
                  <a:pt x="30" y="5"/>
                  <a:pt x="28" y="6"/>
                </a:cubicBezTo>
                <a:cubicBezTo>
                  <a:pt x="27" y="7"/>
                  <a:pt x="26" y="8"/>
                  <a:pt x="26" y="6"/>
                </a:cubicBezTo>
                <a:cubicBezTo>
                  <a:pt x="26" y="5"/>
                  <a:pt x="26" y="3"/>
                  <a:pt x="25" y="3"/>
                </a:cubicBezTo>
                <a:cubicBezTo>
                  <a:pt x="24" y="4"/>
                  <a:pt x="23" y="4"/>
                  <a:pt x="23" y="5"/>
                </a:cubicBezTo>
                <a:cubicBezTo>
                  <a:pt x="22" y="7"/>
                  <a:pt x="19" y="5"/>
                  <a:pt x="20" y="7"/>
                </a:cubicBezTo>
                <a:cubicBezTo>
                  <a:pt x="20" y="9"/>
                  <a:pt x="22" y="9"/>
                  <a:pt x="19" y="10"/>
                </a:cubicBezTo>
                <a:cubicBezTo>
                  <a:pt x="16" y="11"/>
                  <a:pt x="15" y="12"/>
                  <a:pt x="17" y="13"/>
                </a:cubicBezTo>
                <a:cubicBezTo>
                  <a:pt x="19" y="14"/>
                  <a:pt x="20" y="13"/>
                  <a:pt x="21" y="13"/>
                </a:cubicBezTo>
                <a:cubicBezTo>
                  <a:pt x="22" y="14"/>
                  <a:pt x="23" y="14"/>
                  <a:pt x="21" y="15"/>
                </a:cubicBezTo>
                <a:cubicBezTo>
                  <a:pt x="20" y="16"/>
                  <a:pt x="18" y="15"/>
                  <a:pt x="19" y="16"/>
                </a:cubicBezTo>
                <a:cubicBezTo>
                  <a:pt x="19" y="18"/>
                  <a:pt x="20" y="17"/>
                  <a:pt x="19" y="19"/>
                </a:cubicBezTo>
                <a:cubicBezTo>
                  <a:pt x="18" y="20"/>
                  <a:pt x="18" y="21"/>
                  <a:pt x="17" y="20"/>
                </a:cubicBezTo>
                <a:cubicBezTo>
                  <a:pt x="17" y="19"/>
                  <a:pt x="15" y="17"/>
                  <a:pt x="15" y="18"/>
                </a:cubicBezTo>
                <a:cubicBezTo>
                  <a:pt x="14" y="19"/>
                  <a:pt x="15" y="20"/>
                  <a:pt x="14" y="20"/>
                </a:cubicBezTo>
                <a:cubicBezTo>
                  <a:pt x="14" y="21"/>
                  <a:pt x="13" y="21"/>
                  <a:pt x="12" y="20"/>
                </a:cubicBezTo>
                <a:cubicBezTo>
                  <a:pt x="12" y="19"/>
                  <a:pt x="12" y="17"/>
                  <a:pt x="10" y="18"/>
                </a:cubicBezTo>
                <a:cubicBezTo>
                  <a:pt x="9" y="18"/>
                  <a:pt x="10" y="18"/>
                  <a:pt x="8" y="18"/>
                </a:cubicBezTo>
                <a:cubicBezTo>
                  <a:pt x="6" y="19"/>
                  <a:pt x="7" y="20"/>
                  <a:pt x="8" y="21"/>
                </a:cubicBezTo>
                <a:cubicBezTo>
                  <a:pt x="8" y="21"/>
                  <a:pt x="8" y="21"/>
                  <a:pt x="7" y="22"/>
                </a:cubicBezTo>
                <a:cubicBezTo>
                  <a:pt x="6" y="22"/>
                  <a:pt x="6" y="23"/>
                  <a:pt x="7" y="23"/>
                </a:cubicBezTo>
                <a:cubicBezTo>
                  <a:pt x="8" y="24"/>
                  <a:pt x="6" y="25"/>
                  <a:pt x="5" y="24"/>
                </a:cubicBezTo>
                <a:cubicBezTo>
                  <a:pt x="4" y="24"/>
                  <a:pt x="2" y="23"/>
                  <a:pt x="4" y="24"/>
                </a:cubicBezTo>
                <a:cubicBezTo>
                  <a:pt x="5" y="25"/>
                  <a:pt x="5" y="25"/>
                  <a:pt x="6" y="26"/>
                </a:cubicBezTo>
                <a:cubicBezTo>
                  <a:pt x="7" y="27"/>
                  <a:pt x="7" y="28"/>
                  <a:pt x="7" y="27"/>
                </a:cubicBezTo>
                <a:cubicBezTo>
                  <a:pt x="8" y="26"/>
                  <a:pt x="7" y="25"/>
                  <a:pt x="8" y="26"/>
                </a:cubicBezTo>
                <a:cubicBezTo>
                  <a:pt x="9" y="26"/>
                  <a:pt x="10" y="27"/>
                  <a:pt x="8" y="27"/>
                </a:cubicBezTo>
                <a:cubicBezTo>
                  <a:pt x="7" y="28"/>
                  <a:pt x="6" y="27"/>
                  <a:pt x="6" y="28"/>
                </a:cubicBezTo>
                <a:cubicBezTo>
                  <a:pt x="5" y="29"/>
                  <a:pt x="6" y="29"/>
                  <a:pt x="5" y="30"/>
                </a:cubicBezTo>
                <a:cubicBezTo>
                  <a:pt x="4" y="31"/>
                  <a:pt x="3" y="29"/>
                  <a:pt x="4" y="31"/>
                </a:cubicBezTo>
                <a:cubicBezTo>
                  <a:pt x="5" y="33"/>
                  <a:pt x="5" y="31"/>
                  <a:pt x="7" y="33"/>
                </a:cubicBezTo>
                <a:cubicBezTo>
                  <a:pt x="8" y="34"/>
                  <a:pt x="8" y="33"/>
                  <a:pt x="9" y="33"/>
                </a:cubicBezTo>
                <a:cubicBezTo>
                  <a:pt x="10" y="33"/>
                  <a:pt x="10" y="33"/>
                  <a:pt x="10" y="34"/>
                </a:cubicBezTo>
                <a:cubicBezTo>
                  <a:pt x="11" y="35"/>
                  <a:pt x="10" y="34"/>
                  <a:pt x="12" y="35"/>
                </a:cubicBezTo>
                <a:cubicBezTo>
                  <a:pt x="14" y="35"/>
                  <a:pt x="14" y="35"/>
                  <a:pt x="15" y="34"/>
                </a:cubicBezTo>
                <a:cubicBezTo>
                  <a:pt x="15" y="34"/>
                  <a:pt x="14" y="34"/>
                  <a:pt x="14" y="32"/>
                </a:cubicBezTo>
                <a:cubicBezTo>
                  <a:pt x="14" y="31"/>
                  <a:pt x="13" y="30"/>
                  <a:pt x="14" y="31"/>
                </a:cubicBezTo>
                <a:cubicBezTo>
                  <a:pt x="16" y="31"/>
                  <a:pt x="16" y="32"/>
                  <a:pt x="16" y="33"/>
                </a:cubicBezTo>
                <a:cubicBezTo>
                  <a:pt x="15" y="34"/>
                  <a:pt x="15" y="33"/>
                  <a:pt x="15" y="34"/>
                </a:cubicBezTo>
                <a:cubicBezTo>
                  <a:pt x="16" y="35"/>
                  <a:pt x="17" y="35"/>
                  <a:pt x="16" y="36"/>
                </a:cubicBezTo>
                <a:cubicBezTo>
                  <a:pt x="14" y="36"/>
                  <a:pt x="14" y="36"/>
                  <a:pt x="13" y="37"/>
                </a:cubicBezTo>
                <a:cubicBezTo>
                  <a:pt x="12" y="37"/>
                  <a:pt x="12" y="36"/>
                  <a:pt x="12" y="37"/>
                </a:cubicBezTo>
                <a:cubicBezTo>
                  <a:pt x="11" y="39"/>
                  <a:pt x="11" y="39"/>
                  <a:pt x="11" y="40"/>
                </a:cubicBezTo>
                <a:cubicBezTo>
                  <a:pt x="10" y="40"/>
                  <a:pt x="11" y="42"/>
                  <a:pt x="10" y="42"/>
                </a:cubicBezTo>
                <a:cubicBezTo>
                  <a:pt x="9" y="43"/>
                  <a:pt x="10" y="42"/>
                  <a:pt x="8" y="44"/>
                </a:cubicBezTo>
                <a:cubicBezTo>
                  <a:pt x="7" y="45"/>
                  <a:pt x="6" y="45"/>
                  <a:pt x="6" y="45"/>
                </a:cubicBezTo>
                <a:cubicBezTo>
                  <a:pt x="7" y="46"/>
                  <a:pt x="8" y="45"/>
                  <a:pt x="10" y="45"/>
                </a:cubicBezTo>
                <a:cubicBezTo>
                  <a:pt x="10" y="45"/>
                  <a:pt x="10" y="45"/>
                  <a:pt x="11" y="45"/>
                </a:cubicBezTo>
                <a:cubicBezTo>
                  <a:pt x="12" y="45"/>
                  <a:pt x="12" y="45"/>
                  <a:pt x="13" y="45"/>
                </a:cubicBezTo>
                <a:cubicBezTo>
                  <a:pt x="14" y="45"/>
                  <a:pt x="14" y="43"/>
                  <a:pt x="14" y="42"/>
                </a:cubicBezTo>
                <a:cubicBezTo>
                  <a:pt x="15" y="42"/>
                  <a:pt x="16" y="40"/>
                  <a:pt x="16" y="42"/>
                </a:cubicBezTo>
                <a:cubicBezTo>
                  <a:pt x="16" y="44"/>
                  <a:pt x="16" y="44"/>
                  <a:pt x="17" y="44"/>
                </a:cubicBezTo>
                <a:cubicBezTo>
                  <a:pt x="18" y="45"/>
                  <a:pt x="16" y="45"/>
                  <a:pt x="15" y="45"/>
                </a:cubicBezTo>
                <a:cubicBezTo>
                  <a:pt x="13" y="45"/>
                  <a:pt x="9" y="46"/>
                  <a:pt x="8" y="47"/>
                </a:cubicBezTo>
                <a:cubicBezTo>
                  <a:pt x="8" y="47"/>
                  <a:pt x="7" y="45"/>
                  <a:pt x="7" y="48"/>
                </a:cubicBezTo>
                <a:cubicBezTo>
                  <a:pt x="8" y="50"/>
                  <a:pt x="8" y="50"/>
                  <a:pt x="7" y="51"/>
                </a:cubicBezTo>
                <a:cubicBezTo>
                  <a:pt x="7" y="51"/>
                  <a:pt x="6" y="51"/>
                  <a:pt x="5" y="50"/>
                </a:cubicBezTo>
                <a:cubicBezTo>
                  <a:pt x="5" y="50"/>
                  <a:pt x="4" y="47"/>
                  <a:pt x="3" y="49"/>
                </a:cubicBezTo>
                <a:cubicBezTo>
                  <a:pt x="3" y="50"/>
                  <a:pt x="0" y="52"/>
                  <a:pt x="2" y="52"/>
                </a:cubicBezTo>
                <a:cubicBezTo>
                  <a:pt x="4" y="52"/>
                  <a:pt x="4" y="51"/>
                  <a:pt x="6" y="52"/>
                </a:cubicBezTo>
                <a:cubicBezTo>
                  <a:pt x="7" y="52"/>
                  <a:pt x="2" y="55"/>
                  <a:pt x="3" y="55"/>
                </a:cubicBezTo>
                <a:cubicBezTo>
                  <a:pt x="3" y="56"/>
                  <a:pt x="3" y="55"/>
                  <a:pt x="4" y="55"/>
                </a:cubicBezTo>
                <a:cubicBezTo>
                  <a:pt x="5" y="56"/>
                  <a:pt x="5" y="56"/>
                  <a:pt x="6" y="57"/>
                </a:cubicBezTo>
                <a:cubicBezTo>
                  <a:pt x="6" y="57"/>
                  <a:pt x="6" y="56"/>
                  <a:pt x="7" y="56"/>
                </a:cubicBezTo>
                <a:cubicBezTo>
                  <a:pt x="8" y="55"/>
                  <a:pt x="9" y="53"/>
                  <a:pt x="9" y="55"/>
                </a:cubicBezTo>
                <a:cubicBezTo>
                  <a:pt x="9" y="56"/>
                  <a:pt x="8" y="57"/>
                  <a:pt x="7" y="58"/>
                </a:cubicBezTo>
                <a:cubicBezTo>
                  <a:pt x="5" y="58"/>
                  <a:pt x="4" y="59"/>
                  <a:pt x="5" y="59"/>
                </a:cubicBezTo>
                <a:cubicBezTo>
                  <a:pt x="5" y="60"/>
                  <a:pt x="5" y="60"/>
                  <a:pt x="6" y="59"/>
                </a:cubicBezTo>
                <a:cubicBezTo>
                  <a:pt x="8" y="58"/>
                  <a:pt x="7" y="58"/>
                  <a:pt x="8" y="57"/>
                </a:cubicBezTo>
                <a:cubicBezTo>
                  <a:pt x="9" y="57"/>
                  <a:pt x="10" y="57"/>
                  <a:pt x="10" y="58"/>
                </a:cubicBezTo>
                <a:cubicBezTo>
                  <a:pt x="9" y="58"/>
                  <a:pt x="8" y="59"/>
                  <a:pt x="8" y="60"/>
                </a:cubicBezTo>
                <a:cubicBezTo>
                  <a:pt x="8" y="60"/>
                  <a:pt x="5" y="60"/>
                  <a:pt x="7" y="60"/>
                </a:cubicBezTo>
                <a:cubicBezTo>
                  <a:pt x="10" y="60"/>
                  <a:pt x="9" y="57"/>
                  <a:pt x="11" y="59"/>
                </a:cubicBezTo>
                <a:cubicBezTo>
                  <a:pt x="13" y="60"/>
                  <a:pt x="12" y="60"/>
                  <a:pt x="14" y="60"/>
                </a:cubicBezTo>
                <a:cubicBezTo>
                  <a:pt x="16" y="60"/>
                  <a:pt x="17" y="61"/>
                  <a:pt x="18" y="59"/>
                </a:cubicBezTo>
                <a:cubicBezTo>
                  <a:pt x="20" y="57"/>
                  <a:pt x="19" y="55"/>
                  <a:pt x="21" y="55"/>
                </a:cubicBezTo>
                <a:cubicBezTo>
                  <a:pt x="22" y="56"/>
                  <a:pt x="20" y="53"/>
                  <a:pt x="23" y="54"/>
                </a:cubicBezTo>
                <a:cubicBezTo>
                  <a:pt x="25" y="54"/>
                  <a:pt x="25" y="55"/>
                  <a:pt x="26" y="54"/>
                </a:cubicBezTo>
                <a:cubicBezTo>
                  <a:pt x="28" y="54"/>
                  <a:pt x="27" y="52"/>
                  <a:pt x="29" y="52"/>
                </a:cubicBezTo>
                <a:cubicBezTo>
                  <a:pt x="31" y="52"/>
                  <a:pt x="31" y="52"/>
                  <a:pt x="32" y="52"/>
                </a:cubicBezTo>
                <a:cubicBezTo>
                  <a:pt x="32" y="52"/>
                  <a:pt x="31" y="51"/>
                  <a:pt x="33" y="51"/>
                </a:cubicBezTo>
                <a:cubicBezTo>
                  <a:pt x="34" y="50"/>
                  <a:pt x="33" y="49"/>
                  <a:pt x="34" y="50"/>
                </a:cubicBezTo>
                <a:cubicBezTo>
                  <a:pt x="35" y="51"/>
                  <a:pt x="34" y="51"/>
                  <a:pt x="36" y="51"/>
                </a:cubicBezTo>
                <a:cubicBezTo>
                  <a:pt x="37" y="51"/>
                  <a:pt x="37" y="50"/>
                  <a:pt x="38" y="50"/>
                </a:cubicBezTo>
                <a:cubicBezTo>
                  <a:pt x="39" y="50"/>
                  <a:pt x="40" y="50"/>
                  <a:pt x="39" y="49"/>
                </a:cubicBezTo>
                <a:cubicBezTo>
                  <a:pt x="38" y="47"/>
                  <a:pt x="38" y="47"/>
                  <a:pt x="39" y="46"/>
                </a:cubicBezTo>
                <a:cubicBezTo>
                  <a:pt x="40" y="46"/>
                  <a:pt x="39" y="48"/>
                  <a:pt x="40" y="45"/>
                </a:cubicBezTo>
                <a:cubicBezTo>
                  <a:pt x="42" y="41"/>
                  <a:pt x="42" y="40"/>
                  <a:pt x="41" y="39"/>
                </a:cubicBezTo>
                <a:cubicBezTo>
                  <a:pt x="41" y="38"/>
                  <a:pt x="41" y="37"/>
                  <a:pt x="41" y="3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1" name="Freeform 139"/>
          <p:cNvSpPr>
            <a:spLocks/>
          </p:cNvSpPr>
          <p:nvPr userDrawn="1"/>
        </p:nvSpPr>
        <p:spPr bwMode="auto">
          <a:xfrm>
            <a:off x="5321472" y="3374782"/>
            <a:ext cx="63653" cy="67004"/>
          </a:xfrm>
          <a:custGeom>
            <a:avLst/>
            <a:gdLst>
              <a:gd name="T0" fmla="*/ 2147483646 w 24"/>
              <a:gd name="T1" fmla="*/ 2147483646 h 25"/>
              <a:gd name="T2" fmla="*/ 2147483646 w 24"/>
              <a:gd name="T3" fmla="*/ 2147483646 h 25"/>
              <a:gd name="T4" fmla="*/ 2147483646 w 24"/>
              <a:gd name="T5" fmla="*/ 2147483646 h 25"/>
              <a:gd name="T6" fmla="*/ 2147483646 w 24"/>
              <a:gd name="T7" fmla="*/ 2147483646 h 25"/>
              <a:gd name="T8" fmla="*/ 2147483646 w 24"/>
              <a:gd name="T9" fmla="*/ 2147483646 h 25"/>
              <a:gd name="T10" fmla="*/ 2147483646 w 24"/>
              <a:gd name="T11" fmla="*/ 2147483646 h 25"/>
              <a:gd name="T12" fmla="*/ 2147483646 w 24"/>
              <a:gd name="T13" fmla="*/ 2147483646 h 25"/>
              <a:gd name="T14" fmla="*/ 2147483646 w 24"/>
              <a:gd name="T15" fmla="*/ 2147483646 h 25"/>
              <a:gd name="T16" fmla="*/ 2147483646 w 24"/>
              <a:gd name="T17" fmla="*/ 2147483646 h 25"/>
              <a:gd name="T18" fmla="*/ 2147483646 w 24"/>
              <a:gd name="T19" fmla="*/ 2147483646 h 25"/>
              <a:gd name="T20" fmla="*/ 2147483646 w 24"/>
              <a:gd name="T21" fmla="*/ 2147483646 h 25"/>
              <a:gd name="T22" fmla="*/ 2147483646 w 24"/>
              <a:gd name="T23" fmla="*/ 2147483646 h 25"/>
              <a:gd name="T24" fmla="*/ 2147483646 w 24"/>
              <a:gd name="T25" fmla="*/ 2147483646 h 25"/>
              <a:gd name="T26" fmla="*/ 2147483646 w 24"/>
              <a:gd name="T27" fmla="*/ 2147483646 h 25"/>
              <a:gd name="T28" fmla="*/ 2147483646 w 24"/>
              <a:gd name="T29" fmla="*/ 2147483646 h 25"/>
              <a:gd name="T30" fmla="*/ 2147483646 w 24"/>
              <a:gd name="T31" fmla="*/ 2147483646 h 25"/>
              <a:gd name="T32" fmla="*/ 2147483646 w 24"/>
              <a:gd name="T33" fmla="*/ 2147483646 h 25"/>
              <a:gd name="T34" fmla="*/ 2147483646 w 24"/>
              <a:gd name="T35" fmla="*/ 2147483646 h 25"/>
              <a:gd name="T36" fmla="*/ 0 w 24"/>
              <a:gd name="T37" fmla="*/ 2147483646 h 25"/>
              <a:gd name="T38" fmla="*/ 2147483646 w 24"/>
              <a:gd name="T39" fmla="*/ 2147483646 h 25"/>
              <a:gd name="T40" fmla="*/ 2147483646 w 24"/>
              <a:gd name="T41" fmla="*/ 2147483646 h 25"/>
              <a:gd name="T42" fmla="*/ 2147483646 w 24"/>
              <a:gd name="T43" fmla="*/ 2147483646 h 25"/>
              <a:gd name="T44" fmla="*/ 2147483646 w 24"/>
              <a:gd name="T45" fmla="*/ 2147483646 h 25"/>
              <a:gd name="T46" fmla="*/ 2147483646 w 24"/>
              <a:gd name="T47" fmla="*/ 2147483646 h 25"/>
              <a:gd name="T48" fmla="*/ 2147483646 w 24"/>
              <a:gd name="T49" fmla="*/ 2147483646 h 25"/>
              <a:gd name="T50" fmla="*/ 2147483646 w 24"/>
              <a:gd name="T51" fmla="*/ 2147483646 h 25"/>
              <a:gd name="T52" fmla="*/ 2147483646 w 24"/>
              <a:gd name="T53" fmla="*/ 2147483646 h 25"/>
              <a:gd name="T54" fmla="*/ 2147483646 w 24"/>
              <a:gd name="T55" fmla="*/ 2147483646 h 25"/>
              <a:gd name="T56" fmla="*/ 2147483646 w 24"/>
              <a:gd name="T57" fmla="*/ 2147483646 h 25"/>
              <a:gd name="T58" fmla="*/ 2147483646 w 24"/>
              <a:gd name="T59" fmla="*/ 2147483646 h 25"/>
              <a:gd name="T60" fmla="*/ 2147483646 w 24"/>
              <a:gd name="T61" fmla="*/ 2147483646 h 25"/>
              <a:gd name="T62" fmla="*/ 2147483646 w 24"/>
              <a:gd name="T63" fmla="*/ 2147483646 h 25"/>
              <a:gd name="T64" fmla="*/ 2147483646 w 24"/>
              <a:gd name="T65" fmla="*/ 2147483646 h 2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4"/>
              <a:gd name="T100" fmla="*/ 0 h 25"/>
              <a:gd name="T101" fmla="*/ 24 w 24"/>
              <a:gd name="T102" fmla="*/ 25 h 2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4" h="25">
                <a:moveTo>
                  <a:pt x="23" y="14"/>
                </a:moveTo>
                <a:cubicBezTo>
                  <a:pt x="23" y="13"/>
                  <a:pt x="24" y="12"/>
                  <a:pt x="23" y="12"/>
                </a:cubicBezTo>
                <a:cubicBezTo>
                  <a:pt x="22" y="12"/>
                  <a:pt x="21" y="11"/>
                  <a:pt x="21" y="12"/>
                </a:cubicBezTo>
                <a:cubicBezTo>
                  <a:pt x="20" y="13"/>
                  <a:pt x="20" y="14"/>
                  <a:pt x="19" y="13"/>
                </a:cubicBezTo>
                <a:cubicBezTo>
                  <a:pt x="19" y="13"/>
                  <a:pt x="20" y="11"/>
                  <a:pt x="20" y="10"/>
                </a:cubicBezTo>
                <a:cubicBezTo>
                  <a:pt x="21" y="10"/>
                  <a:pt x="23" y="9"/>
                  <a:pt x="21" y="8"/>
                </a:cubicBezTo>
                <a:cubicBezTo>
                  <a:pt x="19" y="7"/>
                  <a:pt x="20" y="6"/>
                  <a:pt x="18" y="6"/>
                </a:cubicBezTo>
                <a:cubicBezTo>
                  <a:pt x="17" y="5"/>
                  <a:pt x="17" y="3"/>
                  <a:pt x="16" y="4"/>
                </a:cubicBezTo>
                <a:cubicBezTo>
                  <a:pt x="15" y="4"/>
                  <a:pt x="15" y="0"/>
                  <a:pt x="14" y="2"/>
                </a:cubicBezTo>
                <a:cubicBezTo>
                  <a:pt x="13" y="3"/>
                  <a:pt x="12" y="2"/>
                  <a:pt x="11" y="3"/>
                </a:cubicBezTo>
                <a:cubicBezTo>
                  <a:pt x="10" y="4"/>
                  <a:pt x="10" y="4"/>
                  <a:pt x="9" y="4"/>
                </a:cubicBezTo>
                <a:cubicBezTo>
                  <a:pt x="9" y="5"/>
                  <a:pt x="8" y="5"/>
                  <a:pt x="8" y="5"/>
                </a:cubicBezTo>
                <a:cubicBezTo>
                  <a:pt x="8" y="5"/>
                  <a:pt x="8" y="5"/>
                  <a:pt x="8" y="5"/>
                </a:cubicBezTo>
                <a:cubicBezTo>
                  <a:pt x="6" y="9"/>
                  <a:pt x="6" y="9"/>
                  <a:pt x="6" y="9"/>
                </a:cubicBezTo>
                <a:cubicBezTo>
                  <a:pt x="6" y="9"/>
                  <a:pt x="6" y="11"/>
                  <a:pt x="5" y="11"/>
                </a:cubicBezTo>
                <a:cubicBezTo>
                  <a:pt x="4" y="11"/>
                  <a:pt x="3" y="10"/>
                  <a:pt x="3" y="11"/>
                </a:cubicBezTo>
                <a:cubicBezTo>
                  <a:pt x="2" y="11"/>
                  <a:pt x="4" y="12"/>
                  <a:pt x="4" y="13"/>
                </a:cubicBezTo>
                <a:cubicBezTo>
                  <a:pt x="3" y="13"/>
                  <a:pt x="3" y="13"/>
                  <a:pt x="3" y="13"/>
                </a:cubicBezTo>
                <a:cubicBezTo>
                  <a:pt x="3" y="13"/>
                  <a:pt x="0" y="13"/>
                  <a:pt x="0" y="14"/>
                </a:cubicBezTo>
                <a:cubicBezTo>
                  <a:pt x="0" y="16"/>
                  <a:pt x="2" y="16"/>
                  <a:pt x="2" y="16"/>
                </a:cubicBezTo>
                <a:cubicBezTo>
                  <a:pt x="4" y="19"/>
                  <a:pt x="4" y="19"/>
                  <a:pt x="4" y="19"/>
                </a:cubicBezTo>
                <a:cubicBezTo>
                  <a:pt x="4" y="19"/>
                  <a:pt x="7" y="20"/>
                  <a:pt x="8" y="19"/>
                </a:cubicBezTo>
                <a:cubicBezTo>
                  <a:pt x="8" y="18"/>
                  <a:pt x="9" y="15"/>
                  <a:pt x="10" y="15"/>
                </a:cubicBezTo>
                <a:cubicBezTo>
                  <a:pt x="10" y="15"/>
                  <a:pt x="13" y="18"/>
                  <a:pt x="13" y="18"/>
                </a:cubicBezTo>
                <a:cubicBezTo>
                  <a:pt x="13" y="18"/>
                  <a:pt x="12" y="21"/>
                  <a:pt x="13" y="21"/>
                </a:cubicBezTo>
                <a:cubicBezTo>
                  <a:pt x="13" y="21"/>
                  <a:pt x="15" y="19"/>
                  <a:pt x="16" y="19"/>
                </a:cubicBezTo>
                <a:cubicBezTo>
                  <a:pt x="17" y="20"/>
                  <a:pt x="17" y="21"/>
                  <a:pt x="17" y="21"/>
                </a:cubicBezTo>
                <a:cubicBezTo>
                  <a:pt x="17" y="21"/>
                  <a:pt x="17" y="21"/>
                  <a:pt x="17" y="21"/>
                </a:cubicBezTo>
                <a:cubicBezTo>
                  <a:pt x="17" y="21"/>
                  <a:pt x="17" y="21"/>
                  <a:pt x="17" y="21"/>
                </a:cubicBezTo>
                <a:cubicBezTo>
                  <a:pt x="17" y="21"/>
                  <a:pt x="17" y="21"/>
                  <a:pt x="18" y="21"/>
                </a:cubicBezTo>
                <a:cubicBezTo>
                  <a:pt x="20" y="22"/>
                  <a:pt x="19" y="25"/>
                  <a:pt x="21" y="21"/>
                </a:cubicBezTo>
                <a:cubicBezTo>
                  <a:pt x="23" y="18"/>
                  <a:pt x="24" y="18"/>
                  <a:pt x="24" y="17"/>
                </a:cubicBezTo>
                <a:cubicBezTo>
                  <a:pt x="24" y="16"/>
                  <a:pt x="24" y="15"/>
                  <a:pt x="23" y="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2" name="Line 3"/>
          <p:cNvSpPr>
            <a:spLocks noChangeShapeType="1"/>
          </p:cNvSpPr>
          <p:nvPr userDrawn="1"/>
        </p:nvSpPr>
        <p:spPr bwMode="auto">
          <a:xfrm>
            <a:off x="3477195" y="4783535"/>
            <a:ext cx="1676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23" name="Line 4"/>
          <p:cNvSpPr>
            <a:spLocks noChangeShapeType="1"/>
          </p:cNvSpPr>
          <p:nvPr userDrawn="1"/>
        </p:nvSpPr>
        <p:spPr bwMode="auto">
          <a:xfrm>
            <a:off x="3519073" y="4890740"/>
            <a:ext cx="1675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24" name="Line 5"/>
          <p:cNvSpPr>
            <a:spLocks noChangeShapeType="1"/>
          </p:cNvSpPr>
          <p:nvPr userDrawn="1"/>
        </p:nvSpPr>
        <p:spPr bwMode="auto">
          <a:xfrm>
            <a:off x="5555985" y="4277656"/>
            <a:ext cx="1675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25" name="Line 6"/>
          <p:cNvSpPr>
            <a:spLocks noChangeShapeType="1"/>
          </p:cNvSpPr>
          <p:nvPr userDrawn="1"/>
        </p:nvSpPr>
        <p:spPr bwMode="auto">
          <a:xfrm>
            <a:off x="3931145" y="4202278"/>
            <a:ext cx="1675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26" name="Line 7"/>
          <p:cNvSpPr>
            <a:spLocks noChangeShapeType="1"/>
          </p:cNvSpPr>
          <p:nvPr userDrawn="1"/>
        </p:nvSpPr>
        <p:spPr bwMode="auto">
          <a:xfrm>
            <a:off x="3964648" y="4286033"/>
            <a:ext cx="1675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27" name="Line 8"/>
          <p:cNvSpPr>
            <a:spLocks noChangeShapeType="1"/>
          </p:cNvSpPr>
          <p:nvPr userDrawn="1"/>
        </p:nvSpPr>
        <p:spPr bwMode="auto">
          <a:xfrm>
            <a:off x="5591162" y="3798580"/>
            <a:ext cx="1676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28" name="Line 41"/>
          <p:cNvSpPr>
            <a:spLocks noChangeShapeType="1"/>
          </p:cNvSpPr>
          <p:nvPr userDrawn="1"/>
        </p:nvSpPr>
        <p:spPr bwMode="auto">
          <a:xfrm>
            <a:off x="3936171" y="4870639"/>
            <a:ext cx="1676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29" name="Line 305"/>
          <p:cNvSpPr>
            <a:spLocks noChangeShapeType="1"/>
          </p:cNvSpPr>
          <p:nvPr userDrawn="1"/>
        </p:nvSpPr>
        <p:spPr bwMode="auto">
          <a:xfrm>
            <a:off x="5936231" y="4383187"/>
            <a:ext cx="1676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30" name="Freeform 363"/>
          <p:cNvSpPr>
            <a:spLocks/>
          </p:cNvSpPr>
          <p:nvPr userDrawn="1"/>
        </p:nvSpPr>
        <p:spPr bwMode="auto">
          <a:xfrm>
            <a:off x="3261110" y="4662928"/>
            <a:ext cx="120607" cy="128981"/>
          </a:xfrm>
          <a:custGeom>
            <a:avLst/>
            <a:gdLst>
              <a:gd name="T0" fmla="*/ 2147483646 w 130"/>
              <a:gd name="T1" fmla="*/ 2147483646 h 138"/>
              <a:gd name="T2" fmla="*/ 2147483646 w 130"/>
              <a:gd name="T3" fmla="*/ 2147483646 h 138"/>
              <a:gd name="T4" fmla="*/ 2147483646 w 130"/>
              <a:gd name="T5" fmla="*/ 2147483646 h 138"/>
              <a:gd name="T6" fmla="*/ 2147483646 w 130"/>
              <a:gd name="T7" fmla="*/ 2147483646 h 138"/>
              <a:gd name="T8" fmla="*/ 2147483646 w 130"/>
              <a:gd name="T9" fmla="*/ 2147483646 h 138"/>
              <a:gd name="T10" fmla="*/ 2147483646 w 130"/>
              <a:gd name="T11" fmla="*/ 2147483646 h 138"/>
              <a:gd name="T12" fmla="*/ 2147483646 w 130"/>
              <a:gd name="T13" fmla="*/ 2147483646 h 138"/>
              <a:gd name="T14" fmla="*/ 2147483646 w 130"/>
              <a:gd name="T15" fmla="*/ 2147483646 h 138"/>
              <a:gd name="T16" fmla="*/ 2147483646 w 130"/>
              <a:gd name="T17" fmla="*/ 2147483646 h 138"/>
              <a:gd name="T18" fmla="*/ 2147483646 w 130"/>
              <a:gd name="T19" fmla="*/ 2147483646 h 138"/>
              <a:gd name="T20" fmla="*/ 2147483646 w 130"/>
              <a:gd name="T21" fmla="*/ 2147483646 h 138"/>
              <a:gd name="T22" fmla="*/ 2147483646 w 130"/>
              <a:gd name="T23" fmla="*/ 2147483646 h 138"/>
              <a:gd name="T24" fmla="*/ 2147483646 w 130"/>
              <a:gd name="T25" fmla="*/ 2147483646 h 138"/>
              <a:gd name="T26" fmla="*/ 2147483646 w 130"/>
              <a:gd name="T27" fmla="*/ 2147483646 h 138"/>
              <a:gd name="T28" fmla="*/ 2147483646 w 130"/>
              <a:gd name="T29" fmla="*/ 2147483646 h 138"/>
              <a:gd name="T30" fmla="*/ 2147483646 w 130"/>
              <a:gd name="T31" fmla="*/ 2147483646 h 138"/>
              <a:gd name="T32" fmla="*/ 2147483646 w 130"/>
              <a:gd name="T33" fmla="*/ 2147483646 h 138"/>
              <a:gd name="T34" fmla="*/ 2147483646 w 130"/>
              <a:gd name="T35" fmla="*/ 2147483646 h 138"/>
              <a:gd name="T36" fmla="*/ 2147483646 w 130"/>
              <a:gd name="T37" fmla="*/ 2147483646 h 138"/>
              <a:gd name="T38" fmla="*/ 2147483646 w 130"/>
              <a:gd name="T39" fmla="*/ 2147483646 h 138"/>
              <a:gd name="T40" fmla="*/ 2147483646 w 130"/>
              <a:gd name="T41" fmla="*/ 2147483646 h 138"/>
              <a:gd name="T42" fmla="*/ 0 w 130"/>
              <a:gd name="T43" fmla="*/ 2147483646 h 138"/>
              <a:gd name="T44" fmla="*/ 0 w 130"/>
              <a:gd name="T45" fmla="*/ 2147483646 h 138"/>
              <a:gd name="T46" fmla="*/ 2147483646 w 130"/>
              <a:gd name="T47" fmla="*/ 2147483646 h 138"/>
              <a:gd name="T48" fmla="*/ 2147483646 w 130"/>
              <a:gd name="T49" fmla="*/ 2147483646 h 138"/>
              <a:gd name="T50" fmla="*/ 2147483646 w 130"/>
              <a:gd name="T51" fmla="*/ 2147483646 h 138"/>
              <a:gd name="T52" fmla="*/ 2147483646 w 130"/>
              <a:gd name="T53" fmla="*/ 2147483646 h 138"/>
              <a:gd name="T54" fmla="*/ 2147483646 w 130"/>
              <a:gd name="T55" fmla="*/ 2147483646 h 138"/>
              <a:gd name="T56" fmla="*/ 2147483646 w 130"/>
              <a:gd name="T57" fmla="*/ 2147483646 h 138"/>
              <a:gd name="T58" fmla="*/ 2147483646 w 130"/>
              <a:gd name="T59" fmla="*/ 2147483646 h 138"/>
              <a:gd name="T60" fmla="*/ 2147483646 w 130"/>
              <a:gd name="T61" fmla="*/ 2147483646 h 138"/>
              <a:gd name="T62" fmla="*/ 2147483646 w 130"/>
              <a:gd name="T63" fmla="*/ 2147483646 h 138"/>
              <a:gd name="T64" fmla="*/ 2147483646 w 130"/>
              <a:gd name="T65" fmla="*/ 2147483646 h 138"/>
              <a:gd name="T66" fmla="*/ 2147483646 w 130"/>
              <a:gd name="T67" fmla="*/ 2147483646 h 13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30"/>
              <a:gd name="T103" fmla="*/ 0 h 138"/>
              <a:gd name="T104" fmla="*/ 130 w 130"/>
              <a:gd name="T105" fmla="*/ 138 h 13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30" h="138">
                <a:moveTo>
                  <a:pt x="102" y="10"/>
                </a:moveTo>
                <a:cubicBezTo>
                  <a:pt x="100" y="13"/>
                  <a:pt x="96" y="17"/>
                  <a:pt x="95" y="22"/>
                </a:cubicBezTo>
                <a:cubicBezTo>
                  <a:pt x="93" y="28"/>
                  <a:pt x="92" y="27"/>
                  <a:pt x="93" y="37"/>
                </a:cubicBezTo>
                <a:cubicBezTo>
                  <a:pt x="94" y="47"/>
                  <a:pt x="94" y="36"/>
                  <a:pt x="91" y="54"/>
                </a:cubicBezTo>
                <a:cubicBezTo>
                  <a:pt x="87" y="71"/>
                  <a:pt x="87" y="74"/>
                  <a:pt x="89" y="76"/>
                </a:cubicBezTo>
                <a:cubicBezTo>
                  <a:pt x="92" y="78"/>
                  <a:pt x="100" y="73"/>
                  <a:pt x="100" y="73"/>
                </a:cubicBezTo>
                <a:cubicBezTo>
                  <a:pt x="100" y="74"/>
                  <a:pt x="100" y="74"/>
                  <a:pt x="100" y="74"/>
                </a:cubicBezTo>
                <a:cubicBezTo>
                  <a:pt x="100" y="77"/>
                  <a:pt x="109" y="75"/>
                  <a:pt x="109" y="75"/>
                </a:cubicBezTo>
                <a:cubicBezTo>
                  <a:pt x="126" y="72"/>
                  <a:pt x="126" y="72"/>
                  <a:pt x="126" y="72"/>
                </a:cubicBezTo>
                <a:cubicBezTo>
                  <a:pt x="126" y="72"/>
                  <a:pt x="127" y="73"/>
                  <a:pt x="130" y="74"/>
                </a:cubicBezTo>
                <a:cubicBezTo>
                  <a:pt x="129" y="76"/>
                  <a:pt x="129" y="76"/>
                  <a:pt x="129" y="76"/>
                </a:cubicBezTo>
                <a:cubicBezTo>
                  <a:pt x="126" y="79"/>
                  <a:pt x="120" y="80"/>
                  <a:pt x="116" y="83"/>
                </a:cubicBezTo>
                <a:cubicBezTo>
                  <a:pt x="111" y="86"/>
                  <a:pt x="105" y="89"/>
                  <a:pt x="101" y="93"/>
                </a:cubicBezTo>
                <a:cubicBezTo>
                  <a:pt x="97" y="96"/>
                  <a:pt x="91" y="99"/>
                  <a:pt x="89" y="103"/>
                </a:cubicBezTo>
                <a:cubicBezTo>
                  <a:pt x="87" y="106"/>
                  <a:pt x="88" y="111"/>
                  <a:pt x="86" y="114"/>
                </a:cubicBezTo>
                <a:cubicBezTo>
                  <a:pt x="83" y="121"/>
                  <a:pt x="73" y="125"/>
                  <a:pt x="68" y="129"/>
                </a:cubicBezTo>
                <a:cubicBezTo>
                  <a:pt x="64" y="131"/>
                  <a:pt x="62" y="134"/>
                  <a:pt x="59" y="137"/>
                </a:cubicBezTo>
                <a:cubicBezTo>
                  <a:pt x="58" y="138"/>
                  <a:pt x="58" y="138"/>
                  <a:pt x="58" y="138"/>
                </a:cubicBezTo>
                <a:cubicBezTo>
                  <a:pt x="55" y="138"/>
                  <a:pt x="53" y="138"/>
                  <a:pt x="51" y="135"/>
                </a:cubicBezTo>
                <a:cubicBezTo>
                  <a:pt x="47" y="128"/>
                  <a:pt x="38" y="135"/>
                  <a:pt x="33" y="133"/>
                </a:cubicBezTo>
                <a:cubicBezTo>
                  <a:pt x="28" y="132"/>
                  <a:pt x="14" y="127"/>
                  <a:pt x="4" y="117"/>
                </a:cubicBezTo>
                <a:cubicBezTo>
                  <a:pt x="3" y="116"/>
                  <a:pt x="2" y="114"/>
                  <a:pt x="0" y="113"/>
                </a:cubicBezTo>
                <a:cubicBezTo>
                  <a:pt x="0" y="112"/>
                  <a:pt x="0" y="112"/>
                  <a:pt x="0" y="112"/>
                </a:cubicBezTo>
                <a:cubicBezTo>
                  <a:pt x="1" y="107"/>
                  <a:pt x="1" y="95"/>
                  <a:pt x="2" y="89"/>
                </a:cubicBezTo>
                <a:cubicBezTo>
                  <a:pt x="3" y="81"/>
                  <a:pt x="5" y="76"/>
                  <a:pt x="11" y="72"/>
                </a:cubicBezTo>
                <a:cubicBezTo>
                  <a:pt x="18" y="68"/>
                  <a:pt x="12" y="61"/>
                  <a:pt x="25" y="64"/>
                </a:cubicBezTo>
                <a:cubicBezTo>
                  <a:pt x="39" y="66"/>
                  <a:pt x="52" y="67"/>
                  <a:pt x="54" y="64"/>
                </a:cubicBezTo>
                <a:cubicBezTo>
                  <a:pt x="55" y="61"/>
                  <a:pt x="57" y="47"/>
                  <a:pt x="50" y="43"/>
                </a:cubicBezTo>
                <a:cubicBezTo>
                  <a:pt x="42" y="38"/>
                  <a:pt x="32" y="35"/>
                  <a:pt x="36" y="31"/>
                </a:cubicBezTo>
                <a:cubicBezTo>
                  <a:pt x="40" y="28"/>
                  <a:pt x="45" y="18"/>
                  <a:pt x="48" y="16"/>
                </a:cubicBezTo>
                <a:cubicBezTo>
                  <a:pt x="51" y="13"/>
                  <a:pt x="46" y="0"/>
                  <a:pt x="58" y="7"/>
                </a:cubicBezTo>
                <a:cubicBezTo>
                  <a:pt x="69" y="13"/>
                  <a:pt x="65" y="9"/>
                  <a:pt x="76" y="8"/>
                </a:cubicBezTo>
                <a:cubicBezTo>
                  <a:pt x="87" y="7"/>
                  <a:pt x="81" y="7"/>
                  <a:pt x="87" y="7"/>
                </a:cubicBezTo>
                <a:cubicBezTo>
                  <a:pt x="90" y="6"/>
                  <a:pt x="98" y="8"/>
                  <a:pt x="102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1" name="Freeform 364"/>
          <p:cNvSpPr>
            <a:spLocks/>
          </p:cNvSpPr>
          <p:nvPr userDrawn="1"/>
        </p:nvSpPr>
        <p:spPr bwMode="auto">
          <a:xfrm>
            <a:off x="3341514" y="4728257"/>
            <a:ext cx="164159" cy="90455"/>
          </a:xfrm>
          <a:custGeom>
            <a:avLst/>
            <a:gdLst>
              <a:gd name="T0" fmla="*/ 2147483646 w 176"/>
              <a:gd name="T1" fmla="*/ 2147483646 h 98"/>
              <a:gd name="T2" fmla="*/ 2147483646 w 176"/>
              <a:gd name="T3" fmla="*/ 2147483646 h 98"/>
              <a:gd name="T4" fmla="*/ 2147483646 w 176"/>
              <a:gd name="T5" fmla="*/ 2147483646 h 98"/>
              <a:gd name="T6" fmla="*/ 2147483646 w 176"/>
              <a:gd name="T7" fmla="*/ 2147483646 h 98"/>
              <a:gd name="T8" fmla="*/ 2147483646 w 176"/>
              <a:gd name="T9" fmla="*/ 2147483646 h 98"/>
              <a:gd name="T10" fmla="*/ 2147483646 w 176"/>
              <a:gd name="T11" fmla="*/ 2147483646 h 98"/>
              <a:gd name="T12" fmla="*/ 2147483646 w 176"/>
              <a:gd name="T13" fmla="*/ 2147483646 h 98"/>
              <a:gd name="T14" fmla="*/ 2147483646 w 176"/>
              <a:gd name="T15" fmla="*/ 2147483646 h 98"/>
              <a:gd name="T16" fmla="*/ 2147483646 w 176"/>
              <a:gd name="T17" fmla="*/ 2147483646 h 98"/>
              <a:gd name="T18" fmla="*/ 2147483646 w 176"/>
              <a:gd name="T19" fmla="*/ 2147483646 h 98"/>
              <a:gd name="T20" fmla="*/ 2147483646 w 176"/>
              <a:gd name="T21" fmla="*/ 2147483646 h 98"/>
              <a:gd name="T22" fmla="*/ 2147483646 w 176"/>
              <a:gd name="T23" fmla="*/ 2147483646 h 98"/>
              <a:gd name="T24" fmla="*/ 2147483646 w 176"/>
              <a:gd name="T25" fmla="*/ 2147483646 h 98"/>
              <a:gd name="T26" fmla="*/ 2147483646 w 176"/>
              <a:gd name="T27" fmla="*/ 2147483646 h 98"/>
              <a:gd name="T28" fmla="*/ 2147483646 w 176"/>
              <a:gd name="T29" fmla="*/ 2147483646 h 98"/>
              <a:gd name="T30" fmla="*/ 2147483646 w 176"/>
              <a:gd name="T31" fmla="*/ 2147483646 h 98"/>
              <a:gd name="T32" fmla="*/ 2147483646 w 176"/>
              <a:gd name="T33" fmla="*/ 2147483646 h 98"/>
              <a:gd name="T34" fmla="*/ 2147483646 w 176"/>
              <a:gd name="T35" fmla="*/ 2147483646 h 98"/>
              <a:gd name="T36" fmla="*/ 2147483646 w 176"/>
              <a:gd name="T37" fmla="*/ 2147483646 h 98"/>
              <a:gd name="T38" fmla="*/ 2147483646 w 176"/>
              <a:gd name="T39" fmla="*/ 2147483646 h 98"/>
              <a:gd name="T40" fmla="*/ 2147483646 w 176"/>
              <a:gd name="T41" fmla="*/ 2147483646 h 98"/>
              <a:gd name="T42" fmla="*/ 2147483646 w 176"/>
              <a:gd name="T43" fmla="*/ 2147483646 h 98"/>
              <a:gd name="T44" fmla="*/ 2147483646 w 176"/>
              <a:gd name="T45" fmla="*/ 2147483646 h 98"/>
              <a:gd name="T46" fmla="*/ 2147483646 w 176"/>
              <a:gd name="T47" fmla="*/ 2147483646 h 98"/>
              <a:gd name="T48" fmla="*/ 2147483646 w 176"/>
              <a:gd name="T49" fmla="*/ 2147483646 h 98"/>
              <a:gd name="T50" fmla="*/ 2147483646 w 176"/>
              <a:gd name="T51" fmla="*/ 2147483646 h 98"/>
              <a:gd name="T52" fmla="*/ 2147483646 w 176"/>
              <a:gd name="T53" fmla="*/ 2147483646 h 98"/>
              <a:gd name="T54" fmla="*/ 2147483646 w 176"/>
              <a:gd name="T55" fmla="*/ 2147483646 h 98"/>
              <a:gd name="T56" fmla="*/ 2147483646 w 176"/>
              <a:gd name="T57" fmla="*/ 2147483646 h 98"/>
              <a:gd name="T58" fmla="*/ 2147483646 w 176"/>
              <a:gd name="T59" fmla="*/ 2147483646 h 98"/>
              <a:gd name="T60" fmla="*/ 2147483646 w 176"/>
              <a:gd name="T61" fmla="*/ 2147483646 h 98"/>
              <a:gd name="T62" fmla="*/ 2147483646 w 176"/>
              <a:gd name="T63" fmla="*/ 2147483646 h 98"/>
              <a:gd name="T64" fmla="*/ 2147483646 w 176"/>
              <a:gd name="T65" fmla="*/ 2147483646 h 98"/>
              <a:gd name="T66" fmla="*/ 2147483646 w 176"/>
              <a:gd name="T67" fmla="*/ 2147483646 h 98"/>
              <a:gd name="T68" fmla="*/ 2147483646 w 176"/>
              <a:gd name="T69" fmla="*/ 2147483646 h 9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76"/>
              <a:gd name="T106" fmla="*/ 0 h 98"/>
              <a:gd name="T107" fmla="*/ 176 w 176"/>
              <a:gd name="T108" fmla="*/ 98 h 9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76" h="98">
                <a:moveTo>
                  <a:pt x="1" y="41"/>
                </a:moveTo>
                <a:cubicBezTo>
                  <a:pt x="0" y="46"/>
                  <a:pt x="4" y="52"/>
                  <a:pt x="8" y="56"/>
                </a:cubicBezTo>
                <a:cubicBezTo>
                  <a:pt x="15" y="65"/>
                  <a:pt x="22" y="72"/>
                  <a:pt x="33" y="69"/>
                </a:cubicBezTo>
                <a:cubicBezTo>
                  <a:pt x="35" y="74"/>
                  <a:pt x="43" y="71"/>
                  <a:pt x="45" y="76"/>
                </a:cubicBezTo>
                <a:cubicBezTo>
                  <a:pt x="45" y="78"/>
                  <a:pt x="43" y="86"/>
                  <a:pt x="42" y="89"/>
                </a:cubicBezTo>
                <a:cubicBezTo>
                  <a:pt x="49" y="90"/>
                  <a:pt x="49" y="90"/>
                  <a:pt x="49" y="90"/>
                </a:cubicBezTo>
                <a:cubicBezTo>
                  <a:pt x="52" y="90"/>
                  <a:pt x="57" y="95"/>
                  <a:pt x="56" y="98"/>
                </a:cubicBezTo>
                <a:cubicBezTo>
                  <a:pt x="58" y="98"/>
                  <a:pt x="58" y="98"/>
                  <a:pt x="58" y="98"/>
                </a:cubicBezTo>
                <a:cubicBezTo>
                  <a:pt x="63" y="97"/>
                  <a:pt x="68" y="96"/>
                  <a:pt x="72" y="93"/>
                </a:cubicBezTo>
                <a:cubicBezTo>
                  <a:pt x="76" y="89"/>
                  <a:pt x="76" y="84"/>
                  <a:pt x="78" y="79"/>
                </a:cubicBezTo>
                <a:cubicBezTo>
                  <a:pt x="81" y="73"/>
                  <a:pt x="82" y="71"/>
                  <a:pt x="89" y="71"/>
                </a:cubicBezTo>
                <a:cubicBezTo>
                  <a:pt x="92" y="72"/>
                  <a:pt x="94" y="73"/>
                  <a:pt x="96" y="72"/>
                </a:cubicBezTo>
                <a:cubicBezTo>
                  <a:pt x="99" y="71"/>
                  <a:pt x="99" y="67"/>
                  <a:pt x="103" y="67"/>
                </a:cubicBezTo>
                <a:cubicBezTo>
                  <a:pt x="105" y="67"/>
                  <a:pt x="106" y="70"/>
                  <a:pt x="109" y="70"/>
                </a:cubicBezTo>
                <a:cubicBezTo>
                  <a:pt x="114" y="70"/>
                  <a:pt x="116" y="63"/>
                  <a:pt x="118" y="59"/>
                </a:cubicBezTo>
                <a:cubicBezTo>
                  <a:pt x="125" y="50"/>
                  <a:pt x="127" y="47"/>
                  <a:pt x="138" y="47"/>
                </a:cubicBezTo>
                <a:cubicBezTo>
                  <a:pt x="143" y="47"/>
                  <a:pt x="149" y="49"/>
                  <a:pt x="153" y="47"/>
                </a:cubicBezTo>
                <a:cubicBezTo>
                  <a:pt x="157" y="47"/>
                  <a:pt x="160" y="44"/>
                  <a:pt x="163" y="43"/>
                </a:cubicBezTo>
                <a:cubicBezTo>
                  <a:pt x="166" y="42"/>
                  <a:pt x="168" y="42"/>
                  <a:pt x="170" y="41"/>
                </a:cubicBezTo>
                <a:cubicBezTo>
                  <a:pt x="172" y="40"/>
                  <a:pt x="173" y="39"/>
                  <a:pt x="175" y="39"/>
                </a:cubicBezTo>
                <a:cubicBezTo>
                  <a:pt x="176" y="39"/>
                  <a:pt x="176" y="39"/>
                  <a:pt x="176" y="39"/>
                </a:cubicBezTo>
                <a:cubicBezTo>
                  <a:pt x="175" y="35"/>
                  <a:pt x="174" y="32"/>
                  <a:pt x="174" y="32"/>
                </a:cubicBezTo>
                <a:cubicBezTo>
                  <a:pt x="163" y="22"/>
                  <a:pt x="163" y="22"/>
                  <a:pt x="163" y="22"/>
                </a:cubicBezTo>
                <a:cubicBezTo>
                  <a:pt x="163" y="22"/>
                  <a:pt x="145" y="23"/>
                  <a:pt x="141" y="14"/>
                </a:cubicBezTo>
                <a:cubicBezTo>
                  <a:pt x="138" y="5"/>
                  <a:pt x="139" y="0"/>
                  <a:pt x="129" y="1"/>
                </a:cubicBezTo>
                <a:cubicBezTo>
                  <a:pt x="119" y="3"/>
                  <a:pt x="114" y="4"/>
                  <a:pt x="105" y="7"/>
                </a:cubicBezTo>
                <a:cubicBezTo>
                  <a:pt x="96" y="10"/>
                  <a:pt x="94" y="5"/>
                  <a:pt x="85" y="4"/>
                </a:cubicBezTo>
                <a:cubicBezTo>
                  <a:pt x="76" y="4"/>
                  <a:pt x="63" y="7"/>
                  <a:pt x="55" y="7"/>
                </a:cubicBezTo>
                <a:cubicBezTo>
                  <a:pt x="51" y="7"/>
                  <a:pt x="47" y="5"/>
                  <a:pt x="43" y="4"/>
                </a:cubicBezTo>
                <a:cubicBezTo>
                  <a:pt x="42" y="6"/>
                  <a:pt x="42" y="6"/>
                  <a:pt x="42" y="6"/>
                </a:cubicBezTo>
                <a:cubicBezTo>
                  <a:pt x="39" y="9"/>
                  <a:pt x="33" y="10"/>
                  <a:pt x="29" y="13"/>
                </a:cubicBezTo>
                <a:cubicBezTo>
                  <a:pt x="23" y="16"/>
                  <a:pt x="18" y="19"/>
                  <a:pt x="13" y="23"/>
                </a:cubicBezTo>
                <a:cubicBezTo>
                  <a:pt x="10" y="26"/>
                  <a:pt x="4" y="29"/>
                  <a:pt x="2" y="33"/>
                </a:cubicBezTo>
                <a:cubicBezTo>
                  <a:pt x="1" y="35"/>
                  <a:pt x="1" y="37"/>
                  <a:pt x="1" y="39"/>
                </a:cubicBezTo>
                <a:lnTo>
                  <a:pt x="1" y="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2" name="Freeform 365"/>
          <p:cNvSpPr>
            <a:spLocks/>
          </p:cNvSpPr>
          <p:nvPr userDrawn="1"/>
        </p:nvSpPr>
        <p:spPr bwMode="auto">
          <a:xfrm>
            <a:off x="8983225" y="6111883"/>
            <a:ext cx="80404" cy="80404"/>
          </a:xfrm>
          <a:custGeom>
            <a:avLst/>
            <a:gdLst>
              <a:gd name="T0" fmla="*/ 2147483646 w 86"/>
              <a:gd name="T1" fmla="*/ 2147483646 h 87"/>
              <a:gd name="T2" fmla="*/ 2147483646 w 86"/>
              <a:gd name="T3" fmla="*/ 2147483646 h 87"/>
              <a:gd name="T4" fmla="*/ 2147483646 w 86"/>
              <a:gd name="T5" fmla="*/ 2147483646 h 87"/>
              <a:gd name="T6" fmla="*/ 2147483646 w 86"/>
              <a:gd name="T7" fmla="*/ 2147483646 h 87"/>
              <a:gd name="T8" fmla="*/ 2147483646 w 86"/>
              <a:gd name="T9" fmla="*/ 2147483646 h 87"/>
              <a:gd name="T10" fmla="*/ 2147483646 w 86"/>
              <a:gd name="T11" fmla="*/ 2147483646 h 87"/>
              <a:gd name="T12" fmla="*/ 2147483646 w 86"/>
              <a:gd name="T13" fmla="*/ 2147483646 h 87"/>
              <a:gd name="T14" fmla="*/ 2147483646 w 86"/>
              <a:gd name="T15" fmla="*/ 2147483646 h 87"/>
              <a:gd name="T16" fmla="*/ 2147483646 w 86"/>
              <a:gd name="T17" fmla="*/ 2147483646 h 87"/>
              <a:gd name="T18" fmla="*/ 2147483646 w 86"/>
              <a:gd name="T19" fmla="*/ 2147483646 h 87"/>
              <a:gd name="T20" fmla="*/ 2147483646 w 86"/>
              <a:gd name="T21" fmla="*/ 2147483646 h 87"/>
              <a:gd name="T22" fmla="*/ 2147483646 w 86"/>
              <a:gd name="T23" fmla="*/ 2147483646 h 87"/>
              <a:gd name="T24" fmla="*/ 2147483646 w 86"/>
              <a:gd name="T25" fmla="*/ 2147483646 h 87"/>
              <a:gd name="T26" fmla="*/ 2147483646 w 86"/>
              <a:gd name="T27" fmla="*/ 2147483646 h 87"/>
              <a:gd name="T28" fmla="*/ 2147483646 w 86"/>
              <a:gd name="T29" fmla="*/ 2147483646 h 87"/>
              <a:gd name="T30" fmla="*/ 2147483646 w 86"/>
              <a:gd name="T31" fmla="*/ 2147483646 h 87"/>
              <a:gd name="T32" fmla="*/ 2147483646 w 86"/>
              <a:gd name="T33" fmla="*/ 2147483646 h 87"/>
              <a:gd name="T34" fmla="*/ 2147483646 w 86"/>
              <a:gd name="T35" fmla="*/ 2147483646 h 87"/>
              <a:gd name="T36" fmla="*/ 2147483646 w 86"/>
              <a:gd name="T37" fmla="*/ 2147483646 h 87"/>
              <a:gd name="T38" fmla="*/ 2147483646 w 86"/>
              <a:gd name="T39" fmla="*/ 2147483646 h 87"/>
              <a:gd name="T40" fmla="*/ 2147483646 w 86"/>
              <a:gd name="T41" fmla="*/ 2147483646 h 87"/>
              <a:gd name="T42" fmla="*/ 2147483646 w 86"/>
              <a:gd name="T43" fmla="*/ 2147483646 h 8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6"/>
              <a:gd name="T67" fmla="*/ 0 h 87"/>
              <a:gd name="T68" fmla="*/ 86 w 86"/>
              <a:gd name="T69" fmla="*/ 87 h 8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6" h="87">
                <a:moveTo>
                  <a:pt x="59" y="10"/>
                </a:moveTo>
                <a:cubicBezTo>
                  <a:pt x="56" y="6"/>
                  <a:pt x="53" y="11"/>
                  <a:pt x="48" y="12"/>
                </a:cubicBezTo>
                <a:cubicBezTo>
                  <a:pt x="42" y="14"/>
                  <a:pt x="35" y="13"/>
                  <a:pt x="31" y="10"/>
                </a:cubicBezTo>
                <a:cubicBezTo>
                  <a:pt x="27" y="7"/>
                  <a:pt x="15" y="0"/>
                  <a:pt x="10" y="1"/>
                </a:cubicBezTo>
                <a:cubicBezTo>
                  <a:pt x="5" y="2"/>
                  <a:pt x="5" y="6"/>
                  <a:pt x="5" y="10"/>
                </a:cubicBezTo>
                <a:cubicBezTo>
                  <a:pt x="6" y="14"/>
                  <a:pt x="0" y="16"/>
                  <a:pt x="7" y="23"/>
                </a:cubicBezTo>
                <a:cubicBezTo>
                  <a:pt x="14" y="29"/>
                  <a:pt x="18" y="29"/>
                  <a:pt x="19" y="36"/>
                </a:cubicBezTo>
                <a:cubicBezTo>
                  <a:pt x="19" y="44"/>
                  <a:pt x="19" y="46"/>
                  <a:pt x="18" y="51"/>
                </a:cubicBezTo>
                <a:cubicBezTo>
                  <a:pt x="18" y="55"/>
                  <a:pt x="13" y="55"/>
                  <a:pt x="18" y="58"/>
                </a:cubicBezTo>
                <a:cubicBezTo>
                  <a:pt x="23" y="61"/>
                  <a:pt x="32" y="61"/>
                  <a:pt x="31" y="66"/>
                </a:cubicBezTo>
                <a:cubicBezTo>
                  <a:pt x="29" y="71"/>
                  <a:pt x="27" y="87"/>
                  <a:pt x="32" y="86"/>
                </a:cubicBezTo>
                <a:cubicBezTo>
                  <a:pt x="38" y="86"/>
                  <a:pt x="50" y="86"/>
                  <a:pt x="51" y="81"/>
                </a:cubicBezTo>
                <a:cubicBezTo>
                  <a:pt x="52" y="75"/>
                  <a:pt x="50" y="67"/>
                  <a:pt x="55" y="68"/>
                </a:cubicBezTo>
                <a:cubicBezTo>
                  <a:pt x="61" y="68"/>
                  <a:pt x="63" y="71"/>
                  <a:pt x="64" y="69"/>
                </a:cubicBezTo>
                <a:cubicBezTo>
                  <a:pt x="66" y="68"/>
                  <a:pt x="65" y="57"/>
                  <a:pt x="69" y="66"/>
                </a:cubicBezTo>
                <a:cubicBezTo>
                  <a:pt x="73" y="76"/>
                  <a:pt x="78" y="73"/>
                  <a:pt x="75" y="67"/>
                </a:cubicBezTo>
                <a:cubicBezTo>
                  <a:pt x="72" y="60"/>
                  <a:pt x="72" y="55"/>
                  <a:pt x="73" y="52"/>
                </a:cubicBezTo>
                <a:cubicBezTo>
                  <a:pt x="75" y="49"/>
                  <a:pt x="75" y="47"/>
                  <a:pt x="78" y="42"/>
                </a:cubicBezTo>
                <a:cubicBezTo>
                  <a:pt x="81" y="37"/>
                  <a:pt x="82" y="30"/>
                  <a:pt x="83" y="25"/>
                </a:cubicBezTo>
                <a:cubicBezTo>
                  <a:pt x="84" y="20"/>
                  <a:pt x="86" y="16"/>
                  <a:pt x="85" y="11"/>
                </a:cubicBezTo>
                <a:cubicBezTo>
                  <a:pt x="84" y="7"/>
                  <a:pt x="82" y="5"/>
                  <a:pt x="79" y="4"/>
                </a:cubicBezTo>
                <a:cubicBezTo>
                  <a:pt x="77" y="2"/>
                  <a:pt x="62" y="14"/>
                  <a:pt x="59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3" name="Freeform 366"/>
          <p:cNvSpPr>
            <a:spLocks/>
          </p:cNvSpPr>
          <p:nvPr userDrawn="1"/>
        </p:nvSpPr>
        <p:spPr bwMode="auto">
          <a:xfrm>
            <a:off x="8966474" y="6083408"/>
            <a:ext cx="8375" cy="18425"/>
          </a:xfrm>
          <a:custGeom>
            <a:avLst/>
            <a:gdLst>
              <a:gd name="T0" fmla="*/ 2147483646 w 9"/>
              <a:gd name="T1" fmla="*/ 2147483646 h 20"/>
              <a:gd name="T2" fmla="*/ 0 w 9"/>
              <a:gd name="T3" fmla="*/ 2147483646 h 20"/>
              <a:gd name="T4" fmla="*/ 2147483646 w 9"/>
              <a:gd name="T5" fmla="*/ 2147483646 h 20"/>
              <a:gd name="T6" fmla="*/ 2147483646 w 9"/>
              <a:gd name="T7" fmla="*/ 2147483646 h 20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20"/>
              <a:gd name="T14" fmla="*/ 9 w 9"/>
              <a:gd name="T15" fmla="*/ 20 h 2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20">
                <a:moveTo>
                  <a:pt x="6" y="3"/>
                </a:moveTo>
                <a:cubicBezTo>
                  <a:pt x="4" y="0"/>
                  <a:pt x="1" y="3"/>
                  <a:pt x="0" y="9"/>
                </a:cubicBezTo>
                <a:cubicBezTo>
                  <a:pt x="0" y="14"/>
                  <a:pt x="2" y="20"/>
                  <a:pt x="4" y="18"/>
                </a:cubicBezTo>
                <a:cubicBezTo>
                  <a:pt x="7" y="15"/>
                  <a:pt x="9" y="7"/>
                  <a:pt x="6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4" name="Freeform 367"/>
          <p:cNvSpPr>
            <a:spLocks/>
          </p:cNvSpPr>
          <p:nvPr userDrawn="1"/>
        </p:nvSpPr>
        <p:spPr bwMode="auto">
          <a:xfrm>
            <a:off x="9050229" y="6085082"/>
            <a:ext cx="13401" cy="20101"/>
          </a:xfrm>
          <a:custGeom>
            <a:avLst/>
            <a:gdLst>
              <a:gd name="T0" fmla="*/ 2147483646 w 15"/>
              <a:gd name="T1" fmla="*/ 2147483646 h 21"/>
              <a:gd name="T2" fmla="*/ 2147483646 w 15"/>
              <a:gd name="T3" fmla="*/ 2147483646 h 21"/>
              <a:gd name="T4" fmla="*/ 2147483646 w 15"/>
              <a:gd name="T5" fmla="*/ 2147483646 h 21"/>
              <a:gd name="T6" fmla="*/ 2147483646 w 15"/>
              <a:gd name="T7" fmla="*/ 2147483646 h 21"/>
              <a:gd name="T8" fmla="*/ 2147483646 w 15"/>
              <a:gd name="T9" fmla="*/ 2147483646 h 2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"/>
              <a:gd name="T16" fmla="*/ 0 h 21"/>
              <a:gd name="T17" fmla="*/ 15 w 15"/>
              <a:gd name="T18" fmla="*/ 21 h 2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" h="21">
                <a:moveTo>
                  <a:pt x="4" y="2"/>
                </a:moveTo>
                <a:cubicBezTo>
                  <a:pt x="0" y="4"/>
                  <a:pt x="3" y="8"/>
                  <a:pt x="4" y="12"/>
                </a:cubicBezTo>
                <a:cubicBezTo>
                  <a:pt x="6" y="16"/>
                  <a:pt x="7" y="21"/>
                  <a:pt x="9" y="19"/>
                </a:cubicBezTo>
                <a:cubicBezTo>
                  <a:pt x="11" y="18"/>
                  <a:pt x="15" y="14"/>
                  <a:pt x="15" y="14"/>
                </a:cubicBezTo>
                <a:cubicBezTo>
                  <a:pt x="15" y="14"/>
                  <a:pt x="9" y="0"/>
                  <a:pt x="4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5" name="Freeform 368"/>
          <p:cNvSpPr>
            <a:spLocks/>
          </p:cNvSpPr>
          <p:nvPr userDrawn="1"/>
        </p:nvSpPr>
        <p:spPr bwMode="auto">
          <a:xfrm>
            <a:off x="9455601" y="5597629"/>
            <a:ext cx="90455" cy="73704"/>
          </a:xfrm>
          <a:custGeom>
            <a:avLst/>
            <a:gdLst>
              <a:gd name="T0" fmla="*/ 2147483646 w 96"/>
              <a:gd name="T1" fmla="*/ 2147483646 h 80"/>
              <a:gd name="T2" fmla="*/ 2147483646 w 96"/>
              <a:gd name="T3" fmla="*/ 2147483646 h 80"/>
              <a:gd name="T4" fmla="*/ 2147483646 w 96"/>
              <a:gd name="T5" fmla="*/ 2147483646 h 80"/>
              <a:gd name="T6" fmla="*/ 2147483646 w 96"/>
              <a:gd name="T7" fmla="*/ 2147483646 h 80"/>
              <a:gd name="T8" fmla="*/ 2147483646 w 96"/>
              <a:gd name="T9" fmla="*/ 2147483646 h 80"/>
              <a:gd name="T10" fmla="*/ 2147483646 w 96"/>
              <a:gd name="T11" fmla="*/ 2147483646 h 80"/>
              <a:gd name="T12" fmla="*/ 2147483646 w 96"/>
              <a:gd name="T13" fmla="*/ 2147483646 h 80"/>
              <a:gd name="T14" fmla="*/ 2147483646 w 96"/>
              <a:gd name="T15" fmla="*/ 2147483646 h 80"/>
              <a:gd name="T16" fmla="*/ 2147483646 w 96"/>
              <a:gd name="T17" fmla="*/ 2147483646 h 80"/>
              <a:gd name="T18" fmla="*/ 2147483646 w 96"/>
              <a:gd name="T19" fmla="*/ 2147483646 h 80"/>
              <a:gd name="T20" fmla="*/ 2147483646 w 96"/>
              <a:gd name="T21" fmla="*/ 2147483646 h 80"/>
              <a:gd name="T22" fmla="*/ 2147483646 w 96"/>
              <a:gd name="T23" fmla="*/ 2147483646 h 80"/>
              <a:gd name="T24" fmla="*/ 2147483646 w 96"/>
              <a:gd name="T25" fmla="*/ 2147483646 h 80"/>
              <a:gd name="T26" fmla="*/ 2147483646 w 96"/>
              <a:gd name="T27" fmla="*/ 2147483646 h 80"/>
              <a:gd name="T28" fmla="*/ 2147483646 w 96"/>
              <a:gd name="T29" fmla="*/ 2147483646 h 80"/>
              <a:gd name="T30" fmla="*/ 2147483646 w 96"/>
              <a:gd name="T31" fmla="*/ 2147483646 h 80"/>
              <a:gd name="T32" fmla="*/ 2147483646 w 96"/>
              <a:gd name="T33" fmla="*/ 2147483646 h 80"/>
              <a:gd name="T34" fmla="*/ 2147483646 w 96"/>
              <a:gd name="T35" fmla="*/ 2147483646 h 80"/>
              <a:gd name="T36" fmla="*/ 2147483646 w 96"/>
              <a:gd name="T37" fmla="*/ 2147483646 h 80"/>
              <a:gd name="T38" fmla="*/ 2147483646 w 96"/>
              <a:gd name="T39" fmla="*/ 2147483646 h 80"/>
              <a:gd name="T40" fmla="*/ 2147483646 w 96"/>
              <a:gd name="T41" fmla="*/ 2147483646 h 80"/>
              <a:gd name="T42" fmla="*/ 2147483646 w 96"/>
              <a:gd name="T43" fmla="*/ 2147483646 h 80"/>
              <a:gd name="T44" fmla="*/ 2147483646 w 96"/>
              <a:gd name="T45" fmla="*/ 2147483646 h 80"/>
              <a:gd name="T46" fmla="*/ 2147483646 w 96"/>
              <a:gd name="T47" fmla="*/ 2147483646 h 80"/>
              <a:gd name="T48" fmla="*/ 2147483646 w 96"/>
              <a:gd name="T49" fmla="*/ 2147483646 h 80"/>
              <a:gd name="T50" fmla="*/ 2147483646 w 96"/>
              <a:gd name="T51" fmla="*/ 2147483646 h 80"/>
              <a:gd name="T52" fmla="*/ 2147483646 w 96"/>
              <a:gd name="T53" fmla="*/ 2147483646 h 80"/>
              <a:gd name="T54" fmla="*/ 2147483646 w 96"/>
              <a:gd name="T55" fmla="*/ 2147483646 h 80"/>
              <a:gd name="T56" fmla="*/ 2147483646 w 96"/>
              <a:gd name="T57" fmla="*/ 2147483646 h 80"/>
              <a:gd name="T58" fmla="*/ 2147483646 w 96"/>
              <a:gd name="T59" fmla="*/ 2147483646 h 80"/>
              <a:gd name="T60" fmla="*/ 2147483646 w 96"/>
              <a:gd name="T61" fmla="*/ 2147483646 h 80"/>
              <a:gd name="T62" fmla="*/ 2147483646 w 96"/>
              <a:gd name="T63" fmla="*/ 2147483646 h 80"/>
              <a:gd name="T64" fmla="*/ 2147483646 w 96"/>
              <a:gd name="T65" fmla="*/ 2147483646 h 80"/>
              <a:gd name="T66" fmla="*/ 2147483646 w 96"/>
              <a:gd name="T67" fmla="*/ 2147483646 h 80"/>
              <a:gd name="T68" fmla="*/ 2147483646 w 96"/>
              <a:gd name="T69" fmla="*/ 2147483646 h 80"/>
              <a:gd name="T70" fmla="*/ 2147483646 w 96"/>
              <a:gd name="T71" fmla="*/ 2147483646 h 80"/>
              <a:gd name="T72" fmla="*/ 2147483646 w 96"/>
              <a:gd name="T73" fmla="*/ 2147483646 h 80"/>
              <a:gd name="T74" fmla="*/ 2147483646 w 96"/>
              <a:gd name="T75" fmla="*/ 2147483646 h 8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96"/>
              <a:gd name="T115" fmla="*/ 0 h 80"/>
              <a:gd name="T116" fmla="*/ 96 w 96"/>
              <a:gd name="T117" fmla="*/ 80 h 8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96" h="80">
                <a:moveTo>
                  <a:pt x="2" y="1"/>
                </a:moveTo>
                <a:cubicBezTo>
                  <a:pt x="1" y="1"/>
                  <a:pt x="0" y="3"/>
                  <a:pt x="2" y="3"/>
                </a:cubicBezTo>
                <a:cubicBezTo>
                  <a:pt x="3" y="3"/>
                  <a:pt x="5" y="4"/>
                  <a:pt x="5" y="4"/>
                </a:cubicBezTo>
                <a:cubicBezTo>
                  <a:pt x="5" y="5"/>
                  <a:pt x="3" y="6"/>
                  <a:pt x="3" y="6"/>
                </a:cubicBezTo>
                <a:cubicBezTo>
                  <a:pt x="3" y="6"/>
                  <a:pt x="2" y="8"/>
                  <a:pt x="2" y="8"/>
                </a:cubicBezTo>
                <a:cubicBezTo>
                  <a:pt x="3" y="9"/>
                  <a:pt x="4" y="8"/>
                  <a:pt x="5" y="8"/>
                </a:cubicBezTo>
                <a:cubicBezTo>
                  <a:pt x="6" y="9"/>
                  <a:pt x="5" y="7"/>
                  <a:pt x="6" y="8"/>
                </a:cubicBezTo>
                <a:cubicBezTo>
                  <a:pt x="7" y="9"/>
                  <a:pt x="5" y="11"/>
                  <a:pt x="5" y="12"/>
                </a:cubicBezTo>
                <a:cubicBezTo>
                  <a:pt x="6" y="13"/>
                  <a:pt x="10" y="14"/>
                  <a:pt x="10" y="16"/>
                </a:cubicBezTo>
                <a:cubicBezTo>
                  <a:pt x="11" y="17"/>
                  <a:pt x="10" y="18"/>
                  <a:pt x="11" y="19"/>
                </a:cubicBezTo>
                <a:cubicBezTo>
                  <a:pt x="12" y="19"/>
                  <a:pt x="13" y="20"/>
                  <a:pt x="14" y="21"/>
                </a:cubicBezTo>
                <a:cubicBezTo>
                  <a:pt x="15" y="22"/>
                  <a:pt x="15" y="23"/>
                  <a:pt x="15" y="23"/>
                </a:cubicBezTo>
                <a:cubicBezTo>
                  <a:pt x="14" y="24"/>
                  <a:pt x="20" y="27"/>
                  <a:pt x="20" y="28"/>
                </a:cubicBezTo>
                <a:cubicBezTo>
                  <a:pt x="21" y="29"/>
                  <a:pt x="23" y="29"/>
                  <a:pt x="23" y="30"/>
                </a:cubicBezTo>
                <a:cubicBezTo>
                  <a:pt x="24" y="31"/>
                  <a:pt x="22" y="32"/>
                  <a:pt x="23" y="33"/>
                </a:cubicBezTo>
                <a:cubicBezTo>
                  <a:pt x="23" y="34"/>
                  <a:pt x="26" y="36"/>
                  <a:pt x="27" y="35"/>
                </a:cubicBezTo>
                <a:cubicBezTo>
                  <a:pt x="27" y="34"/>
                  <a:pt x="26" y="31"/>
                  <a:pt x="27" y="34"/>
                </a:cubicBezTo>
                <a:cubicBezTo>
                  <a:pt x="29" y="37"/>
                  <a:pt x="27" y="37"/>
                  <a:pt x="29" y="39"/>
                </a:cubicBezTo>
                <a:cubicBezTo>
                  <a:pt x="31" y="40"/>
                  <a:pt x="32" y="42"/>
                  <a:pt x="32" y="42"/>
                </a:cubicBezTo>
                <a:cubicBezTo>
                  <a:pt x="32" y="42"/>
                  <a:pt x="30" y="44"/>
                  <a:pt x="31" y="44"/>
                </a:cubicBezTo>
                <a:cubicBezTo>
                  <a:pt x="33" y="44"/>
                  <a:pt x="34" y="42"/>
                  <a:pt x="35" y="43"/>
                </a:cubicBezTo>
                <a:cubicBezTo>
                  <a:pt x="36" y="44"/>
                  <a:pt x="37" y="46"/>
                  <a:pt x="37" y="46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49"/>
                  <a:pt x="40" y="48"/>
                  <a:pt x="41" y="49"/>
                </a:cubicBezTo>
                <a:cubicBezTo>
                  <a:pt x="42" y="51"/>
                  <a:pt x="45" y="52"/>
                  <a:pt x="46" y="52"/>
                </a:cubicBezTo>
                <a:cubicBezTo>
                  <a:pt x="48" y="53"/>
                  <a:pt x="51" y="56"/>
                  <a:pt x="51" y="56"/>
                </a:cubicBezTo>
                <a:cubicBezTo>
                  <a:pt x="51" y="56"/>
                  <a:pt x="53" y="58"/>
                  <a:pt x="55" y="58"/>
                </a:cubicBezTo>
                <a:cubicBezTo>
                  <a:pt x="56" y="58"/>
                  <a:pt x="58" y="57"/>
                  <a:pt x="59" y="59"/>
                </a:cubicBezTo>
                <a:cubicBezTo>
                  <a:pt x="59" y="60"/>
                  <a:pt x="60" y="61"/>
                  <a:pt x="61" y="62"/>
                </a:cubicBezTo>
                <a:cubicBezTo>
                  <a:pt x="62" y="62"/>
                  <a:pt x="62" y="62"/>
                  <a:pt x="63" y="64"/>
                </a:cubicBezTo>
                <a:cubicBezTo>
                  <a:pt x="65" y="65"/>
                  <a:pt x="63" y="59"/>
                  <a:pt x="66" y="63"/>
                </a:cubicBezTo>
                <a:cubicBezTo>
                  <a:pt x="69" y="67"/>
                  <a:pt x="69" y="67"/>
                  <a:pt x="68" y="68"/>
                </a:cubicBezTo>
                <a:cubicBezTo>
                  <a:pt x="68" y="68"/>
                  <a:pt x="66" y="67"/>
                  <a:pt x="67" y="68"/>
                </a:cubicBezTo>
                <a:cubicBezTo>
                  <a:pt x="68" y="69"/>
                  <a:pt x="70" y="69"/>
                  <a:pt x="72" y="70"/>
                </a:cubicBezTo>
                <a:cubicBezTo>
                  <a:pt x="74" y="72"/>
                  <a:pt x="74" y="72"/>
                  <a:pt x="76" y="73"/>
                </a:cubicBezTo>
                <a:cubicBezTo>
                  <a:pt x="77" y="73"/>
                  <a:pt x="78" y="69"/>
                  <a:pt x="80" y="71"/>
                </a:cubicBezTo>
                <a:cubicBezTo>
                  <a:pt x="82" y="73"/>
                  <a:pt x="81" y="75"/>
                  <a:pt x="83" y="76"/>
                </a:cubicBezTo>
                <a:cubicBezTo>
                  <a:pt x="86" y="76"/>
                  <a:pt x="87" y="74"/>
                  <a:pt x="87" y="76"/>
                </a:cubicBezTo>
                <a:cubicBezTo>
                  <a:pt x="87" y="78"/>
                  <a:pt x="87" y="79"/>
                  <a:pt x="88" y="80"/>
                </a:cubicBezTo>
                <a:cubicBezTo>
                  <a:pt x="90" y="80"/>
                  <a:pt x="88" y="76"/>
                  <a:pt x="91" y="78"/>
                </a:cubicBezTo>
                <a:cubicBezTo>
                  <a:pt x="94" y="79"/>
                  <a:pt x="95" y="78"/>
                  <a:pt x="95" y="77"/>
                </a:cubicBezTo>
                <a:cubicBezTo>
                  <a:pt x="96" y="75"/>
                  <a:pt x="95" y="72"/>
                  <a:pt x="95" y="72"/>
                </a:cubicBezTo>
                <a:cubicBezTo>
                  <a:pt x="95" y="72"/>
                  <a:pt x="92" y="72"/>
                  <a:pt x="92" y="71"/>
                </a:cubicBezTo>
                <a:cubicBezTo>
                  <a:pt x="91" y="70"/>
                  <a:pt x="91" y="67"/>
                  <a:pt x="90" y="67"/>
                </a:cubicBezTo>
                <a:cubicBezTo>
                  <a:pt x="89" y="67"/>
                  <a:pt x="87" y="67"/>
                  <a:pt x="86" y="66"/>
                </a:cubicBezTo>
                <a:cubicBezTo>
                  <a:pt x="85" y="64"/>
                  <a:pt x="85" y="62"/>
                  <a:pt x="84" y="61"/>
                </a:cubicBezTo>
                <a:cubicBezTo>
                  <a:pt x="83" y="60"/>
                  <a:pt x="82" y="60"/>
                  <a:pt x="81" y="60"/>
                </a:cubicBezTo>
                <a:cubicBezTo>
                  <a:pt x="79" y="60"/>
                  <a:pt x="78" y="58"/>
                  <a:pt x="77" y="57"/>
                </a:cubicBezTo>
                <a:cubicBezTo>
                  <a:pt x="76" y="56"/>
                  <a:pt x="76" y="53"/>
                  <a:pt x="75" y="54"/>
                </a:cubicBezTo>
                <a:cubicBezTo>
                  <a:pt x="74" y="55"/>
                  <a:pt x="73" y="53"/>
                  <a:pt x="73" y="54"/>
                </a:cubicBezTo>
                <a:cubicBezTo>
                  <a:pt x="72" y="55"/>
                  <a:pt x="72" y="51"/>
                  <a:pt x="70" y="51"/>
                </a:cubicBezTo>
                <a:cubicBezTo>
                  <a:pt x="69" y="51"/>
                  <a:pt x="68" y="50"/>
                  <a:pt x="68" y="49"/>
                </a:cubicBezTo>
                <a:cubicBezTo>
                  <a:pt x="67" y="49"/>
                  <a:pt x="67" y="47"/>
                  <a:pt x="67" y="48"/>
                </a:cubicBezTo>
                <a:cubicBezTo>
                  <a:pt x="66" y="49"/>
                  <a:pt x="65" y="49"/>
                  <a:pt x="64" y="48"/>
                </a:cubicBezTo>
                <a:cubicBezTo>
                  <a:pt x="64" y="47"/>
                  <a:pt x="63" y="44"/>
                  <a:pt x="63" y="45"/>
                </a:cubicBezTo>
                <a:cubicBezTo>
                  <a:pt x="63" y="47"/>
                  <a:pt x="61" y="47"/>
                  <a:pt x="61" y="46"/>
                </a:cubicBezTo>
                <a:cubicBezTo>
                  <a:pt x="61" y="46"/>
                  <a:pt x="62" y="44"/>
                  <a:pt x="61" y="44"/>
                </a:cubicBezTo>
                <a:cubicBezTo>
                  <a:pt x="59" y="44"/>
                  <a:pt x="60" y="43"/>
                  <a:pt x="59" y="44"/>
                </a:cubicBezTo>
                <a:cubicBezTo>
                  <a:pt x="59" y="46"/>
                  <a:pt x="58" y="46"/>
                  <a:pt x="58" y="45"/>
                </a:cubicBezTo>
                <a:cubicBezTo>
                  <a:pt x="57" y="44"/>
                  <a:pt x="58" y="42"/>
                  <a:pt x="56" y="41"/>
                </a:cubicBezTo>
                <a:cubicBezTo>
                  <a:pt x="55" y="41"/>
                  <a:pt x="54" y="41"/>
                  <a:pt x="52" y="40"/>
                </a:cubicBezTo>
                <a:cubicBezTo>
                  <a:pt x="50" y="40"/>
                  <a:pt x="49" y="37"/>
                  <a:pt x="50" y="37"/>
                </a:cubicBezTo>
                <a:cubicBezTo>
                  <a:pt x="51" y="37"/>
                  <a:pt x="52" y="36"/>
                  <a:pt x="51" y="36"/>
                </a:cubicBezTo>
                <a:cubicBezTo>
                  <a:pt x="50" y="36"/>
                  <a:pt x="46" y="29"/>
                  <a:pt x="46" y="29"/>
                </a:cubicBezTo>
                <a:cubicBezTo>
                  <a:pt x="46" y="29"/>
                  <a:pt x="44" y="28"/>
                  <a:pt x="43" y="29"/>
                </a:cubicBezTo>
                <a:cubicBezTo>
                  <a:pt x="42" y="29"/>
                  <a:pt x="40" y="26"/>
                  <a:pt x="40" y="25"/>
                </a:cubicBezTo>
                <a:cubicBezTo>
                  <a:pt x="40" y="23"/>
                  <a:pt x="40" y="22"/>
                  <a:pt x="38" y="22"/>
                </a:cubicBezTo>
                <a:cubicBezTo>
                  <a:pt x="37" y="22"/>
                  <a:pt x="33" y="21"/>
                  <a:pt x="31" y="20"/>
                </a:cubicBezTo>
                <a:cubicBezTo>
                  <a:pt x="29" y="19"/>
                  <a:pt x="27" y="18"/>
                  <a:pt x="26" y="16"/>
                </a:cubicBezTo>
                <a:cubicBezTo>
                  <a:pt x="25" y="14"/>
                  <a:pt x="24" y="12"/>
                  <a:pt x="23" y="11"/>
                </a:cubicBezTo>
                <a:cubicBezTo>
                  <a:pt x="21" y="10"/>
                  <a:pt x="21" y="10"/>
                  <a:pt x="19" y="8"/>
                </a:cubicBezTo>
                <a:cubicBezTo>
                  <a:pt x="17" y="6"/>
                  <a:pt x="15" y="4"/>
                  <a:pt x="14" y="5"/>
                </a:cubicBezTo>
                <a:cubicBezTo>
                  <a:pt x="13" y="6"/>
                  <a:pt x="11" y="4"/>
                  <a:pt x="11" y="5"/>
                </a:cubicBezTo>
                <a:cubicBezTo>
                  <a:pt x="11" y="7"/>
                  <a:pt x="5" y="2"/>
                  <a:pt x="5" y="2"/>
                </a:cubicBezTo>
                <a:cubicBezTo>
                  <a:pt x="5" y="2"/>
                  <a:pt x="4" y="0"/>
                  <a:pt x="3" y="1"/>
                </a:cubicBezTo>
                <a:cubicBezTo>
                  <a:pt x="2" y="1"/>
                  <a:pt x="2" y="1"/>
                  <a:pt x="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6" name="Freeform 369"/>
          <p:cNvSpPr>
            <a:spLocks/>
          </p:cNvSpPr>
          <p:nvPr userDrawn="1"/>
        </p:nvSpPr>
        <p:spPr bwMode="auto">
          <a:xfrm>
            <a:off x="9539355" y="5616055"/>
            <a:ext cx="11725" cy="15076"/>
          </a:xfrm>
          <a:custGeom>
            <a:avLst/>
            <a:gdLst>
              <a:gd name="T0" fmla="*/ 2147483646 w 13"/>
              <a:gd name="T1" fmla="*/ 0 h 16"/>
              <a:gd name="T2" fmla="*/ 2147483646 w 13"/>
              <a:gd name="T3" fmla="*/ 0 h 16"/>
              <a:gd name="T4" fmla="*/ 2147483646 w 13"/>
              <a:gd name="T5" fmla="*/ 2147483646 h 16"/>
              <a:gd name="T6" fmla="*/ 2147483646 w 13"/>
              <a:gd name="T7" fmla="*/ 2147483646 h 16"/>
              <a:gd name="T8" fmla="*/ 2147483646 w 13"/>
              <a:gd name="T9" fmla="*/ 2147483646 h 16"/>
              <a:gd name="T10" fmla="*/ 2147483646 w 13"/>
              <a:gd name="T11" fmla="*/ 2147483646 h 16"/>
              <a:gd name="T12" fmla="*/ 2147483646 w 13"/>
              <a:gd name="T13" fmla="*/ 2147483646 h 16"/>
              <a:gd name="T14" fmla="*/ 2147483646 w 13"/>
              <a:gd name="T15" fmla="*/ 2147483646 h 16"/>
              <a:gd name="T16" fmla="*/ 2147483646 w 13"/>
              <a:gd name="T17" fmla="*/ 2147483646 h 16"/>
              <a:gd name="T18" fmla="*/ 2147483646 w 13"/>
              <a:gd name="T19" fmla="*/ 2147483646 h 16"/>
              <a:gd name="T20" fmla="*/ 2147483646 w 13"/>
              <a:gd name="T21" fmla="*/ 2147483646 h 16"/>
              <a:gd name="T22" fmla="*/ 2147483646 w 13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3"/>
              <a:gd name="T37" fmla="*/ 0 h 16"/>
              <a:gd name="T38" fmla="*/ 13 w 13"/>
              <a:gd name="T39" fmla="*/ 16 h 1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3" h="16">
                <a:moveTo>
                  <a:pt x="8" y="0"/>
                </a:moveTo>
                <a:cubicBezTo>
                  <a:pt x="8" y="0"/>
                  <a:pt x="3" y="0"/>
                  <a:pt x="3" y="0"/>
                </a:cubicBezTo>
                <a:cubicBezTo>
                  <a:pt x="2" y="0"/>
                  <a:pt x="1" y="1"/>
                  <a:pt x="2" y="2"/>
                </a:cubicBezTo>
                <a:cubicBezTo>
                  <a:pt x="3" y="2"/>
                  <a:pt x="5" y="3"/>
                  <a:pt x="5" y="3"/>
                </a:cubicBezTo>
                <a:cubicBezTo>
                  <a:pt x="5" y="4"/>
                  <a:pt x="3" y="6"/>
                  <a:pt x="3" y="6"/>
                </a:cubicBezTo>
                <a:cubicBezTo>
                  <a:pt x="2" y="7"/>
                  <a:pt x="1" y="6"/>
                  <a:pt x="1" y="7"/>
                </a:cubicBezTo>
                <a:cubicBezTo>
                  <a:pt x="0" y="7"/>
                  <a:pt x="5" y="12"/>
                  <a:pt x="6" y="13"/>
                </a:cubicBezTo>
                <a:cubicBezTo>
                  <a:pt x="8" y="14"/>
                  <a:pt x="8" y="16"/>
                  <a:pt x="9" y="16"/>
                </a:cubicBezTo>
                <a:cubicBezTo>
                  <a:pt x="10" y="16"/>
                  <a:pt x="10" y="16"/>
                  <a:pt x="12" y="15"/>
                </a:cubicBezTo>
                <a:cubicBezTo>
                  <a:pt x="13" y="15"/>
                  <a:pt x="11" y="11"/>
                  <a:pt x="11" y="9"/>
                </a:cubicBezTo>
                <a:cubicBezTo>
                  <a:pt x="11" y="8"/>
                  <a:pt x="9" y="8"/>
                  <a:pt x="9" y="6"/>
                </a:cubicBezTo>
                <a:cubicBezTo>
                  <a:pt x="9" y="4"/>
                  <a:pt x="12" y="3"/>
                  <a:pt x="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7" name="Freeform 370"/>
          <p:cNvSpPr>
            <a:spLocks/>
          </p:cNvSpPr>
          <p:nvPr userDrawn="1"/>
        </p:nvSpPr>
        <p:spPr bwMode="auto">
          <a:xfrm>
            <a:off x="9522605" y="5607680"/>
            <a:ext cx="8375" cy="10051"/>
          </a:xfrm>
          <a:custGeom>
            <a:avLst/>
            <a:gdLst>
              <a:gd name="T0" fmla="*/ 2147483646 w 9"/>
              <a:gd name="T1" fmla="*/ 2147483646 h 12"/>
              <a:gd name="T2" fmla="*/ 2147483646 w 9"/>
              <a:gd name="T3" fmla="*/ 2147483646 h 12"/>
              <a:gd name="T4" fmla="*/ 2147483646 w 9"/>
              <a:gd name="T5" fmla="*/ 2147483646 h 12"/>
              <a:gd name="T6" fmla="*/ 2147483646 w 9"/>
              <a:gd name="T7" fmla="*/ 2147483646 h 12"/>
              <a:gd name="T8" fmla="*/ 2147483646 w 9"/>
              <a:gd name="T9" fmla="*/ 2147483646 h 12"/>
              <a:gd name="T10" fmla="*/ 0 w 9"/>
              <a:gd name="T11" fmla="*/ 2147483646 h 12"/>
              <a:gd name="T12" fmla="*/ 2147483646 w 9"/>
              <a:gd name="T13" fmla="*/ 2147483646 h 12"/>
              <a:gd name="T14" fmla="*/ 2147483646 w 9"/>
              <a:gd name="T15" fmla="*/ 2147483646 h 12"/>
              <a:gd name="T16" fmla="*/ 2147483646 w 9"/>
              <a:gd name="T17" fmla="*/ 2147483646 h 12"/>
              <a:gd name="T18" fmla="*/ 2147483646 w 9"/>
              <a:gd name="T19" fmla="*/ 2147483646 h 12"/>
              <a:gd name="T20" fmla="*/ 2147483646 w 9"/>
              <a:gd name="T21" fmla="*/ 2147483646 h 12"/>
              <a:gd name="T22" fmla="*/ 2147483646 w 9"/>
              <a:gd name="T23" fmla="*/ 0 h 12"/>
              <a:gd name="T24" fmla="*/ 2147483646 w 9"/>
              <a:gd name="T25" fmla="*/ 2147483646 h 1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2"/>
              <a:gd name="T41" fmla="*/ 9 w 9"/>
              <a:gd name="T42" fmla="*/ 12 h 1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2">
                <a:moveTo>
                  <a:pt x="3" y="1"/>
                </a:moveTo>
                <a:cubicBezTo>
                  <a:pt x="3" y="1"/>
                  <a:pt x="4" y="0"/>
                  <a:pt x="6" y="1"/>
                </a:cubicBezTo>
                <a:cubicBezTo>
                  <a:pt x="7" y="2"/>
                  <a:pt x="6" y="4"/>
                  <a:pt x="6" y="4"/>
                </a:cubicBezTo>
                <a:cubicBezTo>
                  <a:pt x="5" y="5"/>
                  <a:pt x="5" y="6"/>
                  <a:pt x="5" y="7"/>
                </a:cubicBezTo>
                <a:cubicBezTo>
                  <a:pt x="5" y="8"/>
                  <a:pt x="3" y="8"/>
                  <a:pt x="2" y="9"/>
                </a:cubicBezTo>
                <a:cubicBezTo>
                  <a:pt x="2" y="11"/>
                  <a:pt x="0" y="12"/>
                  <a:pt x="0" y="12"/>
                </a:cubicBezTo>
                <a:cubicBezTo>
                  <a:pt x="0" y="12"/>
                  <a:pt x="2" y="11"/>
                  <a:pt x="4" y="11"/>
                </a:cubicBezTo>
                <a:cubicBezTo>
                  <a:pt x="6" y="11"/>
                  <a:pt x="6" y="8"/>
                  <a:pt x="6" y="8"/>
                </a:cubicBezTo>
                <a:cubicBezTo>
                  <a:pt x="7" y="7"/>
                  <a:pt x="5" y="6"/>
                  <a:pt x="6" y="6"/>
                </a:cubicBezTo>
                <a:cubicBezTo>
                  <a:pt x="6" y="5"/>
                  <a:pt x="6" y="4"/>
                  <a:pt x="8" y="4"/>
                </a:cubicBezTo>
                <a:cubicBezTo>
                  <a:pt x="9" y="3"/>
                  <a:pt x="9" y="2"/>
                  <a:pt x="9" y="2"/>
                </a:cubicBezTo>
                <a:cubicBezTo>
                  <a:pt x="9" y="1"/>
                  <a:pt x="8" y="0"/>
                  <a:pt x="8" y="0"/>
                </a:cubicBezTo>
                <a:cubicBezTo>
                  <a:pt x="7" y="0"/>
                  <a:pt x="3" y="1"/>
                  <a:pt x="3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8" name="Freeform 371"/>
          <p:cNvSpPr>
            <a:spLocks/>
          </p:cNvSpPr>
          <p:nvPr userDrawn="1"/>
        </p:nvSpPr>
        <p:spPr bwMode="auto">
          <a:xfrm>
            <a:off x="9559456" y="5634481"/>
            <a:ext cx="11725" cy="10051"/>
          </a:xfrm>
          <a:custGeom>
            <a:avLst/>
            <a:gdLst>
              <a:gd name="T0" fmla="*/ 2147483646 w 12"/>
              <a:gd name="T1" fmla="*/ 2147483646 h 11"/>
              <a:gd name="T2" fmla="*/ 2147483646 w 12"/>
              <a:gd name="T3" fmla="*/ 2147483646 h 11"/>
              <a:gd name="T4" fmla="*/ 0 w 12"/>
              <a:gd name="T5" fmla="*/ 2147483646 h 11"/>
              <a:gd name="T6" fmla="*/ 2147483646 w 12"/>
              <a:gd name="T7" fmla="*/ 2147483646 h 11"/>
              <a:gd name="T8" fmla="*/ 2147483646 w 12"/>
              <a:gd name="T9" fmla="*/ 2147483646 h 11"/>
              <a:gd name="T10" fmla="*/ 2147483646 w 12"/>
              <a:gd name="T11" fmla="*/ 2147483646 h 11"/>
              <a:gd name="T12" fmla="*/ 2147483646 w 12"/>
              <a:gd name="T13" fmla="*/ 2147483646 h 11"/>
              <a:gd name="T14" fmla="*/ 2147483646 w 12"/>
              <a:gd name="T15" fmla="*/ 2147483646 h 11"/>
              <a:gd name="T16" fmla="*/ 2147483646 w 12"/>
              <a:gd name="T17" fmla="*/ 2147483646 h 11"/>
              <a:gd name="T18" fmla="*/ 2147483646 w 12"/>
              <a:gd name="T19" fmla="*/ 2147483646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11"/>
              <a:gd name="T32" fmla="*/ 12 w 12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11">
                <a:moveTo>
                  <a:pt x="5" y="1"/>
                </a:moveTo>
                <a:cubicBezTo>
                  <a:pt x="4" y="2"/>
                  <a:pt x="3" y="2"/>
                  <a:pt x="2" y="2"/>
                </a:cubicBezTo>
                <a:cubicBezTo>
                  <a:pt x="1" y="2"/>
                  <a:pt x="0" y="0"/>
                  <a:pt x="0" y="3"/>
                </a:cubicBezTo>
                <a:cubicBezTo>
                  <a:pt x="0" y="6"/>
                  <a:pt x="2" y="9"/>
                  <a:pt x="4" y="9"/>
                </a:cubicBezTo>
                <a:cubicBezTo>
                  <a:pt x="5" y="9"/>
                  <a:pt x="5" y="8"/>
                  <a:pt x="6" y="10"/>
                </a:cubicBezTo>
                <a:cubicBezTo>
                  <a:pt x="7" y="11"/>
                  <a:pt x="9" y="9"/>
                  <a:pt x="10" y="10"/>
                </a:cubicBezTo>
                <a:cubicBezTo>
                  <a:pt x="11" y="10"/>
                  <a:pt x="12" y="8"/>
                  <a:pt x="12" y="8"/>
                </a:cubicBezTo>
                <a:cubicBezTo>
                  <a:pt x="11" y="4"/>
                  <a:pt x="11" y="4"/>
                  <a:pt x="11" y="4"/>
                </a:cubicBezTo>
                <a:cubicBezTo>
                  <a:pt x="11" y="4"/>
                  <a:pt x="8" y="4"/>
                  <a:pt x="7" y="4"/>
                </a:cubicBezTo>
                <a:cubicBezTo>
                  <a:pt x="6" y="3"/>
                  <a:pt x="7" y="0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9" name="Freeform 372"/>
          <p:cNvSpPr>
            <a:spLocks/>
          </p:cNvSpPr>
          <p:nvPr userDrawn="1"/>
        </p:nvSpPr>
        <p:spPr bwMode="auto">
          <a:xfrm>
            <a:off x="8231108" y="5297787"/>
            <a:ext cx="973229" cy="773893"/>
          </a:xfrm>
          <a:custGeom>
            <a:avLst/>
            <a:gdLst>
              <a:gd name="T0" fmla="*/ 2147483646 w 1042"/>
              <a:gd name="T1" fmla="*/ 2147483646 h 829"/>
              <a:gd name="T2" fmla="*/ 2147483646 w 1042"/>
              <a:gd name="T3" fmla="*/ 2147483646 h 829"/>
              <a:gd name="T4" fmla="*/ 2147483646 w 1042"/>
              <a:gd name="T5" fmla="*/ 2147483646 h 829"/>
              <a:gd name="T6" fmla="*/ 2147483646 w 1042"/>
              <a:gd name="T7" fmla="*/ 2147483646 h 829"/>
              <a:gd name="T8" fmla="*/ 2147483646 w 1042"/>
              <a:gd name="T9" fmla="*/ 2147483646 h 829"/>
              <a:gd name="T10" fmla="*/ 2147483646 w 1042"/>
              <a:gd name="T11" fmla="*/ 2147483646 h 829"/>
              <a:gd name="T12" fmla="*/ 2147483646 w 1042"/>
              <a:gd name="T13" fmla="*/ 2147483646 h 829"/>
              <a:gd name="T14" fmla="*/ 2147483646 w 1042"/>
              <a:gd name="T15" fmla="*/ 2147483646 h 829"/>
              <a:gd name="T16" fmla="*/ 2147483646 w 1042"/>
              <a:gd name="T17" fmla="*/ 2147483646 h 829"/>
              <a:gd name="T18" fmla="*/ 2147483646 w 1042"/>
              <a:gd name="T19" fmla="*/ 2147483646 h 829"/>
              <a:gd name="T20" fmla="*/ 2147483646 w 1042"/>
              <a:gd name="T21" fmla="*/ 2147483646 h 829"/>
              <a:gd name="T22" fmla="*/ 2147483646 w 1042"/>
              <a:gd name="T23" fmla="*/ 2147483646 h 829"/>
              <a:gd name="T24" fmla="*/ 2147483646 w 1042"/>
              <a:gd name="T25" fmla="*/ 2147483646 h 829"/>
              <a:gd name="T26" fmla="*/ 2147483646 w 1042"/>
              <a:gd name="T27" fmla="*/ 2147483646 h 829"/>
              <a:gd name="T28" fmla="*/ 2147483646 w 1042"/>
              <a:gd name="T29" fmla="*/ 2147483646 h 829"/>
              <a:gd name="T30" fmla="*/ 2147483646 w 1042"/>
              <a:gd name="T31" fmla="*/ 2147483646 h 829"/>
              <a:gd name="T32" fmla="*/ 2147483646 w 1042"/>
              <a:gd name="T33" fmla="*/ 2147483646 h 829"/>
              <a:gd name="T34" fmla="*/ 2147483646 w 1042"/>
              <a:gd name="T35" fmla="*/ 2147483646 h 829"/>
              <a:gd name="T36" fmla="*/ 2147483646 w 1042"/>
              <a:gd name="T37" fmla="*/ 2147483646 h 829"/>
              <a:gd name="T38" fmla="*/ 2147483646 w 1042"/>
              <a:gd name="T39" fmla="*/ 2147483646 h 829"/>
              <a:gd name="T40" fmla="*/ 2147483646 w 1042"/>
              <a:gd name="T41" fmla="*/ 2147483646 h 829"/>
              <a:gd name="T42" fmla="*/ 2147483646 w 1042"/>
              <a:gd name="T43" fmla="*/ 2147483646 h 829"/>
              <a:gd name="T44" fmla="*/ 2147483646 w 1042"/>
              <a:gd name="T45" fmla="*/ 2147483646 h 829"/>
              <a:gd name="T46" fmla="*/ 2147483646 w 1042"/>
              <a:gd name="T47" fmla="*/ 2147483646 h 829"/>
              <a:gd name="T48" fmla="*/ 2147483646 w 1042"/>
              <a:gd name="T49" fmla="*/ 2147483646 h 829"/>
              <a:gd name="T50" fmla="*/ 2147483646 w 1042"/>
              <a:gd name="T51" fmla="*/ 2147483646 h 829"/>
              <a:gd name="T52" fmla="*/ 2147483646 w 1042"/>
              <a:gd name="T53" fmla="*/ 2147483646 h 829"/>
              <a:gd name="T54" fmla="*/ 2147483646 w 1042"/>
              <a:gd name="T55" fmla="*/ 2147483646 h 829"/>
              <a:gd name="T56" fmla="*/ 2147483646 w 1042"/>
              <a:gd name="T57" fmla="*/ 2147483646 h 829"/>
              <a:gd name="T58" fmla="*/ 2147483646 w 1042"/>
              <a:gd name="T59" fmla="*/ 2147483646 h 829"/>
              <a:gd name="T60" fmla="*/ 2147483646 w 1042"/>
              <a:gd name="T61" fmla="*/ 2147483646 h 829"/>
              <a:gd name="T62" fmla="*/ 2147483646 w 1042"/>
              <a:gd name="T63" fmla="*/ 2147483646 h 829"/>
              <a:gd name="T64" fmla="*/ 2147483646 w 1042"/>
              <a:gd name="T65" fmla="*/ 2147483646 h 829"/>
              <a:gd name="T66" fmla="*/ 2147483646 w 1042"/>
              <a:gd name="T67" fmla="*/ 2147483646 h 829"/>
              <a:gd name="T68" fmla="*/ 2147483646 w 1042"/>
              <a:gd name="T69" fmla="*/ 2147483646 h 829"/>
              <a:gd name="T70" fmla="*/ 2147483646 w 1042"/>
              <a:gd name="T71" fmla="*/ 2147483646 h 829"/>
              <a:gd name="T72" fmla="*/ 2147483646 w 1042"/>
              <a:gd name="T73" fmla="*/ 2147483646 h 829"/>
              <a:gd name="T74" fmla="*/ 2147483646 w 1042"/>
              <a:gd name="T75" fmla="*/ 2147483646 h 829"/>
              <a:gd name="T76" fmla="*/ 2147483646 w 1042"/>
              <a:gd name="T77" fmla="*/ 2147483646 h 829"/>
              <a:gd name="T78" fmla="*/ 2147483646 w 1042"/>
              <a:gd name="T79" fmla="*/ 2147483646 h 829"/>
              <a:gd name="T80" fmla="*/ 2147483646 w 1042"/>
              <a:gd name="T81" fmla="*/ 2147483646 h 829"/>
              <a:gd name="T82" fmla="*/ 2147483646 w 1042"/>
              <a:gd name="T83" fmla="*/ 2147483646 h 829"/>
              <a:gd name="T84" fmla="*/ 2147483646 w 1042"/>
              <a:gd name="T85" fmla="*/ 2147483646 h 829"/>
              <a:gd name="T86" fmla="*/ 2147483646 w 1042"/>
              <a:gd name="T87" fmla="*/ 2147483646 h 829"/>
              <a:gd name="T88" fmla="*/ 2147483646 w 1042"/>
              <a:gd name="T89" fmla="*/ 2147483646 h 829"/>
              <a:gd name="T90" fmla="*/ 2147483646 w 1042"/>
              <a:gd name="T91" fmla="*/ 2147483646 h 829"/>
              <a:gd name="T92" fmla="*/ 2147483646 w 1042"/>
              <a:gd name="T93" fmla="*/ 2147483646 h 829"/>
              <a:gd name="T94" fmla="*/ 2147483646 w 1042"/>
              <a:gd name="T95" fmla="*/ 2147483646 h 829"/>
              <a:gd name="T96" fmla="*/ 2147483646 w 1042"/>
              <a:gd name="T97" fmla="*/ 2147483646 h 829"/>
              <a:gd name="T98" fmla="*/ 2147483646 w 1042"/>
              <a:gd name="T99" fmla="*/ 2147483646 h 829"/>
              <a:gd name="T100" fmla="*/ 2147483646 w 1042"/>
              <a:gd name="T101" fmla="*/ 2147483646 h 829"/>
              <a:gd name="T102" fmla="*/ 2147483646 w 1042"/>
              <a:gd name="T103" fmla="*/ 2147483646 h 829"/>
              <a:gd name="T104" fmla="*/ 2147483646 w 1042"/>
              <a:gd name="T105" fmla="*/ 2147483646 h 829"/>
              <a:gd name="T106" fmla="*/ 2147483646 w 1042"/>
              <a:gd name="T107" fmla="*/ 2147483646 h 829"/>
              <a:gd name="T108" fmla="*/ 2147483646 w 1042"/>
              <a:gd name="T109" fmla="*/ 2147483646 h 829"/>
              <a:gd name="T110" fmla="*/ 2147483646 w 1042"/>
              <a:gd name="T111" fmla="*/ 2147483646 h 829"/>
              <a:gd name="T112" fmla="*/ 2147483646 w 1042"/>
              <a:gd name="T113" fmla="*/ 2147483646 h 829"/>
              <a:gd name="T114" fmla="*/ 2147483646 w 1042"/>
              <a:gd name="T115" fmla="*/ 2147483646 h 829"/>
              <a:gd name="T116" fmla="*/ 2147483646 w 1042"/>
              <a:gd name="T117" fmla="*/ 2147483646 h 829"/>
              <a:gd name="T118" fmla="*/ 2147483646 w 1042"/>
              <a:gd name="T119" fmla="*/ 2147483646 h 829"/>
              <a:gd name="T120" fmla="*/ 2147483646 w 1042"/>
              <a:gd name="T121" fmla="*/ 2147483646 h 82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042"/>
              <a:gd name="T184" fmla="*/ 0 h 829"/>
              <a:gd name="T185" fmla="*/ 1042 w 1042"/>
              <a:gd name="T186" fmla="*/ 829 h 82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042" h="829">
                <a:moveTo>
                  <a:pt x="732" y="793"/>
                </a:moveTo>
                <a:cubicBezTo>
                  <a:pt x="741" y="799"/>
                  <a:pt x="737" y="802"/>
                  <a:pt x="746" y="802"/>
                </a:cubicBezTo>
                <a:cubicBezTo>
                  <a:pt x="755" y="802"/>
                  <a:pt x="751" y="793"/>
                  <a:pt x="762" y="801"/>
                </a:cubicBezTo>
                <a:cubicBezTo>
                  <a:pt x="774" y="810"/>
                  <a:pt x="764" y="803"/>
                  <a:pt x="780" y="807"/>
                </a:cubicBezTo>
                <a:cubicBezTo>
                  <a:pt x="795" y="811"/>
                  <a:pt x="794" y="808"/>
                  <a:pt x="801" y="803"/>
                </a:cubicBezTo>
                <a:cubicBezTo>
                  <a:pt x="808" y="798"/>
                  <a:pt x="801" y="788"/>
                  <a:pt x="810" y="794"/>
                </a:cubicBezTo>
                <a:cubicBezTo>
                  <a:pt x="820" y="799"/>
                  <a:pt x="817" y="796"/>
                  <a:pt x="818" y="802"/>
                </a:cubicBezTo>
                <a:cubicBezTo>
                  <a:pt x="818" y="809"/>
                  <a:pt x="817" y="803"/>
                  <a:pt x="826" y="802"/>
                </a:cubicBezTo>
                <a:cubicBezTo>
                  <a:pt x="836" y="802"/>
                  <a:pt x="832" y="805"/>
                  <a:pt x="830" y="810"/>
                </a:cubicBezTo>
                <a:cubicBezTo>
                  <a:pt x="829" y="815"/>
                  <a:pt x="837" y="816"/>
                  <a:pt x="837" y="816"/>
                </a:cubicBezTo>
                <a:cubicBezTo>
                  <a:pt x="837" y="816"/>
                  <a:pt x="843" y="811"/>
                  <a:pt x="844" y="817"/>
                </a:cubicBezTo>
                <a:cubicBezTo>
                  <a:pt x="845" y="823"/>
                  <a:pt x="849" y="824"/>
                  <a:pt x="851" y="820"/>
                </a:cubicBezTo>
                <a:cubicBezTo>
                  <a:pt x="853" y="816"/>
                  <a:pt x="856" y="809"/>
                  <a:pt x="857" y="817"/>
                </a:cubicBezTo>
                <a:cubicBezTo>
                  <a:pt x="858" y="825"/>
                  <a:pt x="859" y="829"/>
                  <a:pt x="861" y="826"/>
                </a:cubicBezTo>
                <a:cubicBezTo>
                  <a:pt x="863" y="824"/>
                  <a:pt x="863" y="810"/>
                  <a:pt x="863" y="810"/>
                </a:cubicBezTo>
                <a:cubicBezTo>
                  <a:pt x="865" y="804"/>
                  <a:pt x="865" y="804"/>
                  <a:pt x="865" y="804"/>
                </a:cubicBezTo>
                <a:cubicBezTo>
                  <a:pt x="865" y="804"/>
                  <a:pt x="873" y="801"/>
                  <a:pt x="874" y="797"/>
                </a:cubicBezTo>
                <a:cubicBezTo>
                  <a:pt x="875" y="792"/>
                  <a:pt x="878" y="790"/>
                  <a:pt x="880" y="790"/>
                </a:cubicBezTo>
                <a:cubicBezTo>
                  <a:pt x="883" y="790"/>
                  <a:pt x="892" y="787"/>
                  <a:pt x="895" y="790"/>
                </a:cubicBezTo>
                <a:cubicBezTo>
                  <a:pt x="898" y="793"/>
                  <a:pt x="901" y="789"/>
                  <a:pt x="907" y="789"/>
                </a:cubicBezTo>
                <a:cubicBezTo>
                  <a:pt x="913" y="788"/>
                  <a:pt x="921" y="791"/>
                  <a:pt x="923" y="784"/>
                </a:cubicBezTo>
                <a:cubicBezTo>
                  <a:pt x="925" y="777"/>
                  <a:pt x="928" y="778"/>
                  <a:pt x="931" y="777"/>
                </a:cubicBezTo>
                <a:cubicBezTo>
                  <a:pt x="934" y="776"/>
                  <a:pt x="933" y="769"/>
                  <a:pt x="931" y="760"/>
                </a:cubicBezTo>
                <a:cubicBezTo>
                  <a:pt x="929" y="752"/>
                  <a:pt x="930" y="747"/>
                  <a:pt x="934" y="742"/>
                </a:cubicBezTo>
                <a:cubicBezTo>
                  <a:pt x="939" y="737"/>
                  <a:pt x="938" y="730"/>
                  <a:pt x="943" y="722"/>
                </a:cubicBezTo>
                <a:cubicBezTo>
                  <a:pt x="948" y="714"/>
                  <a:pt x="949" y="710"/>
                  <a:pt x="953" y="704"/>
                </a:cubicBezTo>
                <a:cubicBezTo>
                  <a:pt x="958" y="698"/>
                  <a:pt x="959" y="708"/>
                  <a:pt x="961" y="691"/>
                </a:cubicBezTo>
                <a:cubicBezTo>
                  <a:pt x="964" y="675"/>
                  <a:pt x="983" y="658"/>
                  <a:pt x="987" y="654"/>
                </a:cubicBezTo>
                <a:cubicBezTo>
                  <a:pt x="992" y="649"/>
                  <a:pt x="998" y="643"/>
                  <a:pt x="1001" y="640"/>
                </a:cubicBezTo>
                <a:cubicBezTo>
                  <a:pt x="1004" y="637"/>
                  <a:pt x="1009" y="630"/>
                  <a:pt x="1006" y="629"/>
                </a:cubicBezTo>
                <a:cubicBezTo>
                  <a:pt x="1002" y="628"/>
                  <a:pt x="1006" y="621"/>
                  <a:pt x="1006" y="621"/>
                </a:cubicBezTo>
                <a:cubicBezTo>
                  <a:pt x="1006" y="621"/>
                  <a:pt x="1014" y="616"/>
                  <a:pt x="1014" y="613"/>
                </a:cubicBezTo>
                <a:cubicBezTo>
                  <a:pt x="1014" y="609"/>
                  <a:pt x="1015" y="606"/>
                  <a:pt x="1018" y="604"/>
                </a:cubicBezTo>
                <a:cubicBezTo>
                  <a:pt x="1020" y="601"/>
                  <a:pt x="1020" y="592"/>
                  <a:pt x="1018" y="590"/>
                </a:cubicBezTo>
                <a:cubicBezTo>
                  <a:pt x="1016" y="589"/>
                  <a:pt x="1016" y="583"/>
                  <a:pt x="1020" y="582"/>
                </a:cubicBezTo>
                <a:cubicBezTo>
                  <a:pt x="1024" y="581"/>
                  <a:pt x="1020" y="564"/>
                  <a:pt x="1024" y="563"/>
                </a:cubicBezTo>
                <a:cubicBezTo>
                  <a:pt x="1029" y="562"/>
                  <a:pt x="1027" y="559"/>
                  <a:pt x="1030" y="555"/>
                </a:cubicBezTo>
                <a:cubicBezTo>
                  <a:pt x="1033" y="551"/>
                  <a:pt x="1029" y="548"/>
                  <a:pt x="1035" y="544"/>
                </a:cubicBezTo>
                <a:cubicBezTo>
                  <a:pt x="1041" y="540"/>
                  <a:pt x="1038" y="547"/>
                  <a:pt x="1040" y="534"/>
                </a:cubicBezTo>
                <a:cubicBezTo>
                  <a:pt x="1042" y="521"/>
                  <a:pt x="1041" y="516"/>
                  <a:pt x="1039" y="510"/>
                </a:cubicBezTo>
                <a:cubicBezTo>
                  <a:pt x="1039" y="510"/>
                  <a:pt x="1039" y="510"/>
                  <a:pt x="1039" y="510"/>
                </a:cubicBezTo>
                <a:cubicBezTo>
                  <a:pt x="1038" y="505"/>
                  <a:pt x="1039" y="499"/>
                  <a:pt x="1036" y="500"/>
                </a:cubicBezTo>
                <a:cubicBezTo>
                  <a:pt x="1033" y="501"/>
                  <a:pt x="1027" y="501"/>
                  <a:pt x="1026" y="495"/>
                </a:cubicBezTo>
                <a:cubicBezTo>
                  <a:pt x="1025" y="489"/>
                  <a:pt x="1025" y="482"/>
                  <a:pt x="1026" y="480"/>
                </a:cubicBezTo>
                <a:cubicBezTo>
                  <a:pt x="1026" y="478"/>
                  <a:pt x="1027" y="444"/>
                  <a:pt x="1026" y="440"/>
                </a:cubicBezTo>
                <a:cubicBezTo>
                  <a:pt x="1026" y="437"/>
                  <a:pt x="1024" y="437"/>
                  <a:pt x="1023" y="434"/>
                </a:cubicBezTo>
                <a:cubicBezTo>
                  <a:pt x="1022" y="431"/>
                  <a:pt x="1022" y="425"/>
                  <a:pt x="1018" y="424"/>
                </a:cubicBezTo>
                <a:cubicBezTo>
                  <a:pt x="1015" y="422"/>
                  <a:pt x="1007" y="417"/>
                  <a:pt x="1007" y="417"/>
                </a:cubicBezTo>
                <a:cubicBezTo>
                  <a:pt x="1007" y="417"/>
                  <a:pt x="1001" y="410"/>
                  <a:pt x="1002" y="408"/>
                </a:cubicBezTo>
                <a:cubicBezTo>
                  <a:pt x="1003" y="406"/>
                  <a:pt x="1004" y="400"/>
                  <a:pt x="1003" y="398"/>
                </a:cubicBezTo>
                <a:cubicBezTo>
                  <a:pt x="1003" y="397"/>
                  <a:pt x="999" y="393"/>
                  <a:pt x="999" y="393"/>
                </a:cubicBezTo>
                <a:cubicBezTo>
                  <a:pt x="999" y="393"/>
                  <a:pt x="979" y="379"/>
                  <a:pt x="979" y="372"/>
                </a:cubicBezTo>
                <a:cubicBezTo>
                  <a:pt x="980" y="366"/>
                  <a:pt x="977" y="365"/>
                  <a:pt x="977" y="359"/>
                </a:cubicBezTo>
                <a:cubicBezTo>
                  <a:pt x="978" y="352"/>
                  <a:pt x="979" y="340"/>
                  <a:pt x="970" y="343"/>
                </a:cubicBezTo>
                <a:cubicBezTo>
                  <a:pt x="961" y="346"/>
                  <a:pt x="961" y="348"/>
                  <a:pt x="960" y="344"/>
                </a:cubicBezTo>
                <a:cubicBezTo>
                  <a:pt x="958" y="340"/>
                  <a:pt x="957" y="329"/>
                  <a:pt x="954" y="337"/>
                </a:cubicBezTo>
                <a:cubicBezTo>
                  <a:pt x="951" y="345"/>
                  <a:pt x="951" y="355"/>
                  <a:pt x="946" y="351"/>
                </a:cubicBezTo>
                <a:cubicBezTo>
                  <a:pt x="942" y="348"/>
                  <a:pt x="942" y="341"/>
                  <a:pt x="942" y="341"/>
                </a:cubicBezTo>
                <a:cubicBezTo>
                  <a:pt x="942" y="332"/>
                  <a:pt x="942" y="332"/>
                  <a:pt x="942" y="332"/>
                </a:cubicBezTo>
                <a:cubicBezTo>
                  <a:pt x="942" y="332"/>
                  <a:pt x="946" y="321"/>
                  <a:pt x="940" y="317"/>
                </a:cubicBezTo>
                <a:cubicBezTo>
                  <a:pt x="934" y="313"/>
                  <a:pt x="933" y="309"/>
                  <a:pt x="933" y="309"/>
                </a:cubicBezTo>
                <a:cubicBezTo>
                  <a:pt x="933" y="309"/>
                  <a:pt x="940" y="299"/>
                  <a:pt x="934" y="298"/>
                </a:cubicBezTo>
                <a:cubicBezTo>
                  <a:pt x="928" y="298"/>
                  <a:pt x="926" y="299"/>
                  <a:pt x="923" y="295"/>
                </a:cubicBezTo>
                <a:cubicBezTo>
                  <a:pt x="921" y="292"/>
                  <a:pt x="921" y="287"/>
                  <a:pt x="923" y="286"/>
                </a:cubicBezTo>
                <a:cubicBezTo>
                  <a:pt x="926" y="284"/>
                  <a:pt x="927" y="280"/>
                  <a:pt x="922" y="278"/>
                </a:cubicBezTo>
                <a:cubicBezTo>
                  <a:pt x="918" y="275"/>
                  <a:pt x="914" y="269"/>
                  <a:pt x="912" y="271"/>
                </a:cubicBezTo>
                <a:cubicBezTo>
                  <a:pt x="910" y="272"/>
                  <a:pt x="906" y="263"/>
                  <a:pt x="903" y="265"/>
                </a:cubicBezTo>
                <a:cubicBezTo>
                  <a:pt x="900" y="267"/>
                  <a:pt x="898" y="262"/>
                  <a:pt x="895" y="261"/>
                </a:cubicBezTo>
                <a:cubicBezTo>
                  <a:pt x="892" y="260"/>
                  <a:pt x="887" y="254"/>
                  <a:pt x="887" y="254"/>
                </a:cubicBezTo>
                <a:cubicBezTo>
                  <a:pt x="887" y="254"/>
                  <a:pt x="884" y="243"/>
                  <a:pt x="881" y="249"/>
                </a:cubicBezTo>
                <a:cubicBezTo>
                  <a:pt x="878" y="255"/>
                  <a:pt x="872" y="251"/>
                  <a:pt x="872" y="251"/>
                </a:cubicBezTo>
                <a:cubicBezTo>
                  <a:pt x="865" y="246"/>
                  <a:pt x="865" y="246"/>
                  <a:pt x="865" y="246"/>
                </a:cubicBezTo>
                <a:cubicBezTo>
                  <a:pt x="860" y="237"/>
                  <a:pt x="860" y="237"/>
                  <a:pt x="860" y="237"/>
                </a:cubicBezTo>
                <a:cubicBezTo>
                  <a:pt x="859" y="226"/>
                  <a:pt x="859" y="226"/>
                  <a:pt x="859" y="226"/>
                </a:cubicBezTo>
                <a:cubicBezTo>
                  <a:pt x="856" y="215"/>
                  <a:pt x="856" y="215"/>
                  <a:pt x="856" y="215"/>
                </a:cubicBezTo>
                <a:cubicBezTo>
                  <a:pt x="856" y="215"/>
                  <a:pt x="860" y="206"/>
                  <a:pt x="858" y="201"/>
                </a:cubicBezTo>
                <a:cubicBezTo>
                  <a:pt x="856" y="196"/>
                  <a:pt x="854" y="193"/>
                  <a:pt x="850" y="189"/>
                </a:cubicBezTo>
                <a:cubicBezTo>
                  <a:pt x="846" y="185"/>
                  <a:pt x="843" y="176"/>
                  <a:pt x="843" y="173"/>
                </a:cubicBezTo>
                <a:cubicBezTo>
                  <a:pt x="843" y="170"/>
                  <a:pt x="833" y="174"/>
                  <a:pt x="834" y="168"/>
                </a:cubicBezTo>
                <a:cubicBezTo>
                  <a:pt x="835" y="163"/>
                  <a:pt x="841" y="153"/>
                  <a:pt x="836" y="151"/>
                </a:cubicBezTo>
                <a:cubicBezTo>
                  <a:pt x="832" y="150"/>
                  <a:pt x="830" y="140"/>
                  <a:pt x="833" y="136"/>
                </a:cubicBezTo>
                <a:cubicBezTo>
                  <a:pt x="835" y="133"/>
                  <a:pt x="837" y="124"/>
                  <a:pt x="834" y="122"/>
                </a:cubicBezTo>
                <a:cubicBezTo>
                  <a:pt x="832" y="120"/>
                  <a:pt x="833" y="114"/>
                  <a:pt x="829" y="116"/>
                </a:cubicBezTo>
                <a:cubicBezTo>
                  <a:pt x="825" y="118"/>
                  <a:pt x="833" y="114"/>
                  <a:pt x="818" y="109"/>
                </a:cubicBezTo>
                <a:cubicBezTo>
                  <a:pt x="804" y="104"/>
                  <a:pt x="808" y="98"/>
                  <a:pt x="804" y="104"/>
                </a:cubicBezTo>
                <a:cubicBezTo>
                  <a:pt x="799" y="109"/>
                  <a:pt x="798" y="110"/>
                  <a:pt x="794" y="105"/>
                </a:cubicBezTo>
                <a:cubicBezTo>
                  <a:pt x="790" y="100"/>
                  <a:pt x="788" y="90"/>
                  <a:pt x="789" y="86"/>
                </a:cubicBezTo>
                <a:cubicBezTo>
                  <a:pt x="790" y="81"/>
                  <a:pt x="789" y="76"/>
                  <a:pt x="789" y="73"/>
                </a:cubicBezTo>
                <a:cubicBezTo>
                  <a:pt x="788" y="69"/>
                  <a:pt x="787" y="66"/>
                  <a:pt x="784" y="63"/>
                </a:cubicBezTo>
                <a:cubicBezTo>
                  <a:pt x="781" y="61"/>
                  <a:pt x="777" y="61"/>
                  <a:pt x="780" y="55"/>
                </a:cubicBezTo>
                <a:cubicBezTo>
                  <a:pt x="783" y="50"/>
                  <a:pt x="787" y="46"/>
                  <a:pt x="781" y="47"/>
                </a:cubicBezTo>
                <a:cubicBezTo>
                  <a:pt x="774" y="48"/>
                  <a:pt x="771" y="44"/>
                  <a:pt x="774" y="40"/>
                </a:cubicBezTo>
                <a:cubicBezTo>
                  <a:pt x="776" y="36"/>
                  <a:pt x="777" y="33"/>
                  <a:pt x="773" y="31"/>
                </a:cubicBezTo>
                <a:cubicBezTo>
                  <a:pt x="769" y="29"/>
                  <a:pt x="767" y="30"/>
                  <a:pt x="766" y="25"/>
                </a:cubicBezTo>
                <a:cubicBezTo>
                  <a:pt x="765" y="20"/>
                  <a:pt x="764" y="19"/>
                  <a:pt x="762" y="15"/>
                </a:cubicBezTo>
                <a:cubicBezTo>
                  <a:pt x="760" y="10"/>
                  <a:pt x="761" y="0"/>
                  <a:pt x="755" y="4"/>
                </a:cubicBezTo>
                <a:cubicBezTo>
                  <a:pt x="748" y="7"/>
                  <a:pt x="744" y="7"/>
                  <a:pt x="746" y="16"/>
                </a:cubicBezTo>
                <a:cubicBezTo>
                  <a:pt x="747" y="25"/>
                  <a:pt x="743" y="23"/>
                  <a:pt x="740" y="31"/>
                </a:cubicBezTo>
                <a:cubicBezTo>
                  <a:pt x="738" y="38"/>
                  <a:pt x="735" y="32"/>
                  <a:pt x="735" y="39"/>
                </a:cubicBezTo>
                <a:cubicBezTo>
                  <a:pt x="735" y="46"/>
                  <a:pt x="735" y="51"/>
                  <a:pt x="736" y="59"/>
                </a:cubicBezTo>
                <a:cubicBezTo>
                  <a:pt x="738" y="68"/>
                  <a:pt x="739" y="63"/>
                  <a:pt x="738" y="73"/>
                </a:cubicBezTo>
                <a:cubicBezTo>
                  <a:pt x="737" y="83"/>
                  <a:pt x="737" y="82"/>
                  <a:pt x="735" y="89"/>
                </a:cubicBezTo>
                <a:cubicBezTo>
                  <a:pt x="732" y="95"/>
                  <a:pt x="729" y="110"/>
                  <a:pt x="733" y="115"/>
                </a:cubicBezTo>
                <a:cubicBezTo>
                  <a:pt x="736" y="120"/>
                  <a:pt x="731" y="124"/>
                  <a:pt x="735" y="127"/>
                </a:cubicBezTo>
                <a:cubicBezTo>
                  <a:pt x="738" y="130"/>
                  <a:pt x="744" y="130"/>
                  <a:pt x="740" y="133"/>
                </a:cubicBezTo>
                <a:cubicBezTo>
                  <a:pt x="735" y="137"/>
                  <a:pt x="731" y="140"/>
                  <a:pt x="730" y="147"/>
                </a:cubicBezTo>
                <a:cubicBezTo>
                  <a:pt x="729" y="153"/>
                  <a:pt x="728" y="169"/>
                  <a:pt x="723" y="174"/>
                </a:cubicBezTo>
                <a:cubicBezTo>
                  <a:pt x="719" y="178"/>
                  <a:pt x="719" y="179"/>
                  <a:pt x="719" y="184"/>
                </a:cubicBezTo>
                <a:cubicBezTo>
                  <a:pt x="719" y="189"/>
                  <a:pt x="722" y="186"/>
                  <a:pt x="717" y="192"/>
                </a:cubicBezTo>
                <a:cubicBezTo>
                  <a:pt x="712" y="198"/>
                  <a:pt x="688" y="212"/>
                  <a:pt x="678" y="202"/>
                </a:cubicBezTo>
                <a:cubicBezTo>
                  <a:pt x="669" y="193"/>
                  <a:pt x="676" y="194"/>
                  <a:pt x="669" y="193"/>
                </a:cubicBezTo>
                <a:cubicBezTo>
                  <a:pt x="662" y="192"/>
                  <a:pt x="662" y="185"/>
                  <a:pt x="661" y="182"/>
                </a:cubicBezTo>
                <a:cubicBezTo>
                  <a:pt x="659" y="178"/>
                  <a:pt x="646" y="178"/>
                  <a:pt x="641" y="178"/>
                </a:cubicBezTo>
                <a:cubicBezTo>
                  <a:pt x="640" y="178"/>
                  <a:pt x="639" y="178"/>
                  <a:pt x="638" y="178"/>
                </a:cubicBezTo>
                <a:cubicBezTo>
                  <a:pt x="637" y="178"/>
                  <a:pt x="637" y="178"/>
                  <a:pt x="637" y="178"/>
                </a:cubicBezTo>
                <a:cubicBezTo>
                  <a:pt x="636" y="177"/>
                  <a:pt x="636" y="177"/>
                  <a:pt x="636" y="177"/>
                </a:cubicBezTo>
                <a:cubicBezTo>
                  <a:pt x="635" y="177"/>
                  <a:pt x="634" y="176"/>
                  <a:pt x="633" y="173"/>
                </a:cubicBezTo>
                <a:cubicBezTo>
                  <a:pt x="630" y="169"/>
                  <a:pt x="627" y="163"/>
                  <a:pt x="627" y="163"/>
                </a:cubicBezTo>
                <a:cubicBezTo>
                  <a:pt x="627" y="163"/>
                  <a:pt x="626" y="161"/>
                  <a:pt x="618" y="161"/>
                </a:cubicBezTo>
                <a:cubicBezTo>
                  <a:pt x="611" y="160"/>
                  <a:pt x="618" y="161"/>
                  <a:pt x="606" y="156"/>
                </a:cubicBezTo>
                <a:cubicBezTo>
                  <a:pt x="593" y="151"/>
                  <a:pt x="594" y="143"/>
                  <a:pt x="586" y="144"/>
                </a:cubicBezTo>
                <a:cubicBezTo>
                  <a:pt x="579" y="144"/>
                  <a:pt x="572" y="143"/>
                  <a:pt x="574" y="140"/>
                </a:cubicBezTo>
                <a:cubicBezTo>
                  <a:pt x="576" y="136"/>
                  <a:pt x="582" y="138"/>
                  <a:pt x="573" y="130"/>
                </a:cubicBezTo>
                <a:cubicBezTo>
                  <a:pt x="565" y="122"/>
                  <a:pt x="563" y="121"/>
                  <a:pt x="564" y="119"/>
                </a:cubicBezTo>
                <a:cubicBezTo>
                  <a:pt x="565" y="117"/>
                  <a:pt x="575" y="109"/>
                  <a:pt x="575" y="102"/>
                </a:cubicBezTo>
                <a:cubicBezTo>
                  <a:pt x="576" y="94"/>
                  <a:pt x="571" y="94"/>
                  <a:pt x="573" y="89"/>
                </a:cubicBezTo>
                <a:cubicBezTo>
                  <a:pt x="575" y="84"/>
                  <a:pt x="579" y="72"/>
                  <a:pt x="582" y="79"/>
                </a:cubicBezTo>
                <a:cubicBezTo>
                  <a:pt x="585" y="86"/>
                  <a:pt x="585" y="85"/>
                  <a:pt x="588" y="79"/>
                </a:cubicBezTo>
                <a:cubicBezTo>
                  <a:pt x="592" y="73"/>
                  <a:pt x="591" y="69"/>
                  <a:pt x="593" y="64"/>
                </a:cubicBezTo>
                <a:cubicBezTo>
                  <a:pt x="595" y="59"/>
                  <a:pt x="596" y="61"/>
                  <a:pt x="598" y="55"/>
                </a:cubicBezTo>
                <a:cubicBezTo>
                  <a:pt x="600" y="50"/>
                  <a:pt x="607" y="46"/>
                  <a:pt x="600" y="48"/>
                </a:cubicBezTo>
                <a:cubicBezTo>
                  <a:pt x="594" y="50"/>
                  <a:pt x="592" y="55"/>
                  <a:pt x="591" y="50"/>
                </a:cubicBezTo>
                <a:cubicBezTo>
                  <a:pt x="591" y="45"/>
                  <a:pt x="586" y="43"/>
                  <a:pt x="584" y="46"/>
                </a:cubicBezTo>
                <a:cubicBezTo>
                  <a:pt x="582" y="50"/>
                  <a:pt x="582" y="59"/>
                  <a:pt x="579" y="58"/>
                </a:cubicBezTo>
                <a:cubicBezTo>
                  <a:pt x="576" y="56"/>
                  <a:pt x="572" y="58"/>
                  <a:pt x="572" y="53"/>
                </a:cubicBezTo>
                <a:cubicBezTo>
                  <a:pt x="573" y="48"/>
                  <a:pt x="573" y="42"/>
                  <a:pt x="573" y="42"/>
                </a:cubicBezTo>
                <a:cubicBezTo>
                  <a:pt x="573" y="42"/>
                  <a:pt x="572" y="34"/>
                  <a:pt x="567" y="42"/>
                </a:cubicBezTo>
                <a:cubicBezTo>
                  <a:pt x="561" y="49"/>
                  <a:pt x="556" y="47"/>
                  <a:pt x="556" y="47"/>
                </a:cubicBezTo>
                <a:cubicBezTo>
                  <a:pt x="556" y="47"/>
                  <a:pt x="555" y="41"/>
                  <a:pt x="553" y="46"/>
                </a:cubicBezTo>
                <a:cubicBezTo>
                  <a:pt x="552" y="50"/>
                  <a:pt x="556" y="52"/>
                  <a:pt x="553" y="54"/>
                </a:cubicBezTo>
                <a:cubicBezTo>
                  <a:pt x="549" y="55"/>
                  <a:pt x="549" y="54"/>
                  <a:pt x="546" y="51"/>
                </a:cubicBezTo>
                <a:cubicBezTo>
                  <a:pt x="544" y="49"/>
                  <a:pt x="544" y="47"/>
                  <a:pt x="544" y="47"/>
                </a:cubicBezTo>
                <a:cubicBezTo>
                  <a:pt x="544" y="47"/>
                  <a:pt x="536" y="57"/>
                  <a:pt x="535" y="53"/>
                </a:cubicBezTo>
                <a:cubicBezTo>
                  <a:pt x="534" y="49"/>
                  <a:pt x="534" y="40"/>
                  <a:pt x="532" y="43"/>
                </a:cubicBezTo>
                <a:cubicBezTo>
                  <a:pt x="530" y="47"/>
                  <a:pt x="524" y="45"/>
                  <a:pt x="521" y="46"/>
                </a:cubicBezTo>
                <a:cubicBezTo>
                  <a:pt x="518" y="46"/>
                  <a:pt x="516" y="46"/>
                  <a:pt x="513" y="44"/>
                </a:cubicBezTo>
                <a:cubicBezTo>
                  <a:pt x="510" y="42"/>
                  <a:pt x="506" y="38"/>
                  <a:pt x="506" y="38"/>
                </a:cubicBezTo>
                <a:cubicBezTo>
                  <a:pt x="495" y="34"/>
                  <a:pt x="495" y="34"/>
                  <a:pt x="495" y="34"/>
                </a:cubicBezTo>
                <a:cubicBezTo>
                  <a:pt x="490" y="31"/>
                  <a:pt x="490" y="31"/>
                  <a:pt x="490" y="31"/>
                </a:cubicBezTo>
                <a:cubicBezTo>
                  <a:pt x="490" y="31"/>
                  <a:pt x="483" y="19"/>
                  <a:pt x="477" y="24"/>
                </a:cubicBezTo>
                <a:cubicBezTo>
                  <a:pt x="471" y="28"/>
                  <a:pt x="474" y="24"/>
                  <a:pt x="468" y="26"/>
                </a:cubicBezTo>
                <a:cubicBezTo>
                  <a:pt x="462" y="27"/>
                  <a:pt x="452" y="26"/>
                  <a:pt x="456" y="30"/>
                </a:cubicBezTo>
                <a:cubicBezTo>
                  <a:pt x="461" y="34"/>
                  <a:pt x="467" y="35"/>
                  <a:pt x="471" y="37"/>
                </a:cubicBezTo>
                <a:cubicBezTo>
                  <a:pt x="476" y="39"/>
                  <a:pt x="478" y="44"/>
                  <a:pt x="478" y="44"/>
                </a:cubicBezTo>
                <a:cubicBezTo>
                  <a:pt x="478" y="44"/>
                  <a:pt x="479" y="45"/>
                  <a:pt x="484" y="51"/>
                </a:cubicBezTo>
                <a:cubicBezTo>
                  <a:pt x="489" y="58"/>
                  <a:pt x="496" y="61"/>
                  <a:pt x="488" y="61"/>
                </a:cubicBezTo>
                <a:cubicBezTo>
                  <a:pt x="480" y="61"/>
                  <a:pt x="472" y="55"/>
                  <a:pt x="472" y="55"/>
                </a:cubicBezTo>
                <a:cubicBezTo>
                  <a:pt x="472" y="55"/>
                  <a:pt x="474" y="43"/>
                  <a:pt x="464" y="54"/>
                </a:cubicBezTo>
                <a:cubicBezTo>
                  <a:pt x="455" y="64"/>
                  <a:pt x="461" y="57"/>
                  <a:pt x="449" y="61"/>
                </a:cubicBezTo>
                <a:cubicBezTo>
                  <a:pt x="437" y="64"/>
                  <a:pt x="447" y="52"/>
                  <a:pt x="443" y="53"/>
                </a:cubicBezTo>
                <a:cubicBezTo>
                  <a:pt x="439" y="54"/>
                  <a:pt x="432" y="53"/>
                  <a:pt x="432" y="58"/>
                </a:cubicBezTo>
                <a:cubicBezTo>
                  <a:pt x="431" y="63"/>
                  <a:pt x="432" y="67"/>
                  <a:pt x="432" y="67"/>
                </a:cubicBezTo>
                <a:cubicBezTo>
                  <a:pt x="432" y="67"/>
                  <a:pt x="429" y="69"/>
                  <a:pt x="425" y="70"/>
                </a:cubicBezTo>
                <a:cubicBezTo>
                  <a:pt x="422" y="71"/>
                  <a:pt x="420" y="71"/>
                  <a:pt x="420" y="71"/>
                </a:cubicBezTo>
                <a:cubicBezTo>
                  <a:pt x="420" y="71"/>
                  <a:pt x="418" y="73"/>
                  <a:pt x="416" y="79"/>
                </a:cubicBezTo>
                <a:cubicBezTo>
                  <a:pt x="414" y="85"/>
                  <a:pt x="419" y="86"/>
                  <a:pt x="416" y="90"/>
                </a:cubicBezTo>
                <a:cubicBezTo>
                  <a:pt x="413" y="94"/>
                  <a:pt x="411" y="95"/>
                  <a:pt x="411" y="95"/>
                </a:cubicBezTo>
                <a:cubicBezTo>
                  <a:pt x="411" y="95"/>
                  <a:pt x="406" y="96"/>
                  <a:pt x="405" y="101"/>
                </a:cubicBezTo>
                <a:cubicBezTo>
                  <a:pt x="403" y="105"/>
                  <a:pt x="404" y="111"/>
                  <a:pt x="404" y="111"/>
                </a:cubicBezTo>
                <a:cubicBezTo>
                  <a:pt x="404" y="111"/>
                  <a:pt x="397" y="112"/>
                  <a:pt x="396" y="116"/>
                </a:cubicBezTo>
                <a:cubicBezTo>
                  <a:pt x="396" y="119"/>
                  <a:pt x="395" y="122"/>
                  <a:pt x="395" y="122"/>
                </a:cubicBezTo>
                <a:cubicBezTo>
                  <a:pt x="395" y="122"/>
                  <a:pt x="400" y="124"/>
                  <a:pt x="399" y="130"/>
                </a:cubicBezTo>
                <a:cubicBezTo>
                  <a:pt x="399" y="136"/>
                  <a:pt x="399" y="138"/>
                  <a:pt x="398" y="141"/>
                </a:cubicBezTo>
                <a:cubicBezTo>
                  <a:pt x="397" y="143"/>
                  <a:pt x="394" y="142"/>
                  <a:pt x="394" y="142"/>
                </a:cubicBezTo>
                <a:cubicBezTo>
                  <a:pt x="394" y="142"/>
                  <a:pt x="391" y="137"/>
                  <a:pt x="390" y="139"/>
                </a:cubicBezTo>
                <a:cubicBezTo>
                  <a:pt x="389" y="141"/>
                  <a:pt x="386" y="141"/>
                  <a:pt x="386" y="141"/>
                </a:cubicBezTo>
                <a:cubicBezTo>
                  <a:pt x="386" y="141"/>
                  <a:pt x="386" y="141"/>
                  <a:pt x="386" y="141"/>
                </a:cubicBezTo>
                <a:cubicBezTo>
                  <a:pt x="370" y="137"/>
                  <a:pt x="370" y="137"/>
                  <a:pt x="370" y="137"/>
                </a:cubicBezTo>
                <a:cubicBezTo>
                  <a:pt x="370" y="137"/>
                  <a:pt x="365" y="147"/>
                  <a:pt x="362" y="148"/>
                </a:cubicBezTo>
                <a:cubicBezTo>
                  <a:pt x="359" y="148"/>
                  <a:pt x="360" y="141"/>
                  <a:pt x="360" y="139"/>
                </a:cubicBezTo>
                <a:cubicBezTo>
                  <a:pt x="360" y="137"/>
                  <a:pt x="353" y="136"/>
                  <a:pt x="353" y="136"/>
                </a:cubicBezTo>
                <a:cubicBezTo>
                  <a:pt x="353" y="136"/>
                  <a:pt x="348" y="135"/>
                  <a:pt x="347" y="131"/>
                </a:cubicBezTo>
                <a:cubicBezTo>
                  <a:pt x="346" y="127"/>
                  <a:pt x="344" y="123"/>
                  <a:pt x="340" y="118"/>
                </a:cubicBezTo>
                <a:cubicBezTo>
                  <a:pt x="336" y="114"/>
                  <a:pt x="327" y="111"/>
                  <a:pt x="324" y="113"/>
                </a:cubicBezTo>
                <a:cubicBezTo>
                  <a:pt x="321" y="114"/>
                  <a:pt x="317" y="119"/>
                  <a:pt x="315" y="121"/>
                </a:cubicBezTo>
                <a:cubicBezTo>
                  <a:pt x="313" y="124"/>
                  <a:pt x="308" y="125"/>
                  <a:pt x="308" y="125"/>
                </a:cubicBezTo>
                <a:cubicBezTo>
                  <a:pt x="305" y="125"/>
                  <a:pt x="306" y="117"/>
                  <a:pt x="304" y="118"/>
                </a:cubicBezTo>
                <a:cubicBezTo>
                  <a:pt x="302" y="119"/>
                  <a:pt x="300" y="119"/>
                  <a:pt x="300" y="123"/>
                </a:cubicBezTo>
                <a:cubicBezTo>
                  <a:pt x="300" y="126"/>
                  <a:pt x="302" y="141"/>
                  <a:pt x="300" y="141"/>
                </a:cubicBezTo>
                <a:cubicBezTo>
                  <a:pt x="299" y="142"/>
                  <a:pt x="295" y="139"/>
                  <a:pt x="293" y="137"/>
                </a:cubicBezTo>
                <a:cubicBezTo>
                  <a:pt x="291" y="136"/>
                  <a:pt x="290" y="129"/>
                  <a:pt x="288" y="134"/>
                </a:cubicBezTo>
                <a:cubicBezTo>
                  <a:pt x="285" y="139"/>
                  <a:pt x="276" y="140"/>
                  <a:pt x="276" y="145"/>
                </a:cubicBezTo>
                <a:cubicBezTo>
                  <a:pt x="276" y="149"/>
                  <a:pt x="281" y="153"/>
                  <a:pt x="278" y="156"/>
                </a:cubicBezTo>
                <a:cubicBezTo>
                  <a:pt x="275" y="159"/>
                  <a:pt x="272" y="158"/>
                  <a:pt x="273" y="161"/>
                </a:cubicBezTo>
                <a:cubicBezTo>
                  <a:pt x="275" y="164"/>
                  <a:pt x="279" y="168"/>
                  <a:pt x="278" y="169"/>
                </a:cubicBezTo>
                <a:cubicBezTo>
                  <a:pt x="278" y="171"/>
                  <a:pt x="272" y="169"/>
                  <a:pt x="271" y="169"/>
                </a:cubicBezTo>
                <a:cubicBezTo>
                  <a:pt x="269" y="169"/>
                  <a:pt x="267" y="163"/>
                  <a:pt x="265" y="166"/>
                </a:cubicBezTo>
                <a:cubicBezTo>
                  <a:pt x="263" y="170"/>
                  <a:pt x="259" y="171"/>
                  <a:pt x="260" y="175"/>
                </a:cubicBezTo>
                <a:cubicBezTo>
                  <a:pt x="261" y="178"/>
                  <a:pt x="267" y="178"/>
                  <a:pt x="267" y="178"/>
                </a:cubicBezTo>
                <a:cubicBezTo>
                  <a:pt x="265" y="186"/>
                  <a:pt x="267" y="178"/>
                  <a:pt x="265" y="186"/>
                </a:cubicBezTo>
                <a:cubicBezTo>
                  <a:pt x="262" y="194"/>
                  <a:pt x="251" y="194"/>
                  <a:pt x="248" y="193"/>
                </a:cubicBezTo>
                <a:cubicBezTo>
                  <a:pt x="246" y="191"/>
                  <a:pt x="240" y="189"/>
                  <a:pt x="238" y="193"/>
                </a:cubicBezTo>
                <a:cubicBezTo>
                  <a:pt x="236" y="197"/>
                  <a:pt x="237" y="209"/>
                  <a:pt x="239" y="210"/>
                </a:cubicBezTo>
                <a:cubicBezTo>
                  <a:pt x="240" y="211"/>
                  <a:pt x="244" y="214"/>
                  <a:pt x="242" y="215"/>
                </a:cubicBezTo>
                <a:cubicBezTo>
                  <a:pt x="241" y="216"/>
                  <a:pt x="241" y="218"/>
                  <a:pt x="240" y="219"/>
                </a:cubicBezTo>
                <a:cubicBezTo>
                  <a:pt x="238" y="220"/>
                  <a:pt x="232" y="220"/>
                  <a:pt x="230" y="217"/>
                </a:cubicBezTo>
                <a:cubicBezTo>
                  <a:pt x="228" y="215"/>
                  <a:pt x="227" y="212"/>
                  <a:pt x="224" y="208"/>
                </a:cubicBezTo>
                <a:cubicBezTo>
                  <a:pt x="220" y="205"/>
                  <a:pt x="220" y="200"/>
                  <a:pt x="217" y="204"/>
                </a:cubicBezTo>
                <a:cubicBezTo>
                  <a:pt x="214" y="209"/>
                  <a:pt x="217" y="208"/>
                  <a:pt x="212" y="215"/>
                </a:cubicBezTo>
                <a:cubicBezTo>
                  <a:pt x="207" y="221"/>
                  <a:pt x="203" y="227"/>
                  <a:pt x="201" y="232"/>
                </a:cubicBezTo>
                <a:cubicBezTo>
                  <a:pt x="200" y="236"/>
                  <a:pt x="201" y="243"/>
                  <a:pt x="205" y="247"/>
                </a:cubicBezTo>
                <a:cubicBezTo>
                  <a:pt x="208" y="250"/>
                  <a:pt x="218" y="252"/>
                  <a:pt x="212" y="257"/>
                </a:cubicBezTo>
                <a:cubicBezTo>
                  <a:pt x="207" y="262"/>
                  <a:pt x="203" y="264"/>
                  <a:pt x="201" y="268"/>
                </a:cubicBezTo>
                <a:cubicBezTo>
                  <a:pt x="199" y="273"/>
                  <a:pt x="196" y="270"/>
                  <a:pt x="195" y="274"/>
                </a:cubicBezTo>
                <a:cubicBezTo>
                  <a:pt x="195" y="278"/>
                  <a:pt x="191" y="292"/>
                  <a:pt x="190" y="294"/>
                </a:cubicBezTo>
                <a:cubicBezTo>
                  <a:pt x="189" y="296"/>
                  <a:pt x="182" y="297"/>
                  <a:pt x="178" y="303"/>
                </a:cubicBezTo>
                <a:cubicBezTo>
                  <a:pt x="174" y="308"/>
                  <a:pt x="159" y="316"/>
                  <a:pt x="152" y="316"/>
                </a:cubicBezTo>
                <a:cubicBezTo>
                  <a:pt x="145" y="316"/>
                  <a:pt x="143" y="316"/>
                  <a:pt x="136" y="323"/>
                </a:cubicBezTo>
                <a:cubicBezTo>
                  <a:pt x="129" y="330"/>
                  <a:pt x="127" y="321"/>
                  <a:pt x="124" y="330"/>
                </a:cubicBezTo>
                <a:cubicBezTo>
                  <a:pt x="121" y="339"/>
                  <a:pt x="113" y="342"/>
                  <a:pt x="110" y="343"/>
                </a:cubicBezTo>
                <a:cubicBezTo>
                  <a:pt x="107" y="345"/>
                  <a:pt x="105" y="341"/>
                  <a:pt x="103" y="348"/>
                </a:cubicBezTo>
                <a:cubicBezTo>
                  <a:pt x="100" y="355"/>
                  <a:pt x="98" y="353"/>
                  <a:pt x="92" y="355"/>
                </a:cubicBezTo>
                <a:cubicBezTo>
                  <a:pt x="87" y="357"/>
                  <a:pt x="77" y="351"/>
                  <a:pt x="72" y="355"/>
                </a:cubicBezTo>
                <a:cubicBezTo>
                  <a:pt x="67" y="360"/>
                  <a:pt x="64" y="370"/>
                  <a:pt x="44" y="387"/>
                </a:cubicBezTo>
                <a:cubicBezTo>
                  <a:pt x="23" y="404"/>
                  <a:pt x="26" y="411"/>
                  <a:pt x="23" y="417"/>
                </a:cubicBezTo>
                <a:cubicBezTo>
                  <a:pt x="21" y="423"/>
                  <a:pt x="15" y="425"/>
                  <a:pt x="16" y="419"/>
                </a:cubicBezTo>
                <a:cubicBezTo>
                  <a:pt x="17" y="412"/>
                  <a:pt x="16" y="402"/>
                  <a:pt x="12" y="408"/>
                </a:cubicBezTo>
                <a:cubicBezTo>
                  <a:pt x="8" y="415"/>
                  <a:pt x="0" y="431"/>
                  <a:pt x="5" y="431"/>
                </a:cubicBezTo>
                <a:cubicBezTo>
                  <a:pt x="9" y="431"/>
                  <a:pt x="14" y="430"/>
                  <a:pt x="15" y="436"/>
                </a:cubicBezTo>
                <a:cubicBezTo>
                  <a:pt x="17" y="442"/>
                  <a:pt x="18" y="454"/>
                  <a:pt x="18" y="456"/>
                </a:cubicBezTo>
                <a:cubicBezTo>
                  <a:pt x="17" y="458"/>
                  <a:pt x="13" y="457"/>
                  <a:pt x="12" y="466"/>
                </a:cubicBezTo>
                <a:cubicBezTo>
                  <a:pt x="11" y="474"/>
                  <a:pt x="9" y="485"/>
                  <a:pt x="18" y="493"/>
                </a:cubicBezTo>
                <a:cubicBezTo>
                  <a:pt x="27" y="501"/>
                  <a:pt x="44" y="519"/>
                  <a:pt x="44" y="527"/>
                </a:cubicBezTo>
                <a:cubicBezTo>
                  <a:pt x="45" y="536"/>
                  <a:pt x="48" y="540"/>
                  <a:pt x="42" y="535"/>
                </a:cubicBezTo>
                <a:cubicBezTo>
                  <a:pt x="36" y="531"/>
                  <a:pt x="20" y="514"/>
                  <a:pt x="19" y="516"/>
                </a:cubicBezTo>
                <a:cubicBezTo>
                  <a:pt x="18" y="518"/>
                  <a:pt x="22" y="521"/>
                  <a:pt x="26" y="526"/>
                </a:cubicBezTo>
                <a:cubicBezTo>
                  <a:pt x="30" y="531"/>
                  <a:pt x="40" y="539"/>
                  <a:pt x="37" y="544"/>
                </a:cubicBezTo>
                <a:cubicBezTo>
                  <a:pt x="34" y="548"/>
                  <a:pt x="22" y="533"/>
                  <a:pt x="20" y="537"/>
                </a:cubicBezTo>
                <a:cubicBezTo>
                  <a:pt x="18" y="541"/>
                  <a:pt x="21" y="543"/>
                  <a:pt x="27" y="548"/>
                </a:cubicBezTo>
                <a:cubicBezTo>
                  <a:pt x="34" y="553"/>
                  <a:pt x="38" y="556"/>
                  <a:pt x="45" y="563"/>
                </a:cubicBezTo>
                <a:cubicBezTo>
                  <a:pt x="51" y="571"/>
                  <a:pt x="48" y="575"/>
                  <a:pt x="53" y="582"/>
                </a:cubicBezTo>
                <a:cubicBezTo>
                  <a:pt x="58" y="590"/>
                  <a:pt x="50" y="585"/>
                  <a:pt x="60" y="594"/>
                </a:cubicBezTo>
                <a:cubicBezTo>
                  <a:pt x="71" y="602"/>
                  <a:pt x="83" y="609"/>
                  <a:pt x="84" y="620"/>
                </a:cubicBezTo>
                <a:cubicBezTo>
                  <a:pt x="85" y="631"/>
                  <a:pt x="84" y="636"/>
                  <a:pt x="89" y="644"/>
                </a:cubicBezTo>
                <a:cubicBezTo>
                  <a:pt x="95" y="652"/>
                  <a:pt x="100" y="667"/>
                  <a:pt x="109" y="676"/>
                </a:cubicBezTo>
                <a:cubicBezTo>
                  <a:pt x="118" y="685"/>
                  <a:pt x="120" y="690"/>
                  <a:pt x="121" y="695"/>
                </a:cubicBezTo>
                <a:cubicBezTo>
                  <a:pt x="122" y="701"/>
                  <a:pt x="123" y="707"/>
                  <a:pt x="125" y="709"/>
                </a:cubicBezTo>
                <a:cubicBezTo>
                  <a:pt x="126" y="712"/>
                  <a:pt x="123" y="711"/>
                  <a:pt x="122" y="716"/>
                </a:cubicBezTo>
                <a:cubicBezTo>
                  <a:pt x="121" y="720"/>
                  <a:pt x="119" y="727"/>
                  <a:pt x="120" y="734"/>
                </a:cubicBezTo>
                <a:cubicBezTo>
                  <a:pt x="122" y="741"/>
                  <a:pt x="120" y="744"/>
                  <a:pt x="116" y="742"/>
                </a:cubicBezTo>
                <a:cubicBezTo>
                  <a:pt x="112" y="740"/>
                  <a:pt x="103" y="737"/>
                  <a:pt x="108" y="743"/>
                </a:cubicBezTo>
                <a:cubicBezTo>
                  <a:pt x="114" y="749"/>
                  <a:pt x="116" y="752"/>
                  <a:pt x="119" y="757"/>
                </a:cubicBezTo>
                <a:cubicBezTo>
                  <a:pt x="121" y="761"/>
                  <a:pt x="115" y="767"/>
                  <a:pt x="122" y="766"/>
                </a:cubicBezTo>
                <a:cubicBezTo>
                  <a:pt x="129" y="764"/>
                  <a:pt x="134" y="764"/>
                  <a:pt x="139" y="768"/>
                </a:cubicBezTo>
                <a:cubicBezTo>
                  <a:pt x="143" y="771"/>
                  <a:pt x="147" y="776"/>
                  <a:pt x="153" y="774"/>
                </a:cubicBezTo>
                <a:cubicBezTo>
                  <a:pt x="158" y="772"/>
                  <a:pt x="159" y="765"/>
                  <a:pt x="165" y="771"/>
                </a:cubicBezTo>
                <a:cubicBezTo>
                  <a:pt x="170" y="778"/>
                  <a:pt x="173" y="769"/>
                  <a:pt x="178" y="768"/>
                </a:cubicBezTo>
                <a:cubicBezTo>
                  <a:pt x="183" y="768"/>
                  <a:pt x="187" y="767"/>
                  <a:pt x="191" y="767"/>
                </a:cubicBezTo>
                <a:cubicBezTo>
                  <a:pt x="194" y="768"/>
                  <a:pt x="196" y="765"/>
                  <a:pt x="200" y="762"/>
                </a:cubicBezTo>
                <a:cubicBezTo>
                  <a:pt x="204" y="759"/>
                  <a:pt x="204" y="756"/>
                  <a:pt x="212" y="753"/>
                </a:cubicBezTo>
                <a:cubicBezTo>
                  <a:pt x="219" y="750"/>
                  <a:pt x="222" y="756"/>
                  <a:pt x="222" y="744"/>
                </a:cubicBezTo>
                <a:cubicBezTo>
                  <a:pt x="223" y="732"/>
                  <a:pt x="223" y="730"/>
                  <a:pt x="234" y="726"/>
                </a:cubicBezTo>
                <a:cubicBezTo>
                  <a:pt x="245" y="722"/>
                  <a:pt x="268" y="717"/>
                  <a:pt x="272" y="717"/>
                </a:cubicBezTo>
                <a:cubicBezTo>
                  <a:pt x="276" y="716"/>
                  <a:pt x="273" y="711"/>
                  <a:pt x="280" y="716"/>
                </a:cubicBezTo>
                <a:cubicBezTo>
                  <a:pt x="288" y="721"/>
                  <a:pt x="288" y="712"/>
                  <a:pt x="294" y="713"/>
                </a:cubicBezTo>
                <a:cubicBezTo>
                  <a:pt x="300" y="715"/>
                  <a:pt x="289" y="716"/>
                  <a:pt x="303" y="713"/>
                </a:cubicBezTo>
                <a:cubicBezTo>
                  <a:pt x="317" y="710"/>
                  <a:pt x="316" y="705"/>
                  <a:pt x="321" y="694"/>
                </a:cubicBezTo>
                <a:cubicBezTo>
                  <a:pt x="325" y="684"/>
                  <a:pt x="317" y="685"/>
                  <a:pt x="333" y="678"/>
                </a:cubicBezTo>
                <a:cubicBezTo>
                  <a:pt x="349" y="671"/>
                  <a:pt x="359" y="652"/>
                  <a:pt x="380" y="653"/>
                </a:cubicBezTo>
                <a:cubicBezTo>
                  <a:pt x="401" y="655"/>
                  <a:pt x="408" y="649"/>
                  <a:pt x="419" y="640"/>
                </a:cubicBezTo>
                <a:cubicBezTo>
                  <a:pt x="426" y="633"/>
                  <a:pt x="428" y="629"/>
                  <a:pt x="433" y="628"/>
                </a:cubicBezTo>
                <a:cubicBezTo>
                  <a:pt x="433" y="628"/>
                  <a:pt x="433" y="628"/>
                  <a:pt x="433" y="628"/>
                </a:cubicBezTo>
                <a:cubicBezTo>
                  <a:pt x="435" y="627"/>
                  <a:pt x="438" y="627"/>
                  <a:pt x="442" y="627"/>
                </a:cubicBezTo>
                <a:cubicBezTo>
                  <a:pt x="455" y="627"/>
                  <a:pt x="477" y="612"/>
                  <a:pt x="493" y="623"/>
                </a:cubicBezTo>
                <a:cubicBezTo>
                  <a:pt x="509" y="634"/>
                  <a:pt x="512" y="637"/>
                  <a:pt x="518" y="632"/>
                </a:cubicBezTo>
                <a:cubicBezTo>
                  <a:pt x="524" y="627"/>
                  <a:pt x="523" y="620"/>
                  <a:pt x="531" y="627"/>
                </a:cubicBezTo>
                <a:cubicBezTo>
                  <a:pt x="538" y="634"/>
                  <a:pt x="543" y="619"/>
                  <a:pt x="549" y="631"/>
                </a:cubicBezTo>
                <a:cubicBezTo>
                  <a:pt x="556" y="643"/>
                  <a:pt x="558" y="639"/>
                  <a:pt x="564" y="648"/>
                </a:cubicBezTo>
                <a:cubicBezTo>
                  <a:pt x="570" y="657"/>
                  <a:pt x="567" y="650"/>
                  <a:pt x="572" y="661"/>
                </a:cubicBezTo>
                <a:cubicBezTo>
                  <a:pt x="578" y="672"/>
                  <a:pt x="582" y="662"/>
                  <a:pt x="582" y="673"/>
                </a:cubicBezTo>
                <a:cubicBezTo>
                  <a:pt x="582" y="683"/>
                  <a:pt x="584" y="692"/>
                  <a:pt x="584" y="692"/>
                </a:cubicBezTo>
                <a:cubicBezTo>
                  <a:pt x="595" y="698"/>
                  <a:pt x="595" y="698"/>
                  <a:pt x="595" y="698"/>
                </a:cubicBezTo>
                <a:cubicBezTo>
                  <a:pt x="598" y="706"/>
                  <a:pt x="598" y="706"/>
                  <a:pt x="598" y="706"/>
                </a:cubicBezTo>
                <a:cubicBezTo>
                  <a:pt x="598" y="706"/>
                  <a:pt x="600" y="719"/>
                  <a:pt x="605" y="710"/>
                </a:cubicBezTo>
                <a:cubicBezTo>
                  <a:pt x="609" y="700"/>
                  <a:pt x="605" y="697"/>
                  <a:pt x="613" y="689"/>
                </a:cubicBezTo>
                <a:cubicBezTo>
                  <a:pt x="621" y="680"/>
                  <a:pt x="632" y="673"/>
                  <a:pt x="636" y="670"/>
                </a:cubicBezTo>
                <a:cubicBezTo>
                  <a:pt x="639" y="666"/>
                  <a:pt x="642" y="666"/>
                  <a:pt x="644" y="652"/>
                </a:cubicBezTo>
                <a:cubicBezTo>
                  <a:pt x="646" y="638"/>
                  <a:pt x="642" y="622"/>
                  <a:pt x="649" y="634"/>
                </a:cubicBezTo>
                <a:cubicBezTo>
                  <a:pt x="656" y="646"/>
                  <a:pt x="652" y="646"/>
                  <a:pt x="653" y="654"/>
                </a:cubicBezTo>
                <a:cubicBezTo>
                  <a:pt x="654" y="661"/>
                  <a:pt x="646" y="669"/>
                  <a:pt x="645" y="679"/>
                </a:cubicBezTo>
                <a:cubicBezTo>
                  <a:pt x="644" y="688"/>
                  <a:pt x="649" y="691"/>
                  <a:pt x="647" y="697"/>
                </a:cubicBezTo>
                <a:cubicBezTo>
                  <a:pt x="645" y="704"/>
                  <a:pt x="633" y="698"/>
                  <a:pt x="636" y="706"/>
                </a:cubicBezTo>
                <a:cubicBezTo>
                  <a:pt x="640" y="714"/>
                  <a:pt x="650" y="714"/>
                  <a:pt x="652" y="705"/>
                </a:cubicBezTo>
                <a:cubicBezTo>
                  <a:pt x="653" y="696"/>
                  <a:pt x="651" y="676"/>
                  <a:pt x="658" y="683"/>
                </a:cubicBezTo>
                <a:cubicBezTo>
                  <a:pt x="665" y="691"/>
                  <a:pt x="665" y="691"/>
                  <a:pt x="669" y="697"/>
                </a:cubicBezTo>
                <a:cubicBezTo>
                  <a:pt x="672" y="704"/>
                  <a:pt x="676" y="707"/>
                  <a:pt x="669" y="715"/>
                </a:cubicBezTo>
                <a:cubicBezTo>
                  <a:pt x="663" y="723"/>
                  <a:pt x="671" y="724"/>
                  <a:pt x="673" y="724"/>
                </a:cubicBezTo>
                <a:cubicBezTo>
                  <a:pt x="676" y="724"/>
                  <a:pt x="679" y="722"/>
                  <a:pt x="681" y="719"/>
                </a:cubicBezTo>
                <a:cubicBezTo>
                  <a:pt x="684" y="716"/>
                  <a:pt x="686" y="715"/>
                  <a:pt x="686" y="715"/>
                </a:cubicBezTo>
                <a:cubicBezTo>
                  <a:pt x="687" y="733"/>
                  <a:pt x="687" y="733"/>
                  <a:pt x="687" y="733"/>
                </a:cubicBezTo>
                <a:cubicBezTo>
                  <a:pt x="687" y="733"/>
                  <a:pt x="687" y="733"/>
                  <a:pt x="694" y="737"/>
                </a:cubicBezTo>
                <a:cubicBezTo>
                  <a:pt x="700" y="740"/>
                  <a:pt x="703" y="748"/>
                  <a:pt x="703" y="753"/>
                </a:cubicBezTo>
                <a:cubicBezTo>
                  <a:pt x="704" y="758"/>
                  <a:pt x="702" y="755"/>
                  <a:pt x="700" y="761"/>
                </a:cubicBezTo>
                <a:cubicBezTo>
                  <a:pt x="699" y="768"/>
                  <a:pt x="700" y="767"/>
                  <a:pt x="706" y="773"/>
                </a:cubicBezTo>
                <a:cubicBezTo>
                  <a:pt x="712" y="780"/>
                  <a:pt x="713" y="774"/>
                  <a:pt x="715" y="782"/>
                </a:cubicBezTo>
                <a:cubicBezTo>
                  <a:pt x="718" y="789"/>
                  <a:pt x="712" y="791"/>
                  <a:pt x="719" y="793"/>
                </a:cubicBezTo>
                <a:cubicBezTo>
                  <a:pt x="725" y="795"/>
                  <a:pt x="718" y="782"/>
                  <a:pt x="730" y="791"/>
                </a:cubicBezTo>
                <a:cubicBezTo>
                  <a:pt x="731" y="791"/>
                  <a:pt x="731" y="792"/>
                  <a:pt x="732" y="792"/>
                </a:cubicBezTo>
                <a:lnTo>
                  <a:pt x="732" y="79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40" name="Freeform 373"/>
          <p:cNvSpPr>
            <a:spLocks/>
          </p:cNvSpPr>
          <p:nvPr userDrawn="1"/>
        </p:nvSpPr>
        <p:spPr bwMode="auto">
          <a:xfrm>
            <a:off x="3313037" y="4763433"/>
            <a:ext cx="70353" cy="51928"/>
          </a:xfrm>
          <a:custGeom>
            <a:avLst/>
            <a:gdLst>
              <a:gd name="T0" fmla="*/ 2147483646 w 75"/>
              <a:gd name="T1" fmla="*/ 2147483646 h 55"/>
              <a:gd name="T2" fmla="*/ 2147483646 w 75"/>
              <a:gd name="T3" fmla="*/ 2147483646 h 55"/>
              <a:gd name="T4" fmla="*/ 2147483646 w 75"/>
              <a:gd name="T5" fmla="*/ 2147483646 h 55"/>
              <a:gd name="T6" fmla="*/ 2147483646 w 75"/>
              <a:gd name="T7" fmla="*/ 2147483646 h 55"/>
              <a:gd name="T8" fmla="*/ 2147483646 w 75"/>
              <a:gd name="T9" fmla="*/ 2147483646 h 55"/>
              <a:gd name="T10" fmla="*/ 2147483646 w 75"/>
              <a:gd name="T11" fmla="*/ 2147483646 h 55"/>
              <a:gd name="T12" fmla="*/ 2147483646 w 75"/>
              <a:gd name="T13" fmla="*/ 2147483646 h 55"/>
              <a:gd name="T14" fmla="*/ 2147483646 w 75"/>
              <a:gd name="T15" fmla="*/ 2147483646 h 55"/>
              <a:gd name="T16" fmla="*/ 2147483646 w 75"/>
              <a:gd name="T17" fmla="*/ 2147483646 h 55"/>
              <a:gd name="T18" fmla="*/ 2147483646 w 75"/>
              <a:gd name="T19" fmla="*/ 2147483646 h 55"/>
              <a:gd name="T20" fmla="*/ 2147483646 w 75"/>
              <a:gd name="T21" fmla="*/ 2147483646 h 55"/>
              <a:gd name="T22" fmla="*/ 0 w 75"/>
              <a:gd name="T23" fmla="*/ 2147483646 h 55"/>
              <a:gd name="T24" fmla="*/ 2147483646 w 75"/>
              <a:gd name="T25" fmla="*/ 2147483646 h 55"/>
              <a:gd name="T26" fmla="*/ 2147483646 w 75"/>
              <a:gd name="T27" fmla="*/ 2147483646 h 55"/>
              <a:gd name="T28" fmla="*/ 2147483646 w 75"/>
              <a:gd name="T29" fmla="*/ 2147483646 h 55"/>
              <a:gd name="T30" fmla="*/ 2147483646 w 75"/>
              <a:gd name="T31" fmla="*/ 0 h 55"/>
              <a:gd name="T32" fmla="*/ 2147483646 w 75"/>
              <a:gd name="T33" fmla="*/ 2147483646 h 5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75"/>
              <a:gd name="T52" fmla="*/ 0 h 55"/>
              <a:gd name="T53" fmla="*/ 75 w 75"/>
              <a:gd name="T54" fmla="*/ 55 h 55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75" h="55">
                <a:moveTo>
                  <a:pt x="31" y="2"/>
                </a:moveTo>
                <a:cubicBezTo>
                  <a:pt x="30" y="7"/>
                  <a:pt x="35" y="13"/>
                  <a:pt x="38" y="17"/>
                </a:cubicBezTo>
                <a:cubicBezTo>
                  <a:pt x="45" y="26"/>
                  <a:pt x="52" y="33"/>
                  <a:pt x="63" y="30"/>
                </a:cubicBezTo>
                <a:cubicBezTo>
                  <a:pt x="65" y="35"/>
                  <a:pt x="73" y="32"/>
                  <a:pt x="75" y="37"/>
                </a:cubicBezTo>
                <a:cubicBezTo>
                  <a:pt x="75" y="39"/>
                  <a:pt x="73" y="47"/>
                  <a:pt x="72" y="50"/>
                </a:cubicBezTo>
                <a:cubicBezTo>
                  <a:pt x="72" y="51"/>
                  <a:pt x="72" y="51"/>
                  <a:pt x="72" y="51"/>
                </a:cubicBezTo>
                <a:cubicBezTo>
                  <a:pt x="71" y="52"/>
                  <a:pt x="71" y="52"/>
                  <a:pt x="71" y="52"/>
                </a:cubicBezTo>
                <a:cubicBezTo>
                  <a:pt x="65" y="53"/>
                  <a:pt x="58" y="55"/>
                  <a:pt x="55" y="55"/>
                </a:cubicBezTo>
                <a:cubicBezTo>
                  <a:pt x="52" y="55"/>
                  <a:pt x="47" y="52"/>
                  <a:pt x="37" y="51"/>
                </a:cubicBezTo>
                <a:cubicBezTo>
                  <a:pt x="26" y="50"/>
                  <a:pt x="29" y="50"/>
                  <a:pt x="23" y="42"/>
                </a:cubicBezTo>
                <a:cubicBezTo>
                  <a:pt x="16" y="34"/>
                  <a:pt x="15" y="39"/>
                  <a:pt x="9" y="33"/>
                </a:cubicBezTo>
                <a:cubicBezTo>
                  <a:pt x="6" y="30"/>
                  <a:pt x="3" y="30"/>
                  <a:pt x="0" y="29"/>
                </a:cubicBezTo>
                <a:cubicBezTo>
                  <a:pt x="1" y="29"/>
                  <a:pt x="1" y="29"/>
                  <a:pt x="1" y="29"/>
                </a:cubicBezTo>
                <a:cubicBezTo>
                  <a:pt x="5" y="26"/>
                  <a:pt x="6" y="23"/>
                  <a:pt x="11" y="20"/>
                </a:cubicBezTo>
                <a:cubicBezTo>
                  <a:pt x="16" y="16"/>
                  <a:pt x="26" y="12"/>
                  <a:pt x="29" y="5"/>
                </a:cubicBezTo>
                <a:cubicBezTo>
                  <a:pt x="30" y="4"/>
                  <a:pt x="30" y="2"/>
                  <a:pt x="30" y="0"/>
                </a:cubicBezTo>
                <a:lnTo>
                  <a:pt x="31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41" name="Freeform 374"/>
          <p:cNvSpPr>
            <a:spLocks/>
          </p:cNvSpPr>
          <p:nvPr userDrawn="1"/>
        </p:nvSpPr>
        <p:spPr bwMode="auto">
          <a:xfrm>
            <a:off x="3386740" y="4763433"/>
            <a:ext cx="127307" cy="125632"/>
          </a:xfrm>
          <a:custGeom>
            <a:avLst/>
            <a:gdLst>
              <a:gd name="T0" fmla="*/ 2147483646 w 135"/>
              <a:gd name="T1" fmla="*/ 0 h 134"/>
              <a:gd name="T2" fmla="*/ 2147483646 w 135"/>
              <a:gd name="T3" fmla="*/ 2147483646 h 134"/>
              <a:gd name="T4" fmla="*/ 2147483646 w 135"/>
              <a:gd name="T5" fmla="*/ 2147483646 h 134"/>
              <a:gd name="T6" fmla="*/ 2147483646 w 135"/>
              <a:gd name="T7" fmla="*/ 2147483646 h 134"/>
              <a:gd name="T8" fmla="*/ 2147483646 w 135"/>
              <a:gd name="T9" fmla="*/ 2147483646 h 134"/>
              <a:gd name="T10" fmla="*/ 2147483646 w 135"/>
              <a:gd name="T11" fmla="*/ 2147483646 h 134"/>
              <a:gd name="T12" fmla="*/ 2147483646 w 135"/>
              <a:gd name="T13" fmla="*/ 2147483646 h 134"/>
              <a:gd name="T14" fmla="*/ 2147483646 w 135"/>
              <a:gd name="T15" fmla="*/ 2147483646 h 134"/>
              <a:gd name="T16" fmla="*/ 2147483646 w 135"/>
              <a:gd name="T17" fmla="*/ 2147483646 h 134"/>
              <a:gd name="T18" fmla="*/ 2147483646 w 135"/>
              <a:gd name="T19" fmla="*/ 2147483646 h 134"/>
              <a:gd name="T20" fmla="*/ 2147483646 w 135"/>
              <a:gd name="T21" fmla="*/ 2147483646 h 134"/>
              <a:gd name="T22" fmla="*/ 2147483646 w 135"/>
              <a:gd name="T23" fmla="*/ 2147483646 h 134"/>
              <a:gd name="T24" fmla="*/ 2147483646 w 135"/>
              <a:gd name="T25" fmla="*/ 2147483646 h 134"/>
              <a:gd name="T26" fmla="*/ 2147483646 w 135"/>
              <a:gd name="T27" fmla="*/ 2147483646 h 134"/>
              <a:gd name="T28" fmla="*/ 2147483646 w 135"/>
              <a:gd name="T29" fmla="*/ 2147483646 h 134"/>
              <a:gd name="T30" fmla="*/ 2147483646 w 135"/>
              <a:gd name="T31" fmla="*/ 2147483646 h 134"/>
              <a:gd name="T32" fmla="*/ 2147483646 w 135"/>
              <a:gd name="T33" fmla="*/ 2147483646 h 134"/>
              <a:gd name="T34" fmla="*/ 2147483646 w 135"/>
              <a:gd name="T35" fmla="*/ 2147483646 h 134"/>
              <a:gd name="T36" fmla="*/ 2147483646 w 135"/>
              <a:gd name="T37" fmla="*/ 2147483646 h 134"/>
              <a:gd name="T38" fmla="*/ 2147483646 w 135"/>
              <a:gd name="T39" fmla="*/ 2147483646 h 134"/>
              <a:gd name="T40" fmla="*/ 2147483646 w 135"/>
              <a:gd name="T41" fmla="*/ 2147483646 h 134"/>
              <a:gd name="T42" fmla="*/ 2147483646 w 135"/>
              <a:gd name="T43" fmla="*/ 2147483646 h 134"/>
              <a:gd name="T44" fmla="*/ 2147483646 w 135"/>
              <a:gd name="T45" fmla="*/ 2147483646 h 134"/>
              <a:gd name="T46" fmla="*/ 2147483646 w 135"/>
              <a:gd name="T47" fmla="*/ 2147483646 h 134"/>
              <a:gd name="T48" fmla="*/ 2147483646 w 135"/>
              <a:gd name="T49" fmla="*/ 2147483646 h 134"/>
              <a:gd name="T50" fmla="*/ 2147483646 w 135"/>
              <a:gd name="T51" fmla="*/ 2147483646 h 134"/>
              <a:gd name="T52" fmla="*/ 2147483646 w 135"/>
              <a:gd name="T53" fmla="*/ 2147483646 h 134"/>
              <a:gd name="T54" fmla="*/ 2147483646 w 135"/>
              <a:gd name="T55" fmla="*/ 2147483646 h 134"/>
              <a:gd name="T56" fmla="*/ 2147483646 w 135"/>
              <a:gd name="T57" fmla="*/ 2147483646 h 134"/>
              <a:gd name="T58" fmla="*/ 2147483646 w 135"/>
              <a:gd name="T59" fmla="*/ 2147483646 h 134"/>
              <a:gd name="T60" fmla="*/ 2147483646 w 135"/>
              <a:gd name="T61" fmla="*/ 2147483646 h 134"/>
              <a:gd name="T62" fmla="*/ 2147483646 w 135"/>
              <a:gd name="T63" fmla="*/ 2147483646 h 134"/>
              <a:gd name="T64" fmla="*/ 2147483646 w 135"/>
              <a:gd name="T65" fmla="*/ 2147483646 h 134"/>
              <a:gd name="T66" fmla="*/ 2147483646 w 135"/>
              <a:gd name="T67" fmla="*/ 0 h 134"/>
              <a:gd name="T68" fmla="*/ 2147483646 w 135"/>
              <a:gd name="T69" fmla="*/ 0 h 13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35"/>
              <a:gd name="T106" fmla="*/ 0 h 134"/>
              <a:gd name="T107" fmla="*/ 135 w 135"/>
              <a:gd name="T108" fmla="*/ 134 h 13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35" h="134">
                <a:moveTo>
                  <a:pt x="127" y="0"/>
                </a:moveTo>
                <a:cubicBezTo>
                  <a:pt x="128" y="3"/>
                  <a:pt x="129" y="7"/>
                  <a:pt x="131" y="10"/>
                </a:cubicBezTo>
                <a:cubicBezTo>
                  <a:pt x="135" y="18"/>
                  <a:pt x="130" y="31"/>
                  <a:pt x="124" y="39"/>
                </a:cubicBezTo>
                <a:cubicBezTo>
                  <a:pt x="117" y="47"/>
                  <a:pt x="121" y="64"/>
                  <a:pt x="116" y="80"/>
                </a:cubicBezTo>
                <a:cubicBezTo>
                  <a:pt x="111" y="97"/>
                  <a:pt x="110" y="98"/>
                  <a:pt x="115" y="107"/>
                </a:cubicBezTo>
                <a:cubicBezTo>
                  <a:pt x="118" y="113"/>
                  <a:pt x="116" y="116"/>
                  <a:pt x="118" y="128"/>
                </a:cubicBezTo>
                <a:cubicBezTo>
                  <a:pt x="117" y="129"/>
                  <a:pt x="117" y="129"/>
                  <a:pt x="117" y="129"/>
                </a:cubicBezTo>
                <a:cubicBezTo>
                  <a:pt x="110" y="130"/>
                  <a:pt x="106" y="134"/>
                  <a:pt x="99" y="129"/>
                </a:cubicBezTo>
                <a:cubicBezTo>
                  <a:pt x="93" y="125"/>
                  <a:pt x="90" y="119"/>
                  <a:pt x="81" y="120"/>
                </a:cubicBezTo>
                <a:cubicBezTo>
                  <a:pt x="81" y="119"/>
                  <a:pt x="81" y="119"/>
                  <a:pt x="81" y="119"/>
                </a:cubicBezTo>
                <a:cubicBezTo>
                  <a:pt x="78" y="114"/>
                  <a:pt x="68" y="106"/>
                  <a:pt x="65" y="103"/>
                </a:cubicBezTo>
                <a:cubicBezTo>
                  <a:pt x="62" y="100"/>
                  <a:pt x="62" y="97"/>
                  <a:pt x="59" y="94"/>
                </a:cubicBezTo>
                <a:cubicBezTo>
                  <a:pt x="56" y="91"/>
                  <a:pt x="54" y="90"/>
                  <a:pt x="51" y="90"/>
                </a:cubicBezTo>
                <a:cubicBezTo>
                  <a:pt x="49" y="89"/>
                  <a:pt x="48" y="98"/>
                  <a:pt x="49" y="101"/>
                </a:cubicBezTo>
                <a:cubicBezTo>
                  <a:pt x="50" y="104"/>
                  <a:pt x="56" y="112"/>
                  <a:pt x="57" y="114"/>
                </a:cubicBezTo>
                <a:cubicBezTo>
                  <a:pt x="59" y="115"/>
                  <a:pt x="56" y="117"/>
                  <a:pt x="55" y="118"/>
                </a:cubicBezTo>
                <a:cubicBezTo>
                  <a:pt x="54" y="119"/>
                  <a:pt x="46" y="114"/>
                  <a:pt x="40" y="106"/>
                </a:cubicBezTo>
                <a:cubicBezTo>
                  <a:pt x="34" y="99"/>
                  <a:pt x="31" y="98"/>
                  <a:pt x="25" y="90"/>
                </a:cubicBezTo>
                <a:cubicBezTo>
                  <a:pt x="19" y="82"/>
                  <a:pt x="15" y="77"/>
                  <a:pt x="9" y="71"/>
                </a:cubicBezTo>
                <a:cubicBezTo>
                  <a:pt x="2" y="65"/>
                  <a:pt x="0" y="64"/>
                  <a:pt x="5" y="61"/>
                </a:cubicBezTo>
                <a:cubicBezTo>
                  <a:pt x="6" y="61"/>
                  <a:pt x="6" y="60"/>
                  <a:pt x="7" y="59"/>
                </a:cubicBezTo>
                <a:cubicBezTo>
                  <a:pt x="8" y="59"/>
                  <a:pt x="8" y="59"/>
                  <a:pt x="8" y="59"/>
                </a:cubicBezTo>
                <a:cubicBezTo>
                  <a:pt x="13" y="59"/>
                  <a:pt x="18" y="57"/>
                  <a:pt x="22" y="54"/>
                </a:cubicBezTo>
                <a:cubicBezTo>
                  <a:pt x="27" y="50"/>
                  <a:pt x="27" y="45"/>
                  <a:pt x="29" y="40"/>
                </a:cubicBezTo>
                <a:cubicBezTo>
                  <a:pt x="31" y="34"/>
                  <a:pt x="33" y="32"/>
                  <a:pt x="40" y="33"/>
                </a:cubicBezTo>
                <a:cubicBezTo>
                  <a:pt x="43" y="33"/>
                  <a:pt x="44" y="34"/>
                  <a:pt x="47" y="33"/>
                </a:cubicBezTo>
                <a:cubicBezTo>
                  <a:pt x="50" y="32"/>
                  <a:pt x="49" y="28"/>
                  <a:pt x="53" y="28"/>
                </a:cubicBezTo>
                <a:cubicBezTo>
                  <a:pt x="56" y="29"/>
                  <a:pt x="56" y="31"/>
                  <a:pt x="59" y="31"/>
                </a:cubicBezTo>
                <a:cubicBezTo>
                  <a:pt x="64" y="31"/>
                  <a:pt x="67" y="24"/>
                  <a:pt x="69" y="20"/>
                </a:cubicBezTo>
                <a:cubicBezTo>
                  <a:pt x="75" y="11"/>
                  <a:pt x="78" y="8"/>
                  <a:pt x="89" y="8"/>
                </a:cubicBezTo>
                <a:cubicBezTo>
                  <a:pt x="93" y="8"/>
                  <a:pt x="100" y="10"/>
                  <a:pt x="104" y="9"/>
                </a:cubicBezTo>
                <a:cubicBezTo>
                  <a:pt x="107" y="8"/>
                  <a:pt x="110" y="5"/>
                  <a:pt x="114" y="4"/>
                </a:cubicBezTo>
                <a:cubicBezTo>
                  <a:pt x="117" y="4"/>
                  <a:pt x="118" y="3"/>
                  <a:pt x="121" y="2"/>
                </a:cubicBezTo>
                <a:cubicBezTo>
                  <a:pt x="123" y="1"/>
                  <a:pt x="124" y="0"/>
                  <a:pt x="126" y="0"/>
                </a:cubicBezTo>
                <a:lnTo>
                  <a:pt x="12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42" name="Freeform 375"/>
          <p:cNvSpPr>
            <a:spLocks/>
          </p:cNvSpPr>
          <p:nvPr userDrawn="1"/>
        </p:nvSpPr>
        <p:spPr bwMode="auto">
          <a:xfrm>
            <a:off x="3433644" y="4873990"/>
            <a:ext cx="87105" cy="88780"/>
          </a:xfrm>
          <a:custGeom>
            <a:avLst/>
            <a:gdLst>
              <a:gd name="T0" fmla="*/ 2147483646 w 93"/>
              <a:gd name="T1" fmla="*/ 2147483646 h 96"/>
              <a:gd name="T2" fmla="*/ 2147483646 w 93"/>
              <a:gd name="T3" fmla="*/ 2147483646 h 96"/>
              <a:gd name="T4" fmla="*/ 2147483646 w 93"/>
              <a:gd name="T5" fmla="*/ 2147483646 h 96"/>
              <a:gd name="T6" fmla="*/ 2147483646 w 93"/>
              <a:gd name="T7" fmla="*/ 2147483646 h 96"/>
              <a:gd name="T8" fmla="*/ 2147483646 w 93"/>
              <a:gd name="T9" fmla="*/ 2147483646 h 96"/>
              <a:gd name="T10" fmla="*/ 2147483646 w 93"/>
              <a:gd name="T11" fmla="*/ 2147483646 h 96"/>
              <a:gd name="T12" fmla="*/ 2147483646 w 93"/>
              <a:gd name="T13" fmla="*/ 2147483646 h 96"/>
              <a:gd name="T14" fmla="*/ 2147483646 w 93"/>
              <a:gd name="T15" fmla="*/ 2147483646 h 96"/>
              <a:gd name="T16" fmla="*/ 2147483646 w 93"/>
              <a:gd name="T17" fmla="*/ 2147483646 h 96"/>
              <a:gd name="T18" fmla="*/ 2147483646 w 93"/>
              <a:gd name="T19" fmla="*/ 2147483646 h 96"/>
              <a:gd name="T20" fmla="*/ 2147483646 w 93"/>
              <a:gd name="T21" fmla="*/ 2147483646 h 96"/>
              <a:gd name="T22" fmla="*/ 2147483646 w 93"/>
              <a:gd name="T23" fmla="*/ 2147483646 h 96"/>
              <a:gd name="T24" fmla="*/ 2147483646 w 93"/>
              <a:gd name="T25" fmla="*/ 0 h 96"/>
              <a:gd name="T26" fmla="*/ 2147483646 w 93"/>
              <a:gd name="T27" fmla="*/ 2147483646 h 96"/>
              <a:gd name="T28" fmla="*/ 2147483646 w 93"/>
              <a:gd name="T29" fmla="*/ 2147483646 h 96"/>
              <a:gd name="T30" fmla="*/ 2147483646 w 93"/>
              <a:gd name="T31" fmla="*/ 2147483646 h 96"/>
              <a:gd name="T32" fmla="*/ 2147483646 w 93"/>
              <a:gd name="T33" fmla="*/ 2147483646 h 96"/>
              <a:gd name="T34" fmla="*/ 2147483646 w 93"/>
              <a:gd name="T35" fmla="*/ 2147483646 h 96"/>
              <a:gd name="T36" fmla="*/ 2147483646 w 93"/>
              <a:gd name="T37" fmla="*/ 2147483646 h 96"/>
              <a:gd name="T38" fmla="*/ 2147483646 w 93"/>
              <a:gd name="T39" fmla="*/ 2147483646 h 96"/>
              <a:gd name="T40" fmla="*/ 2147483646 w 93"/>
              <a:gd name="T41" fmla="*/ 2147483646 h 96"/>
              <a:gd name="T42" fmla="*/ 2147483646 w 93"/>
              <a:gd name="T43" fmla="*/ 2147483646 h 96"/>
              <a:gd name="T44" fmla="*/ 2147483646 w 93"/>
              <a:gd name="T45" fmla="*/ 2147483646 h 96"/>
              <a:gd name="T46" fmla="*/ 2147483646 w 93"/>
              <a:gd name="T47" fmla="*/ 2147483646 h 96"/>
              <a:gd name="T48" fmla="*/ 2147483646 w 93"/>
              <a:gd name="T49" fmla="*/ 2147483646 h 96"/>
              <a:gd name="T50" fmla="*/ 2147483646 w 93"/>
              <a:gd name="T51" fmla="*/ 2147483646 h 9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93"/>
              <a:gd name="T79" fmla="*/ 0 h 96"/>
              <a:gd name="T80" fmla="*/ 93 w 93"/>
              <a:gd name="T81" fmla="*/ 96 h 9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93" h="96">
                <a:moveTo>
                  <a:pt x="85" y="94"/>
                </a:moveTo>
                <a:cubicBezTo>
                  <a:pt x="85" y="91"/>
                  <a:pt x="86" y="87"/>
                  <a:pt x="87" y="84"/>
                </a:cubicBezTo>
                <a:cubicBezTo>
                  <a:pt x="90" y="79"/>
                  <a:pt x="92" y="79"/>
                  <a:pt x="90" y="74"/>
                </a:cubicBezTo>
                <a:cubicBezTo>
                  <a:pt x="88" y="65"/>
                  <a:pt x="81" y="56"/>
                  <a:pt x="93" y="52"/>
                </a:cubicBezTo>
                <a:cubicBezTo>
                  <a:pt x="93" y="51"/>
                  <a:pt x="93" y="51"/>
                  <a:pt x="93" y="51"/>
                </a:cubicBezTo>
                <a:cubicBezTo>
                  <a:pt x="84" y="44"/>
                  <a:pt x="75" y="34"/>
                  <a:pt x="72" y="24"/>
                </a:cubicBezTo>
                <a:cubicBezTo>
                  <a:pt x="70" y="18"/>
                  <a:pt x="69" y="14"/>
                  <a:pt x="68" y="11"/>
                </a:cubicBezTo>
                <a:cubicBezTo>
                  <a:pt x="67" y="12"/>
                  <a:pt x="67" y="12"/>
                  <a:pt x="67" y="12"/>
                </a:cubicBezTo>
                <a:cubicBezTo>
                  <a:pt x="60" y="14"/>
                  <a:pt x="56" y="17"/>
                  <a:pt x="49" y="13"/>
                </a:cubicBezTo>
                <a:cubicBezTo>
                  <a:pt x="43" y="9"/>
                  <a:pt x="39" y="2"/>
                  <a:pt x="31" y="3"/>
                </a:cubicBezTo>
                <a:cubicBezTo>
                  <a:pt x="31" y="3"/>
                  <a:pt x="31" y="3"/>
                  <a:pt x="31" y="3"/>
                </a:cubicBezTo>
                <a:cubicBezTo>
                  <a:pt x="29" y="5"/>
                  <a:pt x="26" y="9"/>
                  <a:pt x="25" y="8"/>
                </a:cubicBezTo>
                <a:cubicBezTo>
                  <a:pt x="23" y="8"/>
                  <a:pt x="9" y="0"/>
                  <a:pt x="9" y="0"/>
                </a:cubicBezTo>
                <a:cubicBezTo>
                  <a:pt x="9" y="0"/>
                  <a:pt x="4" y="1"/>
                  <a:pt x="4" y="4"/>
                </a:cubicBezTo>
                <a:cubicBezTo>
                  <a:pt x="3" y="6"/>
                  <a:pt x="0" y="20"/>
                  <a:pt x="1" y="24"/>
                </a:cubicBezTo>
                <a:cubicBezTo>
                  <a:pt x="2" y="28"/>
                  <a:pt x="3" y="38"/>
                  <a:pt x="7" y="39"/>
                </a:cubicBezTo>
                <a:cubicBezTo>
                  <a:pt x="12" y="41"/>
                  <a:pt x="17" y="48"/>
                  <a:pt x="22" y="47"/>
                </a:cubicBezTo>
                <a:cubicBezTo>
                  <a:pt x="26" y="46"/>
                  <a:pt x="21" y="38"/>
                  <a:pt x="26" y="40"/>
                </a:cubicBezTo>
                <a:cubicBezTo>
                  <a:pt x="32" y="41"/>
                  <a:pt x="35" y="44"/>
                  <a:pt x="38" y="48"/>
                </a:cubicBezTo>
                <a:cubicBezTo>
                  <a:pt x="42" y="51"/>
                  <a:pt x="45" y="52"/>
                  <a:pt x="48" y="54"/>
                </a:cubicBezTo>
                <a:cubicBezTo>
                  <a:pt x="50" y="57"/>
                  <a:pt x="63" y="70"/>
                  <a:pt x="64" y="74"/>
                </a:cubicBezTo>
                <a:cubicBezTo>
                  <a:pt x="66" y="77"/>
                  <a:pt x="61" y="86"/>
                  <a:pt x="61" y="88"/>
                </a:cubicBezTo>
                <a:cubicBezTo>
                  <a:pt x="62" y="90"/>
                  <a:pt x="74" y="96"/>
                  <a:pt x="77" y="95"/>
                </a:cubicBezTo>
                <a:cubicBezTo>
                  <a:pt x="80" y="94"/>
                  <a:pt x="81" y="85"/>
                  <a:pt x="83" y="88"/>
                </a:cubicBezTo>
                <a:cubicBezTo>
                  <a:pt x="85" y="90"/>
                  <a:pt x="84" y="92"/>
                  <a:pt x="84" y="94"/>
                </a:cubicBezTo>
                <a:lnTo>
                  <a:pt x="85" y="9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43" name="Freeform 376"/>
          <p:cNvSpPr>
            <a:spLocks/>
          </p:cNvSpPr>
          <p:nvPr userDrawn="1"/>
        </p:nvSpPr>
        <p:spPr bwMode="auto">
          <a:xfrm>
            <a:off x="3509023" y="4922568"/>
            <a:ext cx="175884" cy="70353"/>
          </a:xfrm>
          <a:custGeom>
            <a:avLst/>
            <a:gdLst>
              <a:gd name="T0" fmla="*/ 2147483646 w 188"/>
              <a:gd name="T1" fmla="*/ 2147483646 h 76"/>
              <a:gd name="T2" fmla="*/ 2147483646 w 188"/>
              <a:gd name="T3" fmla="*/ 2147483646 h 76"/>
              <a:gd name="T4" fmla="*/ 2147483646 w 188"/>
              <a:gd name="T5" fmla="*/ 2147483646 h 76"/>
              <a:gd name="T6" fmla="*/ 2147483646 w 188"/>
              <a:gd name="T7" fmla="*/ 2147483646 h 76"/>
              <a:gd name="T8" fmla="*/ 2147483646 w 188"/>
              <a:gd name="T9" fmla="*/ 2147483646 h 76"/>
              <a:gd name="T10" fmla="*/ 2147483646 w 188"/>
              <a:gd name="T11" fmla="*/ 2147483646 h 76"/>
              <a:gd name="T12" fmla="*/ 2147483646 w 188"/>
              <a:gd name="T13" fmla="*/ 2147483646 h 76"/>
              <a:gd name="T14" fmla="*/ 2147483646 w 188"/>
              <a:gd name="T15" fmla="*/ 2147483646 h 76"/>
              <a:gd name="T16" fmla="*/ 2147483646 w 188"/>
              <a:gd name="T17" fmla="*/ 2147483646 h 76"/>
              <a:gd name="T18" fmla="*/ 2147483646 w 188"/>
              <a:gd name="T19" fmla="*/ 2147483646 h 76"/>
              <a:gd name="T20" fmla="*/ 2147483646 w 188"/>
              <a:gd name="T21" fmla="*/ 2147483646 h 76"/>
              <a:gd name="T22" fmla="*/ 2147483646 w 188"/>
              <a:gd name="T23" fmla="*/ 2147483646 h 76"/>
              <a:gd name="T24" fmla="*/ 2147483646 w 188"/>
              <a:gd name="T25" fmla="*/ 2147483646 h 76"/>
              <a:gd name="T26" fmla="*/ 2147483646 w 188"/>
              <a:gd name="T27" fmla="*/ 2147483646 h 76"/>
              <a:gd name="T28" fmla="*/ 2147483646 w 188"/>
              <a:gd name="T29" fmla="*/ 0 h 76"/>
              <a:gd name="T30" fmla="*/ 2147483646 w 188"/>
              <a:gd name="T31" fmla="*/ 0 h 76"/>
              <a:gd name="T32" fmla="*/ 2147483646 w 188"/>
              <a:gd name="T33" fmla="*/ 2147483646 h 76"/>
              <a:gd name="T34" fmla="*/ 2147483646 w 188"/>
              <a:gd name="T35" fmla="*/ 2147483646 h 76"/>
              <a:gd name="T36" fmla="*/ 2147483646 w 188"/>
              <a:gd name="T37" fmla="*/ 2147483646 h 76"/>
              <a:gd name="T38" fmla="*/ 2147483646 w 188"/>
              <a:gd name="T39" fmla="*/ 2147483646 h 76"/>
              <a:gd name="T40" fmla="*/ 2147483646 w 188"/>
              <a:gd name="T41" fmla="*/ 2147483646 h 76"/>
              <a:gd name="T42" fmla="*/ 2147483646 w 188"/>
              <a:gd name="T43" fmla="*/ 2147483646 h 76"/>
              <a:gd name="T44" fmla="*/ 2147483646 w 188"/>
              <a:gd name="T45" fmla="*/ 2147483646 h 76"/>
              <a:gd name="T46" fmla="*/ 2147483646 w 188"/>
              <a:gd name="T47" fmla="*/ 2147483646 h 76"/>
              <a:gd name="T48" fmla="*/ 2147483646 w 188"/>
              <a:gd name="T49" fmla="*/ 2147483646 h 76"/>
              <a:gd name="T50" fmla="*/ 2147483646 w 188"/>
              <a:gd name="T51" fmla="*/ 2147483646 h 76"/>
              <a:gd name="T52" fmla="*/ 2147483646 w 188"/>
              <a:gd name="T53" fmla="*/ 2147483646 h 76"/>
              <a:gd name="T54" fmla="*/ 2147483646 w 188"/>
              <a:gd name="T55" fmla="*/ 2147483646 h 76"/>
              <a:gd name="T56" fmla="*/ 2147483646 w 188"/>
              <a:gd name="T57" fmla="*/ 2147483646 h 76"/>
              <a:gd name="T58" fmla="*/ 2147483646 w 188"/>
              <a:gd name="T59" fmla="*/ 2147483646 h 76"/>
              <a:gd name="T60" fmla="*/ 2147483646 w 188"/>
              <a:gd name="T61" fmla="*/ 2147483646 h 76"/>
              <a:gd name="T62" fmla="*/ 2147483646 w 188"/>
              <a:gd name="T63" fmla="*/ 2147483646 h 76"/>
              <a:gd name="T64" fmla="*/ 2147483646 w 188"/>
              <a:gd name="T65" fmla="*/ 2147483646 h 76"/>
              <a:gd name="T66" fmla="*/ 2147483646 w 188"/>
              <a:gd name="T67" fmla="*/ 2147483646 h 76"/>
              <a:gd name="T68" fmla="*/ 2147483646 w 188"/>
              <a:gd name="T69" fmla="*/ 2147483646 h 76"/>
              <a:gd name="T70" fmla="*/ 2147483646 w 188"/>
              <a:gd name="T71" fmla="*/ 2147483646 h 76"/>
              <a:gd name="T72" fmla="*/ 2147483646 w 188"/>
              <a:gd name="T73" fmla="*/ 2147483646 h 76"/>
              <a:gd name="T74" fmla="*/ 2147483646 w 188"/>
              <a:gd name="T75" fmla="*/ 2147483646 h 76"/>
              <a:gd name="T76" fmla="*/ 2147483646 w 188"/>
              <a:gd name="T77" fmla="*/ 2147483646 h 76"/>
              <a:gd name="T78" fmla="*/ 2147483646 w 188"/>
              <a:gd name="T79" fmla="*/ 2147483646 h 76"/>
              <a:gd name="T80" fmla="*/ 2147483646 w 188"/>
              <a:gd name="T81" fmla="*/ 2147483646 h 7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88"/>
              <a:gd name="T124" fmla="*/ 0 h 76"/>
              <a:gd name="T125" fmla="*/ 188 w 188"/>
              <a:gd name="T126" fmla="*/ 76 h 7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88" h="76">
                <a:moveTo>
                  <a:pt x="163" y="72"/>
                </a:moveTo>
                <a:cubicBezTo>
                  <a:pt x="167" y="73"/>
                  <a:pt x="175" y="67"/>
                  <a:pt x="178" y="63"/>
                </a:cubicBezTo>
                <a:cubicBezTo>
                  <a:pt x="180" y="60"/>
                  <a:pt x="184" y="56"/>
                  <a:pt x="186" y="53"/>
                </a:cubicBezTo>
                <a:cubicBezTo>
                  <a:pt x="188" y="49"/>
                  <a:pt x="186" y="45"/>
                  <a:pt x="186" y="41"/>
                </a:cubicBezTo>
                <a:cubicBezTo>
                  <a:pt x="186" y="40"/>
                  <a:pt x="186" y="40"/>
                  <a:pt x="186" y="40"/>
                </a:cubicBezTo>
                <a:cubicBezTo>
                  <a:pt x="184" y="37"/>
                  <a:pt x="182" y="34"/>
                  <a:pt x="182" y="34"/>
                </a:cubicBezTo>
                <a:cubicBezTo>
                  <a:pt x="170" y="22"/>
                  <a:pt x="170" y="22"/>
                  <a:pt x="170" y="22"/>
                </a:cubicBezTo>
                <a:cubicBezTo>
                  <a:pt x="170" y="22"/>
                  <a:pt x="166" y="8"/>
                  <a:pt x="158" y="11"/>
                </a:cubicBezTo>
                <a:cubicBezTo>
                  <a:pt x="151" y="15"/>
                  <a:pt x="145" y="8"/>
                  <a:pt x="145" y="8"/>
                </a:cubicBezTo>
                <a:cubicBezTo>
                  <a:pt x="145" y="8"/>
                  <a:pt x="133" y="2"/>
                  <a:pt x="125" y="3"/>
                </a:cubicBezTo>
                <a:cubicBezTo>
                  <a:pt x="117" y="4"/>
                  <a:pt x="103" y="0"/>
                  <a:pt x="100" y="5"/>
                </a:cubicBezTo>
                <a:cubicBezTo>
                  <a:pt x="97" y="9"/>
                  <a:pt x="92" y="11"/>
                  <a:pt x="80" y="16"/>
                </a:cubicBezTo>
                <a:cubicBezTo>
                  <a:pt x="68" y="21"/>
                  <a:pt x="54" y="18"/>
                  <a:pt x="54" y="18"/>
                </a:cubicBezTo>
                <a:cubicBezTo>
                  <a:pt x="33" y="14"/>
                  <a:pt x="33" y="14"/>
                  <a:pt x="33" y="14"/>
                </a:cubicBezTo>
                <a:cubicBezTo>
                  <a:pt x="33" y="14"/>
                  <a:pt x="23" y="8"/>
                  <a:pt x="13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0" y="4"/>
                  <a:pt x="7" y="13"/>
                  <a:pt x="9" y="22"/>
                </a:cubicBezTo>
                <a:cubicBezTo>
                  <a:pt x="11" y="27"/>
                  <a:pt x="9" y="27"/>
                  <a:pt x="6" y="32"/>
                </a:cubicBezTo>
                <a:cubicBezTo>
                  <a:pt x="5" y="36"/>
                  <a:pt x="3" y="42"/>
                  <a:pt x="4" y="45"/>
                </a:cubicBezTo>
                <a:cubicBezTo>
                  <a:pt x="7" y="45"/>
                  <a:pt x="7" y="45"/>
                  <a:pt x="7" y="45"/>
                </a:cubicBezTo>
                <a:cubicBezTo>
                  <a:pt x="13" y="48"/>
                  <a:pt x="15" y="44"/>
                  <a:pt x="22" y="45"/>
                </a:cubicBezTo>
                <a:cubicBezTo>
                  <a:pt x="29" y="46"/>
                  <a:pt x="30" y="42"/>
                  <a:pt x="37" y="47"/>
                </a:cubicBezTo>
                <a:cubicBezTo>
                  <a:pt x="44" y="51"/>
                  <a:pt x="46" y="48"/>
                  <a:pt x="49" y="53"/>
                </a:cubicBezTo>
                <a:cubicBezTo>
                  <a:pt x="52" y="59"/>
                  <a:pt x="51" y="62"/>
                  <a:pt x="55" y="64"/>
                </a:cubicBezTo>
                <a:cubicBezTo>
                  <a:pt x="59" y="65"/>
                  <a:pt x="58" y="61"/>
                  <a:pt x="63" y="62"/>
                </a:cubicBezTo>
                <a:cubicBezTo>
                  <a:pt x="67" y="62"/>
                  <a:pt x="69" y="65"/>
                  <a:pt x="74" y="70"/>
                </a:cubicBezTo>
                <a:cubicBezTo>
                  <a:pt x="79" y="76"/>
                  <a:pt x="83" y="67"/>
                  <a:pt x="88" y="67"/>
                </a:cubicBezTo>
                <a:cubicBezTo>
                  <a:pt x="93" y="67"/>
                  <a:pt x="96" y="66"/>
                  <a:pt x="96" y="64"/>
                </a:cubicBezTo>
                <a:cubicBezTo>
                  <a:pt x="96" y="62"/>
                  <a:pt x="91" y="48"/>
                  <a:pt x="90" y="48"/>
                </a:cubicBezTo>
                <a:cubicBezTo>
                  <a:pt x="88" y="48"/>
                  <a:pt x="95" y="39"/>
                  <a:pt x="98" y="37"/>
                </a:cubicBezTo>
                <a:cubicBezTo>
                  <a:pt x="100" y="36"/>
                  <a:pt x="110" y="29"/>
                  <a:pt x="110" y="26"/>
                </a:cubicBezTo>
                <a:cubicBezTo>
                  <a:pt x="109" y="23"/>
                  <a:pt x="112" y="20"/>
                  <a:pt x="115" y="20"/>
                </a:cubicBezTo>
                <a:cubicBezTo>
                  <a:pt x="118" y="20"/>
                  <a:pt x="116" y="14"/>
                  <a:pt x="121" y="19"/>
                </a:cubicBezTo>
                <a:cubicBezTo>
                  <a:pt x="126" y="23"/>
                  <a:pt x="129" y="20"/>
                  <a:pt x="133" y="26"/>
                </a:cubicBezTo>
                <a:cubicBezTo>
                  <a:pt x="137" y="32"/>
                  <a:pt x="133" y="32"/>
                  <a:pt x="137" y="34"/>
                </a:cubicBezTo>
                <a:cubicBezTo>
                  <a:pt x="141" y="36"/>
                  <a:pt x="148" y="31"/>
                  <a:pt x="149" y="37"/>
                </a:cubicBezTo>
                <a:cubicBezTo>
                  <a:pt x="150" y="43"/>
                  <a:pt x="145" y="41"/>
                  <a:pt x="144" y="45"/>
                </a:cubicBezTo>
                <a:cubicBezTo>
                  <a:pt x="144" y="50"/>
                  <a:pt x="143" y="52"/>
                  <a:pt x="148" y="55"/>
                </a:cubicBezTo>
                <a:cubicBezTo>
                  <a:pt x="153" y="58"/>
                  <a:pt x="152" y="65"/>
                  <a:pt x="156" y="70"/>
                </a:cubicBezTo>
                <a:cubicBezTo>
                  <a:pt x="158" y="72"/>
                  <a:pt x="159" y="72"/>
                  <a:pt x="161" y="72"/>
                </a:cubicBezTo>
                <a:lnTo>
                  <a:pt x="163" y="7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44" name="Freeform 377"/>
          <p:cNvSpPr>
            <a:spLocks/>
          </p:cNvSpPr>
          <p:nvPr userDrawn="1"/>
        </p:nvSpPr>
        <p:spPr bwMode="auto">
          <a:xfrm>
            <a:off x="4132158" y="4937643"/>
            <a:ext cx="144057" cy="209387"/>
          </a:xfrm>
          <a:custGeom>
            <a:avLst/>
            <a:gdLst>
              <a:gd name="T0" fmla="*/ 2147483646 w 154"/>
              <a:gd name="T1" fmla="*/ 2147483646 h 225"/>
              <a:gd name="T2" fmla="*/ 2147483646 w 154"/>
              <a:gd name="T3" fmla="*/ 2147483646 h 225"/>
              <a:gd name="T4" fmla="*/ 2147483646 w 154"/>
              <a:gd name="T5" fmla="*/ 2147483646 h 225"/>
              <a:gd name="T6" fmla="*/ 2147483646 w 154"/>
              <a:gd name="T7" fmla="*/ 2147483646 h 225"/>
              <a:gd name="T8" fmla="*/ 2147483646 w 154"/>
              <a:gd name="T9" fmla="*/ 0 h 225"/>
              <a:gd name="T10" fmla="*/ 2147483646 w 154"/>
              <a:gd name="T11" fmla="*/ 2147483646 h 225"/>
              <a:gd name="T12" fmla="*/ 2147483646 w 154"/>
              <a:gd name="T13" fmla="*/ 2147483646 h 225"/>
              <a:gd name="T14" fmla="*/ 2147483646 w 154"/>
              <a:gd name="T15" fmla="*/ 2147483646 h 225"/>
              <a:gd name="T16" fmla="*/ 2147483646 w 154"/>
              <a:gd name="T17" fmla="*/ 2147483646 h 225"/>
              <a:gd name="T18" fmla="*/ 2147483646 w 154"/>
              <a:gd name="T19" fmla="*/ 2147483646 h 225"/>
              <a:gd name="T20" fmla="*/ 0 w 154"/>
              <a:gd name="T21" fmla="*/ 2147483646 h 225"/>
              <a:gd name="T22" fmla="*/ 2147483646 w 154"/>
              <a:gd name="T23" fmla="*/ 2147483646 h 225"/>
              <a:gd name="T24" fmla="*/ 2147483646 w 154"/>
              <a:gd name="T25" fmla="*/ 2147483646 h 225"/>
              <a:gd name="T26" fmla="*/ 2147483646 w 154"/>
              <a:gd name="T27" fmla="*/ 2147483646 h 225"/>
              <a:gd name="T28" fmla="*/ 2147483646 w 154"/>
              <a:gd name="T29" fmla="*/ 2147483646 h 225"/>
              <a:gd name="T30" fmla="*/ 2147483646 w 154"/>
              <a:gd name="T31" fmla="*/ 2147483646 h 225"/>
              <a:gd name="T32" fmla="*/ 2147483646 w 154"/>
              <a:gd name="T33" fmla="*/ 2147483646 h 225"/>
              <a:gd name="T34" fmla="*/ 2147483646 w 154"/>
              <a:gd name="T35" fmla="*/ 2147483646 h 225"/>
              <a:gd name="T36" fmla="*/ 2147483646 w 154"/>
              <a:gd name="T37" fmla="*/ 2147483646 h 225"/>
              <a:gd name="T38" fmla="*/ 2147483646 w 154"/>
              <a:gd name="T39" fmla="*/ 2147483646 h 225"/>
              <a:gd name="T40" fmla="*/ 2147483646 w 154"/>
              <a:gd name="T41" fmla="*/ 2147483646 h 225"/>
              <a:gd name="T42" fmla="*/ 2147483646 w 154"/>
              <a:gd name="T43" fmla="*/ 2147483646 h 225"/>
              <a:gd name="T44" fmla="*/ 2147483646 w 154"/>
              <a:gd name="T45" fmla="*/ 2147483646 h 225"/>
              <a:gd name="T46" fmla="*/ 2147483646 w 154"/>
              <a:gd name="T47" fmla="*/ 2147483646 h 225"/>
              <a:gd name="T48" fmla="*/ 2147483646 w 154"/>
              <a:gd name="T49" fmla="*/ 2147483646 h 225"/>
              <a:gd name="T50" fmla="*/ 2147483646 w 154"/>
              <a:gd name="T51" fmla="*/ 2147483646 h 225"/>
              <a:gd name="T52" fmla="*/ 2147483646 w 154"/>
              <a:gd name="T53" fmla="*/ 2147483646 h 225"/>
              <a:gd name="T54" fmla="*/ 2147483646 w 154"/>
              <a:gd name="T55" fmla="*/ 2147483646 h 225"/>
              <a:gd name="T56" fmla="*/ 2147483646 w 154"/>
              <a:gd name="T57" fmla="*/ 2147483646 h 225"/>
              <a:gd name="T58" fmla="*/ 2147483646 w 154"/>
              <a:gd name="T59" fmla="*/ 2147483646 h 225"/>
              <a:gd name="T60" fmla="*/ 2147483646 w 154"/>
              <a:gd name="T61" fmla="*/ 2147483646 h 225"/>
              <a:gd name="T62" fmla="*/ 2147483646 w 154"/>
              <a:gd name="T63" fmla="*/ 2147483646 h 225"/>
              <a:gd name="T64" fmla="*/ 2147483646 w 154"/>
              <a:gd name="T65" fmla="*/ 2147483646 h 225"/>
              <a:gd name="T66" fmla="*/ 2147483646 w 154"/>
              <a:gd name="T67" fmla="*/ 2147483646 h 225"/>
              <a:gd name="T68" fmla="*/ 2147483646 w 154"/>
              <a:gd name="T69" fmla="*/ 2147483646 h 225"/>
              <a:gd name="T70" fmla="*/ 2147483646 w 154"/>
              <a:gd name="T71" fmla="*/ 2147483646 h 225"/>
              <a:gd name="T72" fmla="*/ 2147483646 w 154"/>
              <a:gd name="T73" fmla="*/ 2147483646 h 225"/>
              <a:gd name="T74" fmla="*/ 2147483646 w 154"/>
              <a:gd name="T75" fmla="*/ 2147483646 h 225"/>
              <a:gd name="T76" fmla="*/ 2147483646 w 154"/>
              <a:gd name="T77" fmla="*/ 2147483646 h 225"/>
              <a:gd name="T78" fmla="*/ 2147483646 w 154"/>
              <a:gd name="T79" fmla="*/ 2147483646 h 22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54"/>
              <a:gd name="T121" fmla="*/ 0 h 225"/>
              <a:gd name="T122" fmla="*/ 154 w 154"/>
              <a:gd name="T123" fmla="*/ 225 h 22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54" h="225">
                <a:moveTo>
                  <a:pt x="133" y="67"/>
                </a:moveTo>
                <a:cubicBezTo>
                  <a:pt x="127" y="68"/>
                  <a:pt x="120" y="56"/>
                  <a:pt x="117" y="55"/>
                </a:cubicBezTo>
                <a:cubicBezTo>
                  <a:pt x="114" y="54"/>
                  <a:pt x="101" y="49"/>
                  <a:pt x="94" y="45"/>
                </a:cubicBezTo>
                <a:cubicBezTo>
                  <a:pt x="87" y="42"/>
                  <a:pt x="102" y="26"/>
                  <a:pt x="82" y="21"/>
                </a:cubicBezTo>
                <a:cubicBezTo>
                  <a:pt x="63" y="16"/>
                  <a:pt x="63" y="6"/>
                  <a:pt x="49" y="0"/>
                </a:cubicBezTo>
                <a:cubicBezTo>
                  <a:pt x="49" y="1"/>
                  <a:pt x="49" y="1"/>
                  <a:pt x="49" y="1"/>
                </a:cubicBezTo>
                <a:cubicBezTo>
                  <a:pt x="47" y="9"/>
                  <a:pt x="35" y="13"/>
                  <a:pt x="29" y="20"/>
                </a:cubicBezTo>
                <a:cubicBezTo>
                  <a:pt x="26" y="23"/>
                  <a:pt x="19" y="30"/>
                  <a:pt x="19" y="34"/>
                </a:cubicBezTo>
                <a:cubicBezTo>
                  <a:pt x="19" y="41"/>
                  <a:pt x="29" y="38"/>
                  <a:pt x="31" y="46"/>
                </a:cubicBezTo>
                <a:cubicBezTo>
                  <a:pt x="32" y="55"/>
                  <a:pt x="14" y="57"/>
                  <a:pt x="8" y="61"/>
                </a:cubicBezTo>
                <a:cubicBezTo>
                  <a:pt x="3" y="64"/>
                  <a:pt x="0" y="66"/>
                  <a:pt x="0" y="72"/>
                </a:cubicBezTo>
                <a:cubicBezTo>
                  <a:pt x="1" y="76"/>
                  <a:pt x="4" y="79"/>
                  <a:pt x="5" y="81"/>
                </a:cubicBezTo>
                <a:cubicBezTo>
                  <a:pt x="6" y="83"/>
                  <a:pt x="5" y="87"/>
                  <a:pt x="6" y="89"/>
                </a:cubicBezTo>
                <a:cubicBezTo>
                  <a:pt x="8" y="93"/>
                  <a:pt x="13" y="91"/>
                  <a:pt x="17" y="94"/>
                </a:cubicBezTo>
                <a:cubicBezTo>
                  <a:pt x="22" y="97"/>
                  <a:pt x="28" y="105"/>
                  <a:pt x="32" y="109"/>
                </a:cubicBezTo>
                <a:cubicBezTo>
                  <a:pt x="38" y="108"/>
                  <a:pt x="45" y="103"/>
                  <a:pt x="49" y="110"/>
                </a:cubicBezTo>
                <a:cubicBezTo>
                  <a:pt x="52" y="115"/>
                  <a:pt x="50" y="118"/>
                  <a:pt x="50" y="122"/>
                </a:cubicBezTo>
                <a:cubicBezTo>
                  <a:pt x="50" y="127"/>
                  <a:pt x="51" y="129"/>
                  <a:pt x="52" y="134"/>
                </a:cubicBezTo>
                <a:cubicBezTo>
                  <a:pt x="60" y="134"/>
                  <a:pt x="65" y="137"/>
                  <a:pt x="63" y="145"/>
                </a:cubicBezTo>
                <a:cubicBezTo>
                  <a:pt x="62" y="150"/>
                  <a:pt x="60" y="151"/>
                  <a:pt x="56" y="155"/>
                </a:cubicBezTo>
                <a:cubicBezTo>
                  <a:pt x="52" y="159"/>
                  <a:pt x="51" y="162"/>
                  <a:pt x="51" y="167"/>
                </a:cubicBezTo>
                <a:cubicBezTo>
                  <a:pt x="49" y="177"/>
                  <a:pt x="56" y="178"/>
                  <a:pt x="59" y="187"/>
                </a:cubicBezTo>
                <a:cubicBezTo>
                  <a:pt x="60" y="194"/>
                  <a:pt x="63" y="203"/>
                  <a:pt x="68" y="208"/>
                </a:cubicBezTo>
                <a:cubicBezTo>
                  <a:pt x="70" y="212"/>
                  <a:pt x="77" y="218"/>
                  <a:pt x="80" y="221"/>
                </a:cubicBezTo>
                <a:cubicBezTo>
                  <a:pt x="87" y="225"/>
                  <a:pt x="98" y="217"/>
                  <a:pt x="104" y="214"/>
                </a:cubicBezTo>
                <a:cubicBezTo>
                  <a:pt x="111" y="210"/>
                  <a:pt x="116" y="206"/>
                  <a:pt x="123" y="203"/>
                </a:cubicBezTo>
                <a:cubicBezTo>
                  <a:pt x="127" y="202"/>
                  <a:pt x="131" y="203"/>
                  <a:pt x="134" y="201"/>
                </a:cubicBezTo>
                <a:cubicBezTo>
                  <a:pt x="137" y="200"/>
                  <a:pt x="140" y="197"/>
                  <a:pt x="143" y="195"/>
                </a:cubicBezTo>
                <a:cubicBezTo>
                  <a:pt x="147" y="194"/>
                  <a:pt x="151" y="195"/>
                  <a:pt x="154" y="192"/>
                </a:cubicBezTo>
                <a:cubicBezTo>
                  <a:pt x="148" y="185"/>
                  <a:pt x="140" y="179"/>
                  <a:pt x="135" y="171"/>
                </a:cubicBezTo>
                <a:cubicBezTo>
                  <a:pt x="131" y="166"/>
                  <a:pt x="130" y="159"/>
                  <a:pt x="126" y="154"/>
                </a:cubicBezTo>
                <a:cubicBezTo>
                  <a:pt x="124" y="151"/>
                  <a:pt x="122" y="148"/>
                  <a:pt x="121" y="145"/>
                </a:cubicBezTo>
                <a:cubicBezTo>
                  <a:pt x="116" y="145"/>
                  <a:pt x="112" y="146"/>
                  <a:pt x="108" y="143"/>
                </a:cubicBezTo>
                <a:cubicBezTo>
                  <a:pt x="103" y="139"/>
                  <a:pt x="104" y="131"/>
                  <a:pt x="106" y="126"/>
                </a:cubicBezTo>
                <a:cubicBezTo>
                  <a:pt x="108" y="121"/>
                  <a:pt x="110" y="117"/>
                  <a:pt x="112" y="111"/>
                </a:cubicBezTo>
                <a:cubicBezTo>
                  <a:pt x="113" y="107"/>
                  <a:pt x="114" y="105"/>
                  <a:pt x="119" y="103"/>
                </a:cubicBezTo>
                <a:cubicBezTo>
                  <a:pt x="122" y="103"/>
                  <a:pt x="122" y="102"/>
                  <a:pt x="124" y="102"/>
                </a:cubicBezTo>
                <a:cubicBezTo>
                  <a:pt x="126" y="101"/>
                  <a:pt x="129" y="103"/>
                  <a:pt x="131" y="102"/>
                </a:cubicBezTo>
                <a:cubicBezTo>
                  <a:pt x="134" y="99"/>
                  <a:pt x="133" y="92"/>
                  <a:pt x="133" y="88"/>
                </a:cubicBezTo>
                <a:cubicBezTo>
                  <a:pt x="133" y="81"/>
                  <a:pt x="134" y="74"/>
                  <a:pt x="133" y="6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45" name="Freeform 378"/>
          <p:cNvSpPr>
            <a:spLocks/>
          </p:cNvSpPr>
          <p:nvPr userDrawn="1"/>
        </p:nvSpPr>
        <p:spPr bwMode="auto">
          <a:xfrm>
            <a:off x="3792112" y="4840489"/>
            <a:ext cx="386947" cy="333343"/>
          </a:xfrm>
          <a:custGeom>
            <a:avLst/>
            <a:gdLst>
              <a:gd name="T0" fmla="*/ 2147483646 w 415"/>
              <a:gd name="T1" fmla="*/ 2147483646 h 358"/>
              <a:gd name="T2" fmla="*/ 2147483646 w 415"/>
              <a:gd name="T3" fmla="*/ 2147483646 h 358"/>
              <a:gd name="T4" fmla="*/ 0 w 415"/>
              <a:gd name="T5" fmla="*/ 2147483646 h 358"/>
              <a:gd name="T6" fmla="*/ 2147483646 w 415"/>
              <a:gd name="T7" fmla="*/ 2147483646 h 358"/>
              <a:gd name="T8" fmla="*/ 2147483646 w 415"/>
              <a:gd name="T9" fmla="*/ 2147483646 h 358"/>
              <a:gd name="T10" fmla="*/ 2147483646 w 415"/>
              <a:gd name="T11" fmla="*/ 2147483646 h 358"/>
              <a:gd name="T12" fmla="*/ 2147483646 w 415"/>
              <a:gd name="T13" fmla="*/ 2147483646 h 358"/>
              <a:gd name="T14" fmla="*/ 2147483646 w 415"/>
              <a:gd name="T15" fmla="*/ 2147483646 h 358"/>
              <a:gd name="T16" fmla="*/ 2147483646 w 415"/>
              <a:gd name="T17" fmla="*/ 2147483646 h 358"/>
              <a:gd name="T18" fmla="*/ 2147483646 w 415"/>
              <a:gd name="T19" fmla="*/ 2147483646 h 358"/>
              <a:gd name="T20" fmla="*/ 2147483646 w 415"/>
              <a:gd name="T21" fmla="*/ 2147483646 h 358"/>
              <a:gd name="T22" fmla="*/ 2147483646 w 415"/>
              <a:gd name="T23" fmla="*/ 2147483646 h 358"/>
              <a:gd name="T24" fmla="*/ 2147483646 w 415"/>
              <a:gd name="T25" fmla="*/ 2147483646 h 358"/>
              <a:gd name="T26" fmla="*/ 2147483646 w 415"/>
              <a:gd name="T27" fmla="*/ 2147483646 h 358"/>
              <a:gd name="T28" fmla="*/ 2147483646 w 415"/>
              <a:gd name="T29" fmla="*/ 2147483646 h 358"/>
              <a:gd name="T30" fmla="*/ 2147483646 w 415"/>
              <a:gd name="T31" fmla="*/ 2147483646 h 358"/>
              <a:gd name="T32" fmla="*/ 2147483646 w 415"/>
              <a:gd name="T33" fmla="*/ 2147483646 h 358"/>
              <a:gd name="T34" fmla="*/ 2147483646 w 415"/>
              <a:gd name="T35" fmla="*/ 2147483646 h 358"/>
              <a:gd name="T36" fmla="*/ 2147483646 w 415"/>
              <a:gd name="T37" fmla="*/ 2147483646 h 358"/>
              <a:gd name="T38" fmla="*/ 2147483646 w 415"/>
              <a:gd name="T39" fmla="*/ 2147483646 h 358"/>
              <a:gd name="T40" fmla="*/ 2147483646 w 415"/>
              <a:gd name="T41" fmla="*/ 2147483646 h 358"/>
              <a:gd name="T42" fmla="*/ 2147483646 w 415"/>
              <a:gd name="T43" fmla="*/ 2147483646 h 358"/>
              <a:gd name="T44" fmla="*/ 2147483646 w 415"/>
              <a:gd name="T45" fmla="*/ 2147483646 h 358"/>
              <a:gd name="T46" fmla="*/ 2147483646 w 415"/>
              <a:gd name="T47" fmla="*/ 2147483646 h 358"/>
              <a:gd name="T48" fmla="*/ 2147483646 w 415"/>
              <a:gd name="T49" fmla="*/ 2147483646 h 358"/>
              <a:gd name="T50" fmla="*/ 2147483646 w 415"/>
              <a:gd name="T51" fmla="*/ 2147483646 h 358"/>
              <a:gd name="T52" fmla="*/ 2147483646 w 415"/>
              <a:gd name="T53" fmla="*/ 2147483646 h 358"/>
              <a:gd name="T54" fmla="*/ 2147483646 w 415"/>
              <a:gd name="T55" fmla="*/ 2147483646 h 358"/>
              <a:gd name="T56" fmla="*/ 2147483646 w 415"/>
              <a:gd name="T57" fmla="*/ 2147483646 h 358"/>
              <a:gd name="T58" fmla="*/ 2147483646 w 415"/>
              <a:gd name="T59" fmla="*/ 2147483646 h 358"/>
              <a:gd name="T60" fmla="*/ 2147483646 w 415"/>
              <a:gd name="T61" fmla="*/ 2147483646 h 358"/>
              <a:gd name="T62" fmla="*/ 2147483646 w 415"/>
              <a:gd name="T63" fmla="*/ 2147483646 h 358"/>
              <a:gd name="T64" fmla="*/ 2147483646 w 415"/>
              <a:gd name="T65" fmla="*/ 2147483646 h 358"/>
              <a:gd name="T66" fmla="*/ 2147483646 w 415"/>
              <a:gd name="T67" fmla="*/ 2147483646 h 358"/>
              <a:gd name="T68" fmla="*/ 2147483646 w 415"/>
              <a:gd name="T69" fmla="*/ 2147483646 h 358"/>
              <a:gd name="T70" fmla="*/ 2147483646 w 415"/>
              <a:gd name="T71" fmla="*/ 2147483646 h 358"/>
              <a:gd name="T72" fmla="*/ 2147483646 w 415"/>
              <a:gd name="T73" fmla="*/ 2147483646 h 358"/>
              <a:gd name="T74" fmla="*/ 2147483646 w 415"/>
              <a:gd name="T75" fmla="*/ 2147483646 h 358"/>
              <a:gd name="T76" fmla="*/ 2147483646 w 415"/>
              <a:gd name="T77" fmla="*/ 2147483646 h 358"/>
              <a:gd name="T78" fmla="*/ 2147483646 w 415"/>
              <a:gd name="T79" fmla="*/ 2147483646 h 35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415"/>
              <a:gd name="T121" fmla="*/ 0 h 358"/>
              <a:gd name="T122" fmla="*/ 415 w 415"/>
              <a:gd name="T123" fmla="*/ 358 h 358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415" h="358">
                <a:moveTo>
                  <a:pt x="37" y="28"/>
                </a:moveTo>
                <a:cubicBezTo>
                  <a:pt x="33" y="35"/>
                  <a:pt x="23" y="39"/>
                  <a:pt x="20" y="47"/>
                </a:cubicBezTo>
                <a:cubicBezTo>
                  <a:pt x="19" y="49"/>
                  <a:pt x="21" y="51"/>
                  <a:pt x="20" y="53"/>
                </a:cubicBezTo>
                <a:cubicBezTo>
                  <a:pt x="18" y="56"/>
                  <a:pt x="15" y="58"/>
                  <a:pt x="13" y="61"/>
                </a:cubicBezTo>
                <a:cubicBezTo>
                  <a:pt x="9" y="68"/>
                  <a:pt x="10" y="77"/>
                  <a:pt x="9" y="85"/>
                </a:cubicBezTo>
                <a:cubicBezTo>
                  <a:pt x="8" y="92"/>
                  <a:pt x="1" y="95"/>
                  <a:pt x="0" y="101"/>
                </a:cubicBezTo>
                <a:cubicBezTo>
                  <a:pt x="5" y="104"/>
                  <a:pt x="11" y="98"/>
                  <a:pt x="16" y="102"/>
                </a:cubicBezTo>
                <a:cubicBezTo>
                  <a:pt x="24" y="107"/>
                  <a:pt x="17" y="117"/>
                  <a:pt x="18" y="123"/>
                </a:cubicBezTo>
                <a:cubicBezTo>
                  <a:pt x="19" y="131"/>
                  <a:pt x="27" y="130"/>
                  <a:pt x="29" y="136"/>
                </a:cubicBezTo>
                <a:cubicBezTo>
                  <a:pt x="32" y="143"/>
                  <a:pt x="29" y="147"/>
                  <a:pt x="27" y="153"/>
                </a:cubicBezTo>
                <a:cubicBezTo>
                  <a:pt x="23" y="169"/>
                  <a:pt x="39" y="173"/>
                  <a:pt x="52" y="170"/>
                </a:cubicBezTo>
                <a:cubicBezTo>
                  <a:pt x="64" y="167"/>
                  <a:pt x="75" y="163"/>
                  <a:pt x="88" y="167"/>
                </a:cubicBezTo>
                <a:cubicBezTo>
                  <a:pt x="96" y="169"/>
                  <a:pt x="107" y="170"/>
                  <a:pt x="110" y="178"/>
                </a:cubicBezTo>
                <a:cubicBezTo>
                  <a:pt x="111" y="184"/>
                  <a:pt x="111" y="194"/>
                  <a:pt x="117" y="198"/>
                </a:cubicBezTo>
                <a:cubicBezTo>
                  <a:pt x="122" y="201"/>
                  <a:pt x="132" y="195"/>
                  <a:pt x="137" y="193"/>
                </a:cubicBezTo>
                <a:cubicBezTo>
                  <a:pt x="148" y="189"/>
                  <a:pt x="166" y="182"/>
                  <a:pt x="176" y="189"/>
                </a:cubicBezTo>
                <a:cubicBezTo>
                  <a:pt x="180" y="192"/>
                  <a:pt x="181" y="194"/>
                  <a:pt x="178" y="199"/>
                </a:cubicBezTo>
                <a:cubicBezTo>
                  <a:pt x="177" y="202"/>
                  <a:pt x="173" y="205"/>
                  <a:pt x="171" y="209"/>
                </a:cubicBezTo>
                <a:cubicBezTo>
                  <a:pt x="168" y="213"/>
                  <a:pt x="167" y="220"/>
                  <a:pt x="167" y="226"/>
                </a:cubicBezTo>
                <a:cubicBezTo>
                  <a:pt x="168" y="235"/>
                  <a:pt x="174" y="239"/>
                  <a:pt x="177" y="248"/>
                </a:cubicBezTo>
                <a:cubicBezTo>
                  <a:pt x="178" y="252"/>
                  <a:pt x="175" y="256"/>
                  <a:pt x="175" y="260"/>
                </a:cubicBezTo>
                <a:cubicBezTo>
                  <a:pt x="176" y="264"/>
                  <a:pt x="180" y="266"/>
                  <a:pt x="183" y="269"/>
                </a:cubicBezTo>
                <a:cubicBezTo>
                  <a:pt x="192" y="280"/>
                  <a:pt x="185" y="282"/>
                  <a:pt x="179" y="290"/>
                </a:cubicBezTo>
                <a:cubicBezTo>
                  <a:pt x="171" y="300"/>
                  <a:pt x="184" y="297"/>
                  <a:pt x="188" y="304"/>
                </a:cubicBezTo>
                <a:cubicBezTo>
                  <a:pt x="191" y="308"/>
                  <a:pt x="192" y="315"/>
                  <a:pt x="194" y="320"/>
                </a:cubicBezTo>
                <a:cubicBezTo>
                  <a:pt x="196" y="325"/>
                  <a:pt x="198" y="330"/>
                  <a:pt x="200" y="335"/>
                </a:cubicBezTo>
                <a:cubicBezTo>
                  <a:pt x="201" y="338"/>
                  <a:pt x="202" y="344"/>
                  <a:pt x="205" y="346"/>
                </a:cubicBezTo>
                <a:cubicBezTo>
                  <a:pt x="210" y="349"/>
                  <a:pt x="213" y="345"/>
                  <a:pt x="217" y="345"/>
                </a:cubicBezTo>
                <a:cubicBezTo>
                  <a:pt x="227" y="345"/>
                  <a:pt x="228" y="358"/>
                  <a:pt x="238" y="352"/>
                </a:cubicBezTo>
                <a:cubicBezTo>
                  <a:pt x="241" y="350"/>
                  <a:pt x="242" y="346"/>
                  <a:pt x="246" y="348"/>
                </a:cubicBezTo>
                <a:cubicBezTo>
                  <a:pt x="249" y="350"/>
                  <a:pt x="249" y="355"/>
                  <a:pt x="250" y="357"/>
                </a:cubicBezTo>
                <a:cubicBezTo>
                  <a:pt x="255" y="353"/>
                  <a:pt x="259" y="345"/>
                  <a:pt x="265" y="340"/>
                </a:cubicBezTo>
                <a:cubicBezTo>
                  <a:pt x="271" y="336"/>
                  <a:pt x="277" y="334"/>
                  <a:pt x="283" y="330"/>
                </a:cubicBezTo>
                <a:cubicBezTo>
                  <a:pt x="293" y="324"/>
                  <a:pt x="298" y="313"/>
                  <a:pt x="309" y="309"/>
                </a:cubicBezTo>
                <a:cubicBezTo>
                  <a:pt x="308" y="302"/>
                  <a:pt x="291" y="299"/>
                  <a:pt x="285" y="296"/>
                </a:cubicBezTo>
                <a:cubicBezTo>
                  <a:pt x="297" y="295"/>
                  <a:pt x="283" y="285"/>
                  <a:pt x="279" y="279"/>
                </a:cubicBezTo>
                <a:cubicBezTo>
                  <a:pt x="274" y="271"/>
                  <a:pt x="268" y="258"/>
                  <a:pt x="269" y="248"/>
                </a:cubicBezTo>
                <a:cubicBezTo>
                  <a:pt x="271" y="227"/>
                  <a:pt x="300" y="263"/>
                  <a:pt x="301" y="248"/>
                </a:cubicBezTo>
                <a:cubicBezTo>
                  <a:pt x="305" y="250"/>
                  <a:pt x="306" y="255"/>
                  <a:pt x="308" y="259"/>
                </a:cubicBezTo>
                <a:cubicBezTo>
                  <a:pt x="311" y="258"/>
                  <a:pt x="314" y="252"/>
                  <a:pt x="318" y="253"/>
                </a:cubicBezTo>
                <a:cubicBezTo>
                  <a:pt x="322" y="253"/>
                  <a:pt x="326" y="262"/>
                  <a:pt x="329" y="265"/>
                </a:cubicBezTo>
                <a:cubicBezTo>
                  <a:pt x="332" y="259"/>
                  <a:pt x="333" y="245"/>
                  <a:pt x="340" y="242"/>
                </a:cubicBezTo>
                <a:cubicBezTo>
                  <a:pt x="345" y="240"/>
                  <a:pt x="346" y="243"/>
                  <a:pt x="351" y="244"/>
                </a:cubicBezTo>
                <a:cubicBezTo>
                  <a:pt x="359" y="247"/>
                  <a:pt x="368" y="240"/>
                  <a:pt x="374" y="234"/>
                </a:cubicBezTo>
                <a:cubicBezTo>
                  <a:pt x="379" y="230"/>
                  <a:pt x="386" y="227"/>
                  <a:pt x="390" y="222"/>
                </a:cubicBezTo>
                <a:cubicBezTo>
                  <a:pt x="392" y="219"/>
                  <a:pt x="392" y="215"/>
                  <a:pt x="393" y="211"/>
                </a:cubicBezTo>
                <a:cubicBezTo>
                  <a:pt x="393" y="209"/>
                  <a:pt x="393" y="209"/>
                  <a:pt x="393" y="209"/>
                </a:cubicBezTo>
                <a:cubicBezTo>
                  <a:pt x="390" y="206"/>
                  <a:pt x="386" y="201"/>
                  <a:pt x="383" y="199"/>
                </a:cubicBezTo>
                <a:cubicBezTo>
                  <a:pt x="379" y="197"/>
                  <a:pt x="374" y="199"/>
                  <a:pt x="372" y="195"/>
                </a:cubicBezTo>
                <a:cubicBezTo>
                  <a:pt x="371" y="193"/>
                  <a:pt x="371" y="188"/>
                  <a:pt x="370" y="186"/>
                </a:cubicBezTo>
                <a:cubicBezTo>
                  <a:pt x="369" y="184"/>
                  <a:pt x="366" y="182"/>
                  <a:pt x="366" y="178"/>
                </a:cubicBezTo>
                <a:cubicBezTo>
                  <a:pt x="366" y="172"/>
                  <a:pt x="369" y="169"/>
                  <a:pt x="373" y="167"/>
                </a:cubicBezTo>
                <a:cubicBezTo>
                  <a:pt x="379" y="163"/>
                  <a:pt x="398" y="161"/>
                  <a:pt x="396" y="151"/>
                </a:cubicBezTo>
                <a:cubicBezTo>
                  <a:pt x="394" y="144"/>
                  <a:pt x="384" y="146"/>
                  <a:pt x="384" y="140"/>
                </a:cubicBezTo>
                <a:cubicBezTo>
                  <a:pt x="384" y="135"/>
                  <a:pt x="392" y="129"/>
                  <a:pt x="394" y="126"/>
                </a:cubicBezTo>
                <a:cubicBezTo>
                  <a:pt x="400" y="118"/>
                  <a:pt x="413" y="115"/>
                  <a:pt x="415" y="105"/>
                </a:cubicBezTo>
                <a:cubicBezTo>
                  <a:pt x="412" y="104"/>
                  <a:pt x="412" y="104"/>
                  <a:pt x="412" y="104"/>
                </a:cubicBezTo>
                <a:cubicBezTo>
                  <a:pt x="394" y="98"/>
                  <a:pt x="348" y="114"/>
                  <a:pt x="361" y="103"/>
                </a:cubicBezTo>
                <a:cubicBezTo>
                  <a:pt x="374" y="91"/>
                  <a:pt x="388" y="75"/>
                  <a:pt x="374" y="71"/>
                </a:cubicBezTo>
                <a:cubicBezTo>
                  <a:pt x="360" y="68"/>
                  <a:pt x="346" y="63"/>
                  <a:pt x="337" y="60"/>
                </a:cubicBezTo>
                <a:cubicBezTo>
                  <a:pt x="327" y="57"/>
                  <a:pt x="320" y="55"/>
                  <a:pt x="320" y="50"/>
                </a:cubicBezTo>
                <a:cubicBezTo>
                  <a:pt x="320" y="45"/>
                  <a:pt x="310" y="44"/>
                  <a:pt x="307" y="44"/>
                </a:cubicBezTo>
                <a:cubicBezTo>
                  <a:pt x="304" y="44"/>
                  <a:pt x="291" y="45"/>
                  <a:pt x="279" y="52"/>
                </a:cubicBezTo>
                <a:cubicBezTo>
                  <a:pt x="267" y="58"/>
                  <a:pt x="261" y="64"/>
                  <a:pt x="252" y="63"/>
                </a:cubicBezTo>
                <a:cubicBezTo>
                  <a:pt x="242" y="62"/>
                  <a:pt x="226" y="55"/>
                  <a:pt x="216" y="52"/>
                </a:cubicBezTo>
                <a:cubicBezTo>
                  <a:pt x="207" y="49"/>
                  <a:pt x="205" y="46"/>
                  <a:pt x="186" y="51"/>
                </a:cubicBezTo>
                <a:cubicBezTo>
                  <a:pt x="167" y="56"/>
                  <a:pt x="157" y="68"/>
                  <a:pt x="154" y="51"/>
                </a:cubicBezTo>
                <a:cubicBezTo>
                  <a:pt x="150" y="34"/>
                  <a:pt x="149" y="30"/>
                  <a:pt x="135" y="27"/>
                </a:cubicBezTo>
                <a:cubicBezTo>
                  <a:pt x="121" y="25"/>
                  <a:pt x="106" y="36"/>
                  <a:pt x="102" y="22"/>
                </a:cubicBezTo>
                <a:cubicBezTo>
                  <a:pt x="99" y="7"/>
                  <a:pt x="90" y="0"/>
                  <a:pt x="89" y="9"/>
                </a:cubicBezTo>
                <a:cubicBezTo>
                  <a:pt x="88" y="19"/>
                  <a:pt x="97" y="35"/>
                  <a:pt x="84" y="35"/>
                </a:cubicBezTo>
                <a:cubicBezTo>
                  <a:pt x="71" y="36"/>
                  <a:pt x="57" y="33"/>
                  <a:pt x="56" y="47"/>
                </a:cubicBezTo>
                <a:cubicBezTo>
                  <a:pt x="56" y="60"/>
                  <a:pt x="62" y="64"/>
                  <a:pt x="66" y="72"/>
                </a:cubicBezTo>
                <a:cubicBezTo>
                  <a:pt x="70" y="80"/>
                  <a:pt x="79" y="93"/>
                  <a:pt x="67" y="95"/>
                </a:cubicBezTo>
                <a:cubicBezTo>
                  <a:pt x="56" y="98"/>
                  <a:pt x="53" y="106"/>
                  <a:pt x="48" y="100"/>
                </a:cubicBezTo>
                <a:cubicBezTo>
                  <a:pt x="44" y="95"/>
                  <a:pt x="48" y="87"/>
                  <a:pt x="43" y="84"/>
                </a:cubicBezTo>
                <a:cubicBezTo>
                  <a:pt x="37" y="81"/>
                  <a:pt x="34" y="77"/>
                  <a:pt x="34" y="77"/>
                </a:cubicBezTo>
                <a:cubicBezTo>
                  <a:pt x="47" y="62"/>
                  <a:pt x="47" y="62"/>
                  <a:pt x="47" y="62"/>
                </a:cubicBezTo>
                <a:cubicBezTo>
                  <a:pt x="47" y="62"/>
                  <a:pt x="52" y="50"/>
                  <a:pt x="47" y="44"/>
                </a:cubicBezTo>
                <a:cubicBezTo>
                  <a:pt x="41" y="38"/>
                  <a:pt x="34" y="31"/>
                  <a:pt x="40" y="26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46" name="Freeform 379"/>
          <p:cNvSpPr>
            <a:spLocks/>
          </p:cNvSpPr>
          <p:nvPr userDrawn="1"/>
        </p:nvSpPr>
        <p:spPr bwMode="auto">
          <a:xfrm>
            <a:off x="3792112" y="4840489"/>
            <a:ext cx="386947" cy="333343"/>
          </a:xfrm>
          <a:custGeom>
            <a:avLst/>
            <a:gdLst>
              <a:gd name="T0" fmla="*/ 2147483646 w 415"/>
              <a:gd name="T1" fmla="*/ 2147483646 h 358"/>
              <a:gd name="T2" fmla="*/ 2147483646 w 415"/>
              <a:gd name="T3" fmla="*/ 2147483646 h 358"/>
              <a:gd name="T4" fmla="*/ 0 w 415"/>
              <a:gd name="T5" fmla="*/ 2147483646 h 358"/>
              <a:gd name="T6" fmla="*/ 2147483646 w 415"/>
              <a:gd name="T7" fmla="*/ 2147483646 h 358"/>
              <a:gd name="T8" fmla="*/ 2147483646 w 415"/>
              <a:gd name="T9" fmla="*/ 2147483646 h 358"/>
              <a:gd name="T10" fmla="*/ 2147483646 w 415"/>
              <a:gd name="T11" fmla="*/ 2147483646 h 358"/>
              <a:gd name="T12" fmla="*/ 2147483646 w 415"/>
              <a:gd name="T13" fmla="*/ 2147483646 h 358"/>
              <a:gd name="T14" fmla="*/ 2147483646 w 415"/>
              <a:gd name="T15" fmla="*/ 2147483646 h 358"/>
              <a:gd name="T16" fmla="*/ 2147483646 w 415"/>
              <a:gd name="T17" fmla="*/ 2147483646 h 358"/>
              <a:gd name="T18" fmla="*/ 2147483646 w 415"/>
              <a:gd name="T19" fmla="*/ 2147483646 h 358"/>
              <a:gd name="T20" fmla="*/ 2147483646 w 415"/>
              <a:gd name="T21" fmla="*/ 2147483646 h 358"/>
              <a:gd name="T22" fmla="*/ 2147483646 w 415"/>
              <a:gd name="T23" fmla="*/ 2147483646 h 358"/>
              <a:gd name="T24" fmla="*/ 2147483646 w 415"/>
              <a:gd name="T25" fmla="*/ 2147483646 h 358"/>
              <a:gd name="T26" fmla="*/ 2147483646 w 415"/>
              <a:gd name="T27" fmla="*/ 2147483646 h 358"/>
              <a:gd name="T28" fmla="*/ 2147483646 w 415"/>
              <a:gd name="T29" fmla="*/ 2147483646 h 358"/>
              <a:gd name="T30" fmla="*/ 2147483646 w 415"/>
              <a:gd name="T31" fmla="*/ 2147483646 h 358"/>
              <a:gd name="T32" fmla="*/ 2147483646 w 415"/>
              <a:gd name="T33" fmla="*/ 2147483646 h 358"/>
              <a:gd name="T34" fmla="*/ 2147483646 w 415"/>
              <a:gd name="T35" fmla="*/ 2147483646 h 358"/>
              <a:gd name="T36" fmla="*/ 2147483646 w 415"/>
              <a:gd name="T37" fmla="*/ 2147483646 h 358"/>
              <a:gd name="T38" fmla="*/ 2147483646 w 415"/>
              <a:gd name="T39" fmla="*/ 2147483646 h 358"/>
              <a:gd name="T40" fmla="*/ 2147483646 w 415"/>
              <a:gd name="T41" fmla="*/ 2147483646 h 358"/>
              <a:gd name="T42" fmla="*/ 2147483646 w 415"/>
              <a:gd name="T43" fmla="*/ 2147483646 h 358"/>
              <a:gd name="T44" fmla="*/ 2147483646 w 415"/>
              <a:gd name="T45" fmla="*/ 2147483646 h 358"/>
              <a:gd name="T46" fmla="*/ 2147483646 w 415"/>
              <a:gd name="T47" fmla="*/ 2147483646 h 358"/>
              <a:gd name="T48" fmla="*/ 2147483646 w 415"/>
              <a:gd name="T49" fmla="*/ 2147483646 h 358"/>
              <a:gd name="T50" fmla="*/ 2147483646 w 415"/>
              <a:gd name="T51" fmla="*/ 2147483646 h 358"/>
              <a:gd name="T52" fmla="*/ 2147483646 w 415"/>
              <a:gd name="T53" fmla="*/ 2147483646 h 358"/>
              <a:gd name="T54" fmla="*/ 2147483646 w 415"/>
              <a:gd name="T55" fmla="*/ 2147483646 h 358"/>
              <a:gd name="T56" fmla="*/ 2147483646 w 415"/>
              <a:gd name="T57" fmla="*/ 2147483646 h 358"/>
              <a:gd name="T58" fmla="*/ 2147483646 w 415"/>
              <a:gd name="T59" fmla="*/ 2147483646 h 358"/>
              <a:gd name="T60" fmla="*/ 2147483646 w 415"/>
              <a:gd name="T61" fmla="*/ 2147483646 h 358"/>
              <a:gd name="T62" fmla="*/ 2147483646 w 415"/>
              <a:gd name="T63" fmla="*/ 2147483646 h 358"/>
              <a:gd name="T64" fmla="*/ 2147483646 w 415"/>
              <a:gd name="T65" fmla="*/ 2147483646 h 358"/>
              <a:gd name="T66" fmla="*/ 2147483646 w 415"/>
              <a:gd name="T67" fmla="*/ 2147483646 h 358"/>
              <a:gd name="T68" fmla="*/ 2147483646 w 415"/>
              <a:gd name="T69" fmla="*/ 2147483646 h 358"/>
              <a:gd name="T70" fmla="*/ 2147483646 w 415"/>
              <a:gd name="T71" fmla="*/ 2147483646 h 358"/>
              <a:gd name="T72" fmla="*/ 2147483646 w 415"/>
              <a:gd name="T73" fmla="*/ 2147483646 h 358"/>
              <a:gd name="T74" fmla="*/ 2147483646 w 415"/>
              <a:gd name="T75" fmla="*/ 2147483646 h 358"/>
              <a:gd name="T76" fmla="*/ 2147483646 w 415"/>
              <a:gd name="T77" fmla="*/ 2147483646 h 358"/>
              <a:gd name="T78" fmla="*/ 2147483646 w 415"/>
              <a:gd name="T79" fmla="*/ 2147483646 h 35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415"/>
              <a:gd name="T121" fmla="*/ 0 h 358"/>
              <a:gd name="T122" fmla="*/ 415 w 415"/>
              <a:gd name="T123" fmla="*/ 358 h 358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415" h="358">
                <a:moveTo>
                  <a:pt x="37" y="28"/>
                </a:moveTo>
                <a:cubicBezTo>
                  <a:pt x="33" y="35"/>
                  <a:pt x="23" y="39"/>
                  <a:pt x="20" y="47"/>
                </a:cubicBezTo>
                <a:cubicBezTo>
                  <a:pt x="19" y="49"/>
                  <a:pt x="21" y="51"/>
                  <a:pt x="20" y="53"/>
                </a:cubicBezTo>
                <a:cubicBezTo>
                  <a:pt x="18" y="56"/>
                  <a:pt x="15" y="58"/>
                  <a:pt x="13" y="61"/>
                </a:cubicBezTo>
                <a:cubicBezTo>
                  <a:pt x="9" y="68"/>
                  <a:pt x="10" y="77"/>
                  <a:pt x="9" y="85"/>
                </a:cubicBezTo>
                <a:cubicBezTo>
                  <a:pt x="8" y="92"/>
                  <a:pt x="1" y="95"/>
                  <a:pt x="0" y="101"/>
                </a:cubicBezTo>
                <a:cubicBezTo>
                  <a:pt x="5" y="104"/>
                  <a:pt x="11" y="98"/>
                  <a:pt x="16" y="102"/>
                </a:cubicBezTo>
                <a:cubicBezTo>
                  <a:pt x="24" y="107"/>
                  <a:pt x="17" y="117"/>
                  <a:pt x="18" y="123"/>
                </a:cubicBezTo>
                <a:cubicBezTo>
                  <a:pt x="19" y="131"/>
                  <a:pt x="27" y="130"/>
                  <a:pt x="29" y="136"/>
                </a:cubicBezTo>
                <a:cubicBezTo>
                  <a:pt x="32" y="143"/>
                  <a:pt x="29" y="147"/>
                  <a:pt x="27" y="153"/>
                </a:cubicBezTo>
                <a:cubicBezTo>
                  <a:pt x="23" y="169"/>
                  <a:pt x="39" y="173"/>
                  <a:pt x="52" y="170"/>
                </a:cubicBezTo>
                <a:cubicBezTo>
                  <a:pt x="64" y="167"/>
                  <a:pt x="75" y="163"/>
                  <a:pt x="88" y="167"/>
                </a:cubicBezTo>
                <a:cubicBezTo>
                  <a:pt x="96" y="169"/>
                  <a:pt x="107" y="170"/>
                  <a:pt x="110" y="178"/>
                </a:cubicBezTo>
                <a:cubicBezTo>
                  <a:pt x="111" y="184"/>
                  <a:pt x="111" y="194"/>
                  <a:pt x="117" y="198"/>
                </a:cubicBezTo>
                <a:cubicBezTo>
                  <a:pt x="122" y="201"/>
                  <a:pt x="132" y="195"/>
                  <a:pt x="137" y="193"/>
                </a:cubicBezTo>
                <a:cubicBezTo>
                  <a:pt x="148" y="189"/>
                  <a:pt x="166" y="182"/>
                  <a:pt x="176" y="189"/>
                </a:cubicBezTo>
                <a:cubicBezTo>
                  <a:pt x="180" y="192"/>
                  <a:pt x="181" y="194"/>
                  <a:pt x="178" y="199"/>
                </a:cubicBezTo>
                <a:cubicBezTo>
                  <a:pt x="177" y="202"/>
                  <a:pt x="173" y="205"/>
                  <a:pt x="171" y="209"/>
                </a:cubicBezTo>
                <a:cubicBezTo>
                  <a:pt x="168" y="213"/>
                  <a:pt x="167" y="220"/>
                  <a:pt x="167" y="226"/>
                </a:cubicBezTo>
                <a:cubicBezTo>
                  <a:pt x="168" y="235"/>
                  <a:pt x="174" y="239"/>
                  <a:pt x="177" y="248"/>
                </a:cubicBezTo>
                <a:cubicBezTo>
                  <a:pt x="178" y="252"/>
                  <a:pt x="175" y="256"/>
                  <a:pt x="175" y="260"/>
                </a:cubicBezTo>
                <a:cubicBezTo>
                  <a:pt x="176" y="264"/>
                  <a:pt x="180" y="266"/>
                  <a:pt x="183" y="269"/>
                </a:cubicBezTo>
                <a:cubicBezTo>
                  <a:pt x="192" y="280"/>
                  <a:pt x="185" y="282"/>
                  <a:pt x="179" y="290"/>
                </a:cubicBezTo>
                <a:cubicBezTo>
                  <a:pt x="171" y="300"/>
                  <a:pt x="184" y="297"/>
                  <a:pt x="188" y="304"/>
                </a:cubicBezTo>
                <a:cubicBezTo>
                  <a:pt x="191" y="308"/>
                  <a:pt x="192" y="315"/>
                  <a:pt x="194" y="320"/>
                </a:cubicBezTo>
                <a:cubicBezTo>
                  <a:pt x="196" y="325"/>
                  <a:pt x="198" y="330"/>
                  <a:pt x="200" y="335"/>
                </a:cubicBezTo>
                <a:cubicBezTo>
                  <a:pt x="201" y="338"/>
                  <a:pt x="202" y="344"/>
                  <a:pt x="205" y="346"/>
                </a:cubicBezTo>
                <a:cubicBezTo>
                  <a:pt x="210" y="349"/>
                  <a:pt x="213" y="345"/>
                  <a:pt x="217" y="345"/>
                </a:cubicBezTo>
                <a:cubicBezTo>
                  <a:pt x="227" y="345"/>
                  <a:pt x="228" y="358"/>
                  <a:pt x="238" y="352"/>
                </a:cubicBezTo>
                <a:cubicBezTo>
                  <a:pt x="241" y="350"/>
                  <a:pt x="242" y="346"/>
                  <a:pt x="246" y="348"/>
                </a:cubicBezTo>
                <a:cubicBezTo>
                  <a:pt x="249" y="350"/>
                  <a:pt x="249" y="355"/>
                  <a:pt x="250" y="357"/>
                </a:cubicBezTo>
                <a:cubicBezTo>
                  <a:pt x="255" y="353"/>
                  <a:pt x="259" y="345"/>
                  <a:pt x="265" y="340"/>
                </a:cubicBezTo>
                <a:cubicBezTo>
                  <a:pt x="271" y="336"/>
                  <a:pt x="277" y="334"/>
                  <a:pt x="283" y="330"/>
                </a:cubicBezTo>
                <a:cubicBezTo>
                  <a:pt x="293" y="324"/>
                  <a:pt x="298" y="313"/>
                  <a:pt x="309" y="309"/>
                </a:cubicBezTo>
                <a:cubicBezTo>
                  <a:pt x="308" y="302"/>
                  <a:pt x="291" y="299"/>
                  <a:pt x="285" y="296"/>
                </a:cubicBezTo>
                <a:cubicBezTo>
                  <a:pt x="297" y="295"/>
                  <a:pt x="283" y="285"/>
                  <a:pt x="279" y="279"/>
                </a:cubicBezTo>
                <a:cubicBezTo>
                  <a:pt x="274" y="271"/>
                  <a:pt x="268" y="258"/>
                  <a:pt x="269" y="248"/>
                </a:cubicBezTo>
                <a:cubicBezTo>
                  <a:pt x="271" y="227"/>
                  <a:pt x="300" y="263"/>
                  <a:pt x="301" y="248"/>
                </a:cubicBezTo>
                <a:cubicBezTo>
                  <a:pt x="305" y="250"/>
                  <a:pt x="306" y="255"/>
                  <a:pt x="308" y="259"/>
                </a:cubicBezTo>
                <a:cubicBezTo>
                  <a:pt x="311" y="258"/>
                  <a:pt x="314" y="252"/>
                  <a:pt x="318" y="253"/>
                </a:cubicBezTo>
                <a:cubicBezTo>
                  <a:pt x="322" y="253"/>
                  <a:pt x="326" y="262"/>
                  <a:pt x="329" y="265"/>
                </a:cubicBezTo>
                <a:cubicBezTo>
                  <a:pt x="332" y="259"/>
                  <a:pt x="333" y="245"/>
                  <a:pt x="340" y="242"/>
                </a:cubicBezTo>
                <a:cubicBezTo>
                  <a:pt x="345" y="240"/>
                  <a:pt x="346" y="243"/>
                  <a:pt x="351" y="244"/>
                </a:cubicBezTo>
                <a:cubicBezTo>
                  <a:pt x="359" y="247"/>
                  <a:pt x="368" y="240"/>
                  <a:pt x="374" y="234"/>
                </a:cubicBezTo>
                <a:cubicBezTo>
                  <a:pt x="379" y="230"/>
                  <a:pt x="386" y="227"/>
                  <a:pt x="390" y="222"/>
                </a:cubicBezTo>
                <a:cubicBezTo>
                  <a:pt x="392" y="219"/>
                  <a:pt x="392" y="215"/>
                  <a:pt x="393" y="211"/>
                </a:cubicBezTo>
                <a:cubicBezTo>
                  <a:pt x="393" y="209"/>
                  <a:pt x="393" y="209"/>
                  <a:pt x="393" y="209"/>
                </a:cubicBezTo>
                <a:cubicBezTo>
                  <a:pt x="390" y="206"/>
                  <a:pt x="386" y="201"/>
                  <a:pt x="383" y="199"/>
                </a:cubicBezTo>
                <a:cubicBezTo>
                  <a:pt x="379" y="197"/>
                  <a:pt x="374" y="199"/>
                  <a:pt x="372" y="195"/>
                </a:cubicBezTo>
                <a:cubicBezTo>
                  <a:pt x="371" y="193"/>
                  <a:pt x="371" y="188"/>
                  <a:pt x="370" y="186"/>
                </a:cubicBezTo>
                <a:cubicBezTo>
                  <a:pt x="369" y="184"/>
                  <a:pt x="366" y="182"/>
                  <a:pt x="366" y="178"/>
                </a:cubicBezTo>
                <a:cubicBezTo>
                  <a:pt x="366" y="172"/>
                  <a:pt x="369" y="169"/>
                  <a:pt x="373" y="167"/>
                </a:cubicBezTo>
                <a:cubicBezTo>
                  <a:pt x="379" y="163"/>
                  <a:pt x="398" y="161"/>
                  <a:pt x="396" y="151"/>
                </a:cubicBezTo>
                <a:cubicBezTo>
                  <a:pt x="394" y="144"/>
                  <a:pt x="384" y="146"/>
                  <a:pt x="384" y="140"/>
                </a:cubicBezTo>
                <a:cubicBezTo>
                  <a:pt x="384" y="135"/>
                  <a:pt x="392" y="129"/>
                  <a:pt x="394" y="126"/>
                </a:cubicBezTo>
                <a:cubicBezTo>
                  <a:pt x="400" y="118"/>
                  <a:pt x="413" y="115"/>
                  <a:pt x="415" y="105"/>
                </a:cubicBezTo>
                <a:cubicBezTo>
                  <a:pt x="412" y="104"/>
                  <a:pt x="412" y="104"/>
                  <a:pt x="412" y="104"/>
                </a:cubicBezTo>
                <a:cubicBezTo>
                  <a:pt x="394" y="98"/>
                  <a:pt x="348" y="114"/>
                  <a:pt x="361" y="103"/>
                </a:cubicBezTo>
                <a:cubicBezTo>
                  <a:pt x="374" y="91"/>
                  <a:pt x="388" y="75"/>
                  <a:pt x="374" y="71"/>
                </a:cubicBezTo>
                <a:cubicBezTo>
                  <a:pt x="360" y="68"/>
                  <a:pt x="346" y="63"/>
                  <a:pt x="337" y="60"/>
                </a:cubicBezTo>
                <a:cubicBezTo>
                  <a:pt x="327" y="57"/>
                  <a:pt x="320" y="55"/>
                  <a:pt x="320" y="50"/>
                </a:cubicBezTo>
                <a:cubicBezTo>
                  <a:pt x="320" y="45"/>
                  <a:pt x="310" y="44"/>
                  <a:pt x="307" y="44"/>
                </a:cubicBezTo>
                <a:cubicBezTo>
                  <a:pt x="304" y="44"/>
                  <a:pt x="291" y="45"/>
                  <a:pt x="279" y="52"/>
                </a:cubicBezTo>
                <a:cubicBezTo>
                  <a:pt x="267" y="58"/>
                  <a:pt x="261" y="64"/>
                  <a:pt x="252" y="63"/>
                </a:cubicBezTo>
                <a:cubicBezTo>
                  <a:pt x="242" y="62"/>
                  <a:pt x="226" y="55"/>
                  <a:pt x="216" y="52"/>
                </a:cubicBezTo>
                <a:cubicBezTo>
                  <a:pt x="207" y="49"/>
                  <a:pt x="205" y="46"/>
                  <a:pt x="186" y="51"/>
                </a:cubicBezTo>
                <a:cubicBezTo>
                  <a:pt x="167" y="56"/>
                  <a:pt x="157" y="68"/>
                  <a:pt x="154" y="51"/>
                </a:cubicBezTo>
                <a:cubicBezTo>
                  <a:pt x="150" y="34"/>
                  <a:pt x="149" y="30"/>
                  <a:pt x="135" y="27"/>
                </a:cubicBezTo>
                <a:cubicBezTo>
                  <a:pt x="121" y="25"/>
                  <a:pt x="106" y="36"/>
                  <a:pt x="102" y="22"/>
                </a:cubicBezTo>
                <a:cubicBezTo>
                  <a:pt x="99" y="7"/>
                  <a:pt x="90" y="0"/>
                  <a:pt x="89" y="9"/>
                </a:cubicBezTo>
                <a:cubicBezTo>
                  <a:pt x="88" y="19"/>
                  <a:pt x="97" y="35"/>
                  <a:pt x="84" y="35"/>
                </a:cubicBezTo>
                <a:cubicBezTo>
                  <a:pt x="71" y="36"/>
                  <a:pt x="57" y="33"/>
                  <a:pt x="56" y="47"/>
                </a:cubicBezTo>
                <a:cubicBezTo>
                  <a:pt x="56" y="60"/>
                  <a:pt x="62" y="64"/>
                  <a:pt x="66" y="72"/>
                </a:cubicBezTo>
                <a:cubicBezTo>
                  <a:pt x="70" y="80"/>
                  <a:pt x="79" y="93"/>
                  <a:pt x="67" y="95"/>
                </a:cubicBezTo>
                <a:cubicBezTo>
                  <a:pt x="56" y="98"/>
                  <a:pt x="53" y="106"/>
                  <a:pt x="48" y="100"/>
                </a:cubicBezTo>
                <a:cubicBezTo>
                  <a:pt x="44" y="95"/>
                  <a:pt x="48" y="87"/>
                  <a:pt x="43" y="84"/>
                </a:cubicBezTo>
                <a:cubicBezTo>
                  <a:pt x="37" y="81"/>
                  <a:pt x="34" y="77"/>
                  <a:pt x="34" y="77"/>
                </a:cubicBezTo>
                <a:cubicBezTo>
                  <a:pt x="47" y="62"/>
                  <a:pt x="47" y="62"/>
                  <a:pt x="47" y="62"/>
                </a:cubicBezTo>
                <a:cubicBezTo>
                  <a:pt x="47" y="62"/>
                  <a:pt x="52" y="50"/>
                  <a:pt x="47" y="44"/>
                </a:cubicBezTo>
                <a:cubicBezTo>
                  <a:pt x="41" y="38"/>
                  <a:pt x="34" y="31"/>
                  <a:pt x="40" y="26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47" name="Freeform 380"/>
          <p:cNvSpPr>
            <a:spLocks/>
          </p:cNvSpPr>
          <p:nvPr userDrawn="1"/>
        </p:nvSpPr>
        <p:spPr bwMode="auto">
          <a:xfrm>
            <a:off x="4229312" y="4996271"/>
            <a:ext cx="117256" cy="134008"/>
          </a:xfrm>
          <a:custGeom>
            <a:avLst/>
            <a:gdLst>
              <a:gd name="T0" fmla="*/ 2147483646 w 125"/>
              <a:gd name="T1" fmla="*/ 2147483646 h 143"/>
              <a:gd name="T2" fmla="*/ 2147483646 w 125"/>
              <a:gd name="T3" fmla="*/ 2147483646 h 143"/>
              <a:gd name="T4" fmla="*/ 2147483646 w 125"/>
              <a:gd name="T5" fmla="*/ 2147483646 h 143"/>
              <a:gd name="T6" fmla="*/ 2147483646 w 125"/>
              <a:gd name="T7" fmla="*/ 2147483646 h 143"/>
              <a:gd name="T8" fmla="*/ 2147483646 w 125"/>
              <a:gd name="T9" fmla="*/ 2147483646 h 143"/>
              <a:gd name="T10" fmla="*/ 2147483646 w 125"/>
              <a:gd name="T11" fmla="*/ 2147483646 h 143"/>
              <a:gd name="T12" fmla="*/ 2147483646 w 125"/>
              <a:gd name="T13" fmla="*/ 2147483646 h 143"/>
              <a:gd name="T14" fmla="*/ 2147483646 w 125"/>
              <a:gd name="T15" fmla="*/ 2147483646 h 143"/>
              <a:gd name="T16" fmla="*/ 2147483646 w 125"/>
              <a:gd name="T17" fmla="*/ 2147483646 h 143"/>
              <a:gd name="T18" fmla="*/ 2147483646 w 125"/>
              <a:gd name="T19" fmla="*/ 2147483646 h 143"/>
              <a:gd name="T20" fmla="*/ 2147483646 w 125"/>
              <a:gd name="T21" fmla="*/ 2147483646 h 143"/>
              <a:gd name="T22" fmla="*/ 2147483646 w 125"/>
              <a:gd name="T23" fmla="*/ 2147483646 h 143"/>
              <a:gd name="T24" fmla="*/ 2147483646 w 125"/>
              <a:gd name="T25" fmla="*/ 2147483646 h 143"/>
              <a:gd name="T26" fmla="*/ 2147483646 w 125"/>
              <a:gd name="T27" fmla="*/ 2147483646 h 143"/>
              <a:gd name="T28" fmla="*/ 2147483646 w 125"/>
              <a:gd name="T29" fmla="*/ 2147483646 h 143"/>
              <a:gd name="T30" fmla="*/ 2147483646 w 125"/>
              <a:gd name="T31" fmla="*/ 2147483646 h 143"/>
              <a:gd name="T32" fmla="*/ 2147483646 w 125"/>
              <a:gd name="T33" fmla="*/ 2147483646 h 143"/>
              <a:gd name="T34" fmla="*/ 2147483646 w 125"/>
              <a:gd name="T35" fmla="*/ 2147483646 h 143"/>
              <a:gd name="T36" fmla="*/ 2147483646 w 125"/>
              <a:gd name="T37" fmla="*/ 2147483646 h 143"/>
              <a:gd name="T38" fmla="*/ 2147483646 w 125"/>
              <a:gd name="T39" fmla="*/ 2147483646 h 143"/>
              <a:gd name="T40" fmla="*/ 2147483646 w 125"/>
              <a:gd name="T41" fmla="*/ 2147483646 h 143"/>
              <a:gd name="T42" fmla="*/ 2147483646 w 125"/>
              <a:gd name="T43" fmla="*/ 2147483646 h 143"/>
              <a:gd name="T44" fmla="*/ 2147483646 w 125"/>
              <a:gd name="T45" fmla="*/ 2147483646 h 143"/>
              <a:gd name="T46" fmla="*/ 2147483646 w 125"/>
              <a:gd name="T47" fmla="*/ 2147483646 h 143"/>
              <a:gd name="T48" fmla="*/ 2147483646 w 125"/>
              <a:gd name="T49" fmla="*/ 2147483646 h 143"/>
              <a:gd name="T50" fmla="*/ 2147483646 w 125"/>
              <a:gd name="T51" fmla="*/ 2147483646 h 143"/>
              <a:gd name="T52" fmla="*/ 2147483646 w 125"/>
              <a:gd name="T53" fmla="*/ 2147483646 h 143"/>
              <a:gd name="T54" fmla="*/ 2147483646 w 125"/>
              <a:gd name="T55" fmla="*/ 2147483646 h 143"/>
              <a:gd name="T56" fmla="*/ 2147483646 w 125"/>
              <a:gd name="T57" fmla="*/ 2147483646 h 143"/>
              <a:gd name="T58" fmla="*/ 2147483646 w 125"/>
              <a:gd name="T59" fmla="*/ 2147483646 h 14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25"/>
              <a:gd name="T91" fmla="*/ 0 h 143"/>
              <a:gd name="T92" fmla="*/ 125 w 125"/>
              <a:gd name="T93" fmla="*/ 143 h 14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25" h="143">
                <a:moveTo>
                  <a:pt x="50" y="130"/>
                </a:moveTo>
                <a:cubicBezTo>
                  <a:pt x="55" y="134"/>
                  <a:pt x="65" y="143"/>
                  <a:pt x="69" y="135"/>
                </a:cubicBezTo>
                <a:cubicBezTo>
                  <a:pt x="73" y="129"/>
                  <a:pt x="70" y="123"/>
                  <a:pt x="70" y="117"/>
                </a:cubicBezTo>
                <a:cubicBezTo>
                  <a:pt x="76" y="118"/>
                  <a:pt x="80" y="114"/>
                  <a:pt x="86" y="115"/>
                </a:cubicBezTo>
                <a:cubicBezTo>
                  <a:pt x="90" y="115"/>
                  <a:pt x="92" y="116"/>
                  <a:pt x="95" y="115"/>
                </a:cubicBezTo>
                <a:cubicBezTo>
                  <a:pt x="97" y="115"/>
                  <a:pt x="100" y="111"/>
                  <a:pt x="101" y="111"/>
                </a:cubicBezTo>
                <a:cubicBezTo>
                  <a:pt x="105" y="110"/>
                  <a:pt x="105" y="113"/>
                  <a:pt x="108" y="114"/>
                </a:cubicBezTo>
                <a:cubicBezTo>
                  <a:pt x="111" y="116"/>
                  <a:pt x="115" y="115"/>
                  <a:pt x="116" y="118"/>
                </a:cubicBezTo>
                <a:cubicBezTo>
                  <a:pt x="120" y="112"/>
                  <a:pt x="120" y="106"/>
                  <a:pt x="121" y="99"/>
                </a:cubicBezTo>
                <a:cubicBezTo>
                  <a:pt x="121" y="93"/>
                  <a:pt x="124" y="88"/>
                  <a:pt x="124" y="83"/>
                </a:cubicBezTo>
                <a:cubicBezTo>
                  <a:pt x="124" y="78"/>
                  <a:pt x="124" y="71"/>
                  <a:pt x="122" y="67"/>
                </a:cubicBezTo>
                <a:cubicBezTo>
                  <a:pt x="119" y="62"/>
                  <a:pt x="114" y="60"/>
                  <a:pt x="112" y="54"/>
                </a:cubicBezTo>
                <a:cubicBezTo>
                  <a:pt x="108" y="43"/>
                  <a:pt x="114" y="34"/>
                  <a:pt x="120" y="25"/>
                </a:cubicBezTo>
                <a:cubicBezTo>
                  <a:pt x="124" y="19"/>
                  <a:pt x="125" y="13"/>
                  <a:pt x="123" y="6"/>
                </a:cubicBezTo>
                <a:cubicBezTo>
                  <a:pt x="122" y="5"/>
                  <a:pt x="122" y="5"/>
                  <a:pt x="122" y="5"/>
                </a:cubicBezTo>
                <a:cubicBezTo>
                  <a:pt x="114" y="3"/>
                  <a:pt x="93" y="0"/>
                  <a:pt x="80" y="5"/>
                </a:cubicBezTo>
                <a:cubicBezTo>
                  <a:pt x="66" y="10"/>
                  <a:pt x="59" y="15"/>
                  <a:pt x="50" y="12"/>
                </a:cubicBezTo>
                <a:cubicBezTo>
                  <a:pt x="42" y="9"/>
                  <a:pt x="35" y="4"/>
                  <a:pt x="30" y="5"/>
                </a:cubicBezTo>
                <a:cubicBezTo>
                  <a:pt x="30" y="6"/>
                  <a:pt x="30" y="6"/>
                  <a:pt x="30" y="6"/>
                </a:cubicBezTo>
                <a:cubicBezTo>
                  <a:pt x="30" y="12"/>
                  <a:pt x="30" y="19"/>
                  <a:pt x="29" y="26"/>
                </a:cubicBezTo>
                <a:cubicBezTo>
                  <a:pt x="29" y="29"/>
                  <a:pt x="30" y="37"/>
                  <a:pt x="27" y="39"/>
                </a:cubicBezTo>
                <a:cubicBezTo>
                  <a:pt x="25" y="41"/>
                  <a:pt x="23" y="39"/>
                  <a:pt x="21" y="39"/>
                </a:cubicBezTo>
                <a:cubicBezTo>
                  <a:pt x="18" y="40"/>
                  <a:pt x="18" y="40"/>
                  <a:pt x="16" y="41"/>
                </a:cubicBezTo>
                <a:cubicBezTo>
                  <a:pt x="10" y="43"/>
                  <a:pt x="9" y="44"/>
                  <a:pt x="8" y="49"/>
                </a:cubicBezTo>
                <a:cubicBezTo>
                  <a:pt x="6" y="55"/>
                  <a:pt x="4" y="59"/>
                  <a:pt x="2" y="64"/>
                </a:cubicBezTo>
                <a:cubicBezTo>
                  <a:pt x="0" y="69"/>
                  <a:pt x="0" y="76"/>
                  <a:pt x="4" y="80"/>
                </a:cubicBezTo>
                <a:cubicBezTo>
                  <a:pt x="8" y="84"/>
                  <a:pt x="13" y="82"/>
                  <a:pt x="17" y="83"/>
                </a:cubicBezTo>
                <a:cubicBezTo>
                  <a:pt x="18" y="86"/>
                  <a:pt x="20" y="89"/>
                  <a:pt x="22" y="91"/>
                </a:cubicBezTo>
                <a:cubicBezTo>
                  <a:pt x="26" y="97"/>
                  <a:pt x="28" y="103"/>
                  <a:pt x="31" y="109"/>
                </a:cubicBezTo>
                <a:cubicBezTo>
                  <a:pt x="36" y="117"/>
                  <a:pt x="44" y="123"/>
                  <a:pt x="50" y="13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48" name="Freeform 381"/>
          <p:cNvSpPr>
            <a:spLocks/>
          </p:cNvSpPr>
          <p:nvPr userDrawn="1"/>
        </p:nvSpPr>
        <p:spPr bwMode="auto">
          <a:xfrm>
            <a:off x="4329818" y="5002972"/>
            <a:ext cx="88780" cy="108881"/>
          </a:xfrm>
          <a:custGeom>
            <a:avLst/>
            <a:gdLst>
              <a:gd name="T0" fmla="*/ 2147483646 w 95"/>
              <a:gd name="T1" fmla="*/ 2147483646 h 118"/>
              <a:gd name="T2" fmla="*/ 2147483646 w 95"/>
              <a:gd name="T3" fmla="*/ 2147483646 h 118"/>
              <a:gd name="T4" fmla="*/ 2147483646 w 95"/>
              <a:gd name="T5" fmla="*/ 2147483646 h 118"/>
              <a:gd name="T6" fmla="*/ 2147483646 w 95"/>
              <a:gd name="T7" fmla="*/ 2147483646 h 118"/>
              <a:gd name="T8" fmla="*/ 2147483646 w 95"/>
              <a:gd name="T9" fmla="*/ 2147483646 h 118"/>
              <a:gd name="T10" fmla="*/ 2147483646 w 95"/>
              <a:gd name="T11" fmla="*/ 2147483646 h 118"/>
              <a:gd name="T12" fmla="*/ 2147483646 w 95"/>
              <a:gd name="T13" fmla="*/ 2147483646 h 118"/>
              <a:gd name="T14" fmla="*/ 2147483646 w 95"/>
              <a:gd name="T15" fmla="*/ 2147483646 h 118"/>
              <a:gd name="T16" fmla="*/ 2147483646 w 95"/>
              <a:gd name="T17" fmla="*/ 2147483646 h 118"/>
              <a:gd name="T18" fmla="*/ 2147483646 w 95"/>
              <a:gd name="T19" fmla="*/ 2147483646 h 118"/>
              <a:gd name="T20" fmla="*/ 2147483646 w 95"/>
              <a:gd name="T21" fmla="*/ 2147483646 h 118"/>
              <a:gd name="T22" fmla="*/ 2147483646 w 95"/>
              <a:gd name="T23" fmla="*/ 2147483646 h 118"/>
              <a:gd name="T24" fmla="*/ 2147483646 w 95"/>
              <a:gd name="T25" fmla="*/ 2147483646 h 118"/>
              <a:gd name="T26" fmla="*/ 2147483646 w 95"/>
              <a:gd name="T27" fmla="*/ 0 h 118"/>
              <a:gd name="T28" fmla="*/ 2147483646 w 95"/>
              <a:gd name="T29" fmla="*/ 0 h 118"/>
              <a:gd name="T30" fmla="*/ 2147483646 w 95"/>
              <a:gd name="T31" fmla="*/ 2147483646 h 118"/>
              <a:gd name="T32" fmla="*/ 2147483646 w 95"/>
              <a:gd name="T33" fmla="*/ 2147483646 h 118"/>
              <a:gd name="T34" fmla="*/ 2147483646 w 95"/>
              <a:gd name="T35" fmla="*/ 2147483646 h 118"/>
              <a:gd name="T36" fmla="*/ 2147483646 w 95"/>
              <a:gd name="T37" fmla="*/ 2147483646 h 118"/>
              <a:gd name="T38" fmla="*/ 2147483646 w 95"/>
              <a:gd name="T39" fmla="*/ 2147483646 h 118"/>
              <a:gd name="T40" fmla="*/ 2147483646 w 95"/>
              <a:gd name="T41" fmla="*/ 2147483646 h 118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95"/>
              <a:gd name="T64" fmla="*/ 0 h 118"/>
              <a:gd name="T65" fmla="*/ 95 w 95"/>
              <a:gd name="T66" fmla="*/ 118 h 118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95" h="118">
                <a:moveTo>
                  <a:pt x="9" y="113"/>
                </a:moveTo>
                <a:cubicBezTo>
                  <a:pt x="11" y="115"/>
                  <a:pt x="14" y="117"/>
                  <a:pt x="16" y="117"/>
                </a:cubicBezTo>
                <a:cubicBezTo>
                  <a:pt x="20" y="118"/>
                  <a:pt x="19" y="117"/>
                  <a:pt x="22" y="115"/>
                </a:cubicBezTo>
                <a:cubicBezTo>
                  <a:pt x="26" y="113"/>
                  <a:pt x="32" y="108"/>
                  <a:pt x="37" y="108"/>
                </a:cubicBezTo>
                <a:cubicBezTo>
                  <a:pt x="40" y="107"/>
                  <a:pt x="44" y="112"/>
                  <a:pt x="49" y="110"/>
                </a:cubicBezTo>
                <a:cubicBezTo>
                  <a:pt x="51" y="109"/>
                  <a:pt x="51" y="106"/>
                  <a:pt x="54" y="105"/>
                </a:cubicBezTo>
                <a:cubicBezTo>
                  <a:pt x="56" y="105"/>
                  <a:pt x="59" y="107"/>
                  <a:pt x="61" y="106"/>
                </a:cubicBezTo>
                <a:cubicBezTo>
                  <a:pt x="66" y="105"/>
                  <a:pt x="68" y="94"/>
                  <a:pt x="70" y="90"/>
                </a:cubicBezTo>
                <a:cubicBezTo>
                  <a:pt x="73" y="83"/>
                  <a:pt x="77" y="76"/>
                  <a:pt x="81" y="69"/>
                </a:cubicBezTo>
                <a:cubicBezTo>
                  <a:pt x="86" y="61"/>
                  <a:pt x="94" y="52"/>
                  <a:pt x="95" y="43"/>
                </a:cubicBezTo>
                <a:cubicBezTo>
                  <a:pt x="95" y="42"/>
                  <a:pt x="95" y="42"/>
                  <a:pt x="95" y="42"/>
                </a:cubicBezTo>
                <a:cubicBezTo>
                  <a:pt x="92" y="41"/>
                  <a:pt x="77" y="36"/>
                  <a:pt x="65" y="22"/>
                </a:cubicBezTo>
                <a:cubicBezTo>
                  <a:pt x="51" y="7"/>
                  <a:pt x="41" y="8"/>
                  <a:pt x="33" y="7"/>
                </a:cubicBezTo>
                <a:cubicBezTo>
                  <a:pt x="26" y="7"/>
                  <a:pt x="23" y="2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8" y="7"/>
                  <a:pt x="17" y="14"/>
                  <a:pt x="13" y="20"/>
                </a:cubicBezTo>
                <a:cubicBezTo>
                  <a:pt x="6" y="28"/>
                  <a:pt x="0" y="37"/>
                  <a:pt x="4" y="48"/>
                </a:cubicBezTo>
                <a:cubicBezTo>
                  <a:pt x="6" y="54"/>
                  <a:pt x="12" y="56"/>
                  <a:pt x="14" y="62"/>
                </a:cubicBezTo>
                <a:cubicBezTo>
                  <a:pt x="17" y="66"/>
                  <a:pt x="16" y="72"/>
                  <a:pt x="16" y="77"/>
                </a:cubicBezTo>
                <a:cubicBezTo>
                  <a:pt x="16" y="83"/>
                  <a:pt x="14" y="88"/>
                  <a:pt x="13" y="94"/>
                </a:cubicBezTo>
                <a:cubicBezTo>
                  <a:pt x="12" y="101"/>
                  <a:pt x="12" y="106"/>
                  <a:pt x="9" y="11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49" name="Freeform 382"/>
          <p:cNvSpPr>
            <a:spLocks/>
          </p:cNvSpPr>
          <p:nvPr userDrawn="1"/>
        </p:nvSpPr>
        <p:spPr bwMode="auto">
          <a:xfrm>
            <a:off x="3631305" y="4835462"/>
            <a:ext cx="341719" cy="485777"/>
          </a:xfrm>
          <a:custGeom>
            <a:avLst/>
            <a:gdLst>
              <a:gd name="T0" fmla="*/ 2147483646 w 366"/>
              <a:gd name="T1" fmla="*/ 2147483646 h 520"/>
              <a:gd name="T2" fmla="*/ 2147483646 w 366"/>
              <a:gd name="T3" fmla="*/ 2147483646 h 520"/>
              <a:gd name="T4" fmla="*/ 2147483646 w 366"/>
              <a:gd name="T5" fmla="*/ 2147483646 h 520"/>
              <a:gd name="T6" fmla="*/ 2147483646 w 366"/>
              <a:gd name="T7" fmla="*/ 2147483646 h 520"/>
              <a:gd name="T8" fmla="*/ 2147483646 w 366"/>
              <a:gd name="T9" fmla="*/ 2147483646 h 520"/>
              <a:gd name="T10" fmla="*/ 2147483646 w 366"/>
              <a:gd name="T11" fmla="*/ 2147483646 h 520"/>
              <a:gd name="T12" fmla="*/ 2147483646 w 366"/>
              <a:gd name="T13" fmla="*/ 2147483646 h 520"/>
              <a:gd name="T14" fmla="*/ 2147483646 w 366"/>
              <a:gd name="T15" fmla="*/ 2147483646 h 520"/>
              <a:gd name="T16" fmla="*/ 2147483646 w 366"/>
              <a:gd name="T17" fmla="*/ 2147483646 h 520"/>
              <a:gd name="T18" fmla="*/ 2147483646 w 366"/>
              <a:gd name="T19" fmla="*/ 2147483646 h 520"/>
              <a:gd name="T20" fmla="*/ 2147483646 w 366"/>
              <a:gd name="T21" fmla="*/ 2147483646 h 520"/>
              <a:gd name="T22" fmla="*/ 2147483646 w 366"/>
              <a:gd name="T23" fmla="*/ 2147483646 h 520"/>
              <a:gd name="T24" fmla="*/ 2147483646 w 366"/>
              <a:gd name="T25" fmla="*/ 2147483646 h 520"/>
              <a:gd name="T26" fmla="*/ 2147483646 w 366"/>
              <a:gd name="T27" fmla="*/ 2147483646 h 520"/>
              <a:gd name="T28" fmla="*/ 2147483646 w 366"/>
              <a:gd name="T29" fmla="*/ 2147483646 h 520"/>
              <a:gd name="T30" fmla="*/ 2147483646 w 366"/>
              <a:gd name="T31" fmla="*/ 2147483646 h 520"/>
              <a:gd name="T32" fmla="*/ 2147483646 w 366"/>
              <a:gd name="T33" fmla="*/ 2147483646 h 520"/>
              <a:gd name="T34" fmla="*/ 2147483646 w 366"/>
              <a:gd name="T35" fmla="*/ 2147483646 h 520"/>
              <a:gd name="T36" fmla="*/ 2147483646 w 366"/>
              <a:gd name="T37" fmla="*/ 2147483646 h 520"/>
              <a:gd name="T38" fmla="*/ 2147483646 w 366"/>
              <a:gd name="T39" fmla="*/ 2147483646 h 520"/>
              <a:gd name="T40" fmla="*/ 2147483646 w 366"/>
              <a:gd name="T41" fmla="*/ 2147483646 h 520"/>
              <a:gd name="T42" fmla="*/ 2147483646 w 366"/>
              <a:gd name="T43" fmla="*/ 2147483646 h 520"/>
              <a:gd name="T44" fmla="*/ 2147483646 w 366"/>
              <a:gd name="T45" fmla="*/ 2147483646 h 520"/>
              <a:gd name="T46" fmla="*/ 2147483646 w 366"/>
              <a:gd name="T47" fmla="*/ 2147483646 h 520"/>
              <a:gd name="T48" fmla="*/ 2147483646 w 366"/>
              <a:gd name="T49" fmla="*/ 2147483646 h 520"/>
              <a:gd name="T50" fmla="*/ 2147483646 w 366"/>
              <a:gd name="T51" fmla="*/ 2147483646 h 520"/>
              <a:gd name="T52" fmla="*/ 2147483646 w 366"/>
              <a:gd name="T53" fmla="*/ 2147483646 h 520"/>
              <a:gd name="T54" fmla="*/ 2147483646 w 366"/>
              <a:gd name="T55" fmla="*/ 2147483646 h 520"/>
              <a:gd name="T56" fmla="*/ 2147483646 w 366"/>
              <a:gd name="T57" fmla="*/ 2147483646 h 520"/>
              <a:gd name="T58" fmla="*/ 2147483646 w 366"/>
              <a:gd name="T59" fmla="*/ 2147483646 h 520"/>
              <a:gd name="T60" fmla="*/ 2147483646 w 366"/>
              <a:gd name="T61" fmla="*/ 2147483646 h 520"/>
              <a:gd name="T62" fmla="*/ 2147483646 w 366"/>
              <a:gd name="T63" fmla="*/ 2147483646 h 520"/>
              <a:gd name="T64" fmla="*/ 2147483646 w 366"/>
              <a:gd name="T65" fmla="*/ 2147483646 h 520"/>
              <a:gd name="T66" fmla="*/ 2147483646 w 366"/>
              <a:gd name="T67" fmla="*/ 2147483646 h 520"/>
              <a:gd name="T68" fmla="*/ 2147483646 w 366"/>
              <a:gd name="T69" fmla="*/ 2147483646 h 520"/>
              <a:gd name="T70" fmla="*/ 2147483646 w 366"/>
              <a:gd name="T71" fmla="*/ 2147483646 h 520"/>
              <a:gd name="T72" fmla="*/ 2147483646 w 366"/>
              <a:gd name="T73" fmla="*/ 2147483646 h 520"/>
              <a:gd name="T74" fmla="*/ 2147483646 w 366"/>
              <a:gd name="T75" fmla="*/ 2147483646 h 520"/>
              <a:gd name="T76" fmla="*/ 2147483646 w 366"/>
              <a:gd name="T77" fmla="*/ 2147483646 h 520"/>
              <a:gd name="T78" fmla="*/ 2147483646 w 366"/>
              <a:gd name="T79" fmla="*/ 2147483646 h 520"/>
              <a:gd name="T80" fmla="*/ 2147483646 w 366"/>
              <a:gd name="T81" fmla="*/ 2147483646 h 520"/>
              <a:gd name="T82" fmla="*/ 2147483646 w 366"/>
              <a:gd name="T83" fmla="*/ 2147483646 h 520"/>
              <a:gd name="T84" fmla="*/ 2147483646 w 366"/>
              <a:gd name="T85" fmla="*/ 2147483646 h 520"/>
              <a:gd name="T86" fmla="*/ 2147483646 w 366"/>
              <a:gd name="T87" fmla="*/ 2147483646 h 520"/>
              <a:gd name="T88" fmla="*/ 2147483646 w 366"/>
              <a:gd name="T89" fmla="*/ 2147483646 h 520"/>
              <a:gd name="T90" fmla="*/ 2147483646 w 366"/>
              <a:gd name="T91" fmla="*/ 2147483646 h 520"/>
              <a:gd name="T92" fmla="*/ 2147483646 w 366"/>
              <a:gd name="T93" fmla="*/ 2147483646 h 520"/>
              <a:gd name="T94" fmla="*/ 2147483646 w 366"/>
              <a:gd name="T95" fmla="*/ 2147483646 h 52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66"/>
              <a:gd name="T145" fmla="*/ 0 h 520"/>
              <a:gd name="T146" fmla="*/ 366 w 366"/>
              <a:gd name="T147" fmla="*/ 520 h 52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66" h="520">
                <a:moveTo>
                  <a:pt x="366" y="322"/>
                </a:moveTo>
                <a:cubicBezTo>
                  <a:pt x="364" y="317"/>
                  <a:pt x="364" y="313"/>
                  <a:pt x="361" y="309"/>
                </a:cubicBezTo>
                <a:cubicBezTo>
                  <a:pt x="357" y="302"/>
                  <a:pt x="344" y="305"/>
                  <a:pt x="352" y="295"/>
                </a:cubicBezTo>
                <a:cubicBezTo>
                  <a:pt x="358" y="287"/>
                  <a:pt x="365" y="285"/>
                  <a:pt x="356" y="274"/>
                </a:cubicBezTo>
                <a:cubicBezTo>
                  <a:pt x="353" y="271"/>
                  <a:pt x="349" y="269"/>
                  <a:pt x="348" y="265"/>
                </a:cubicBezTo>
                <a:cubicBezTo>
                  <a:pt x="348" y="261"/>
                  <a:pt x="351" y="257"/>
                  <a:pt x="350" y="253"/>
                </a:cubicBezTo>
                <a:cubicBezTo>
                  <a:pt x="347" y="244"/>
                  <a:pt x="341" y="241"/>
                  <a:pt x="340" y="231"/>
                </a:cubicBezTo>
                <a:cubicBezTo>
                  <a:pt x="340" y="225"/>
                  <a:pt x="341" y="219"/>
                  <a:pt x="344" y="214"/>
                </a:cubicBezTo>
                <a:cubicBezTo>
                  <a:pt x="346" y="210"/>
                  <a:pt x="350" y="207"/>
                  <a:pt x="351" y="204"/>
                </a:cubicBezTo>
                <a:cubicBezTo>
                  <a:pt x="354" y="199"/>
                  <a:pt x="353" y="197"/>
                  <a:pt x="349" y="194"/>
                </a:cubicBezTo>
                <a:cubicBezTo>
                  <a:pt x="339" y="187"/>
                  <a:pt x="321" y="194"/>
                  <a:pt x="310" y="198"/>
                </a:cubicBezTo>
                <a:cubicBezTo>
                  <a:pt x="305" y="200"/>
                  <a:pt x="295" y="206"/>
                  <a:pt x="290" y="203"/>
                </a:cubicBezTo>
                <a:cubicBezTo>
                  <a:pt x="284" y="199"/>
                  <a:pt x="284" y="189"/>
                  <a:pt x="283" y="183"/>
                </a:cubicBezTo>
                <a:cubicBezTo>
                  <a:pt x="280" y="175"/>
                  <a:pt x="269" y="174"/>
                  <a:pt x="261" y="172"/>
                </a:cubicBezTo>
                <a:cubicBezTo>
                  <a:pt x="248" y="168"/>
                  <a:pt x="237" y="172"/>
                  <a:pt x="225" y="175"/>
                </a:cubicBezTo>
                <a:cubicBezTo>
                  <a:pt x="212" y="178"/>
                  <a:pt x="196" y="174"/>
                  <a:pt x="200" y="158"/>
                </a:cubicBezTo>
                <a:cubicBezTo>
                  <a:pt x="202" y="152"/>
                  <a:pt x="205" y="148"/>
                  <a:pt x="202" y="141"/>
                </a:cubicBezTo>
                <a:cubicBezTo>
                  <a:pt x="200" y="135"/>
                  <a:pt x="192" y="136"/>
                  <a:pt x="191" y="128"/>
                </a:cubicBezTo>
                <a:cubicBezTo>
                  <a:pt x="190" y="122"/>
                  <a:pt x="197" y="112"/>
                  <a:pt x="189" y="107"/>
                </a:cubicBezTo>
                <a:cubicBezTo>
                  <a:pt x="184" y="104"/>
                  <a:pt x="178" y="109"/>
                  <a:pt x="173" y="106"/>
                </a:cubicBezTo>
                <a:cubicBezTo>
                  <a:pt x="174" y="100"/>
                  <a:pt x="181" y="97"/>
                  <a:pt x="182" y="90"/>
                </a:cubicBezTo>
                <a:cubicBezTo>
                  <a:pt x="183" y="82"/>
                  <a:pt x="182" y="73"/>
                  <a:pt x="186" y="66"/>
                </a:cubicBezTo>
                <a:cubicBezTo>
                  <a:pt x="188" y="63"/>
                  <a:pt x="192" y="61"/>
                  <a:pt x="193" y="58"/>
                </a:cubicBezTo>
                <a:cubicBezTo>
                  <a:pt x="194" y="56"/>
                  <a:pt x="192" y="54"/>
                  <a:pt x="193" y="52"/>
                </a:cubicBezTo>
                <a:cubicBezTo>
                  <a:pt x="196" y="44"/>
                  <a:pt x="206" y="40"/>
                  <a:pt x="210" y="33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219" y="25"/>
                  <a:pt x="221" y="21"/>
                  <a:pt x="226" y="20"/>
                </a:cubicBezTo>
                <a:cubicBezTo>
                  <a:pt x="230" y="19"/>
                  <a:pt x="235" y="13"/>
                  <a:pt x="235" y="13"/>
                </a:cubicBezTo>
                <a:cubicBezTo>
                  <a:pt x="235" y="13"/>
                  <a:pt x="235" y="0"/>
                  <a:pt x="227" y="2"/>
                </a:cubicBezTo>
                <a:cubicBezTo>
                  <a:pt x="219" y="4"/>
                  <a:pt x="204" y="13"/>
                  <a:pt x="204" y="13"/>
                </a:cubicBezTo>
                <a:cubicBezTo>
                  <a:pt x="204" y="13"/>
                  <a:pt x="203" y="21"/>
                  <a:pt x="194" y="25"/>
                </a:cubicBezTo>
                <a:cubicBezTo>
                  <a:pt x="185" y="30"/>
                  <a:pt x="174" y="34"/>
                  <a:pt x="169" y="36"/>
                </a:cubicBezTo>
                <a:cubicBezTo>
                  <a:pt x="163" y="39"/>
                  <a:pt x="162" y="44"/>
                  <a:pt x="153" y="40"/>
                </a:cubicBezTo>
                <a:cubicBezTo>
                  <a:pt x="144" y="36"/>
                  <a:pt x="141" y="37"/>
                  <a:pt x="141" y="37"/>
                </a:cubicBezTo>
                <a:cubicBezTo>
                  <a:pt x="141" y="37"/>
                  <a:pt x="146" y="54"/>
                  <a:pt x="138" y="55"/>
                </a:cubicBezTo>
                <a:cubicBezTo>
                  <a:pt x="131" y="57"/>
                  <a:pt x="125" y="51"/>
                  <a:pt x="125" y="51"/>
                </a:cubicBezTo>
                <a:cubicBezTo>
                  <a:pt x="125" y="51"/>
                  <a:pt x="127" y="35"/>
                  <a:pt x="120" y="45"/>
                </a:cubicBezTo>
                <a:cubicBezTo>
                  <a:pt x="114" y="55"/>
                  <a:pt x="93" y="69"/>
                  <a:pt x="97" y="75"/>
                </a:cubicBezTo>
                <a:cubicBezTo>
                  <a:pt x="101" y="81"/>
                  <a:pt x="103" y="89"/>
                  <a:pt x="103" y="89"/>
                </a:cubicBezTo>
                <a:cubicBezTo>
                  <a:pt x="94" y="100"/>
                  <a:pt x="94" y="100"/>
                  <a:pt x="94" y="100"/>
                </a:cubicBezTo>
                <a:cubicBezTo>
                  <a:pt x="94" y="100"/>
                  <a:pt x="84" y="102"/>
                  <a:pt x="79" y="105"/>
                </a:cubicBezTo>
                <a:cubicBezTo>
                  <a:pt x="74" y="109"/>
                  <a:pt x="67" y="114"/>
                  <a:pt x="69" y="118"/>
                </a:cubicBezTo>
                <a:cubicBezTo>
                  <a:pt x="71" y="123"/>
                  <a:pt x="66" y="127"/>
                  <a:pt x="66" y="127"/>
                </a:cubicBezTo>
                <a:cubicBezTo>
                  <a:pt x="66" y="127"/>
                  <a:pt x="68" y="141"/>
                  <a:pt x="64" y="140"/>
                </a:cubicBezTo>
                <a:cubicBezTo>
                  <a:pt x="62" y="139"/>
                  <a:pt x="59" y="137"/>
                  <a:pt x="57" y="134"/>
                </a:cubicBezTo>
                <a:cubicBezTo>
                  <a:pt x="56" y="133"/>
                  <a:pt x="56" y="133"/>
                  <a:pt x="56" y="133"/>
                </a:cubicBezTo>
                <a:cubicBezTo>
                  <a:pt x="55" y="137"/>
                  <a:pt x="57" y="142"/>
                  <a:pt x="55" y="146"/>
                </a:cubicBezTo>
                <a:cubicBezTo>
                  <a:pt x="54" y="149"/>
                  <a:pt x="50" y="153"/>
                  <a:pt x="48" y="156"/>
                </a:cubicBezTo>
                <a:cubicBezTo>
                  <a:pt x="44" y="160"/>
                  <a:pt x="37" y="165"/>
                  <a:pt x="32" y="16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31" y="166"/>
                  <a:pt x="31" y="166"/>
                  <a:pt x="31" y="166"/>
                </a:cubicBezTo>
                <a:cubicBezTo>
                  <a:pt x="33" y="166"/>
                  <a:pt x="34" y="167"/>
                  <a:pt x="36" y="169"/>
                </a:cubicBezTo>
                <a:cubicBezTo>
                  <a:pt x="40" y="175"/>
                  <a:pt x="37" y="175"/>
                  <a:pt x="41" y="183"/>
                </a:cubicBezTo>
                <a:cubicBezTo>
                  <a:pt x="45" y="191"/>
                  <a:pt x="49" y="193"/>
                  <a:pt x="48" y="199"/>
                </a:cubicBezTo>
                <a:cubicBezTo>
                  <a:pt x="47" y="204"/>
                  <a:pt x="41" y="205"/>
                  <a:pt x="44" y="213"/>
                </a:cubicBezTo>
                <a:cubicBezTo>
                  <a:pt x="47" y="221"/>
                  <a:pt x="48" y="235"/>
                  <a:pt x="50" y="240"/>
                </a:cubicBezTo>
                <a:cubicBezTo>
                  <a:pt x="52" y="245"/>
                  <a:pt x="47" y="249"/>
                  <a:pt x="49" y="256"/>
                </a:cubicBezTo>
                <a:cubicBezTo>
                  <a:pt x="51" y="263"/>
                  <a:pt x="58" y="270"/>
                  <a:pt x="56" y="276"/>
                </a:cubicBezTo>
                <a:cubicBezTo>
                  <a:pt x="53" y="282"/>
                  <a:pt x="46" y="283"/>
                  <a:pt x="44" y="290"/>
                </a:cubicBezTo>
                <a:cubicBezTo>
                  <a:pt x="42" y="297"/>
                  <a:pt x="42" y="297"/>
                  <a:pt x="39" y="305"/>
                </a:cubicBezTo>
                <a:cubicBezTo>
                  <a:pt x="35" y="313"/>
                  <a:pt x="33" y="314"/>
                  <a:pt x="28" y="314"/>
                </a:cubicBezTo>
                <a:cubicBezTo>
                  <a:pt x="23" y="315"/>
                  <a:pt x="22" y="302"/>
                  <a:pt x="15" y="313"/>
                </a:cubicBezTo>
                <a:cubicBezTo>
                  <a:pt x="9" y="324"/>
                  <a:pt x="12" y="327"/>
                  <a:pt x="11" y="330"/>
                </a:cubicBezTo>
                <a:cubicBezTo>
                  <a:pt x="11" y="333"/>
                  <a:pt x="7" y="334"/>
                  <a:pt x="3" y="336"/>
                </a:cubicBezTo>
                <a:cubicBezTo>
                  <a:pt x="0" y="338"/>
                  <a:pt x="2" y="345"/>
                  <a:pt x="2" y="349"/>
                </a:cubicBezTo>
                <a:cubicBezTo>
                  <a:pt x="3" y="349"/>
                  <a:pt x="3" y="349"/>
                  <a:pt x="3" y="349"/>
                </a:cubicBezTo>
                <a:cubicBezTo>
                  <a:pt x="13" y="355"/>
                  <a:pt x="23" y="364"/>
                  <a:pt x="32" y="370"/>
                </a:cubicBezTo>
                <a:cubicBezTo>
                  <a:pt x="36" y="373"/>
                  <a:pt x="39" y="376"/>
                  <a:pt x="44" y="376"/>
                </a:cubicBezTo>
                <a:cubicBezTo>
                  <a:pt x="51" y="377"/>
                  <a:pt x="51" y="374"/>
                  <a:pt x="58" y="379"/>
                </a:cubicBezTo>
                <a:cubicBezTo>
                  <a:pt x="63" y="381"/>
                  <a:pt x="65" y="385"/>
                  <a:pt x="71" y="386"/>
                </a:cubicBezTo>
                <a:cubicBezTo>
                  <a:pt x="77" y="386"/>
                  <a:pt x="84" y="379"/>
                  <a:pt x="91" y="380"/>
                </a:cubicBezTo>
                <a:cubicBezTo>
                  <a:pt x="103" y="381"/>
                  <a:pt x="116" y="394"/>
                  <a:pt x="127" y="399"/>
                </a:cubicBezTo>
                <a:cubicBezTo>
                  <a:pt x="138" y="404"/>
                  <a:pt x="153" y="411"/>
                  <a:pt x="159" y="422"/>
                </a:cubicBezTo>
                <a:cubicBezTo>
                  <a:pt x="165" y="434"/>
                  <a:pt x="170" y="449"/>
                  <a:pt x="178" y="460"/>
                </a:cubicBezTo>
                <a:cubicBezTo>
                  <a:pt x="185" y="470"/>
                  <a:pt x="197" y="464"/>
                  <a:pt x="208" y="461"/>
                </a:cubicBezTo>
                <a:cubicBezTo>
                  <a:pt x="212" y="460"/>
                  <a:pt x="218" y="457"/>
                  <a:pt x="223" y="458"/>
                </a:cubicBezTo>
                <a:cubicBezTo>
                  <a:pt x="229" y="459"/>
                  <a:pt x="232" y="464"/>
                  <a:pt x="237" y="464"/>
                </a:cubicBezTo>
                <a:cubicBezTo>
                  <a:pt x="241" y="465"/>
                  <a:pt x="246" y="462"/>
                  <a:pt x="251" y="463"/>
                </a:cubicBezTo>
                <a:cubicBezTo>
                  <a:pt x="257" y="464"/>
                  <a:pt x="262" y="464"/>
                  <a:pt x="265" y="469"/>
                </a:cubicBezTo>
                <a:cubicBezTo>
                  <a:pt x="270" y="477"/>
                  <a:pt x="264" y="494"/>
                  <a:pt x="261" y="502"/>
                </a:cubicBezTo>
                <a:cubicBezTo>
                  <a:pt x="267" y="507"/>
                  <a:pt x="276" y="512"/>
                  <a:pt x="279" y="520"/>
                </a:cubicBezTo>
                <a:cubicBezTo>
                  <a:pt x="282" y="517"/>
                  <a:pt x="282" y="503"/>
                  <a:pt x="283" y="497"/>
                </a:cubicBezTo>
                <a:cubicBezTo>
                  <a:pt x="285" y="484"/>
                  <a:pt x="288" y="472"/>
                  <a:pt x="290" y="460"/>
                </a:cubicBezTo>
                <a:cubicBezTo>
                  <a:pt x="292" y="451"/>
                  <a:pt x="293" y="442"/>
                  <a:pt x="296" y="432"/>
                </a:cubicBezTo>
                <a:cubicBezTo>
                  <a:pt x="297" y="426"/>
                  <a:pt x="299" y="418"/>
                  <a:pt x="296" y="413"/>
                </a:cubicBezTo>
                <a:cubicBezTo>
                  <a:pt x="289" y="400"/>
                  <a:pt x="272" y="397"/>
                  <a:pt x="275" y="379"/>
                </a:cubicBezTo>
                <a:cubicBezTo>
                  <a:pt x="277" y="366"/>
                  <a:pt x="291" y="367"/>
                  <a:pt x="301" y="373"/>
                </a:cubicBezTo>
                <a:cubicBezTo>
                  <a:pt x="301" y="369"/>
                  <a:pt x="300" y="365"/>
                  <a:pt x="298" y="362"/>
                </a:cubicBezTo>
                <a:cubicBezTo>
                  <a:pt x="294" y="357"/>
                  <a:pt x="289" y="359"/>
                  <a:pt x="285" y="356"/>
                </a:cubicBezTo>
                <a:cubicBezTo>
                  <a:pt x="274" y="348"/>
                  <a:pt x="288" y="332"/>
                  <a:pt x="300" y="333"/>
                </a:cubicBezTo>
                <a:cubicBezTo>
                  <a:pt x="307" y="334"/>
                  <a:pt x="316" y="339"/>
                  <a:pt x="324" y="338"/>
                </a:cubicBezTo>
                <a:cubicBezTo>
                  <a:pt x="327" y="338"/>
                  <a:pt x="329" y="337"/>
                  <a:pt x="331" y="337"/>
                </a:cubicBezTo>
                <a:cubicBezTo>
                  <a:pt x="333" y="336"/>
                  <a:pt x="334" y="334"/>
                  <a:pt x="337" y="334"/>
                </a:cubicBezTo>
                <a:cubicBezTo>
                  <a:pt x="338" y="334"/>
                  <a:pt x="339" y="335"/>
                  <a:pt x="340" y="335"/>
                </a:cubicBezTo>
                <a:cubicBezTo>
                  <a:pt x="350" y="334"/>
                  <a:pt x="356" y="328"/>
                  <a:pt x="363" y="324"/>
                </a:cubicBezTo>
                <a:lnTo>
                  <a:pt x="366" y="3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50" name="Freeform 383"/>
          <p:cNvSpPr>
            <a:spLocks/>
          </p:cNvSpPr>
          <p:nvPr userDrawn="1"/>
        </p:nvSpPr>
        <p:spPr bwMode="auto">
          <a:xfrm>
            <a:off x="3571001" y="5160430"/>
            <a:ext cx="170860" cy="192636"/>
          </a:xfrm>
          <a:custGeom>
            <a:avLst/>
            <a:gdLst>
              <a:gd name="T0" fmla="*/ 2147483646 w 183"/>
              <a:gd name="T1" fmla="*/ 2147483646 h 206"/>
              <a:gd name="T2" fmla="*/ 2147483646 w 183"/>
              <a:gd name="T3" fmla="*/ 2147483646 h 206"/>
              <a:gd name="T4" fmla="*/ 2147483646 w 183"/>
              <a:gd name="T5" fmla="*/ 2147483646 h 206"/>
              <a:gd name="T6" fmla="*/ 2147483646 w 183"/>
              <a:gd name="T7" fmla="*/ 2147483646 h 206"/>
              <a:gd name="T8" fmla="*/ 2147483646 w 183"/>
              <a:gd name="T9" fmla="*/ 2147483646 h 206"/>
              <a:gd name="T10" fmla="*/ 2147483646 w 183"/>
              <a:gd name="T11" fmla="*/ 2147483646 h 206"/>
              <a:gd name="T12" fmla="*/ 2147483646 w 183"/>
              <a:gd name="T13" fmla="*/ 2147483646 h 206"/>
              <a:gd name="T14" fmla="*/ 2147483646 w 183"/>
              <a:gd name="T15" fmla="*/ 2147483646 h 206"/>
              <a:gd name="T16" fmla="*/ 2147483646 w 183"/>
              <a:gd name="T17" fmla="*/ 2147483646 h 206"/>
              <a:gd name="T18" fmla="*/ 2147483646 w 183"/>
              <a:gd name="T19" fmla="*/ 2147483646 h 206"/>
              <a:gd name="T20" fmla="*/ 2147483646 w 183"/>
              <a:gd name="T21" fmla="*/ 2147483646 h 206"/>
              <a:gd name="T22" fmla="*/ 2147483646 w 183"/>
              <a:gd name="T23" fmla="*/ 2147483646 h 206"/>
              <a:gd name="T24" fmla="*/ 2147483646 w 183"/>
              <a:gd name="T25" fmla="*/ 2147483646 h 206"/>
              <a:gd name="T26" fmla="*/ 2147483646 w 183"/>
              <a:gd name="T27" fmla="*/ 2147483646 h 206"/>
              <a:gd name="T28" fmla="*/ 2147483646 w 183"/>
              <a:gd name="T29" fmla="*/ 2147483646 h 206"/>
              <a:gd name="T30" fmla="*/ 2147483646 w 183"/>
              <a:gd name="T31" fmla="*/ 2147483646 h 206"/>
              <a:gd name="T32" fmla="*/ 2147483646 w 183"/>
              <a:gd name="T33" fmla="*/ 2147483646 h 206"/>
              <a:gd name="T34" fmla="*/ 2147483646 w 183"/>
              <a:gd name="T35" fmla="*/ 2147483646 h 206"/>
              <a:gd name="T36" fmla="*/ 2147483646 w 183"/>
              <a:gd name="T37" fmla="*/ 2147483646 h 206"/>
              <a:gd name="T38" fmla="*/ 2147483646 w 183"/>
              <a:gd name="T39" fmla="*/ 2147483646 h 206"/>
              <a:gd name="T40" fmla="*/ 2147483646 w 183"/>
              <a:gd name="T41" fmla="*/ 0 h 206"/>
              <a:gd name="T42" fmla="*/ 2147483646 w 183"/>
              <a:gd name="T43" fmla="*/ 2147483646 h 206"/>
              <a:gd name="T44" fmla="*/ 2147483646 w 183"/>
              <a:gd name="T45" fmla="*/ 2147483646 h 206"/>
              <a:gd name="T46" fmla="*/ 2147483646 w 183"/>
              <a:gd name="T47" fmla="*/ 2147483646 h 206"/>
              <a:gd name="T48" fmla="*/ 2147483646 w 183"/>
              <a:gd name="T49" fmla="*/ 2147483646 h 206"/>
              <a:gd name="T50" fmla="*/ 2147483646 w 183"/>
              <a:gd name="T51" fmla="*/ 2147483646 h 206"/>
              <a:gd name="T52" fmla="*/ 2147483646 w 183"/>
              <a:gd name="T53" fmla="*/ 2147483646 h 206"/>
              <a:gd name="T54" fmla="*/ 2147483646 w 183"/>
              <a:gd name="T55" fmla="*/ 2147483646 h 206"/>
              <a:gd name="T56" fmla="*/ 2147483646 w 183"/>
              <a:gd name="T57" fmla="*/ 2147483646 h 206"/>
              <a:gd name="T58" fmla="*/ 2147483646 w 183"/>
              <a:gd name="T59" fmla="*/ 2147483646 h 206"/>
              <a:gd name="T60" fmla="*/ 2147483646 w 183"/>
              <a:gd name="T61" fmla="*/ 2147483646 h 206"/>
              <a:gd name="T62" fmla="*/ 2147483646 w 183"/>
              <a:gd name="T63" fmla="*/ 2147483646 h 206"/>
              <a:gd name="T64" fmla="*/ 2147483646 w 183"/>
              <a:gd name="T65" fmla="*/ 2147483646 h 206"/>
              <a:gd name="T66" fmla="*/ 2147483646 w 183"/>
              <a:gd name="T67" fmla="*/ 2147483646 h 206"/>
              <a:gd name="T68" fmla="*/ 2147483646 w 183"/>
              <a:gd name="T69" fmla="*/ 2147483646 h 206"/>
              <a:gd name="T70" fmla="*/ 2147483646 w 183"/>
              <a:gd name="T71" fmla="*/ 2147483646 h 206"/>
              <a:gd name="T72" fmla="*/ 2147483646 w 183"/>
              <a:gd name="T73" fmla="*/ 2147483646 h 20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83"/>
              <a:gd name="T112" fmla="*/ 0 h 206"/>
              <a:gd name="T113" fmla="*/ 183 w 183"/>
              <a:gd name="T114" fmla="*/ 206 h 20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83" h="206">
                <a:moveTo>
                  <a:pt x="14" y="153"/>
                </a:moveTo>
                <a:cubicBezTo>
                  <a:pt x="15" y="156"/>
                  <a:pt x="16" y="159"/>
                  <a:pt x="15" y="162"/>
                </a:cubicBezTo>
                <a:cubicBezTo>
                  <a:pt x="13" y="168"/>
                  <a:pt x="6" y="175"/>
                  <a:pt x="10" y="180"/>
                </a:cubicBezTo>
                <a:cubicBezTo>
                  <a:pt x="12" y="182"/>
                  <a:pt x="20" y="184"/>
                  <a:pt x="23" y="184"/>
                </a:cubicBezTo>
                <a:cubicBezTo>
                  <a:pt x="27" y="185"/>
                  <a:pt x="33" y="182"/>
                  <a:pt x="36" y="183"/>
                </a:cubicBezTo>
                <a:cubicBezTo>
                  <a:pt x="40" y="184"/>
                  <a:pt x="41" y="187"/>
                  <a:pt x="44" y="191"/>
                </a:cubicBezTo>
                <a:cubicBezTo>
                  <a:pt x="51" y="200"/>
                  <a:pt x="56" y="206"/>
                  <a:pt x="65" y="195"/>
                </a:cubicBezTo>
                <a:cubicBezTo>
                  <a:pt x="74" y="184"/>
                  <a:pt x="80" y="169"/>
                  <a:pt x="86" y="156"/>
                </a:cubicBezTo>
                <a:cubicBezTo>
                  <a:pt x="92" y="143"/>
                  <a:pt x="95" y="145"/>
                  <a:pt x="108" y="143"/>
                </a:cubicBezTo>
                <a:cubicBezTo>
                  <a:pt x="122" y="140"/>
                  <a:pt x="135" y="129"/>
                  <a:pt x="146" y="119"/>
                </a:cubicBezTo>
                <a:cubicBezTo>
                  <a:pt x="158" y="109"/>
                  <a:pt x="168" y="95"/>
                  <a:pt x="176" y="81"/>
                </a:cubicBezTo>
                <a:cubicBezTo>
                  <a:pt x="180" y="74"/>
                  <a:pt x="183" y="70"/>
                  <a:pt x="182" y="63"/>
                </a:cubicBezTo>
                <a:cubicBezTo>
                  <a:pt x="181" y="55"/>
                  <a:pt x="176" y="44"/>
                  <a:pt x="170" y="39"/>
                </a:cubicBezTo>
                <a:cubicBezTo>
                  <a:pt x="165" y="34"/>
                  <a:pt x="165" y="34"/>
                  <a:pt x="165" y="34"/>
                </a:cubicBezTo>
                <a:cubicBezTo>
                  <a:pt x="162" y="32"/>
                  <a:pt x="159" y="31"/>
                  <a:pt x="156" y="31"/>
                </a:cubicBezTo>
                <a:cubicBezTo>
                  <a:pt x="149" y="30"/>
                  <a:pt x="142" y="37"/>
                  <a:pt x="136" y="36"/>
                </a:cubicBezTo>
                <a:cubicBezTo>
                  <a:pt x="130" y="36"/>
                  <a:pt x="128" y="32"/>
                  <a:pt x="123" y="30"/>
                </a:cubicBezTo>
                <a:cubicBezTo>
                  <a:pt x="116" y="25"/>
                  <a:pt x="116" y="28"/>
                  <a:pt x="109" y="27"/>
                </a:cubicBezTo>
                <a:cubicBezTo>
                  <a:pt x="104" y="27"/>
                  <a:pt x="101" y="24"/>
                  <a:pt x="97" y="21"/>
                </a:cubicBezTo>
                <a:cubicBezTo>
                  <a:pt x="88" y="15"/>
                  <a:pt x="79" y="6"/>
                  <a:pt x="69" y="1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1"/>
                  <a:pt x="67" y="1"/>
                  <a:pt x="66" y="2"/>
                </a:cubicBezTo>
                <a:cubicBezTo>
                  <a:pt x="64" y="5"/>
                  <a:pt x="52" y="9"/>
                  <a:pt x="50" y="9"/>
                </a:cubicBezTo>
                <a:cubicBezTo>
                  <a:pt x="49" y="9"/>
                  <a:pt x="46" y="7"/>
                  <a:pt x="40" y="10"/>
                </a:cubicBezTo>
                <a:cubicBezTo>
                  <a:pt x="34" y="14"/>
                  <a:pt x="29" y="26"/>
                  <a:pt x="30" y="32"/>
                </a:cubicBezTo>
                <a:cubicBezTo>
                  <a:pt x="31" y="37"/>
                  <a:pt x="29" y="50"/>
                  <a:pt x="25" y="51"/>
                </a:cubicBezTo>
                <a:cubicBezTo>
                  <a:pt x="22" y="52"/>
                  <a:pt x="14" y="51"/>
                  <a:pt x="13" y="56"/>
                </a:cubicBezTo>
                <a:cubicBezTo>
                  <a:pt x="11" y="62"/>
                  <a:pt x="11" y="75"/>
                  <a:pt x="11" y="79"/>
                </a:cubicBezTo>
                <a:cubicBezTo>
                  <a:pt x="12" y="83"/>
                  <a:pt x="7" y="89"/>
                  <a:pt x="6" y="92"/>
                </a:cubicBezTo>
                <a:cubicBezTo>
                  <a:pt x="5" y="94"/>
                  <a:pt x="7" y="102"/>
                  <a:pt x="6" y="104"/>
                </a:cubicBezTo>
                <a:cubicBezTo>
                  <a:pt x="5" y="107"/>
                  <a:pt x="0" y="112"/>
                  <a:pt x="5" y="114"/>
                </a:cubicBezTo>
                <a:cubicBezTo>
                  <a:pt x="9" y="115"/>
                  <a:pt x="13" y="114"/>
                  <a:pt x="18" y="115"/>
                </a:cubicBezTo>
                <a:cubicBezTo>
                  <a:pt x="22" y="116"/>
                  <a:pt x="35" y="100"/>
                  <a:pt x="37" y="108"/>
                </a:cubicBezTo>
                <a:cubicBezTo>
                  <a:pt x="39" y="117"/>
                  <a:pt x="36" y="118"/>
                  <a:pt x="36" y="125"/>
                </a:cubicBezTo>
                <a:cubicBezTo>
                  <a:pt x="35" y="131"/>
                  <a:pt x="30" y="140"/>
                  <a:pt x="27" y="143"/>
                </a:cubicBezTo>
                <a:cubicBezTo>
                  <a:pt x="24" y="147"/>
                  <a:pt x="15" y="147"/>
                  <a:pt x="14" y="151"/>
                </a:cubicBezTo>
                <a:lnTo>
                  <a:pt x="14" y="15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51" name="Freeform 384"/>
          <p:cNvSpPr>
            <a:spLocks/>
          </p:cNvSpPr>
          <p:nvPr userDrawn="1"/>
        </p:nvSpPr>
        <p:spPr bwMode="auto">
          <a:xfrm>
            <a:off x="3554250" y="5193932"/>
            <a:ext cx="371871" cy="531005"/>
          </a:xfrm>
          <a:custGeom>
            <a:avLst/>
            <a:gdLst>
              <a:gd name="T0" fmla="*/ 2147483646 w 400"/>
              <a:gd name="T1" fmla="*/ 2147483646 h 569"/>
              <a:gd name="T2" fmla="*/ 2147483646 w 400"/>
              <a:gd name="T3" fmla="*/ 2147483646 h 569"/>
              <a:gd name="T4" fmla="*/ 2147483646 w 400"/>
              <a:gd name="T5" fmla="*/ 2147483646 h 569"/>
              <a:gd name="T6" fmla="*/ 2147483646 w 400"/>
              <a:gd name="T7" fmla="*/ 2147483646 h 569"/>
              <a:gd name="T8" fmla="*/ 2147483646 w 400"/>
              <a:gd name="T9" fmla="*/ 2147483646 h 569"/>
              <a:gd name="T10" fmla="*/ 2147483646 w 400"/>
              <a:gd name="T11" fmla="*/ 2147483646 h 569"/>
              <a:gd name="T12" fmla="*/ 2147483646 w 400"/>
              <a:gd name="T13" fmla="*/ 2147483646 h 569"/>
              <a:gd name="T14" fmla="*/ 2147483646 w 400"/>
              <a:gd name="T15" fmla="*/ 2147483646 h 569"/>
              <a:gd name="T16" fmla="*/ 2147483646 w 400"/>
              <a:gd name="T17" fmla="*/ 2147483646 h 569"/>
              <a:gd name="T18" fmla="*/ 2147483646 w 400"/>
              <a:gd name="T19" fmla="*/ 2147483646 h 569"/>
              <a:gd name="T20" fmla="*/ 2147483646 w 400"/>
              <a:gd name="T21" fmla="*/ 2147483646 h 569"/>
              <a:gd name="T22" fmla="*/ 2147483646 w 400"/>
              <a:gd name="T23" fmla="*/ 2147483646 h 569"/>
              <a:gd name="T24" fmla="*/ 2147483646 w 400"/>
              <a:gd name="T25" fmla="*/ 2147483646 h 569"/>
              <a:gd name="T26" fmla="*/ 2147483646 w 400"/>
              <a:gd name="T27" fmla="*/ 2147483646 h 569"/>
              <a:gd name="T28" fmla="*/ 2147483646 w 400"/>
              <a:gd name="T29" fmla="*/ 2147483646 h 569"/>
              <a:gd name="T30" fmla="*/ 2147483646 w 400"/>
              <a:gd name="T31" fmla="*/ 2147483646 h 569"/>
              <a:gd name="T32" fmla="*/ 2147483646 w 400"/>
              <a:gd name="T33" fmla="*/ 2147483646 h 569"/>
              <a:gd name="T34" fmla="*/ 2147483646 w 400"/>
              <a:gd name="T35" fmla="*/ 2147483646 h 569"/>
              <a:gd name="T36" fmla="*/ 2147483646 w 400"/>
              <a:gd name="T37" fmla="*/ 2147483646 h 569"/>
              <a:gd name="T38" fmla="*/ 2147483646 w 400"/>
              <a:gd name="T39" fmla="*/ 2147483646 h 569"/>
              <a:gd name="T40" fmla="*/ 2147483646 w 400"/>
              <a:gd name="T41" fmla="*/ 2147483646 h 569"/>
              <a:gd name="T42" fmla="*/ 2147483646 w 400"/>
              <a:gd name="T43" fmla="*/ 2147483646 h 569"/>
              <a:gd name="T44" fmla="*/ 2147483646 w 400"/>
              <a:gd name="T45" fmla="*/ 2147483646 h 569"/>
              <a:gd name="T46" fmla="*/ 2147483646 w 400"/>
              <a:gd name="T47" fmla="*/ 2147483646 h 569"/>
              <a:gd name="T48" fmla="*/ 2147483646 w 400"/>
              <a:gd name="T49" fmla="*/ 2147483646 h 569"/>
              <a:gd name="T50" fmla="*/ 2147483646 w 400"/>
              <a:gd name="T51" fmla="*/ 2147483646 h 569"/>
              <a:gd name="T52" fmla="*/ 2147483646 w 400"/>
              <a:gd name="T53" fmla="*/ 2147483646 h 569"/>
              <a:gd name="T54" fmla="*/ 2147483646 w 400"/>
              <a:gd name="T55" fmla="*/ 2147483646 h 569"/>
              <a:gd name="T56" fmla="*/ 2147483646 w 400"/>
              <a:gd name="T57" fmla="*/ 2147483646 h 569"/>
              <a:gd name="T58" fmla="*/ 2147483646 w 400"/>
              <a:gd name="T59" fmla="*/ 2147483646 h 569"/>
              <a:gd name="T60" fmla="*/ 2147483646 w 400"/>
              <a:gd name="T61" fmla="*/ 2147483646 h 569"/>
              <a:gd name="T62" fmla="*/ 2147483646 w 400"/>
              <a:gd name="T63" fmla="*/ 2147483646 h 569"/>
              <a:gd name="T64" fmla="*/ 2147483646 w 400"/>
              <a:gd name="T65" fmla="*/ 2147483646 h 569"/>
              <a:gd name="T66" fmla="*/ 2147483646 w 400"/>
              <a:gd name="T67" fmla="*/ 2147483646 h 56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00"/>
              <a:gd name="T103" fmla="*/ 0 h 569"/>
              <a:gd name="T104" fmla="*/ 400 w 400"/>
              <a:gd name="T105" fmla="*/ 569 h 56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00" h="569">
                <a:moveTo>
                  <a:pt x="349" y="565"/>
                </a:moveTo>
                <a:cubicBezTo>
                  <a:pt x="349" y="567"/>
                  <a:pt x="348" y="569"/>
                  <a:pt x="336" y="564"/>
                </a:cubicBezTo>
                <a:cubicBezTo>
                  <a:pt x="320" y="557"/>
                  <a:pt x="323" y="553"/>
                  <a:pt x="316" y="538"/>
                </a:cubicBezTo>
                <a:cubicBezTo>
                  <a:pt x="309" y="524"/>
                  <a:pt x="296" y="526"/>
                  <a:pt x="279" y="516"/>
                </a:cubicBezTo>
                <a:cubicBezTo>
                  <a:pt x="263" y="507"/>
                  <a:pt x="226" y="500"/>
                  <a:pt x="219" y="493"/>
                </a:cubicBezTo>
                <a:cubicBezTo>
                  <a:pt x="212" y="485"/>
                  <a:pt x="201" y="482"/>
                  <a:pt x="193" y="476"/>
                </a:cubicBezTo>
                <a:cubicBezTo>
                  <a:pt x="186" y="471"/>
                  <a:pt x="162" y="423"/>
                  <a:pt x="162" y="407"/>
                </a:cubicBezTo>
                <a:cubicBezTo>
                  <a:pt x="162" y="390"/>
                  <a:pt x="146" y="383"/>
                  <a:pt x="139" y="374"/>
                </a:cubicBezTo>
                <a:cubicBezTo>
                  <a:pt x="131" y="364"/>
                  <a:pt x="115" y="335"/>
                  <a:pt x="115" y="335"/>
                </a:cubicBezTo>
                <a:cubicBezTo>
                  <a:pt x="115" y="335"/>
                  <a:pt x="73" y="258"/>
                  <a:pt x="65" y="251"/>
                </a:cubicBezTo>
                <a:cubicBezTo>
                  <a:pt x="58" y="244"/>
                  <a:pt x="53" y="225"/>
                  <a:pt x="47" y="218"/>
                </a:cubicBezTo>
                <a:cubicBezTo>
                  <a:pt x="42" y="211"/>
                  <a:pt x="20" y="203"/>
                  <a:pt x="11" y="200"/>
                </a:cubicBezTo>
                <a:cubicBezTo>
                  <a:pt x="1" y="196"/>
                  <a:pt x="14" y="191"/>
                  <a:pt x="22" y="187"/>
                </a:cubicBezTo>
                <a:cubicBezTo>
                  <a:pt x="29" y="183"/>
                  <a:pt x="11" y="161"/>
                  <a:pt x="5" y="156"/>
                </a:cubicBezTo>
                <a:cubicBezTo>
                  <a:pt x="0" y="150"/>
                  <a:pt x="0" y="134"/>
                  <a:pt x="13" y="130"/>
                </a:cubicBezTo>
                <a:cubicBezTo>
                  <a:pt x="24" y="127"/>
                  <a:pt x="30" y="122"/>
                  <a:pt x="32" y="118"/>
                </a:cubicBezTo>
                <a:cubicBezTo>
                  <a:pt x="33" y="117"/>
                  <a:pt x="33" y="117"/>
                  <a:pt x="33" y="117"/>
                </a:cubicBezTo>
                <a:cubicBezTo>
                  <a:pt x="33" y="119"/>
                  <a:pt x="33" y="119"/>
                  <a:pt x="33" y="119"/>
                </a:cubicBezTo>
                <a:cubicBezTo>
                  <a:pt x="34" y="122"/>
                  <a:pt x="33" y="124"/>
                  <a:pt x="33" y="127"/>
                </a:cubicBezTo>
                <a:cubicBezTo>
                  <a:pt x="31" y="132"/>
                  <a:pt x="24" y="139"/>
                  <a:pt x="29" y="145"/>
                </a:cubicBezTo>
                <a:cubicBezTo>
                  <a:pt x="30" y="147"/>
                  <a:pt x="38" y="148"/>
                  <a:pt x="41" y="149"/>
                </a:cubicBezTo>
                <a:cubicBezTo>
                  <a:pt x="45" y="149"/>
                  <a:pt x="51" y="146"/>
                  <a:pt x="54" y="147"/>
                </a:cubicBezTo>
                <a:cubicBezTo>
                  <a:pt x="58" y="148"/>
                  <a:pt x="59" y="151"/>
                  <a:pt x="62" y="155"/>
                </a:cubicBezTo>
                <a:cubicBezTo>
                  <a:pt x="69" y="164"/>
                  <a:pt x="75" y="170"/>
                  <a:pt x="83" y="159"/>
                </a:cubicBezTo>
                <a:cubicBezTo>
                  <a:pt x="92" y="148"/>
                  <a:pt x="98" y="133"/>
                  <a:pt x="104" y="121"/>
                </a:cubicBezTo>
                <a:cubicBezTo>
                  <a:pt x="111" y="108"/>
                  <a:pt x="113" y="110"/>
                  <a:pt x="126" y="107"/>
                </a:cubicBezTo>
                <a:cubicBezTo>
                  <a:pt x="141" y="104"/>
                  <a:pt x="154" y="93"/>
                  <a:pt x="164" y="84"/>
                </a:cubicBezTo>
                <a:cubicBezTo>
                  <a:pt x="176" y="73"/>
                  <a:pt x="186" y="59"/>
                  <a:pt x="194" y="45"/>
                </a:cubicBezTo>
                <a:cubicBezTo>
                  <a:pt x="198" y="38"/>
                  <a:pt x="201" y="35"/>
                  <a:pt x="200" y="27"/>
                </a:cubicBezTo>
                <a:cubicBezTo>
                  <a:pt x="199" y="19"/>
                  <a:pt x="194" y="9"/>
                  <a:pt x="189" y="3"/>
                </a:cubicBezTo>
                <a:cubicBezTo>
                  <a:pt x="187" y="0"/>
                  <a:pt x="187" y="0"/>
                  <a:pt x="187" y="0"/>
                </a:cubicBezTo>
                <a:cubicBezTo>
                  <a:pt x="195" y="5"/>
                  <a:pt x="203" y="11"/>
                  <a:pt x="210" y="14"/>
                </a:cubicBezTo>
                <a:cubicBezTo>
                  <a:pt x="221" y="19"/>
                  <a:pt x="236" y="26"/>
                  <a:pt x="242" y="38"/>
                </a:cubicBezTo>
                <a:cubicBezTo>
                  <a:pt x="249" y="50"/>
                  <a:pt x="253" y="64"/>
                  <a:pt x="261" y="75"/>
                </a:cubicBezTo>
                <a:cubicBezTo>
                  <a:pt x="268" y="86"/>
                  <a:pt x="280" y="80"/>
                  <a:pt x="291" y="77"/>
                </a:cubicBezTo>
                <a:cubicBezTo>
                  <a:pt x="295" y="75"/>
                  <a:pt x="301" y="73"/>
                  <a:pt x="306" y="73"/>
                </a:cubicBezTo>
                <a:cubicBezTo>
                  <a:pt x="312" y="74"/>
                  <a:pt x="315" y="79"/>
                  <a:pt x="320" y="80"/>
                </a:cubicBezTo>
                <a:cubicBezTo>
                  <a:pt x="325" y="80"/>
                  <a:pt x="329" y="78"/>
                  <a:pt x="334" y="78"/>
                </a:cubicBezTo>
                <a:cubicBezTo>
                  <a:pt x="340" y="79"/>
                  <a:pt x="345" y="79"/>
                  <a:pt x="349" y="85"/>
                </a:cubicBezTo>
                <a:cubicBezTo>
                  <a:pt x="353" y="93"/>
                  <a:pt x="347" y="109"/>
                  <a:pt x="344" y="117"/>
                </a:cubicBezTo>
                <a:cubicBezTo>
                  <a:pt x="349" y="122"/>
                  <a:pt x="357" y="126"/>
                  <a:pt x="360" y="132"/>
                </a:cubicBezTo>
                <a:cubicBezTo>
                  <a:pt x="358" y="134"/>
                  <a:pt x="358" y="134"/>
                  <a:pt x="358" y="134"/>
                </a:cubicBezTo>
                <a:cubicBezTo>
                  <a:pt x="354" y="138"/>
                  <a:pt x="349" y="134"/>
                  <a:pt x="344" y="135"/>
                </a:cubicBezTo>
                <a:cubicBezTo>
                  <a:pt x="336" y="135"/>
                  <a:pt x="327" y="140"/>
                  <a:pt x="321" y="143"/>
                </a:cubicBezTo>
                <a:cubicBezTo>
                  <a:pt x="315" y="145"/>
                  <a:pt x="310" y="149"/>
                  <a:pt x="305" y="152"/>
                </a:cubicBezTo>
                <a:cubicBezTo>
                  <a:pt x="296" y="157"/>
                  <a:pt x="288" y="161"/>
                  <a:pt x="279" y="167"/>
                </a:cubicBezTo>
                <a:cubicBezTo>
                  <a:pt x="273" y="173"/>
                  <a:pt x="264" y="178"/>
                  <a:pt x="260" y="185"/>
                </a:cubicBezTo>
                <a:cubicBezTo>
                  <a:pt x="256" y="192"/>
                  <a:pt x="258" y="194"/>
                  <a:pt x="259" y="200"/>
                </a:cubicBezTo>
                <a:cubicBezTo>
                  <a:pt x="260" y="202"/>
                  <a:pt x="261" y="211"/>
                  <a:pt x="259" y="213"/>
                </a:cubicBezTo>
                <a:cubicBezTo>
                  <a:pt x="257" y="217"/>
                  <a:pt x="247" y="221"/>
                  <a:pt x="243" y="226"/>
                </a:cubicBezTo>
                <a:cubicBezTo>
                  <a:pt x="234" y="239"/>
                  <a:pt x="245" y="255"/>
                  <a:pt x="252" y="268"/>
                </a:cubicBezTo>
                <a:cubicBezTo>
                  <a:pt x="256" y="274"/>
                  <a:pt x="262" y="280"/>
                  <a:pt x="265" y="287"/>
                </a:cubicBezTo>
                <a:cubicBezTo>
                  <a:pt x="268" y="292"/>
                  <a:pt x="266" y="299"/>
                  <a:pt x="274" y="299"/>
                </a:cubicBezTo>
                <a:cubicBezTo>
                  <a:pt x="277" y="299"/>
                  <a:pt x="278" y="295"/>
                  <a:pt x="281" y="296"/>
                </a:cubicBezTo>
                <a:cubicBezTo>
                  <a:pt x="285" y="296"/>
                  <a:pt x="288" y="301"/>
                  <a:pt x="290" y="303"/>
                </a:cubicBezTo>
                <a:cubicBezTo>
                  <a:pt x="294" y="310"/>
                  <a:pt x="293" y="314"/>
                  <a:pt x="302" y="314"/>
                </a:cubicBezTo>
                <a:cubicBezTo>
                  <a:pt x="319" y="314"/>
                  <a:pt x="329" y="297"/>
                  <a:pt x="343" y="291"/>
                </a:cubicBezTo>
                <a:cubicBezTo>
                  <a:pt x="344" y="305"/>
                  <a:pt x="338" y="332"/>
                  <a:pt x="346" y="344"/>
                </a:cubicBezTo>
                <a:cubicBezTo>
                  <a:pt x="348" y="347"/>
                  <a:pt x="354" y="351"/>
                  <a:pt x="358" y="352"/>
                </a:cubicBezTo>
                <a:cubicBezTo>
                  <a:pt x="366" y="354"/>
                  <a:pt x="369" y="348"/>
                  <a:pt x="376" y="352"/>
                </a:cubicBezTo>
                <a:cubicBezTo>
                  <a:pt x="381" y="355"/>
                  <a:pt x="383" y="361"/>
                  <a:pt x="386" y="365"/>
                </a:cubicBezTo>
                <a:cubicBezTo>
                  <a:pt x="389" y="372"/>
                  <a:pt x="395" y="379"/>
                  <a:pt x="397" y="385"/>
                </a:cubicBezTo>
                <a:cubicBezTo>
                  <a:pt x="400" y="395"/>
                  <a:pt x="391" y="414"/>
                  <a:pt x="389" y="426"/>
                </a:cubicBezTo>
                <a:cubicBezTo>
                  <a:pt x="388" y="438"/>
                  <a:pt x="391" y="451"/>
                  <a:pt x="387" y="462"/>
                </a:cubicBezTo>
                <a:cubicBezTo>
                  <a:pt x="384" y="472"/>
                  <a:pt x="376" y="481"/>
                  <a:pt x="383" y="489"/>
                </a:cubicBezTo>
                <a:cubicBezTo>
                  <a:pt x="390" y="497"/>
                  <a:pt x="396" y="500"/>
                  <a:pt x="389" y="511"/>
                </a:cubicBezTo>
                <a:cubicBezTo>
                  <a:pt x="383" y="520"/>
                  <a:pt x="378" y="529"/>
                  <a:pt x="374" y="539"/>
                </a:cubicBezTo>
                <a:cubicBezTo>
                  <a:pt x="371" y="547"/>
                  <a:pt x="360" y="564"/>
                  <a:pt x="350" y="565"/>
                </a:cubicBezTo>
                <a:lnTo>
                  <a:pt x="349" y="56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52" name="Freeform 385"/>
          <p:cNvSpPr>
            <a:spLocks/>
          </p:cNvSpPr>
          <p:nvPr userDrawn="1"/>
        </p:nvSpPr>
        <p:spPr bwMode="auto">
          <a:xfrm>
            <a:off x="3875867" y="5470323"/>
            <a:ext cx="361820" cy="376895"/>
          </a:xfrm>
          <a:custGeom>
            <a:avLst/>
            <a:gdLst>
              <a:gd name="T0" fmla="*/ 2147483646 w 389"/>
              <a:gd name="T1" fmla="*/ 2147483646 h 404"/>
              <a:gd name="T2" fmla="*/ 2147483646 w 389"/>
              <a:gd name="T3" fmla="*/ 2147483646 h 404"/>
              <a:gd name="T4" fmla="*/ 2147483646 w 389"/>
              <a:gd name="T5" fmla="*/ 2147483646 h 404"/>
              <a:gd name="T6" fmla="*/ 2147483646 w 389"/>
              <a:gd name="T7" fmla="*/ 2147483646 h 404"/>
              <a:gd name="T8" fmla="*/ 2147483646 w 389"/>
              <a:gd name="T9" fmla="*/ 2147483646 h 404"/>
              <a:gd name="T10" fmla="*/ 2147483646 w 389"/>
              <a:gd name="T11" fmla="*/ 2147483646 h 404"/>
              <a:gd name="T12" fmla="*/ 2147483646 w 389"/>
              <a:gd name="T13" fmla="*/ 2147483646 h 404"/>
              <a:gd name="T14" fmla="*/ 2147483646 w 389"/>
              <a:gd name="T15" fmla="*/ 2147483646 h 404"/>
              <a:gd name="T16" fmla="*/ 2147483646 w 389"/>
              <a:gd name="T17" fmla="*/ 2147483646 h 404"/>
              <a:gd name="T18" fmla="*/ 2147483646 w 389"/>
              <a:gd name="T19" fmla="*/ 2147483646 h 404"/>
              <a:gd name="T20" fmla="*/ 2147483646 w 389"/>
              <a:gd name="T21" fmla="*/ 2147483646 h 404"/>
              <a:gd name="T22" fmla="*/ 2147483646 w 389"/>
              <a:gd name="T23" fmla="*/ 2147483646 h 404"/>
              <a:gd name="T24" fmla="*/ 2147483646 w 389"/>
              <a:gd name="T25" fmla="*/ 2147483646 h 404"/>
              <a:gd name="T26" fmla="*/ 2147483646 w 389"/>
              <a:gd name="T27" fmla="*/ 2147483646 h 404"/>
              <a:gd name="T28" fmla="*/ 2147483646 w 389"/>
              <a:gd name="T29" fmla="*/ 2147483646 h 404"/>
              <a:gd name="T30" fmla="*/ 2147483646 w 389"/>
              <a:gd name="T31" fmla="*/ 2147483646 h 404"/>
              <a:gd name="T32" fmla="*/ 2147483646 w 389"/>
              <a:gd name="T33" fmla="*/ 2147483646 h 404"/>
              <a:gd name="T34" fmla="*/ 2147483646 w 389"/>
              <a:gd name="T35" fmla="*/ 2147483646 h 404"/>
              <a:gd name="T36" fmla="*/ 2147483646 w 389"/>
              <a:gd name="T37" fmla="*/ 2147483646 h 404"/>
              <a:gd name="T38" fmla="*/ 2147483646 w 389"/>
              <a:gd name="T39" fmla="*/ 2147483646 h 404"/>
              <a:gd name="T40" fmla="*/ 2147483646 w 389"/>
              <a:gd name="T41" fmla="*/ 2147483646 h 404"/>
              <a:gd name="T42" fmla="*/ 2147483646 w 389"/>
              <a:gd name="T43" fmla="*/ 2147483646 h 404"/>
              <a:gd name="T44" fmla="*/ 2147483646 w 389"/>
              <a:gd name="T45" fmla="*/ 2147483646 h 404"/>
              <a:gd name="T46" fmla="*/ 2147483646 w 389"/>
              <a:gd name="T47" fmla="*/ 2147483646 h 404"/>
              <a:gd name="T48" fmla="*/ 2147483646 w 389"/>
              <a:gd name="T49" fmla="*/ 2147483646 h 404"/>
              <a:gd name="T50" fmla="*/ 2147483646 w 389"/>
              <a:gd name="T51" fmla="*/ 2147483646 h 404"/>
              <a:gd name="T52" fmla="*/ 2147483646 w 389"/>
              <a:gd name="T53" fmla="*/ 2147483646 h 404"/>
              <a:gd name="T54" fmla="*/ 2147483646 w 389"/>
              <a:gd name="T55" fmla="*/ 2147483646 h 404"/>
              <a:gd name="T56" fmla="*/ 2147483646 w 389"/>
              <a:gd name="T57" fmla="*/ 2147483646 h 404"/>
              <a:gd name="T58" fmla="*/ 2147483646 w 389"/>
              <a:gd name="T59" fmla="*/ 2147483646 h 404"/>
              <a:gd name="T60" fmla="*/ 2147483646 w 389"/>
              <a:gd name="T61" fmla="*/ 2147483646 h 404"/>
              <a:gd name="T62" fmla="*/ 2147483646 w 389"/>
              <a:gd name="T63" fmla="*/ 2147483646 h 404"/>
              <a:gd name="T64" fmla="*/ 2147483646 w 389"/>
              <a:gd name="T65" fmla="*/ 2147483646 h 404"/>
              <a:gd name="T66" fmla="*/ 2147483646 w 389"/>
              <a:gd name="T67" fmla="*/ 2147483646 h 404"/>
              <a:gd name="T68" fmla="*/ 2147483646 w 389"/>
              <a:gd name="T69" fmla="*/ 2147483646 h 404"/>
              <a:gd name="T70" fmla="*/ 2147483646 w 389"/>
              <a:gd name="T71" fmla="*/ 2147483646 h 404"/>
              <a:gd name="T72" fmla="*/ 2147483646 w 389"/>
              <a:gd name="T73" fmla="*/ 2147483646 h 404"/>
              <a:gd name="T74" fmla="*/ 2147483646 w 389"/>
              <a:gd name="T75" fmla="*/ 2147483646 h 404"/>
              <a:gd name="T76" fmla="*/ 2147483646 w 389"/>
              <a:gd name="T77" fmla="*/ 2147483646 h 404"/>
              <a:gd name="T78" fmla="*/ 2147483646 w 389"/>
              <a:gd name="T79" fmla="*/ 2147483646 h 404"/>
              <a:gd name="T80" fmla="*/ 2147483646 w 389"/>
              <a:gd name="T81" fmla="*/ 2147483646 h 404"/>
              <a:gd name="T82" fmla="*/ 2147483646 w 389"/>
              <a:gd name="T83" fmla="*/ 2147483646 h 404"/>
              <a:gd name="T84" fmla="*/ 2147483646 w 389"/>
              <a:gd name="T85" fmla="*/ 2147483646 h 404"/>
              <a:gd name="T86" fmla="*/ 2147483646 w 389"/>
              <a:gd name="T87" fmla="*/ 2147483646 h 404"/>
              <a:gd name="T88" fmla="*/ 2147483646 w 389"/>
              <a:gd name="T89" fmla="*/ 2147483646 h 404"/>
              <a:gd name="T90" fmla="*/ 2147483646 w 389"/>
              <a:gd name="T91" fmla="*/ 2147483646 h 404"/>
              <a:gd name="T92" fmla="*/ 0 w 389"/>
              <a:gd name="T93" fmla="*/ 2147483646 h 404"/>
              <a:gd name="T94" fmla="*/ 2147483646 w 389"/>
              <a:gd name="T95" fmla="*/ 2147483646 h 404"/>
              <a:gd name="T96" fmla="*/ 2147483646 w 389"/>
              <a:gd name="T97" fmla="*/ 2147483646 h 404"/>
              <a:gd name="T98" fmla="*/ 2147483646 w 389"/>
              <a:gd name="T99" fmla="*/ 2147483646 h 404"/>
              <a:gd name="T100" fmla="*/ 2147483646 w 389"/>
              <a:gd name="T101" fmla="*/ 2147483646 h 404"/>
              <a:gd name="T102" fmla="*/ 2147483646 w 389"/>
              <a:gd name="T103" fmla="*/ 2147483646 h 404"/>
              <a:gd name="T104" fmla="*/ 2147483646 w 389"/>
              <a:gd name="T105" fmla="*/ 2147483646 h 404"/>
              <a:gd name="T106" fmla="*/ 2147483646 w 389"/>
              <a:gd name="T107" fmla="*/ 2147483646 h 404"/>
              <a:gd name="T108" fmla="*/ 2147483646 w 389"/>
              <a:gd name="T109" fmla="*/ 2147483646 h 404"/>
              <a:gd name="T110" fmla="*/ 2147483646 w 389"/>
              <a:gd name="T111" fmla="*/ 2147483646 h 404"/>
              <a:gd name="T112" fmla="*/ 2147483646 w 389"/>
              <a:gd name="T113" fmla="*/ 2147483646 h 404"/>
              <a:gd name="T114" fmla="*/ 2147483646 w 389"/>
              <a:gd name="T115" fmla="*/ 2147483646 h 40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89"/>
              <a:gd name="T175" fmla="*/ 0 h 404"/>
              <a:gd name="T176" fmla="*/ 389 w 389"/>
              <a:gd name="T177" fmla="*/ 404 h 40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89" h="404">
                <a:moveTo>
                  <a:pt x="29" y="245"/>
                </a:moveTo>
                <a:cubicBezTo>
                  <a:pt x="35" y="252"/>
                  <a:pt x="35" y="268"/>
                  <a:pt x="40" y="277"/>
                </a:cubicBezTo>
                <a:cubicBezTo>
                  <a:pt x="43" y="283"/>
                  <a:pt x="49" y="287"/>
                  <a:pt x="52" y="293"/>
                </a:cubicBezTo>
                <a:cubicBezTo>
                  <a:pt x="54" y="300"/>
                  <a:pt x="49" y="303"/>
                  <a:pt x="46" y="309"/>
                </a:cubicBezTo>
                <a:cubicBezTo>
                  <a:pt x="42" y="319"/>
                  <a:pt x="46" y="321"/>
                  <a:pt x="51" y="329"/>
                </a:cubicBezTo>
                <a:cubicBezTo>
                  <a:pt x="57" y="337"/>
                  <a:pt x="58" y="349"/>
                  <a:pt x="62" y="358"/>
                </a:cubicBezTo>
                <a:cubicBezTo>
                  <a:pt x="67" y="372"/>
                  <a:pt x="68" y="391"/>
                  <a:pt x="74" y="404"/>
                </a:cubicBezTo>
                <a:cubicBezTo>
                  <a:pt x="77" y="398"/>
                  <a:pt x="88" y="397"/>
                  <a:pt x="94" y="395"/>
                </a:cubicBezTo>
                <a:cubicBezTo>
                  <a:pt x="103" y="392"/>
                  <a:pt x="107" y="381"/>
                  <a:pt x="116" y="377"/>
                </a:cubicBezTo>
                <a:cubicBezTo>
                  <a:pt x="123" y="373"/>
                  <a:pt x="121" y="376"/>
                  <a:pt x="128" y="379"/>
                </a:cubicBezTo>
                <a:cubicBezTo>
                  <a:pt x="132" y="381"/>
                  <a:pt x="138" y="381"/>
                  <a:pt x="143" y="382"/>
                </a:cubicBezTo>
                <a:cubicBezTo>
                  <a:pt x="148" y="382"/>
                  <a:pt x="154" y="381"/>
                  <a:pt x="159" y="383"/>
                </a:cubicBezTo>
                <a:cubicBezTo>
                  <a:pt x="163" y="384"/>
                  <a:pt x="166" y="389"/>
                  <a:pt x="170" y="392"/>
                </a:cubicBezTo>
                <a:cubicBezTo>
                  <a:pt x="178" y="398"/>
                  <a:pt x="180" y="389"/>
                  <a:pt x="186" y="382"/>
                </a:cubicBezTo>
                <a:cubicBezTo>
                  <a:pt x="191" y="377"/>
                  <a:pt x="190" y="376"/>
                  <a:pt x="196" y="375"/>
                </a:cubicBezTo>
                <a:cubicBezTo>
                  <a:pt x="202" y="374"/>
                  <a:pt x="210" y="376"/>
                  <a:pt x="216" y="377"/>
                </a:cubicBezTo>
                <a:cubicBezTo>
                  <a:pt x="219" y="377"/>
                  <a:pt x="224" y="380"/>
                  <a:pt x="227" y="378"/>
                </a:cubicBezTo>
                <a:cubicBezTo>
                  <a:pt x="230" y="376"/>
                  <a:pt x="234" y="363"/>
                  <a:pt x="235" y="360"/>
                </a:cubicBezTo>
                <a:cubicBezTo>
                  <a:pt x="239" y="346"/>
                  <a:pt x="241" y="329"/>
                  <a:pt x="251" y="318"/>
                </a:cubicBezTo>
                <a:cubicBezTo>
                  <a:pt x="267" y="303"/>
                  <a:pt x="293" y="299"/>
                  <a:pt x="313" y="293"/>
                </a:cubicBezTo>
                <a:cubicBezTo>
                  <a:pt x="322" y="290"/>
                  <a:pt x="332" y="290"/>
                  <a:pt x="341" y="293"/>
                </a:cubicBezTo>
                <a:cubicBezTo>
                  <a:pt x="349" y="295"/>
                  <a:pt x="355" y="299"/>
                  <a:pt x="362" y="302"/>
                </a:cubicBezTo>
                <a:cubicBezTo>
                  <a:pt x="365" y="304"/>
                  <a:pt x="368" y="303"/>
                  <a:pt x="371" y="306"/>
                </a:cubicBezTo>
                <a:cubicBezTo>
                  <a:pt x="377" y="299"/>
                  <a:pt x="379" y="289"/>
                  <a:pt x="381" y="281"/>
                </a:cubicBezTo>
                <a:cubicBezTo>
                  <a:pt x="383" y="275"/>
                  <a:pt x="383" y="269"/>
                  <a:pt x="384" y="263"/>
                </a:cubicBezTo>
                <a:cubicBezTo>
                  <a:pt x="385" y="257"/>
                  <a:pt x="389" y="251"/>
                  <a:pt x="389" y="245"/>
                </a:cubicBezTo>
                <a:cubicBezTo>
                  <a:pt x="389" y="234"/>
                  <a:pt x="379" y="236"/>
                  <a:pt x="373" y="229"/>
                </a:cubicBezTo>
                <a:cubicBezTo>
                  <a:pt x="365" y="222"/>
                  <a:pt x="372" y="210"/>
                  <a:pt x="372" y="202"/>
                </a:cubicBezTo>
                <a:cubicBezTo>
                  <a:pt x="362" y="202"/>
                  <a:pt x="353" y="201"/>
                  <a:pt x="344" y="200"/>
                </a:cubicBezTo>
                <a:cubicBezTo>
                  <a:pt x="334" y="198"/>
                  <a:pt x="321" y="202"/>
                  <a:pt x="315" y="191"/>
                </a:cubicBezTo>
                <a:cubicBezTo>
                  <a:pt x="311" y="186"/>
                  <a:pt x="314" y="175"/>
                  <a:pt x="314" y="169"/>
                </a:cubicBezTo>
                <a:cubicBezTo>
                  <a:pt x="314" y="160"/>
                  <a:pt x="314" y="150"/>
                  <a:pt x="311" y="141"/>
                </a:cubicBezTo>
                <a:cubicBezTo>
                  <a:pt x="310" y="136"/>
                  <a:pt x="306" y="128"/>
                  <a:pt x="301" y="126"/>
                </a:cubicBezTo>
                <a:cubicBezTo>
                  <a:pt x="296" y="123"/>
                  <a:pt x="290" y="127"/>
                  <a:pt x="285" y="125"/>
                </a:cubicBezTo>
                <a:cubicBezTo>
                  <a:pt x="280" y="124"/>
                  <a:pt x="275" y="118"/>
                  <a:pt x="270" y="116"/>
                </a:cubicBezTo>
                <a:cubicBezTo>
                  <a:pt x="262" y="111"/>
                  <a:pt x="254" y="108"/>
                  <a:pt x="245" y="105"/>
                </a:cubicBezTo>
                <a:cubicBezTo>
                  <a:pt x="237" y="102"/>
                  <a:pt x="229" y="98"/>
                  <a:pt x="221" y="98"/>
                </a:cubicBezTo>
                <a:cubicBezTo>
                  <a:pt x="215" y="99"/>
                  <a:pt x="209" y="102"/>
                  <a:pt x="203" y="101"/>
                </a:cubicBezTo>
                <a:cubicBezTo>
                  <a:pt x="196" y="100"/>
                  <a:pt x="187" y="93"/>
                  <a:pt x="182" y="89"/>
                </a:cubicBezTo>
                <a:cubicBezTo>
                  <a:pt x="179" y="86"/>
                  <a:pt x="177" y="83"/>
                  <a:pt x="173" y="81"/>
                </a:cubicBezTo>
                <a:cubicBezTo>
                  <a:pt x="171" y="80"/>
                  <a:pt x="167" y="80"/>
                  <a:pt x="166" y="79"/>
                </a:cubicBezTo>
                <a:cubicBezTo>
                  <a:pt x="161" y="74"/>
                  <a:pt x="161" y="58"/>
                  <a:pt x="160" y="51"/>
                </a:cubicBezTo>
                <a:cubicBezTo>
                  <a:pt x="160" y="40"/>
                  <a:pt x="160" y="29"/>
                  <a:pt x="162" y="17"/>
                </a:cubicBezTo>
                <a:cubicBezTo>
                  <a:pt x="164" y="0"/>
                  <a:pt x="151" y="2"/>
                  <a:pt x="137" y="5"/>
                </a:cubicBezTo>
                <a:cubicBezTo>
                  <a:pt x="115" y="11"/>
                  <a:pt x="104" y="22"/>
                  <a:pt x="86" y="34"/>
                </a:cubicBezTo>
                <a:cubicBezTo>
                  <a:pt x="74" y="42"/>
                  <a:pt x="67" y="54"/>
                  <a:pt x="52" y="52"/>
                </a:cubicBezTo>
                <a:cubicBezTo>
                  <a:pt x="44" y="51"/>
                  <a:pt x="4" y="47"/>
                  <a:pt x="0" y="48"/>
                </a:cubicBezTo>
                <a:cubicBezTo>
                  <a:pt x="2" y="49"/>
                  <a:pt x="2" y="49"/>
                  <a:pt x="2" y="49"/>
                </a:cubicBezTo>
                <a:cubicBezTo>
                  <a:pt x="3" y="52"/>
                  <a:pt x="10" y="56"/>
                  <a:pt x="13" y="57"/>
                </a:cubicBezTo>
                <a:cubicBezTo>
                  <a:pt x="21" y="59"/>
                  <a:pt x="25" y="52"/>
                  <a:pt x="32" y="57"/>
                </a:cubicBezTo>
                <a:cubicBezTo>
                  <a:pt x="37" y="60"/>
                  <a:pt x="39" y="66"/>
                  <a:pt x="41" y="70"/>
                </a:cubicBezTo>
                <a:cubicBezTo>
                  <a:pt x="45" y="76"/>
                  <a:pt x="50" y="83"/>
                  <a:pt x="53" y="90"/>
                </a:cubicBezTo>
                <a:cubicBezTo>
                  <a:pt x="56" y="100"/>
                  <a:pt x="46" y="119"/>
                  <a:pt x="45" y="131"/>
                </a:cubicBezTo>
                <a:cubicBezTo>
                  <a:pt x="43" y="143"/>
                  <a:pt x="47" y="155"/>
                  <a:pt x="43" y="167"/>
                </a:cubicBezTo>
                <a:cubicBezTo>
                  <a:pt x="40" y="177"/>
                  <a:pt x="32" y="185"/>
                  <a:pt x="39" y="194"/>
                </a:cubicBezTo>
                <a:cubicBezTo>
                  <a:pt x="46" y="202"/>
                  <a:pt x="52" y="204"/>
                  <a:pt x="45" y="215"/>
                </a:cubicBezTo>
                <a:cubicBezTo>
                  <a:pt x="39" y="225"/>
                  <a:pt x="34" y="234"/>
                  <a:pt x="30" y="244"/>
                </a:cubicBezTo>
                <a:lnTo>
                  <a:pt x="29" y="2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53" name="Freeform 386"/>
          <p:cNvSpPr>
            <a:spLocks/>
          </p:cNvSpPr>
          <p:nvPr userDrawn="1"/>
        </p:nvSpPr>
        <p:spPr bwMode="auto">
          <a:xfrm>
            <a:off x="4086930" y="5740012"/>
            <a:ext cx="232839" cy="231163"/>
          </a:xfrm>
          <a:custGeom>
            <a:avLst/>
            <a:gdLst>
              <a:gd name="T0" fmla="*/ 2147483646 w 249"/>
              <a:gd name="T1" fmla="*/ 2147483646 h 247"/>
              <a:gd name="T2" fmla="*/ 2147483646 w 249"/>
              <a:gd name="T3" fmla="*/ 2147483646 h 247"/>
              <a:gd name="T4" fmla="*/ 2147483646 w 249"/>
              <a:gd name="T5" fmla="*/ 2147483646 h 247"/>
              <a:gd name="T6" fmla="*/ 2147483646 w 249"/>
              <a:gd name="T7" fmla="*/ 2147483646 h 247"/>
              <a:gd name="T8" fmla="*/ 2147483646 w 249"/>
              <a:gd name="T9" fmla="*/ 2147483646 h 247"/>
              <a:gd name="T10" fmla="*/ 2147483646 w 249"/>
              <a:gd name="T11" fmla="*/ 2147483646 h 247"/>
              <a:gd name="T12" fmla="*/ 0 w 249"/>
              <a:gd name="T13" fmla="*/ 2147483646 h 247"/>
              <a:gd name="T14" fmla="*/ 2147483646 w 249"/>
              <a:gd name="T15" fmla="*/ 2147483646 h 247"/>
              <a:gd name="T16" fmla="*/ 2147483646 w 249"/>
              <a:gd name="T17" fmla="*/ 2147483646 h 247"/>
              <a:gd name="T18" fmla="*/ 2147483646 w 249"/>
              <a:gd name="T19" fmla="*/ 2147483646 h 247"/>
              <a:gd name="T20" fmla="*/ 2147483646 w 249"/>
              <a:gd name="T21" fmla="*/ 2147483646 h 247"/>
              <a:gd name="T22" fmla="*/ 2147483646 w 249"/>
              <a:gd name="T23" fmla="*/ 2147483646 h 247"/>
              <a:gd name="T24" fmla="*/ 2147483646 w 249"/>
              <a:gd name="T25" fmla="*/ 2147483646 h 247"/>
              <a:gd name="T26" fmla="*/ 2147483646 w 249"/>
              <a:gd name="T27" fmla="*/ 2147483646 h 247"/>
              <a:gd name="T28" fmla="*/ 2147483646 w 249"/>
              <a:gd name="T29" fmla="*/ 2147483646 h 247"/>
              <a:gd name="T30" fmla="*/ 2147483646 w 249"/>
              <a:gd name="T31" fmla="*/ 2147483646 h 247"/>
              <a:gd name="T32" fmla="*/ 2147483646 w 249"/>
              <a:gd name="T33" fmla="*/ 2147483646 h 247"/>
              <a:gd name="T34" fmla="*/ 2147483646 w 249"/>
              <a:gd name="T35" fmla="*/ 2147483646 h 247"/>
              <a:gd name="T36" fmla="*/ 2147483646 w 249"/>
              <a:gd name="T37" fmla="*/ 2147483646 h 247"/>
              <a:gd name="T38" fmla="*/ 2147483646 w 249"/>
              <a:gd name="T39" fmla="*/ 2147483646 h 247"/>
              <a:gd name="T40" fmla="*/ 2147483646 w 249"/>
              <a:gd name="T41" fmla="*/ 2147483646 h 247"/>
              <a:gd name="T42" fmla="*/ 2147483646 w 249"/>
              <a:gd name="T43" fmla="*/ 2147483646 h 247"/>
              <a:gd name="T44" fmla="*/ 2147483646 w 249"/>
              <a:gd name="T45" fmla="*/ 2147483646 h 247"/>
              <a:gd name="T46" fmla="*/ 2147483646 w 249"/>
              <a:gd name="T47" fmla="*/ 2147483646 h 247"/>
              <a:gd name="T48" fmla="*/ 2147483646 w 249"/>
              <a:gd name="T49" fmla="*/ 2147483646 h 247"/>
              <a:gd name="T50" fmla="*/ 2147483646 w 249"/>
              <a:gd name="T51" fmla="*/ 2147483646 h 247"/>
              <a:gd name="T52" fmla="*/ 2147483646 w 249"/>
              <a:gd name="T53" fmla="*/ 2147483646 h 247"/>
              <a:gd name="T54" fmla="*/ 2147483646 w 249"/>
              <a:gd name="T55" fmla="*/ 2147483646 h 247"/>
              <a:gd name="T56" fmla="*/ 2147483646 w 249"/>
              <a:gd name="T57" fmla="*/ 2147483646 h 247"/>
              <a:gd name="T58" fmla="*/ 2147483646 w 249"/>
              <a:gd name="T59" fmla="*/ 2147483646 h 24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49"/>
              <a:gd name="T91" fmla="*/ 0 h 247"/>
              <a:gd name="T92" fmla="*/ 249 w 249"/>
              <a:gd name="T93" fmla="*/ 247 h 247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49" h="247">
                <a:moveTo>
                  <a:pt x="139" y="13"/>
                </a:moveTo>
                <a:cubicBezTo>
                  <a:pt x="138" y="13"/>
                  <a:pt x="136" y="13"/>
                  <a:pt x="135" y="12"/>
                </a:cubicBezTo>
                <a:cubicBezTo>
                  <a:pt x="128" y="9"/>
                  <a:pt x="122" y="4"/>
                  <a:pt x="114" y="3"/>
                </a:cubicBezTo>
                <a:cubicBezTo>
                  <a:pt x="105" y="0"/>
                  <a:pt x="95" y="0"/>
                  <a:pt x="86" y="3"/>
                </a:cubicBezTo>
                <a:cubicBezTo>
                  <a:pt x="66" y="9"/>
                  <a:pt x="40" y="13"/>
                  <a:pt x="25" y="28"/>
                </a:cubicBezTo>
                <a:cubicBezTo>
                  <a:pt x="14" y="38"/>
                  <a:pt x="12" y="56"/>
                  <a:pt x="8" y="69"/>
                </a:cubicBezTo>
                <a:cubicBezTo>
                  <a:pt x="7" y="73"/>
                  <a:pt x="3" y="86"/>
                  <a:pt x="0" y="88"/>
                </a:cubicBezTo>
                <a:cubicBezTo>
                  <a:pt x="1" y="90"/>
                  <a:pt x="1" y="90"/>
                  <a:pt x="1" y="90"/>
                </a:cubicBezTo>
                <a:cubicBezTo>
                  <a:pt x="10" y="103"/>
                  <a:pt x="18" y="117"/>
                  <a:pt x="29" y="128"/>
                </a:cubicBezTo>
                <a:cubicBezTo>
                  <a:pt x="36" y="135"/>
                  <a:pt x="44" y="136"/>
                  <a:pt x="53" y="139"/>
                </a:cubicBezTo>
                <a:cubicBezTo>
                  <a:pt x="61" y="143"/>
                  <a:pt x="68" y="149"/>
                  <a:pt x="78" y="149"/>
                </a:cubicBezTo>
                <a:cubicBezTo>
                  <a:pt x="82" y="149"/>
                  <a:pt x="86" y="147"/>
                  <a:pt x="91" y="148"/>
                </a:cubicBezTo>
                <a:cubicBezTo>
                  <a:pt x="99" y="149"/>
                  <a:pt x="107" y="150"/>
                  <a:pt x="114" y="153"/>
                </a:cubicBezTo>
                <a:cubicBezTo>
                  <a:pt x="129" y="157"/>
                  <a:pt x="152" y="163"/>
                  <a:pt x="147" y="183"/>
                </a:cubicBezTo>
                <a:cubicBezTo>
                  <a:pt x="143" y="194"/>
                  <a:pt x="131" y="203"/>
                  <a:pt x="124" y="213"/>
                </a:cubicBezTo>
                <a:cubicBezTo>
                  <a:pt x="119" y="220"/>
                  <a:pt x="114" y="231"/>
                  <a:pt x="107" y="237"/>
                </a:cubicBezTo>
                <a:cubicBezTo>
                  <a:pt x="121" y="240"/>
                  <a:pt x="136" y="238"/>
                  <a:pt x="150" y="240"/>
                </a:cubicBezTo>
                <a:cubicBezTo>
                  <a:pt x="160" y="242"/>
                  <a:pt x="176" y="247"/>
                  <a:pt x="186" y="246"/>
                </a:cubicBezTo>
                <a:cubicBezTo>
                  <a:pt x="194" y="244"/>
                  <a:pt x="201" y="235"/>
                  <a:pt x="208" y="229"/>
                </a:cubicBezTo>
                <a:cubicBezTo>
                  <a:pt x="216" y="222"/>
                  <a:pt x="224" y="210"/>
                  <a:pt x="228" y="201"/>
                </a:cubicBezTo>
                <a:cubicBezTo>
                  <a:pt x="233" y="192"/>
                  <a:pt x="234" y="181"/>
                  <a:pt x="238" y="171"/>
                </a:cubicBezTo>
                <a:cubicBezTo>
                  <a:pt x="240" y="164"/>
                  <a:pt x="248" y="154"/>
                  <a:pt x="248" y="147"/>
                </a:cubicBezTo>
                <a:cubicBezTo>
                  <a:pt x="249" y="126"/>
                  <a:pt x="230" y="138"/>
                  <a:pt x="220" y="143"/>
                </a:cubicBezTo>
                <a:cubicBezTo>
                  <a:pt x="215" y="136"/>
                  <a:pt x="214" y="132"/>
                  <a:pt x="214" y="123"/>
                </a:cubicBezTo>
                <a:cubicBezTo>
                  <a:pt x="215" y="115"/>
                  <a:pt x="220" y="103"/>
                  <a:pt x="214" y="96"/>
                </a:cubicBezTo>
                <a:cubicBezTo>
                  <a:pt x="202" y="82"/>
                  <a:pt x="188" y="86"/>
                  <a:pt x="173" y="89"/>
                </a:cubicBezTo>
                <a:cubicBezTo>
                  <a:pt x="166" y="90"/>
                  <a:pt x="151" y="90"/>
                  <a:pt x="146" y="84"/>
                </a:cubicBezTo>
                <a:cubicBezTo>
                  <a:pt x="142" y="77"/>
                  <a:pt x="147" y="59"/>
                  <a:pt x="147" y="50"/>
                </a:cubicBezTo>
                <a:cubicBezTo>
                  <a:pt x="148" y="40"/>
                  <a:pt x="151" y="24"/>
                  <a:pt x="143" y="17"/>
                </a:cubicBezTo>
                <a:lnTo>
                  <a:pt x="139" y="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54" name="Freeform 387"/>
          <p:cNvSpPr>
            <a:spLocks/>
          </p:cNvSpPr>
          <p:nvPr userDrawn="1"/>
        </p:nvSpPr>
        <p:spPr bwMode="auto">
          <a:xfrm>
            <a:off x="4174034" y="6034829"/>
            <a:ext cx="140708" cy="139033"/>
          </a:xfrm>
          <a:custGeom>
            <a:avLst/>
            <a:gdLst>
              <a:gd name="T0" fmla="*/ 2147483646 w 150"/>
              <a:gd name="T1" fmla="*/ 0 h 150"/>
              <a:gd name="T2" fmla="*/ 2147483646 w 150"/>
              <a:gd name="T3" fmla="*/ 2147483646 h 150"/>
              <a:gd name="T4" fmla="*/ 2147483646 w 150"/>
              <a:gd name="T5" fmla="*/ 2147483646 h 150"/>
              <a:gd name="T6" fmla="*/ 2147483646 w 150"/>
              <a:gd name="T7" fmla="*/ 2147483646 h 150"/>
              <a:gd name="T8" fmla="*/ 2147483646 w 150"/>
              <a:gd name="T9" fmla="*/ 2147483646 h 150"/>
              <a:gd name="T10" fmla="*/ 2147483646 w 150"/>
              <a:gd name="T11" fmla="*/ 2147483646 h 150"/>
              <a:gd name="T12" fmla="*/ 2147483646 w 150"/>
              <a:gd name="T13" fmla="*/ 2147483646 h 150"/>
              <a:gd name="T14" fmla="*/ 2147483646 w 150"/>
              <a:gd name="T15" fmla="*/ 2147483646 h 150"/>
              <a:gd name="T16" fmla="*/ 2147483646 w 150"/>
              <a:gd name="T17" fmla="*/ 2147483646 h 150"/>
              <a:gd name="T18" fmla="*/ 2147483646 w 150"/>
              <a:gd name="T19" fmla="*/ 2147483646 h 150"/>
              <a:gd name="T20" fmla="*/ 2147483646 w 150"/>
              <a:gd name="T21" fmla="*/ 2147483646 h 150"/>
              <a:gd name="T22" fmla="*/ 2147483646 w 150"/>
              <a:gd name="T23" fmla="*/ 2147483646 h 150"/>
              <a:gd name="T24" fmla="*/ 2147483646 w 150"/>
              <a:gd name="T25" fmla="*/ 2147483646 h 150"/>
              <a:gd name="T26" fmla="*/ 2147483646 w 150"/>
              <a:gd name="T27" fmla="*/ 2147483646 h 150"/>
              <a:gd name="T28" fmla="*/ 2147483646 w 150"/>
              <a:gd name="T29" fmla="*/ 2147483646 h 150"/>
              <a:gd name="T30" fmla="*/ 0 w 150"/>
              <a:gd name="T31" fmla="*/ 2147483646 h 150"/>
              <a:gd name="T32" fmla="*/ 0 w 150"/>
              <a:gd name="T33" fmla="*/ 2147483646 h 150"/>
              <a:gd name="T34" fmla="*/ 0 w 150"/>
              <a:gd name="T35" fmla="*/ 2147483646 h 150"/>
              <a:gd name="T36" fmla="*/ 2147483646 w 150"/>
              <a:gd name="T37" fmla="*/ 2147483646 h 150"/>
              <a:gd name="T38" fmla="*/ 2147483646 w 150"/>
              <a:gd name="T39" fmla="*/ 2147483646 h 150"/>
              <a:gd name="T40" fmla="*/ 2147483646 w 150"/>
              <a:gd name="T41" fmla="*/ 2147483646 h 150"/>
              <a:gd name="T42" fmla="*/ 2147483646 w 150"/>
              <a:gd name="T43" fmla="*/ 0 h 150"/>
              <a:gd name="T44" fmla="*/ 2147483646 w 150"/>
              <a:gd name="T45" fmla="*/ 0 h 15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50"/>
              <a:gd name="T70" fmla="*/ 0 h 150"/>
              <a:gd name="T71" fmla="*/ 150 w 150"/>
              <a:gd name="T72" fmla="*/ 150 h 15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50" h="150">
                <a:moveTo>
                  <a:pt x="50" y="0"/>
                </a:moveTo>
                <a:cubicBezTo>
                  <a:pt x="56" y="1"/>
                  <a:pt x="60" y="0"/>
                  <a:pt x="65" y="7"/>
                </a:cubicBezTo>
                <a:cubicBezTo>
                  <a:pt x="70" y="14"/>
                  <a:pt x="73" y="30"/>
                  <a:pt x="81" y="34"/>
                </a:cubicBezTo>
                <a:cubicBezTo>
                  <a:pt x="85" y="36"/>
                  <a:pt x="90" y="34"/>
                  <a:pt x="94" y="35"/>
                </a:cubicBezTo>
                <a:cubicBezTo>
                  <a:pt x="97" y="37"/>
                  <a:pt x="99" y="38"/>
                  <a:pt x="102" y="40"/>
                </a:cubicBezTo>
                <a:cubicBezTo>
                  <a:pt x="112" y="45"/>
                  <a:pt x="121" y="50"/>
                  <a:pt x="129" y="58"/>
                </a:cubicBezTo>
                <a:cubicBezTo>
                  <a:pt x="136" y="63"/>
                  <a:pt x="150" y="74"/>
                  <a:pt x="148" y="83"/>
                </a:cubicBezTo>
                <a:cubicBezTo>
                  <a:pt x="146" y="88"/>
                  <a:pt x="141" y="93"/>
                  <a:pt x="139" y="98"/>
                </a:cubicBezTo>
                <a:cubicBezTo>
                  <a:pt x="137" y="102"/>
                  <a:pt x="137" y="107"/>
                  <a:pt x="138" y="112"/>
                </a:cubicBezTo>
                <a:cubicBezTo>
                  <a:pt x="137" y="113"/>
                  <a:pt x="137" y="113"/>
                  <a:pt x="137" y="113"/>
                </a:cubicBezTo>
                <a:cubicBezTo>
                  <a:pt x="134" y="117"/>
                  <a:pt x="130" y="122"/>
                  <a:pt x="127" y="123"/>
                </a:cubicBezTo>
                <a:cubicBezTo>
                  <a:pt x="122" y="124"/>
                  <a:pt x="112" y="135"/>
                  <a:pt x="104" y="140"/>
                </a:cubicBezTo>
                <a:cubicBezTo>
                  <a:pt x="95" y="145"/>
                  <a:pt x="69" y="150"/>
                  <a:pt x="56" y="147"/>
                </a:cubicBezTo>
                <a:cubicBezTo>
                  <a:pt x="44" y="145"/>
                  <a:pt x="47" y="146"/>
                  <a:pt x="40" y="140"/>
                </a:cubicBezTo>
                <a:cubicBezTo>
                  <a:pt x="33" y="133"/>
                  <a:pt x="28" y="136"/>
                  <a:pt x="17" y="127"/>
                </a:cubicBezTo>
                <a:cubicBezTo>
                  <a:pt x="8" y="119"/>
                  <a:pt x="4" y="120"/>
                  <a:pt x="0" y="122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19"/>
                  <a:pt x="0" y="119"/>
                </a:cubicBezTo>
                <a:cubicBezTo>
                  <a:pt x="0" y="111"/>
                  <a:pt x="5" y="106"/>
                  <a:pt x="7" y="98"/>
                </a:cubicBezTo>
                <a:cubicBezTo>
                  <a:pt x="12" y="85"/>
                  <a:pt x="13" y="69"/>
                  <a:pt x="15" y="54"/>
                </a:cubicBezTo>
                <a:cubicBezTo>
                  <a:pt x="18" y="40"/>
                  <a:pt x="21" y="29"/>
                  <a:pt x="30" y="17"/>
                </a:cubicBezTo>
                <a:cubicBezTo>
                  <a:pt x="36" y="11"/>
                  <a:pt x="42" y="6"/>
                  <a:pt x="49" y="0"/>
                </a:cubicBezTo>
                <a:lnTo>
                  <a:pt x="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55" name="Freeform 388"/>
          <p:cNvSpPr>
            <a:spLocks/>
          </p:cNvSpPr>
          <p:nvPr userDrawn="1"/>
        </p:nvSpPr>
        <p:spPr bwMode="auto">
          <a:xfrm>
            <a:off x="3772012" y="5034799"/>
            <a:ext cx="1144088" cy="1103885"/>
          </a:xfrm>
          <a:custGeom>
            <a:avLst/>
            <a:gdLst>
              <a:gd name="T0" fmla="*/ 2147483646 w 1226"/>
              <a:gd name="T1" fmla="*/ 2147483646 h 1183"/>
              <a:gd name="T2" fmla="*/ 2147483646 w 1226"/>
              <a:gd name="T3" fmla="*/ 2147483646 h 1183"/>
              <a:gd name="T4" fmla="*/ 2147483646 w 1226"/>
              <a:gd name="T5" fmla="*/ 2147483646 h 1183"/>
              <a:gd name="T6" fmla="*/ 2147483646 w 1226"/>
              <a:gd name="T7" fmla="*/ 2147483646 h 1183"/>
              <a:gd name="T8" fmla="*/ 2147483646 w 1226"/>
              <a:gd name="T9" fmla="*/ 2147483646 h 1183"/>
              <a:gd name="T10" fmla="*/ 2147483646 w 1226"/>
              <a:gd name="T11" fmla="*/ 2147483646 h 1183"/>
              <a:gd name="T12" fmla="*/ 2147483646 w 1226"/>
              <a:gd name="T13" fmla="*/ 2147483646 h 1183"/>
              <a:gd name="T14" fmla="*/ 2147483646 w 1226"/>
              <a:gd name="T15" fmla="*/ 2147483646 h 1183"/>
              <a:gd name="T16" fmla="*/ 2147483646 w 1226"/>
              <a:gd name="T17" fmla="*/ 2147483646 h 1183"/>
              <a:gd name="T18" fmla="*/ 2147483646 w 1226"/>
              <a:gd name="T19" fmla="*/ 2147483646 h 1183"/>
              <a:gd name="T20" fmla="*/ 2147483646 w 1226"/>
              <a:gd name="T21" fmla="*/ 2147483646 h 1183"/>
              <a:gd name="T22" fmla="*/ 2147483646 w 1226"/>
              <a:gd name="T23" fmla="*/ 2147483646 h 1183"/>
              <a:gd name="T24" fmla="*/ 2147483646 w 1226"/>
              <a:gd name="T25" fmla="*/ 2147483646 h 1183"/>
              <a:gd name="T26" fmla="*/ 2147483646 w 1226"/>
              <a:gd name="T27" fmla="*/ 2147483646 h 1183"/>
              <a:gd name="T28" fmla="*/ 2147483646 w 1226"/>
              <a:gd name="T29" fmla="*/ 2147483646 h 1183"/>
              <a:gd name="T30" fmla="*/ 2147483646 w 1226"/>
              <a:gd name="T31" fmla="*/ 2147483646 h 1183"/>
              <a:gd name="T32" fmla="*/ 2147483646 w 1226"/>
              <a:gd name="T33" fmla="*/ 2147483646 h 1183"/>
              <a:gd name="T34" fmla="*/ 2147483646 w 1226"/>
              <a:gd name="T35" fmla="*/ 2147483646 h 1183"/>
              <a:gd name="T36" fmla="*/ 2147483646 w 1226"/>
              <a:gd name="T37" fmla="*/ 2147483646 h 1183"/>
              <a:gd name="T38" fmla="*/ 2147483646 w 1226"/>
              <a:gd name="T39" fmla="*/ 2147483646 h 1183"/>
              <a:gd name="T40" fmla="*/ 2147483646 w 1226"/>
              <a:gd name="T41" fmla="*/ 2147483646 h 1183"/>
              <a:gd name="T42" fmla="*/ 2147483646 w 1226"/>
              <a:gd name="T43" fmla="*/ 2147483646 h 1183"/>
              <a:gd name="T44" fmla="*/ 2147483646 w 1226"/>
              <a:gd name="T45" fmla="*/ 2147483646 h 1183"/>
              <a:gd name="T46" fmla="*/ 2147483646 w 1226"/>
              <a:gd name="T47" fmla="*/ 2147483646 h 1183"/>
              <a:gd name="T48" fmla="*/ 2147483646 w 1226"/>
              <a:gd name="T49" fmla="*/ 2147483646 h 1183"/>
              <a:gd name="T50" fmla="*/ 2147483646 w 1226"/>
              <a:gd name="T51" fmla="*/ 2147483646 h 1183"/>
              <a:gd name="T52" fmla="*/ 2147483646 w 1226"/>
              <a:gd name="T53" fmla="*/ 2147483646 h 1183"/>
              <a:gd name="T54" fmla="*/ 2147483646 w 1226"/>
              <a:gd name="T55" fmla="*/ 2147483646 h 1183"/>
              <a:gd name="T56" fmla="*/ 2147483646 w 1226"/>
              <a:gd name="T57" fmla="*/ 2147483646 h 1183"/>
              <a:gd name="T58" fmla="*/ 2147483646 w 1226"/>
              <a:gd name="T59" fmla="*/ 2147483646 h 1183"/>
              <a:gd name="T60" fmla="*/ 2147483646 w 1226"/>
              <a:gd name="T61" fmla="*/ 2147483646 h 1183"/>
              <a:gd name="T62" fmla="*/ 2147483646 w 1226"/>
              <a:gd name="T63" fmla="*/ 2147483646 h 1183"/>
              <a:gd name="T64" fmla="*/ 2147483646 w 1226"/>
              <a:gd name="T65" fmla="*/ 2147483646 h 1183"/>
              <a:gd name="T66" fmla="*/ 2147483646 w 1226"/>
              <a:gd name="T67" fmla="*/ 2147483646 h 1183"/>
              <a:gd name="T68" fmla="*/ 2147483646 w 1226"/>
              <a:gd name="T69" fmla="*/ 2147483646 h 1183"/>
              <a:gd name="T70" fmla="*/ 2147483646 w 1226"/>
              <a:gd name="T71" fmla="*/ 2147483646 h 1183"/>
              <a:gd name="T72" fmla="*/ 2147483646 w 1226"/>
              <a:gd name="T73" fmla="*/ 2147483646 h 1183"/>
              <a:gd name="T74" fmla="*/ 2147483646 w 1226"/>
              <a:gd name="T75" fmla="*/ 2147483646 h 1183"/>
              <a:gd name="T76" fmla="*/ 2147483646 w 1226"/>
              <a:gd name="T77" fmla="*/ 2147483646 h 1183"/>
              <a:gd name="T78" fmla="*/ 2147483646 w 1226"/>
              <a:gd name="T79" fmla="*/ 2147483646 h 1183"/>
              <a:gd name="T80" fmla="*/ 2147483646 w 1226"/>
              <a:gd name="T81" fmla="*/ 2147483646 h 1183"/>
              <a:gd name="T82" fmla="*/ 2147483646 w 1226"/>
              <a:gd name="T83" fmla="*/ 2147483646 h 1183"/>
              <a:gd name="T84" fmla="*/ 2147483646 w 1226"/>
              <a:gd name="T85" fmla="*/ 2147483646 h 1183"/>
              <a:gd name="T86" fmla="*/ 2147483646 w 1226"/>
              <a:gd name="T87" fmla="*/ 2147483646 h 1183"/>
              <a:gd name="T88" fmla="*/ 2147483646 w 1226"/>
              <a:gd name="T89" fmla="*/ 2147483646 h 1183"/>
              <a:gd name="T90" fmla="*/ 2147483646 w 1226"/>
              <a:gd name="T91" fmla="*/ 2147483646 h 1183"/>
              <a:gd name="T92" fmla="*/ 2147483646 w 1226"/>
              <a:gd name="T93" fmla="*/ 2147483646 h 1183"/>
              <a:gd name="T94" fmla="*/ 2147483646 w 1226"/>
              <a:gd name="T95" fmla="*/ 2147483646 h 1183"/>
              <a:gd name="T96" fmla="*/ 2147483646 w 1226"/>
              <a:gd name="T97" fmla="*/ 2147483646 h 1183"/>
              <a:gd name="T98" fmla="*/ 2147483646 w 1226"/>
              <a:gd name="T99" fmla="*/ 2147483646 h 1183"/>
              <a:gd name="T100" fmla="*/ 2147483646 w 1226"/>
              <a:gd name="T101" fmla="*/ 2147483646 h 1183"/>
              <a:gd name="T102" fmla="*/ 2147483646 w 1226"/>
              <a:gd name="T103" fmla="*/ 2147483646 h 1183"/>
              <a:gd name="T104" fmla="*/ 2147483646 w 1226"/>
              <a:gd name="T105" fmla="*/ 2147483646 h 1183"/>
              <a:gd name="T106" fmla="*/ 2147483646 w 1226"/>
              <a:gd name="T107" fmla="*/ 2147483646 h 118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226"/>
              <a:gd name="T163" fmla="*/ 0 h 1183"/>
              <a:gd name="T164" fmla="*/ 1226 w 1226"/>
              <a:gd name="T165" fmla="*/ 1183 h 118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226" h="1183">
                <a:moveTo>
                  <a:pt x="569" y="1182"/>
                </a:moveTo>
                <a:cubicBezTo>
                  <a:pt x="568" y="1177"/>
                  <a:pt x="569" y="1173"/>
                  <a:pt x="571" y="1169"/>
                </a:cubicBezTo>
                <a:cubicBezTo>
                  <a:pt x="572" y="1163"/>
                  <a:pt x="578" y="1159"/>
                  <a:pt x="579" y="1154"/>
                </a:cubicBezTo>
                <a:cubicBezTo>
                  <a:pt x="582" y="1144"/>
                  <a:pt x="567" y="1134"/>
                  <a:pt x="561" y="1128"/>
                </a:cubicBezTo>
                <a:cubicBezTo>
                  <a:pt x="552" y="1121"/>
                  <a:pt x="543" y="1116"/>
                  <a:pt x="533" y="1111"/>
                </a:cubicBezTo>
                <a:cubicBezTo>
                  <a:pt x="531" y="1109"/>
                  <a:pt x="529" y="1107"/>
                  <a:pt x="526" y="1106"/>
                </a:cubicBezTo>
                <a:cubicBezTo>
                  <a:pt x="522" y="1105"/>
                  <a:pt x="516" y="1106"/>
                  <a:pt x="513" y="1105"/>
                </a:cubicBezTo>
                <a:cubicBezTo>
                  <a:pt x="505" y="1101"/>
                  <a:pt x="502" y="1085"/>
                  <a:pt x="496" y="1077"/>
                </a:cubicBezTo>
                <a:cubicBezTo>
                  <a:pt x="492" y="1071"/>
                  <a:pt x="488" y="1071"/>
                  <a:pt x="482" y="1071"/>
                </a:cubicBezTo>
                <a:cubicBezTo>
                  <a:pt x="481" y="1071"/>
                  <a:pt x="481" y="1071"/>
                  <a:pt x="481" y="1071"/>
                </a:cubicBezTo>
                <a:cubicBezTo>
                  <a:pt x="486" y="1067"/>
                  <a:pt x="491" y="1063"/>
                  <a:pt x="495" y="1059"/>
                </a:cubicBezTo>
                <a:cubicBezTo>
                  <a:pt x="506" y="1048"/>
                  <a:pt x="516" y="1038"/>
                  <a:pt x="529" y="1030"/>
                </a:cubicBezTo>
                <a:cubicBezTo>
                  <a:pt x="543" y="1020"/>
                  <a:pt x="556" y="1011"/>
                  <a:pt x="569" y="999"/>
                </a:cubicBezTo>
                <a:cubicBezTo>
                  <a:pt x="577" y="992"/>
                  <a:pt x="589" y="988"/>
                  <a:pt x="592" y="978"/>
                </a:cubicBezTo>
                <a:cubicBezTo>
                  <a:pt x="597" y="967"/>
                  <a:pt x="593" y="954"/>
                  <a:pt x="593" y="942"/>
                </a:cubicBezTo>
                <a:cubicBezTo>
                  <a:pt x="588" y="942"/>
                  <a:pt x="583" y="941"/>
                  <a:pt x="578" y="941"/>
                </a:cubicBezTo>
                <a:cubicBezTo>
                  <a:pt x="575" y="941"/>
                  <a:pt x="575" y="941"/>
                  <a:pt x="572" y="941"/>
                </a:cubicBezTo>
                <a:cubicBezTo>
                  <a:pt x="571" y="940"/>
                  <a:pt x="571" y="940"/>
                  <a:pt x="571" y="940"/>
                </a:cubicBezTo>
                <a:cubicBezTo>
                  <a:pt x="572" y="935"/>
                  <a:pt x="573" y="931"/>
                  <a:pt x="575" y="927"/>
                </a:cubicBezTo>
                <a:cubicBezTo>
                  <a:pt x="577" y="920"/>
                  <a:pt x="585" y="911"/>
                  <a:pt x="586" y="903"/>
                </a:cubicBezTo>
                <a:cubicBezTo>
                  <a:pt x="586" y="882"/>
                  <a:pt x="567" y="895"/>
                  <a:pt x="557" y="899"/>
                </a:cubicBezTo>
                <a:cubicBezTo>
                  <a:pt x="553" y="892"/>
                  <a:pt x="551" y="888"/>
                  <a:pt x="552" y="879"/>
                </a:cubicBezTo>
                <a:cubicBezTo>
                  <a:pt x="552" y="871"/>
                  <a:pt x="557" y="860"/>
                  <a:pt x="551" y="853"/>
                </a:cubicBezTo>
                <a:cubicBezTo>
                  <a:pt x="539" y="838"/>
                  <a:pt x="526" y="842"/>
                  <a:pt x="511" y="845"/>
                </a:cubicBezTo>
                <a:cubicBezTo>
                  <a:pt x="504" y="847"/>
                  <a:pt x="489" y="847"/>
                  <a:pt x="484" y="840"/>
                </a:cubicBezTo>
                <a:cubicBezTo>
                  <a:pt x="479" y="833"/>
                  <a:pt x="484" y="815"/>
                  <a:pt x="485" y="806"/>
                </a:cubicBezTo>
                <a:cubicBezTo>
                  <a:pt x="485" y="796"/>
                  <a:pt x="488" y="780"/>
                  <a:pt x="480" y="773"/>
                </a:cubicBezTo>
                <a:cubicBezTo>
                  <a:pt x="481" y="772"/>
                  <a:pt x="481" y="772"/>
                  <a:pt x="481" y="772"/>
                </a:cubicBezTo>
                <a:cubicBezTo>
                  <a:pt x="487" y="765"/>
                  <a:pt x="490" y="756"/>
                  <a:pt x="492" y="747"/>
                </a:cubicBezTo>
                <a:cubicBezTo>
                  <a:pt x="493" y="741"/>
                  <a:pt x="494" y="735"/>
                  <a:pt x="495" y="729"/>
                </a:cubicBezTo>
                <a:cubicBezTo>
                  <a:pt x="496" y="723"/>
                  <a:pt x="500" y="718"/>
                  <a:pt x="500" y="711"/>
                </a:cubicBezTo>
                <a:cubicBezTo>
                  <a:pt x="499" y="700"/>
                  <a:pt x="489" y="702"/>
                  <a:pt x="483" y="695"/>
                </a:cubicBezTo>
                <a:cubicBezTo>
                  <a:pt x="476" y="688"/>
                  <a:pt x="483" y="676"/>
                  <a:pt x="482" y="668"/>
                </a:cubicBezTo>
                <a:cubicBezTo>
                  <a:pt x="473" y="668"/>
                  <a:pt x="463" y="667"/>
                  <a:pt x="454" y="666"/>
                </a:cubicBezTo>
                <a:cubicBezTo>
                  <a:pt x="444" y="664"/>
                  <a:pt x="431" y="668"/>
                  <a:pt x="425" y="657"/>
                </a:cubicBezTo>
                <a:cubicBezTo>
                  <a:pt x="422" y="652"/>
                  <a:pt x="424" y="641"/>
                  <a:pt x="424" y="635"/>
                </a:cubicBezTo>
                <a:cubicBezTo>
                  <a:pt x="424" y="626"/>
                  <a:pt x="424" y="616"/>
                  <a:pt x="422" y="607"/>
                </a:cubicBezTo>
                <a:cubicBezTo>
                  <a:pt x="420" y="602"/>
                  <a:pt x="417" y="594"/>
                  <a:pt x="411" y="592"/>
                </a:cubicBezTo>
                <a:cubicBezTo>
                  <a:pt x="406" y="589"/>
                  <a:pt x="400" y="593"/>
                  <a:pt x="395" y="591"/>
                </a:cubicBezTo>
                <a:cubicBezTo>
                  <a:pt x="391" y="590"/>
                  <a:pt x="385" y="584"/>
                  <a:pt x="381" y="582"/>
                </a:cubicBezTo>
                <a:cubicBezTo>
                  <a:pt x="372" y="577"/>
                  <a:pt x="365" y="574"/>
                  <a:pt x="356" y="571"/>
                </a:cubicBezTo>
                <a:cubicBezTo>
                  <a:pt x="348" y="568"/>
                  <a:pt x="340" y="564"/>
                  <a:pt x="331" y="564"/>
                </a:cubicBezTo>
                <a:cubicBezTo>
                  <a:pt x="325" y="565"/>
                  <a:pt x="319" y="568"/>
                  <a:pt x="313" y="567"/>
                </a:cubicBezTo>
                <a:cubicBezTo>
                  <a:pt x="306" y="566"/>
                  <a:pt x="297" y="559"/>
                  <a:pt x="292" y="555"/>
                </a:cubicBezTo>
                <a:cubicBezTo>
                  <a:pt x="289" y="552"/>
                  <a:pt x="287" y="549"/>
                  <a:pt x="283" y="547"/>
                </a:cubicBezTo>
                <a:cubicBezTo>
                  <a:pt x="282" y="546"/>
                  <a:pt x="277" y="546"/>
                  <a:pt x="276" y="545"/>
                </a:cubicBezTo>
                <a:cubicBezTo>
                  <a:pt x="271" y="540"/>
                  <a:pt x="271" y="524"/>
                  <a:pt x="271" y="517"/>
                </a:cubicBezTo>
                <a:cubicBezTo>
                  <a:pt x="270" y="506"/>
                  <a:pt x="271" y="495"/>
                  <a:pt x="272" y="483"/>
                </a:cubicBezTo>
                <a:cubicBezTo>
                  <a:pt x="274" y="466"/>
                  <a:pt x="262" y="468"/>
                  <a:pt x="247" y="471"/>
                </a:cubicBezTo>
                <a:cubicBezTo>
                  <a:pt x="226" y="477"/>
                  <a:pt x="214" y="489"/>
                  <a:pt x="196" y="500"/>
                </a:cubicBezTo>
                <a:cubicBezTo>
                  <a:pt x="184" y="508"/>
                  <a:pt x="178" y="520"/>
                  <a:pt x="162" y="518"/>
                </a:cubicBezTo>
                <a:cubicBezTo>
                  <a:pt x="155" y="517"/>
                  <a:pt x="122" y="513"/>
                  <a:pt x="113" y="513"/>
                </a:cubicBezTo>
                <a:cubicBezTo>
                  <a:pt x="111" y="512"/>
                  <a:pt x="111" y="512"/>
                  <a:pt x="111" y="512"/>
                </a:cubicBezTo>
                <a:cubicBezTo>
                  <a:pt x="104" y="499"/>
                  <a:pt x="110" y="475"/>
                  <a:pt x="109" y="462"/>
                </a:cubicBezTo>
                <a:cubicBezTo>
                  <a:pt x="95" y="468"/>
                  <a:pt x="85" y="485"/>
                  <a:pt x="68" y="485"/>
                </a:cubicBezTo>
                <a:cubicBezTo>
                  <a:pt x="59" y="485"/>
                  <a:pt x="60" y="481"/>
                  <a:pt x="56" y="474"/>
                </a:cubicBezTo>
                <a:cubicBezTo>
                  <a:pt x="54" y="472"/>
                  <a:pt x="51" y="467"/>
                  <a:pt x="47" y="467"/>
                </a:cubicBezTo>
                <a:cubicBezTo>
                  <a:pt x="44" y="466"/>
                  <a:pt x="43" y="470"/>
                  <a:pt x="40" y="470"/>
                </a:cubicBezTo>
                <a:cubicBezTo>
                  <a:pt x="32" y="470"/>
                  <a:pt x="34" y="463"/>
                  <a:pt x="31" y="458"/>
                </a:cubicBezTo>
                <a:cubicBezTo>
                  <a:pt x="28" y="450"/>
                  <a:pt x="22" y="445"/>
                  <a:pt x="18" y="439"/>
                </a:cubicBezTo>
                <a:cubicBezTo>
                  <a:pt x="11" y="426"/>
                  <a:pt x="0" y="410"/>
                  <a:pt x="9" y="397"/>
                </a:cubicBezTo>
                <a:cubicBezTo>
                  <a:pt x="13" y="392"/>
                  <a:pt x="23" y="388"/>
                  <a:pt x="25" y="384"/>
                </a:cubicBezTo>
                <a:cubicBezTo>
                  <a:pt x="26" y="382"/>
                  <a:pt x="26" y="373"/>
                  <a:pt x="25" y="371"/>
                </a:cubicBezTo>
                <a:cubicBezTo>
                  <a:pt x="24" y="365"/>
                  <a:pt x="22" y="362"/>
                  <a:pt x="26" y="356"/>
                </a:cubicBezTo>
                <a:cubicBezTo>
                  <a:pt x="30" y="349"/>
                  <a:pt x="39" y="343"/>
                  <a:pt x="45" y="338"/>
                </a:cubicBezTo>
                <a:cubicBezTo>
                  <a:pt x="53" y="332"/>
                  <a:pt x="62" y="328"/>
                  <a:pt x="71" y="323"/>
                </a:cubicBezTo>
                <a:cubicBezTo>
                  <a:pt x="76" y="320"/>
                  <a:pt x="81" y="316"/>
                  <a:pt x="86" y="314"/>
                </a:cubicBezTo>
                <a:cubicBezTo>
                  <a:pt x="93" y="311"/>
                  <a:pt x="102" y="306"/>
                  <a:pt x="109" y="306"/>
                </a:cubicBezTo>
                <a:cubicBezTo>
                  <a:pt x="114" y="305"/>
                  <a:pt x="120" y="308"/>
                  <a:pt x="124" y="305"/>
                </a:cubicBezTo>
                <a:cubicBezTo>
                  <a:pt x="126" y="303"/>
                  <a:pt x="126" y="303"/>
                  <a:pt x="126" y="303"/>
                </a:cubicBezTo>
                <a:cubicBezTo>
                  <a:pt x="127" y="304"/>
                  <a:pt x="127" y="305"/>
                  <a:pt x="128" y="306"/>
                </a:cubicBezTo>
                <a:cubicBezTo>
                  <a:pt x="131" y="303"/>
                  <a:pt x="131" y="289"/>
                  <a:pt x="132" y="283"/>
                </a:cubicBezTo>
                <a:cubicBezTo>
                  <a:pt x="134" y="271"/>
                  <a:pt x="137" y="259"/>
                  <a:pt x="139" y="246"/>
                </a:cubicBezTo>
                <a:cubicBezTo>
                  <a:pt x="141" y="237"/>
                  <a:pt x="142" y="228"/>
                  <a:pt x="145" y="219"/>
                </a:cubicBezTo>
                <a:cubicBezTo>
                  <a:pt x="146" y="213"/>
                  <a:pt x="148" y="205"/>
                  <a:pt x="145" y="199"/>
                </a:cubicBezTo>
                <a:cubicBezTo>
                  <a:pt x="138" y="186"/>
                  <a:pt x="121" y="183"/>
                  <a:pt x="124" y="165"/>
                </a:cubicBezTo>
                <a:cubicBezTo>
                  <a:pt x="126" y="152"/>
                  <a:pt x="140" y="153"/>
                  <a:pt x="150" y="159"/>
                </a:cubicBezTo>
                <a:cubicBezTo>
                  <a:pt x="150" y="155"/>
                  <a:pt x="149" y="151"/>
                  <a:pt x="147" y="148"/>
                </a:cubicBezTo>
                <a:cubicBezTo>
                  <a:pt x="143" y="143"/>
                  <a:pt x="138" y="145"/>
                  <a:pt x="134" y="142"/>
                </a:cubicBezTo>
                <a:cubicBezTo>
                  <a:pt x="123" y="134"/>
                  <a:pt x="137" y="118"/>
                  <a:pt x="149" y="119"/>
                </a:cubicBezTo>
                <a:cubicBezTo>
                  <a:pt x="156" y="120"/>
                  <a:pt x="165" y="125"/>
                  <a:pt x="173" y="125"/>
                </a:cubicBezTo>
                <a:cubicBezTo>
                  <a:pt x="176" y="124"/>
                  <a:pt x="178" y="124"/>
                  <a:pt x="180" y="123"/>
                </a:cubicBezTo>
                <a:cubicBezTo>
                  <a:pt x="182" y="123"/>
                  <a:pt x="183" y="120"/>
                  <a:pt x="186" y="120"/>
                </a:cubicBezTo>
                <a:cubicBezTo>
                  <a:pt x="187" y="120"/>
                  <a:pt x="188" y="121"/>
                  <a:pt x="189" y="121"/>
                </a:cubicBezTo>
                <a:cubicBezTo>
                  <a:pt x="199" y="120"/>
                  <a:pt x="205" y="114"/>
                  <a:pt x="212" y="110"/>
                </a:cubicBezTo>
                <a:cubicBezTo>
                  <a:pt x="215" y="108"/>
                  <a:pt x="215" y="108"/>
                  <a:pt x="215" y="108"/>
                </a:cubicBezTo>
                <a:cubicBezTo>
                  <a:pt x="215" y="109"/>
                  <a:pt x="215" y="110"/>
                  <a:pt x="216" y="111"/>
                </a:cubicBezTo>
                <a:cubicBezTo>
                  <a:pt x="218" y="116"/>
                  <a:pt x="220" y="121"/>
                  <a:pt x="222" y="126"/>
                </a:cubicBezTo>
                <a:cubicBezTo>
                  <a:pt x="223" y="130"/>
                  <a:pt x="224" y="135"/>
                  <a:pt x="227" y="137"/>
                </a:cubicBezTo>
                <a:cubicBezTo>
                  <a:pt x="232" y="140"/>
                  <a:pt x="235" y="137"/>
                  <a:pt x="239" y="136"/>
                </a:cubicBezTo>
                <a:cubicBezTo>
                  <a:pt x="249" y="136"/>
                  <a:pt x="250" y="149"/>
                  <a:pt x="260" y="143"/>
                </a:cubicBezTo>
                <a:cubicBezTo>
                  <a:pt x="263" y="141"/>
                  <a:pt x="264" y="137"/>
                  <a:pt x="268" y="140"/>
                </a:cubicBezTo>
                <a:cubicBezTo>
                  <a:pt x="271" y="141"/>
                  <a:pt x="271" y="146"/>
                  <a:pt x="272" y="149"/>
                </a:cubicBezTo>
                <a:cubicBezTo>
                  <a:pt x="277" y="144"/>
                  <a:pt x="281" y="136"/>
                  <a:pt x="287" y="132"/>
                </a:cubicBezTo>
                <a:cubicBezTo>
                  <a:pt x="293" y="127"/>
                  <a:pt x="299" y="125"/>
                  <a:pt x="305" y="122"/>
                </a:cubicBezTo>
                <a:cubicBezTo>
                  <a:pt x="315" y="115"/>
                  <a:pt x="320" y="104"/>
                  <a:pt x="331" y="100"/>
                </a:cubicBezTo>
                <a:cubicBezTo>
                  <a:pt x="330" y="93"/>
                  <a:pt x="313" y="90"/>
                  <a:pt x="307" y="88"/>
                </a:cubicBezTo>
                <a:cubicBezTo>
                  <a:pt x="319" y="86"/>
                  <a:pt x="305" y="76"/>
                  <a:pt x="301" y="70"/>
                </a:cubicBezTo>
                <a:cubicBezTo>
                  <a:pt x="296" y="62"/>
                  <a:pt x="290" y="49"/>
                  <a:pt x="291" y="39"/>
                </a:cubicBezTo>
                <a:cubicBezTo>
                  <a:pt x="293" y="18"/>
                  <a:pt x="322" y="54"/>
                  <a:pt x="323" y="39"/>
                </a:cubicBezTo>
                <a:cubicBezTo>
                  <a:pt x="327" y="41"/>
                  <a:pt x="328" y="46"/>
                  <a:pt x="330" y="50"/>
                </a:cubicBezTo>
                <a:cubicBezTo>
                  <a:pt x="333" y="49"/>
                  <a:pt x="336" y="44"/>
                  <a:pt x="340" y="44"/>
                </a:cubicBezTo>
                <a:cubicBezTo>
                  <a:pt x="344" y="45"/>
                  <a:pt x="348" y="53"/>
                  <a:pt x="351" y="56"/>
                </a:cubicBezTo>
                <a:cubicBezTo>
                  <a:pt x="354" y="50"/>
                  <a:pt x="355" y="36"/>
                  <a:pt x="362" y="33"/>
                </a:cubicBezTo>
                <a:cubicBezTo>
                  <a:pt x="367" y="31"/>
                  <a:pt x="368" y="34"/>
                  <a:pt x="373" y="36"/>
                </a:cubicBezTo>
                <a:cubicBezTo>
                  <a:pt x="381" y="38"/>
                  <a:pt x="390" y="31"/>
                  <a:pt x="396" y="25"/>
                </a:cubicBezTo>
                <a:cubicBezTo>
                  <a:pt x="401" y="21"/>
                  <a:pt x="408" y="18"/>
                  <a:pt x="412" y="13"/>
                </a:cubicBezTo>
                <a:cubicBezTo>
                  <a:pt x="414" y="10"/>
                  <a:pt x="414" y="5"/>
                  <a:pt x="415" y="1"/>
                </a:cubicBezTo>
                <a:cubicBezTo>
                  <a:pt x="416" y="2"/>
                  <a:pt x="416" y="2"/>
                  <a:pt x="416" y="2"/>
                </a:cubicBezTo>
                <a:cubicBezTo>
                  <a:pt x="417" y="3"/>
                  <a:pt x="418" y="4"/>
                  <a:pt x="419" y="5"/>
                </a:cubicBezTo>
                <a:cubicBezTo>
                  <a:pt x="425" y="5"/>
                  <a:pt x="432" y="0"/>
                  <a:pt x="437" y="7"/>
                </a:cubicBezTo>
                <a:cubicBezTo>
                  <a:pt x="439" y="11"/>
                  <a:pt x="437" y="15"/>
                  <a:pt x="437" y="19"/>
                </a:cubicBezTo>
                <a:cubicBezTo>
                  <a:pt x="437" y="23"/>
                  <a:pt x="439" y="26"/>
                  <a:pt x="440" y="30"/>
                </a:cubicBezTo>
                <a:cubicBezTo>
                  <a:pt x="447" y="30"/>
                  <a:pt x="452" y="34"/>
                  <a:pt x="450" y="42"/>
                </a:cubicBezTo>
                <a:cubicBezTo>
                  <a:pt x="449" y="47"/>
                  <a:pt x="447" y="47"/>
                  <a:pt x="443" y="51"/>
                </a:cubicBezTo>
                <a:cubicBezTo>
                  <a:pt x="440" y="55"/>
                  <a:pt x="439" y="59"/>
                  <a:pt x="438" y="64"/>
                </a:cubicBezTo>
                <a:cubicBezTo>
                  <a:pt x="436" y="73"/>
                  <a:pt x="444" y="75"/>
                  <a:pt x="446" y="84"/>
                </a:cubicBezTo>
                <a:cubicBezTo>
                  <a:pt x="448" y="90"/>
                  <a:pt x="451" y="99"/>
                  <a:pt x="455" y="105"/>
                </a:cubicBezTo>
                <a:cubicBezTo>
                  <a:pt x="458" y="109"/>
                  <a:pt x="464" y="115"/>
                  <a:pt x="468" y="117"/>
                </a:cubicBezTo>
                <a:cubicBezTo>
                  <a:pt x="474" y="121"/>
                  <a:pt x="485" y="114"/>
                  <a:pt x="491" y="110"/>
                </a:cubicBezTo>
                <a:cubicBezTo>
                  <a:pt x="498" y="107"/>
                  <a:pt x="504" y="102"/>
                  <a:pt x="511" y="100"/>
                </a:cubicBezTo>
                <a:cubicBezTo>
                  <a:pt x="514" y="99"/>
                  <a:pt x="518" y="99"/>
                  <a:pt x="521" y="98"/>
                </a:cubicBezTo>
                <a:cubicBezTo>
                  <a:pt x="525" y="97"/>
                  <a:pt x="527" y="93"/>
                  <a:pt x="531" y="92"/>
                </a:cubicBezTo>
                <a:cubicBezTo>
                  <a:pt x="534" y="91"/>
                  <a:pt x="539" y="91"/>
                  <a:pt x="541" y="89"/>
                </a:cubicBezTo>
                <a:cubicBezTo>
                  <a:pt x="541" y="88"/>
                  <a:pt x="541" y="88"/>
                  <a:pt x="541" y="88"/>
                </a:cubicBezTo>
                <a:cubicBezTo>
                  <a:pt x="546" y="92"/>
                  <a:pt x="556" y="102"/>
                  <a:pt x="560" y="94"/>
                </a:cubicBezTo>
                <a:cubicBezTo>
                  <a:pt x="564" y="88"/>
                  <a:pt x="561" y="82"/>
                  <a:pt x="561" y="76"/>
                </a:cubicBezTo>
                <a:cubicBezTo>
                  <a:pt x="567" y="77"/>
                  <a:pt x="571" y="73"/>
                  <a:pt x="577" y="74"/>
                </a:cubicBezTo>
                <a:cubicBezTo>
                  <a:pt x="581" y="74"/>
                  <a:pt x="583" y="75"/>
                  <a:pt x="586" y="74"/>
                </a:cubicBezTo>
                <a:cubicBezTo>
                  <a:pt x="588" y="74"/>
                  <a:pt x="591" y="70"/>
                  <a:pt x="592" y="70"/>
                </a:cubicBezTo>
                <a:cubicBezTo>
                  <a:pt x="597" y="69"/>
                  <a:pt x="596" y="72"/>
                  <a:pt x="599" y="73"/>
                </a:cubicBezTo>
                <a:cubicBezTo>
                  <a:pt x="602" y="75"/>
                  <a:pt x="606" y="74"/>
                  <a:pt x="608" y="77"/>
                </a:cubicBezTo>
                <a:cubicBezTo>
                  <a:pt x="608" y="79"/>
                  <a:pt x="608" y="79"/>
                  <a:pt x="608" y="79"/>
                </a:cubicBezTo>
                <a:cubicBezTo>
                  <a:pt x="610" y="80"/>
                  <a:pt x="613" y="82"/>
                  <a:pt x="614" y="82"/>
                </a:cubicBezTo>
                <a:cubicBezTo>
                  <a:pt x="618" y="83"/>
                  <a:pt x="617" y="82"/>
                  <a:pt x="620" y="80"/>
                </a:cubicBezTo>
                <a:cubicBezTo>
                  <a:pt x="625" y="78"/>
                  <a:pt x="631" y="72"/>
                  <a:pt x="635" y="72"/>
                </a:cubicBezTo>
                <a:cubicBezTo>
                  <a:pt x="639" y="72"/>
                  <a:pt x="643" y="76"/>
                  <a:pt x="647" y="74"/>
                </a:cubicBezTo>
                <a:cubicBezTo>
                  <a:pt x="650" y="73"/>
                  <a:pt x="650" y="71"/>
                  <a:pt x="652" y="70"/>
                </a:cubicBezTo>
                <a:cubicBezTo>
                  <a:pt x="655" y="69"/>
                  <a:pt x="657" y="72"/>
                  <a:pt x="660" y="71"/>
                </a:cubicBezTo>
                <a:cubicBezTo>
                  <a:pt x="665" y="70"/>
                  <a:pt x="666" y="59"/>
                  <a:pt x="668" y="55"/>
                </a:cubicBezTo>
                <a:cubicBezTo>
                  <a:pt x="671" y="47"/>
                  <a:pt x="676" y="41"/>
                  <a:pt x="680" y="34"/>
                </a:cubicBezTo>
                <a:cubicBezTo>
                  <a:pt x="684" y="26"/>
                  <a:pt x="693" y="16"/>
                  <a:pt x="694" y="7"/>
                </a:cubicBezTo>
                <a:cubicBezTo>
                  <a:pt x="695" y="7"/>
                  <a:pt x="695" y="7"/>
                  <a:pt x="695" y="7"/>
                </a:cubicBezTo>
                <a:cubicBezTo>
                  <a:pt x="705" y="4"/>
                  <a:pt x="715" y="44"/>
                  <a:pt x="716" y="51"/>
                </a:cubicBezTo>
                <a:cubicBezTo>
                  <a:pt x="718" y="58"/>
                  <a:pt x="720" y="71"/>
                  <a:pt x="732" y="79"/>
                </a:cubicBezTo>
                <a:cubicBezTo>
                  <a:pt x="743" y="87"/>
                  <a:pt x="748" y="99"/>
                  <a:pt x="747" y="103"/>
                </a:cubicBezTo>
                <a:cubicBezTo>
                  <a:pt x="747" y="107"/>
                  <a:pt x="733" y="124"/>
                  <a:pt x="728" y="131"/>
                </a:cubicBezTo>
                <a:cubicBezTo>
                  <a:pt x="722" y="138"/>
                  <a:pt x="714" y="145"/>
                  <a:pt x="710" y="148"/>
                </a:cubicBezTo>
                <a:cubicBezTo>
                  <a:pt x="706" y="151"/>
                  <a:pt x="700" y="157"/>
                  <a:pt x="692" y="175"/>
                </a:cubicBezTo>
                <a:cubicBezTo>
                  <a:pt x="683" y="193"/>
                  <a:pt x="669" y="196"/>
                  <a:pt x="669" y="196"/>
                </a:cubicBezTo>
                <a:cubicBezTo>
                  <a:pt x="681" y="199"/>
                  <a:pt x="707" y="182"/>
                  <a:pt x="713" y="179"/>
                </a:cubicBezTo>
                <a:cubicBezTo>
                  <a:pt x="719" y="176"/>
                  <a:pt x="723" y="178"/>
                  <a:pt x="725" y="175"/>
                </a:cubicBezTo>
                <a:cubicBezTo>
                  <a:pt x="728" y="172"/>
                  <a:pt x="725" y="162"/>
                  <a:pt x="725" y="162"/>
                </a:cubicBezTo>
                <a:cubicBezTo>
                  <a:pt x="725" y="162"/>
                  <a:pt x="727" y="153"/>
                  <a:pt x="734" y="145"/>
                </a:cubicBezTo>
                <a:cubicBezTo>
                  <a:pt x="741" y="138"/>
                  <a:pt x="745" y="146"/>
                  <a:pt x="754" y="144"/>
                </a:cubicBezTo>
                <a:cubicBezTo>
                  <a:pt x="762" y="142"/>
                  <a:pt x="768" y="141"/>
                  <a:pt x="787" y="141"/>
                </a:cubicBezTo>
                <a:cubicBezTo>
                  <a:pt x="807" y="142"/>
                  <a:pt x="787" y="155"/>
                  <a:pt x="787" y="164"/>
                </a:cubicBezTo>
                <a:cubicBezTo>
                  <a:pt x="787" y="174"/>
                  <a:pt x="765" y="187"/>
                  <a:pt x="765" y="191"/>
                </a:cubicBezTo>
                <a:cubicBezTo>
                  <a:pt x="765" y="194"/>
                  <a:pt x="778" y="192"/>
                  <a:pt x="788" y="186"/>
                </a:cubicBezTo>
                <a:cubicBezTo>
                  <a:pt x="798" y="180"/>
                  <a:pt x="795" y="175"/>
                  <a:pt x="798" y="162"/>
                </a:cubicBezTo>
                <a:cubicBezTo>
                  <a:pt x="801" y="149"/>
                  <a:pt x="817" y="150"/>
                  <a:pt x="829" y="146"/>
                </a:cubicBezTo>
                <a:cubicBezTo>
                  <a:pt x="842" y="143"/>
                  <a:pt x="860" y="153"/>
                  <a:pt x="878" y="164"/>
                </a:cubicBezTo>
                <a:cubicBezTo>
                  <a:pt x="896" y="176"/>
                  <a:pt x="896" y="178"/>
                  <a:pt x="902" y="177"/>
                </a:cubicBezTo>
                <a:cubicBezTo>
                  <a:pt x="908" y="176"/>
                  <a:pt x="909" y="178"/>
                  <a:pt x="913" y="181"/>
                </a:cubicBezTo>
                <a:cubicBezTo>
                  <a:pt x="917" y="184"/>
                  <a:pt x="911" y="195"/>
                  <a:pt x="910" y="198"/>
                </a:cubicBezTo>
                <a:cubicBezTo>
                  <a:pt x="909" y="202"/>
                  <a:pt x="912" y="216"/>
                  <a:pt x="914" y="210"/>
                </a:cubicBezTo>
                <a:cubicBezTo>
                  <a:pt x="916" y="205"/>
                  <a:pt x="915" y="213"/>
                  <a:pt x="915" y="213"/>
                </a:cubicBezTo>
                <a:cubicBezTo>
                  <a:pt x="915" y="213"/>
                  <a:pt x="928" y="208"/>
                  <a:pt x="938" y="198"/>
                </a:cubicBezTo>
                <a:cubicBezTo>
                  <a:pt x="948" y="189"/>
                  <a:pt x="959" y="193"/>
                  <a:pt x="963" y="193"/>
                </a:cubicBezTo>
                <a:cubicBezTo>
                  <a:pt x="967" y="192"/>
                  <a:pt x="972" y="198"/>
                  <a:pt x="981" y="203"/>
                </a:cubicBezTo>
                <a:cubicBezTo>
                  <a:pt x="990" y="208"/>
                  <a:pt x="998" y="207"/>
                  <a:pt x="1011" y="205"/>
                </a:cubicBezTo>
                <a:cubicBezTo>
                  <a:pt x="1024" y="204"/>
                  <a:pt x="1024" y="198"/>
                  <a:pt x="1042" y="198"/>
                </a:cubicBezTo>
                <a:cubicBezTo>
                  <a:pt x="1059" y="198"/>
                  <a:pt x="1095" y="225"/>
                  <a:pt x="1110" y="240"/>
                </a:cubicBezTo>
                <a:cubicBezTo>
                  <a:pt x="1125" y="254"/>
                  <a:pt x="1148" y="255"/>
                  <a:pt x="1164" y="254"/>
                </a:cubicBezTo>
                <a:cubicBezTo>
                  <a:pt x="1180" y="252"/>
                  <a:pt x="1185" y="254"/>
                  <a:pt x="1196" y="287"/>
                </a:cubicBezTo>
                <a:cubicBezTo>
                  <a:pt x="1226" y="373"/>
                  <a:pt x="1169" y="409"/>
                  <a:pt x="1163" y="415"/>
                </a:cubicBezTo>
                <a:cubicBezTo>
                  <a:pt x="1158" y="422"/>
                  <a:pt x="1155" y="428"/>
                  <a:pt x="1145" y="437"/>
                </a:cubicBezTo>
                <a:cubicBezTo>
                  <a:pt x="1135" y="445"/>
                  <a:pt x="1130" y="449"/>
                  <a:pt x="1123" y="465"/>
                </a:cubicBezTo>
                <a:cubicBezTo>
                  <a:pt x="1117" y="481"/>
                  <a:pt x="1104" y="502"/>
                  <a:pt x="1098" y="514"/>
                </a:cubicBezTo>
                <a:cubicBezTo>
                  <a:pt x="1091" y="526"/>
                  <a:pt x="1091" y="523"/>
                  <a:pt x="1081" y="516"/>
                </a:cubicBezTo>
                <a:cubicBezTo>
                  <a:pt x="1070" y="510"/>
                  <a:pt x="1075" y="525"/>
                  <a:pt x="1067" y="533"/>
                </a:cubicBezTo>
                <a:cubicBezTo>
                  <a:pt x="1058" y="541"/>
                  <a:pt x="1063" y="566"/>
                  <a:pt x="1065" y="583"/>
                </a:cubicBezTo>
                <a:cubicBezTo>
                  <a:pt x="1067" y="601"/>
                  <a:pt x="1068" y="616"/>
                  <a:pt x="1065" y="622"/>
                </a:cubicBezTo>
                <a:cubicBezTo>
                  <a:pt x="1062" y="628"/>
                  <a:pt x="1061" y="635"/>
                  <a:pt x="1058" y="661"/>
                </a:cubicBezTo>
                <a:cubicBezTo>
                  <a:pt x="1055" y="687"/>
                  <a:pt x="1050" y="680"/>
                  <a:pt x="1038" y="689"/>
                </a:cubicBezTo>
                <a:cubicBezTo>
                  <a:pt x="1026" y="697"/>
                  <a:pt x="1036" y="702"/>
                  <a:pt x="1031" y="729"/>
                </a:cubicBezTo>
                <a:cubicBezTo>
                  <a:pt x="1026" y="757"/>
                  <a:pt x="1009" y="766"/>
                  <a:pt x="995" y="783"/>
                </a:cubicBezTo>
                <a:cubicBezTo>
                  <a:pt x="982" y="799"/>
                  <a:pt x="992" y="789"/>
                  <a:pt x="988" y="794"/>
                </a:cubicBezTo>
                <a:cubicBezTo>
                  <a:pt x="985" y="799"/>
                  <a:pt x="985" y="806"/>
                  <a:pt x="985" y="808"/>
                </a:cubicBezTo>
                <a:cubicBezTo>
                  <a:pt x="985" y="811"/>
                  <a:pt x="975" y="816"/>
                  <a:pt x="965" y="819"/>
                </a:cubicBezTo>
                <a:cubicBezTo>
                  <a:pt x="956" y="821"/>
                  <a:pt x="955" y="824"/>
                  <a:pt x="949" y="839"/>
                </a:cubicBezTo>
                <a:cubicBezTo>
                  <a:pt x="944" y="853"/>
                  <a:pt x="906" y="848"/>
                  <a:pt x="900" y="845"/>
                </a:cubicBezTo>
                <a:cubicBezTo>
                  <a:pt x="894" y="842"/>
                  <a:pt x="885" y="848"/>
                  <a:pt x="882" y="851"/>
                </a:cubicBezTo>
                <a:cubicBezTo>
                  <a:pt x="878" y="854"/>
                  <a:pt x="874" y="861"/>
                  <a:pt x="869" y="860"/>
                </a:cubicBezTo>
                <a:cubicBezTo>
                  <a:pt x="863" y="859"/>
                  <a:pt x="859" y="863"/>
                  <a:pt x="855" y="869"/>
                </a:cubicBezTo>
                <a:cubicBezTo>
                  <a:pt x="850" y="875"/>
                  <a:pt x="841" y="877"/>
                  <a:pt x="829" y="879"/>
                </a:cubicBezTo>
                <a:cubicBezTo>
                  <a:pt x="818" y="881"/>
                  <a:pt x="788" y="907"/>
                  <a:pt x="776" y="915"/>
                </a:cubicBezTo>
                <a:cubicBezTo>
                  <a:pt x="764" y="923"/>
                  <a:pt x="764" y="918"/>
                  <a:pt x="757" y="925"/>
                </a:cubicBezTo>
                <a:cubicBezTo>
                  <a:pt x="751" y="932"/>
                  <a:pt x="757" y="931"/>
                  <a:pt x="745" y="941"/>
                </a:cubicBezTo>
                <a:cubicBezTo>
                  <a:pt x="733" y="950"/>
                  <a:pt x="741" y="957"/>
                  <a:pt x="739" y="977"/>
                </a:cubicBezTo>
                <a:cubicBezTo>
                  <a:pt x="737" y="997"/>
                  <a:pt x="736" y="1014"/>
                  <a:pt x="736" y="1016"/>
                </a:cubicBezTo>
                <a:cubicBezTo>
                  <a:pt x="735" y="1018"/>
                  <a:pt x="729" y="1023"/>
                  <a:pt x="725" y="1026"/>
                </a:cubicBezTo>
                <a:cubicBezTo>
                  <a:pt x="721" y="1028"/>
                  <a:pt x="714" y="1037"/>
                  <a:pt x="706" y="1041"/>
                </a:cubicBezTo>
                <a:cubicBezTo>
                  <a:pt x="698" y="1045"/>
                  <a:pt x="695" y="1053"/>
                  <a:pt x="691" y="1053"/>
                </a:cubicBezTo>
                <a:cubicBezTo>
                  <a:pt x="687" y="1054"/>
                  <a:pt x="682" y="1069"/>
                  <a:pt x="680" y="1071"/>
                </a:cubicBezTo>
                <a:cubicBezTo>
                  <a:pt x="678" y="1073"/>
                  <a:pt x="686" y="1064"/>
                  <a:pt x="671" y="1089"/>
                </a:cubicBezTo>
                <a:cubicBezTo>
                  <a:pt x="656" y="1113"/>
                  <a:pt x="636" y="1118"/>
                  <a:pt x="636" y="1118"/>
                </a:cubicBezTo>
                <a:cubicBezTo>
                  <a:pt x="650" y="1110"/>
                  <a:pt x="665" y="1082"/>
                  <a:pt x="665" y="1079"/>
                </a:cubicBezTo>
                <a:cubicBezTo>
                  <a:pt x="665" y="1076"/>
                  <a:pt x="663" y="1080"/>
                  <a:pt x="656" y="1080"/>
                </a:cubicBezTo>
                <a:cubicBezTo>
                  <a:pt x="650" y="1081"/>
                  <a:pt x="653" y="1073"/>
                  <a:pt x="650" y="1074"/>
                </a:cubicBezTo>
                <a:cubicBezTo>
                  <a:pt x="646" y="1075"/>
                  <a:pt x="652" y="1080"/>
                  <a:pt x="650" y="1083"/>
                </a:cubicBezTo>
                <a:cubicBezTo>
                  <a:pt x="649" y="1087"/>
                  <a:pt x="643" y="1092"/>
                  <a:pt x="640" y="1095"/>
                </a:cubicBezTo>
                <a:cubicBezTo>
                  <a:pt x="637" y="1098"/>
                  <a:pt x="629" y="1105"/>
                  <a:pt x="624" y="1113"/>
                </a:cubicBezTo>
                <a:cubicBezTo>
                  <a:pt x="619" y="1120"/>
                  <a:pt x="621" y="1127"/>
                  <a:pt x="621" y="1127"/>
                </a:cubicBezTo>
                <a:cubicBezTo>
                  <a:pt x="621" y="1127"/>
                  <a:pt x="613" y="1130"/>
                  <a:pt x="606" y="1146"/>
                </a:cubicBezTo>
                <a:cubicBezTo>
                  <a:pt x="599" y="1162"/>
                  <a:pt x="603" y="1156"/>
                  <a:pt x="594" y="1164"/>
                </a:cubicBezTo>
                <a:cubicBezTo>
                  <a:pt x="584" y="1172"/>
                  <a:pt x="579" y="1176"/>
                  <a:pt x="574" y="1178"/>
                </a:cubicBezTo>
                <a:cubicBezTo>
                  <a:pt x="572" y="1179"/>
                  <a:pt x="571" y="1181"/>
                  <a:pt x="569" y="1183"/>
                </a:cubicBezTo>
                <a:lnTo>
                  <a:pt x="569" y="118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56" name="Freeform 389"/>
          <p:cNvSpPr>
            <a:spLocks/>
          </p:cNvSpPr>
          <p:nvPr userDrawn="1"/>
        </p:nvSpPr>
        <p:spPr bwMode="auto">
          <a:xfrm>
            <a:off x="3758611" y="5818742"/>
            <a:ext cx="571207" cy="802369"/>
          </a:xfrm>
          <a:custGeom>
            <a:avLst/>
            <a:gdLst>
              <a:gd name="T0" fmla="*/ 2147483646 w 613"/>
              <a:gd name="T1" fmla="*/ 2147483646 h 860"/>
              <a:gd name="T2" fmla="*/ 2147483646 w 613"/>
              <a:gd name="T3" fmla="*/ 2147483646 h 860"/>
              <a:gd name="T4" fmla="*/ 2147483646 w 613"/>
              <a:gd name="T5" fmla="*/ 2147483646 h 860"/>
              <a:gd name="T6" fmla="*/ 2147483646 w 613"/>
              <a:gd name="T7" fmla="*/ 2147483646 h 860"/>
              <a:gd name="T8" fmla="*/ 2147483646 w 613"/>
              <a:gd name="T9" fmla="*/ 2147483646 h 860"/>
              <a:gd name="T10" fmla="*/ 2147483646 w 613"/>
              <a:gd name="T11" fmla="*/ 2147483646 h 860"/>
              <a:gd name="T12" fmla="*/ 2147483646 w 613"/>
              <a:gd name="T13" fmla="*/ 2147483646 h 860"/>
              <a:gd name="T14" fmla="*/ 2147483646 w 613"/>
              <a:gd name="T15" fmla="*/ 2147483646 h 860"/>
              <a:gd name="T16" fmla="*/ 2147483646 w 613"/>
              <a:gd name="T17" fmla="*/ 2147483646 h 860"/>
              <a:gd name="T18" fmla="*/ 2147483646 w 613"/>
              <a:gd name="T19" fmla="*/ 2147483646 h 860"/>
              <a:gd name="T20" fmla="*/ 2147483646 w 613"/>
              <a:gd name="T21" fmla="*/ 2147483646 h 860"/>
              <a:gd name="T22" fmla="*/ 2147483646 w 613"/>
              <a:gd name="T23" fmla="*/ 2147483646 h 860"/>
              <a:gd name="T24" fmla="*/ 2147483646 w 613"/>
              <a:gd name="T25" fmla="*/ 2147483646 h 860"/>
              <a:gd name="T26" fmla="*/ 2147483646 w 613"/>
              <a:gd name="T27" fmla="*/ 2147483646 h 860"/>
              <a:gd name="T28" fmla="*/ 2147483646 w 613"/>
              <a:gd name="T29" fmla="*/ 2147483646 h 860"/>
              <a:gd name="T30" fmla="*/ 2147483646 w 613"/>
              <a:gd name="T31" fmla="*/ 2147483646 h 860"/>
              <a:gd name="T32" fmla="*/ 2147483646 w 613"/>
              <a:gd name="T33" fmla="*/ 2147483646 h 860"/>
              <a:gd name="T34" fmla="*/ 2147483646 w 613"/>
              <a:gd name="T35" fmla="*/ 2147483646 h 860"/>
              <a:gd name="T36" fmla="*/ 2147483646 w 613"/>
              <a:gd name="T37" fmla="*/ 2147483646 h 860"/>
              <a:gd name="T38" fmla="*/ 2147483646 w 613"/>
              <a:gd name="T39" fmla="*/ 2147483646 h 860"/>
              <a:gd name="T40" fmla="*/ 2147483646 w 613"/>
              <a:gd name="T41" fmla="*/ 2147483646 h 860"/>
              <a:gd name="T42" fmla="*/ 2147483646 w 613"/>
              <a:gd name="T43" fmla="*/ 2147483646 h 860"/>
              <a:gd name="T44" fmla="*/ 2147483646 w 613"/>
              <a:gd name="T45" fmla="*/ 2147483646 h 860"/>
              <a:gd name="T46" fmla="*/ 2147483646 w 613"/>
              <a:gd name="T47" fmla="*/ 2147483646 h 860"/>
              <a:gd name="T48" fmla="*/ 2147483646 w 613"/>
              <a:gd name="T49" fmla="*/ 2147483646 h 860"/>
              <a:gd name="T50" fmla="*/ 2147483646 w 613"/>
              <a:gd name="T51" fmla="*/ 2147483646 h 860"/>
              <a:gd name="T52" fmla="*/ 2147483646 w 613"/>
              <a:gd name="T53" fmla="*/ 2147483646 h 860"/>
              <a:gd name="T54" fmla="*/ 2147483646 w 613"/>
              <a:gd name="T55" fmla="*/ 2147483646 h 860"/>
              <a:gd name="T56" fmla="*/ 2147483646 w 613"/>
              <a:gd name="T57" fmla="*/ 2147483646 h 860"/>
              <a:gd name="T58" fmla="*/ 2147483646 w 613"/>
              <a:gd name="T59" fmla="*/ 2147483646 h 860"/>
              <a:gd name="T60" fmla="*/ 2147483646 w 613"/>
              <a:gd name="T61" fmla="*/ 2147483646 h 860"/>
              <a:gd name="T62" fmla="*/ 2147483646 w 613"/>
              <a:gd name="T63" fmla="*/ 2147483646 h 860"/>
              <a:gd name="T64" fmla="*/ 2147483646 w 613"/>
              <a:gd name="T65" fmla="*/ 2147483646 h 860"/>
              <a:gd name="T66" fmla="*/ 2147483646 w 613"/>
              <a:gd name="T67" fmla="*/ 2147483646 h 860"/>
              <a:gd name="T68" fmla="*/ 2147483646 w 613"/>
              <a:gd name="T69" fmla="*/ 2147483646 h 860"/>
              <a:gd name="T70" fmla="*/ 2147483646 w 613"/>
              <a:gd name="T71" fmla="*/ 2147483646 h 860"/>
              <a:gd name="T72" fmla="*/ 2147483646 w 613"/>
              <a:gd name="T73" fmla="*/ 2147483646 h 860"/>
              <a:gd name="T74" fmla="*/ 2147483646 w 613"/>
              <a:gd name="T75" fmla="*/ 2147483646 h 860"/>
              <a:gd name="T76" fmla="*/ 2147483646 w 613"/>
              <a:gd name="T77" fmla="*/ 2147483646 h 860"/>
              <a:gd name="T78" fmla="*/ 2147483646 w 613"/>
              <a:gd name="T79" fmla="*/ 2147483646 h 860"/>
              <a:gd name="T80" fmla="*/ 2147483646 w 613"/>
              <a:gd name="T81" fmla="*/ 2147483646 h 860"/>
              <a:gd name="T82" fmla="*/ 2147483646 w 613"/>
              <a:gd name="T83" fmla="*/ 2147483646 h 860"/>
              <a:gd name="T84" fmla="*/ 2147483646 w 613"/>
              <a:gd name="T85" fmla="*/ 2147483646 h 860"/>
              <a:gd name="T86" fmla="*/ 2147483646 w 613"/>
              <a:gd name="T87" fmla="*/ 2147483646 h 860"/>
              <a:gd name="T88" fmla="*/ 2147483646 w 613"/>
              <a:gd name="T89" fmla="*/ 2147483646 h 860"/>
              <a:gd name="T90" fmla="*/ 2147483646 w 613"/>
              <a:gd name="T91" fmla="*/ 2147483646 h 860"/>
              <a:gd name="T92" fmla="*/ 2147483646 w 613"/>
              <a:gd name="T93" fmla="*/ 2147483646 h 860"/>
              <a:gd name="T94" fmla="*/ 2147483646 w 613"/>
              <a:gd name="T95" fmla="*/ 2147483646 h 860"/>
              <a:gd name="T96" fmla="*/ 2147483646 w 613"/>
              <a:gd name="T97" fmla="*/ 2147483646 h 860"/>
              <a:gd name="T98" fmla="*/ 2147483646 w 613"/>
              <a:gd name="T99" fmla="*/ 2147483646 h 860"/>
              <a:gd name="T100" fmla="*/ 2147483646 w 613"/>
              <a:gd name="T101" fmla="*/ 2147483646 h 860"/>
              <a:gd name="T102" fmla="*/ 2147483646 w 613"/>
              <a:gd name="T103" fmla="*/ 2147483646 h 860"/>
              <a:gd name="T104" fmla="*/ 2147483646 w 613"/>
              <a:gd name="T105" fmla="*/ 2147483646 h 860"/>
              <a:gd name="T106" fmla="*/ 2147483646 w 613"/>
              <a:gd name="T107" fmla="*/ 2147483646 h 860"/>
              <a:gd name="T108" fmla="*/ 2147483646 w 613"/>
              <a:gd name="T109" fmla="*/ 2147483646 h 860"/>
              <a:gd name="T110" fmla="*/ 2147483646 w 613"/>
              <a:gd name="T111" fmla="*/ 2147483646 h 860"/>
              <a:gd name="T112" fmla="*/ 2147483646 w 613"/>
              <a:gd name="T113" fmla="*/ 2147483646 h 860"/>
              <a:gd name="T114" fmla="*/ 2147483646 w 613"/>
              <a:gd name="T115" fmla="*/ 2147483646 h 860"/>
              <a:gd name="T116" fmla="*/ 2147483646 w 613"/>
              <a:gd name="T117" fmla="*/ 2147483646 h 860"/>
              <a:gd name="T118" fmla="*/ 2147483646 w 613"/>
              <a:gd name="T119" fmla="*/ 2147483646 h 860"/>
              <a:gd name="T120" fmla="*/ 2147483646 w 613"/>
              <a:gd name="T121" fmla="*/ 2147483646 h 860"/>
              <a:gd name="T122" fmla="*/ 2147483646 w 613"/>
              <a:gd name="T123" fmla="*/ 2147483646 h 860"/>
              <a:gd name="T124" fmla="*/ 2147483646 w 613"/>
              <a:gd name="T125" fmla="*/ 2147483646 h 86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13"/>
              <a:gd name="T190" fmla="*/ 0 h 860"/>
              <a:gd name="T191" fmla="*/ 613 w 613"/>
              <a:gd name="T192" fmla="*/ 860 h 86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13" h="860">
                <a:moveTo>
                  <a:pt x="222" y="22"/>
                </a:moveTo>
                <a:cubicBezTo>
                  <a:pt x="222" y="25"/>
                  <a:pt x="221" y="31"/>
                  <a:pt x="220" y="42"/>
                </a:cubicBezTo>
                <a:cubicBezTo>
                  <a:pt x="219" y="60"/>
                  <a:pt x="218" y="65"/>
                  <a:pt x="199" y="74"/>
                </a:cubicBezTo>
                <a:cubicBezTo>
                  <a:pt x="181" y="83"/>
                  <a:pt x="173" y="71"/>
                  <a:pt x="177" y="88"/>
                </a:cubicBezTo>
                <a:cubicBezTo>
                  <a:pt x="180" y="105"/>
                  <a:pt x="185" y="119"/>
                  <a:pt x="182" y="126"/>
                </a:cubicBezTo>
                <a:cubicBezTo>
                  <a:pt x="180" y="133"/>
                  <a:pt x="172" y="140"/>
                  <a:pt x="174" y="143"/>
                </a:cubicBezTo>
                <a:cubicBezTo>
                  <a:pt x="177" y="146"/>
                  <a:pt x="187" y="145"/>
                  <a:pt x="182" y="151"/>
                </a:cubicBezTo>
                <a:cubicBezTo>
                  <a:pt x="178" y="157"/>
                  <a:pt x="160" y="163"/>
                  <a:pt x="154" y="169"/>
                </a:cubicBezTo>
                <a:cubicBezTo>
                  <a:pt x="147" y="175"/>
                  <a:pt x="149" y="182"/>
                  <a:pt x="146" y="189"/>
                </a:cubicBezTo>
                <a:cubicBezTo>
                  <a:pt x="143" y="196"/>
                  <a:pt x="126" y="230"/>
                  <a:pt x="127" y="234"/>
                </a:cubicBezTo>
                <a:cubicBezTo>
                  <a:pt x="129" y="238"/>
                  <a:pt x="132" y="251"/>
                  <a:pt x="125" y="256"/>
                </a:cubicBezTo>
                <a:cubicBezTo>
                  <a:pt x="117" y="261"/>
                  <a:pt x="107" y="267"/>
                  <a:pt x="110" y="277"/>
                </a:cubicBezTo>
                <a:cubicBezTo>
                  <a:pt x="114" y="288"/>
                  <a:pt x="129" y="324"/>
                  <a:pt x="129" y="332"/>
                </a:cubicBezTo>
                <a:cubicBezTo>
                  <a:pt x="128" y="340"/>
                  <a:pt x="127" y="349"/>
                  <a:pt x="123" y="359"/>
                </a:cubicBezTo>
                <a:cubicBezTo>
                  <a:pt x="118" y="369"/>
                  <a:pt x="106" y="371"/>
                  <a:pt x="105" y="383"/>
                </a:cubicBezTo>
                <a:cubicBezTo>
                  <a:pt x="104" y="395"/>
                  <a:pt x="107" y="398"/>
                  <a:pt x="105" y="410"/>
                </a:cubicBezTo>
                <a:cubicBezTo>
                  <a:pt x="102" y="421"/>
                  <a:pt x="103" y="408"/>
                  <a:pt x="92" y="428"/>
                </a:cubicBezTo>
                <a:cubicBezTo>
                  <a:pt x="80" y="448"/>
                  <a:pt x="82" y="455"/>
                  <a:pt x="83" y="463"/>
                </a:cubicBezTo>
                <a:cubicBezTo>
                  <a:pt x="84" y="471"/>
                  <a:pt x="85" y="472"/>
                  <a:pt x="86" y="477"/>
                </a:cubicBezTo>
                <a:cubicBezTo>
                  <a:pt x="88" y="482"/>
                  <a:pt x="99" y="480"/>
                  <a:pt x="86" y="489"/>
                </a:cubicBezTo>
                <a:cubicBezTo>
                  <a:pt x="74" y="499"/>
                  <a:pt x="66" y="496"/>
                  <a:pt x="63" y="505"/>
                </a:cubicBezTo>
                <a:cubicBezTo>
                  <a:pt x="60" y="514"/>
                  <a:pt x="62" y="505"/>
                  <a:pt x="62" y="520"/>
                </a:cubicBezTo>
                <a:cubicBezTo>
                  <a:pt x="61" y="536"/>
                  <a:pt x="60" y="533"/>
                  <a:pt x="60" y="551"/>
                </a:cubicBezTo>
                <a:cubicBezTo>
                  <a:pt x="60" y="568"/>
                  <a:pt x="58" y="571"/>
                  <a:pt x="54" y="579"/>
                </a:cubicBezTo>
                <a:cubicBezTo>
                  <a:pt x="51" y="586"/>
                  <a:pt x="38" y="594"/>
                  <a:pt x="40" y="601"/>
                </a:cubicBezTo>
                <a:cubicBezTo>
                  <a:pt x="43" y="608"/>
                  <a:pt x="55" y="607"/>
                  <a:pt x="52" y="620"/>
                </a:cubicBezTo>
                <a:cubicBezTo>
                  <a:pt x="48" y="633"/>
                  <a:pt x="46" y="633"/>
                  <a:pt x="53" y="638"/>
                </a:cubicBezTo>
                <a:cubicBezTo>
                  <a:pt x="61" y="643"/>
                  <a:pt x="70" y="643"/>
                  <a:pt x="68" y="647"/>
                </a:cubicBezTo>
                <a:cubicBezTo>
                  <a:pt x="67" y="651"/>
                  <a:pt x="58" y="661"/>
                  <a:pt x="54" y="661"/>
                </a:cubicBezTo>
                <a:cubicBezTo>
                  <a:pt x="50" y="662"/>
                  <a:pt x="42" y="664"/>
                  <a:pt x="45" y="666"/>
                </a:cubicBezTo>
                <a:cubicBezTo>
                  <a:pt x="49" y="667"/>
                  <a:pt x="60" y="665"/>
                  <a:pt x="59" y="673"/>
                </a:cubicBezTo>
                <a:cubicBezTo>
                  <a:pt x="59" y="680"/>
                  <a:pt x="45" y="684"/>
                  <a:pt x="47" y="691"/>
                </a:cubicBezTo>
                <a:cubicBezTo>
                  <a:pt x="49" y="698"/>
                  <a:pt x="51" y="697"/>
                  <a:pt x="50" y="702"/>
                </a:cubicBezTo>
                <a:cubicBezTo>
                  <a:pt x="49" y="706"/>
                  <a:pt x="44" y="709"/>
                  <a:pt x="44" y="714"/>
                </a:cubicBezTo>
                <a:cubicBezTo>
                  <a:pt x="45" y="720"/>
                  <a:pt x="44" y="721"/>
                  <a:pt x="39" y="729"/>
                </a:cubicBezTo>
                <a:cubicBezTo>
                  <a:pt x="34" y="737"/>
                  <a:pt x="27" y="740"/>
                  <a:pt x="28" y="746"/>
                </a:cubicBezTo>
                <a:cubicBezTo>
                  <a:pt x="28" y="752"/>
                  <a:pt x="0" y="774"/>
                  <a:pt x="1" y="784"/>
                </a:cubicBezTo>
                <a:cubicBezTo>
                  <a:pt x="1" y="793"/>
                  <a:pt x="3" y="803"/>
                  <a:pt x="9" y="807"/>
                </a:cubicBezTo>
                <a:cubicBezTo>
                  <a:pt x="15" y="810"/>
                  <a:pt x="22" y="795"/>
                  <a:pt x="26" y="806"/>
                </a:cubicBezTo>
                <a:cubicBezTo>
                  <a:pt x="30" y="816"/>
                  <a:pt x="20" y="810"/>
                  <a:pt x="25" y="825"/>
                </a:cubicBezTo>
                <a:cubicBezTo>
                  <a:pt x="30" y="840"/>
                  <a:pt x="26" y="840"/>
                  <a:pt x="39" y="843"/>
                </a:cubicBezTo>
                <a:cubicBezTo>
                  <a:pt x="52" y="846"/>
                  <a:pt x="82" y="837"/>
                  <a:pt x="87" y="848"/>
                </a:cubicBezTo>
                <a:cubicBezTo>
                  <a:pt x="88" y="848"/>
                  <a:pt x="88" y="848"/>
                  <a:pt x="88" y="848"/>
                </a:cubicBezTo>
                <a:cubicBezTo>
                  <a:pt x="89" y="847"/>
                  <a:pt x="91" y="847"/>
                  <a:pt x="94" y="850"/>
                </a:cubicBezTo>
                <a:cubicBezTo>
                  <a:pt x="101" y="857"/>
                  <a:pt x="111" y="860"/>
                  <a:pt x="112" y="858"/>
                </a:cubicBezTo>
                <a:cubicBezTo>
                  <a:pt x="113" y="857"/>
                  <a:pt x="101" y="842"/>
                  <a:pt x="100" y="840"/>
                </a:cubicBezTo>
                <a:cubicBezTo>
                  <a:pt x="99" y="839"/>
                  <a:pt x="99" y="836"/>
                  <a:pt x="96" y="836"/>
                </a:cubicBezTo>
                <a:cubicBezTo>
                  <a:pt x="93" y="837"/>
                  <a:pt x="96" y="818"/>
                  <a:pt x="96" y="816"/>
                </a:cubicBezTo>
                <a:cubicBezTo>
                  <a:pt x="97" y="814"/>
                  <a:pt x="100" y="803"/>
                  <a:pt x="105" y="804"/>
                </a:cubicBezTo>
                <a:cubicBezTo>
                  <a:pt x="111" y="805"/>
                  <a:pt x="115" y="795"/>
                  <a:pt x="117" y="797"/>
                </a:cubicBezTo>
                <a:cubicBezTo>
                  <a:pt x="119" y="798"/>
                  <a:pt x="127" y="800"/>
                  <a:pt x="130" y="794"/>
                </a:cubicBezTo>
                <a:cubicBezTo>
                  <a:pt x="133" y="789"/>
                  <a:pt x="133" y="785"/>
                  <a:pt x="135" y="782"/>
                </a:cubicBezTo>
                <a:cubicBezTo>
                  <a:pt x="136" y="779"/>
                  <a:pt x="144" y="768"/>
                  <a:pt x="147" y="766"/>
                </a:cubicBezTo>
                <a:cubicBezTo>
                  <a:pt x="151" y="764"/>
                  <a:pt x="160" y="759"/>
                  <a:pt x="165" y="756"/>
                </a:cubicBezTo>
                <a:cubicBezTo>
                  <a:pt x="169" y="752"/>
                  <a:pt x="188" y="743"/>
                  <a:pt x="183" y="739"/>
                </a:cubicBezTo>
                <a:cubicBezTo>
                  <a:pt x="179" y="734"/>
                  <a:pt x="199" y="720"/>
                  <a:pt x="190" y="716"/>
                </a:cubicBezTo>
                <a:cubicBezTo>
                  <a:pt x="182" y="713"/>
                  <a:pt x="160" y="706"/>
                  <a:pt x="158" y="702"/>
                </a:cubicBezTo>
                <a:cubicBezTo>
                  <a:pt x="155" y="698"/>
                  <a:pt x="154" y="683"/>
                  <a:pt x="158" y="679"/>
                </a:cubicBezTo>
                <a:cubicBezTo>
                  <a:pt x="161" y="674"/>
                  <a:pt x="175" y="665"/>
                  <a:pt x="179" y="665"/>
                </a:cubicBezTo>
                <a:cubicBezTo>
                  <a:pt x="183" y="664"/>
                  <a:pt x="199" y="662"/>
                  <a:pt x="204" y="658"/>
                </a:cubicBezTo>
                <a:cubicBezTo>
                  <a:pt x="210" y="654"/>
                  <a:pt x="217" y="643"/>
                  <a:pt x="218" y="640"/>
                </a:cubicBezTo>
                <a:cubicBezTo>
                  <a:pt x="219" y="638"/>
                  <a:pt x="219" y="633"/>
                  <a:pt x="220" y="626"/>
                </a:cubicBezTo>
                <a:cubicBezTo>
                  <a:pt x="220" y="619"/>
                  <a:pt x="219" y="613"/>
                  <a:pt x="225" y="612"/>
                </a:cubicBezTo>
                <a:cubicBezTo>
                  <a:pt x="231" y="610"/>
                  <a:pt x="233" y="608"/>
                  <a:pt x="237" y="608"/>
                </a:cubicBezTo>
                <a:cubicBezTo>
                  <a:pt x="241" y="608"/>
                  <a:pt x="245" y="607"/>
                  <a:pt x="245" y="605"/>
                </a:cubicBezTo>
                <a:cubicBezTo>
                  <a:pt x="244" y="602"/>
                  <a:pt x="240" y="595"/>
                  <a:pt x="240" y="595"/>
                </a:cubicBezTo>
                <a:cubicBezTo>
                  <a:pt x="247" y="590"/>
                  <a:pt x="247" y="590"/>
                  <a:pt x="247" y="590"/>
                </a:cubicBezTo>
                <a:cubicBezTo>
                  <a:pt x="247" y="590"/>
                  <a:pt x="242" y="583"/>
                  <a:pt x="239" y="580"/>
                </a:cubicBezTo>
                <a:cubicBezTo>
                  <a:pt x="236" y="576"/>
                  <a:pt x="238" y="567"/>
                  <a:pt x="238" y="563"/>
                </a:cubicBezTo>
                <a:cubicBezTo>
                  <a:pt x="238" y="558"/>
                  <a:pt x="233" y="552"/>
                  <a:pt x="238" y="545"/>
                </a:cubicBezTo>
                <a:cubicBezTo>
                  <a:pt x="242" y="538"/>
                  <a:pt x="250" y="532"/>
                  <a:pt x="254" y="541"/>
                </a:cubicBezTo>
                <a:cubicBezTo>
                  <a:pt x="257" y="550"/>
                  <a:pt x="260" y="552"/>
                  <a:pt x="268" y="554"/>
                </a:cubicBezTo>
                <a:cubicBezTo>
                  <a:pt x="277" y="556"/>
                  <a:pt x="284" y="552"/>
                  <a:pt x="284" y="552"/>
                </a:cubicBezTo>
                <a:cubicBezTo>
                  <a:pt x="284" y="552"/>
                  <a:pt x="312" y="543"/>
                  <a:pt x="309" y="539"/>
                </a:cubicBezTo>
                <a:cubicBezTo>
                  <a:pt x="305" y="534"/>
                  <a:pt x="306" y="530"/>
                  <a:pt x="310" y="528"/>
                </a:cubicBezTo>
                <a:cubicBezTo>
                  <a:pt x="313" y="525"/>
                  <a:pt x="321" y="519"/>
                  <a:pt x="322" y="516"/>
                </a:cubicBezTo>
                <a:cubicBezTo>
                  <a:pt x="323" y="512"/>
                  <a:pt x="319" y="509"/>
                  <a:pt x="316" y="503"/>
                </a:cubicBezTo>
                <a:cubicBezTo>
                  <a:pt x="314" y="497"/>
                  <a:pt x="316" y="486"/>
                  <a:pt x="320" y="487"/>
                </a:cubicBezTo>
                <a:cubicBezTo>
                  <a:pt x="323" y="488"/>
                  <a:pt x="324" y="486"/>
                  <a:pt x="331" y="493"/>
                </a:cubicBezTo>
                <a:cubicBezTo>
                  <a:pt x="338" y="501"/>
                  <a:pt x="338" y="493"/>
                  <a:pt x="350" y="494"/>
                </a:cubicBezTo>
                <a:cubicBezTo>
                  <a:pt x="361" y="494"/>
                  <a:pt x="369" y="492"/>
                  <a:pt x="375" y="490"/>
                </a:cubicBezTo>
                <a:cubicBezTo>
                  <a:pt x="381" y="488"/>
                  <a:pt x="382" y="483"/>
                  <a:pt x="393" y="484"/>
                </a:cubicBezTo>
                <a:cubicBezTo>
                  <a:pt x="403" y="484"/>
                  <a:pt x="463" y="460"/>
                  <a:pt x="470" y="446"/>
                </a:cubicBezTo>
                <a:cubicBezTo>
                  <a:pt x="476" y="433"/>
                  <a:pt x="483" y="427"/>
                  <a:pt x="477" y="423"/>
                </a:cubicBezTo>
                <a:cubicBezTo>
                  <a:pt x="471" y="420"/>
                  <a:pt x="466" y="423"/>
                  <a:pt x="464" y="416"/>
                </a:cubicBezTo>
                <a:cubicBezTo>
                  <a:pt x="461" y="410"/>
                  <a:pt x="461" y="404"/>
                  <a:pt x="466" y="401"/>
                </a:cubicBezTo>
                <a:cubicBezTo>
                  <a:pt x="472" y="399"/>
                  <a:pt x="482" y="391"/>
                  <a:pt x="474" y="388"/>
                </a:cubicBezTo>
                <a:cubicBezTo>
                  <a:pt x="465" y="384"/>
                  <a:pt x="462" y="382"/>
                  <a:pt x="462" y="382"/>
                </a:cubicBezTo>
                <a:cubicBezTo>
                  <a:pt x="462" y="382"/>
                  <a:pt x="444" y="379"/>
                  <a:pt x="443" y="373"/>
                </a:cubicBezTo>
                <a:cubicBezTo>
                  <a:pt x="442" y="366"/>
                  <a:pt x="441" y="359"/>
                  <a:pt x="444" y="356"/>
                </a:cubicBezTo>
                <a:cubicBezTo>
                  <a:pt x="445" y="355"/>
                  <a:pt x="446" y="354"/>
                  <a:pt x="447" y="354"/>
                </a:cubicBezTo>
                <a:cubicBezTo>
                  <a:pt x="447" y="350"/>
                  <a:pt x="447" y="350"/>
                  <a:pt x="447" y="350"/>
                </a:cubicBezTo>
                <a:cubicBezTo>
                  <a:pt x="448" y="342"/>
                  <a:pt x="452" y="337"/>
                  <a:pt x="455" y="330"/>
                </a:cubicBezTo>
                <a:cubicBezTo>
                  <a:pt x="459" y="316"/>
                  <a:pt x="460" y="300"/>
                  <a:pt x="463" y="286"/>
                </a:cubicBezTo>
                <a:cubicBezTo>
                  <a:pt x="465" y="272"/>
                  <a:pt x="468" y="260"/>
                  <a:pt x="478" y="249"/>
                </a:cubicBezTo>
                <a:cubicBezTo>
                  <a:pt x="487" y="238"/>
                  <a:pt x="500" y="230"/>
                  <a:pt x="511" y="220"/>
                </a:cubicBezTo>
                <a:cubicBezTo>
                  <a:pt x="522" y="209"/>
                  <a:pt x="532" y="199"/>
                  <a:pt x="545" y="190"/>
                </a:cubicBezTo>
                <a:cubicBezTo>
                  <a:pt x="559" y="181"/>
                  <a:pt x="572" y="171"/>
                  <a:pt x="585" y="160"/>
                </a:cubicBezTo>
                <a:cubicBezTo>
                  <a:pt x="593" y="153"/>
                  <a:pt x="605" y="149"/>
                  <a:pt x="608" y="139"/>
                </a:cubicBezTo>
                <a:cubicBezTo>
                  <a:pt x="613" y="127"/>
                  <a:pt x="609" y="115"/>
                  <a:pt x="609" y="103"/>
                </a:cubicBezTo>
                <a:cubicBezTo>
                  <a:pt x="604" y="103"/>
                  <a:pt x="599" y="101"/>
                  <a:pt x="594" y="101"/>
                </a:cubicBezTo>
                <a:cubicBezTo>
                  <a:pt x="593" y="101"/>
                  <a:pt x="591" y="101"/>
                  <a:pt x="589" y="101"/>
                </a:cubicBezTo>
                <a:cubicBezTo>
                  <a:pt x="587" y="101"/>
                  <a:pt x="587" y="101"/>
                  <a:pt x="587" y="101"/>
                </a:cubicBezTo>
                <a:cubicBezTo>
                  <a:pt x="586" y="107"/>
                  <a:pt x="585" y="112"/>
                  <a:pt x="582" y="118"/>
                </a:cubicBezTo>
                <a:cubicBezTo>
                  <a:pt x="577" y="127"/>
                  <a:pt x="569" y="139"/>
                  <a:pt x="561" y="146"/>
                </a:cubicBezTo>
                <a:cubicBezTo>
                  <a:pt x="555" y="151"/>
                  <a:pt x="547" y="161"/>
                  <a:pt x="539" y="162"/>
                </a:cubicBezTo>
                <a:cubicBezTo>
                  <a:pt x="529" y="164"/>
                  <a:pt x="514" y="159"/>
                  <a:pt x="503" y="157"/>
                </a:cubicBezTo>
                <a:cubicBezTo>
                  <a:pt x="489" y="155"/>
                  <a:pt x="474" y="157"/>
                  <a:pt x="461" y="154"/>
                </a:cubicBezTo>
                <a:cubicBezTo>
                  <a:pt x="467" y="147"/>
                  <a:pt x="472" y="137"/>
                  <a:pt x="478" y="130"/>
                </a:cubicBezTo>
                <a:cubicBezTo>
                  <a:pt x="484" y="120"/>
                  <a:pt x="496" y="111"/>
                  <a:pt x="500" y="100"/>
                </a:cubicBezTo>
                <a:cubicBezTo>
                  <a:pt x="506" y="80"/>
                  <a:pt x="483" y="74"/>
                  <a:pt x="467" y="69"/>
                </a:cubicBezTo>
                <a:cubicBezTo>
                  <a:pt x="460" y="67"/>
                  <a:pt x="452" y="65"/>
                  <a:pt x="445" y="65"/>
                </a:cubicBezTo>
                <a:cubicBezTo>
                  <a:pt x="440" y="64"/>
                  <a:pt x="436" y="66"/>
                  <a:pt x="431" y="66"/>
                </a:cubicBezTo>
                <a:cubicBezTo>
                  <a:pt x="422" y="65"/>
                  <a:pt x="414" y="59"/>
                  <a:pt x="406" y="56"/>
                </a:cubicBezTo>
                <a:cubicBezTo>
                  <a:pt x="397" y="53"/>
                  <a:pt x="389" y="52"/>
                  <a:pt x="382" y="45"/>
                </a:cubicBezTo>
                <a:cubicBezTo>
                  <a:pt x="371" y="34"/>
                  <a:pt x="363" y="18"/>
                  <a:pt x="353" y="5"/>
                </a:cubicBezTo>
                <a:cubicBezTo>
                  <a:pt x="353" y="5"/>
                  <a:pt x="353" y="5"/>
                  <a:pt x="353" y="5"/>
                </a:cubicBezTo>
                <a:cubicBezTo>
                  <a:pt x="350" y="6"/>
                  <a:pt x="345" y="4"/>
                  <a:pt x="342" y="3"/>
                </a:cubicBezTo>
                <a:cubicBezTo>
                  <a:pt x="336" y="2"/>
                  <a:pt x="328" y="0"/>
                  <a:pt x="323" y="1"/>
                </a:cubicBezTo>
                <a:cubicBezTo>
                  <a:pt x="316" y="2"/>
                  <a:pt x="317" y="3"/>
                  <a:pt x="313" y="8"/>
                </a:cubicBezTo>
                <a:cubicBezTo>
                  <a:pt x="306" y="16"/>
                  <a:pt x="305" y="25"/>
                  <a:pt x="296" y="18"/>
                </a:cubicBezTo>
                <a:cubicBezTo>
                  <a:pt x="292" y="16"/>
                  <a:pt x="290" y="11"/>
                  <a:pt x="285" y="9"/>
                </a:cubicBezTo>
                <a:cubicBezTo>
                  <a:pt x="281" y="8"/>
                  <a:pt x="274" y="9"/>
                  <a:pt x="269" y="8"/>
                </a:cubicBezTo>
                <a:cubicBezTo>
                  <a:pt x="264" y="7"/>
                  <a:pt x="258" y="8"/>
                  <a:pt x="254" y="6"/>
                </a:cubicBezTo>
                <a:cubicBezTo>
                  <a:pt x="248" y="3"/>
                  <a:pt x="249" y="0"/>
                  <a:pt x="242" y="3"/>
                </a:cubicBezTo>
                <a:cubicBezTo>
                  <a:pt x="234" y="8"/>
                  <a:pt x="230" y="17"/>
                  <a:pt x="222" y="21"/>
                </a:cubicBezTo>
                <a:lnTo>
                  <a:pt x="222" y="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57" name="Freeform 390"/>
          <p:cNvSpPr>
            <a:spLocks/>
          </p:cNvSpPr>
          <p:nvPr userDrawn="1"/>
        </p:nvSpPr>
        <p:spPr bwMode="auto">
          <a:xfrm>
            <a:off x="3840691" y="6626137"/>
            <a:ext cx="80404" cy="58628"/>
          </a:xfrm>
          <a:custGeom>
            <a:avLst/>
            <a:gdLst>
              <a:gd name="T0" fmla="*/ 2147483646 w 87"/>
              <a:gd name="T1" fmla="*/ 2147483646 h 64"/>
              <a:gd name="T2" fmla="*/ 2147483646 w 87"/>
              <a:gd name="T3" fmla="*/ 2147483646 h 64"/>
              <a:gd name="T4" fmla="*/ 2147483646 w 87"/>
              <a:gd name="T5" fmla="*/ 2147483646 h 64"/>
              <a:gd name="T6" fmla="*/ 2147483646 w 87"/>
              <a:gd name="T7" fmla="*/ 2147483646 h 64"/>
              <a:gd name="T8" fmla="*/ 2147483646 w 87"/>
              <a:gd name="T9" fmla="*/ 2147483646 h 64"/>
              <a:gd name="T10" fmla="*/ 2147483646 w 87"/>
              <a:gd name="T11" fmla="*/ 2147483646 h 64"/>
              <a:gd name="T12" fmla="*/ 2147483646 w 87"/>
              <a:gd name="T13" fmla="*/ 0 h 64"/>
              <a:gd name="T14" fmla="*/ 2147483646 w 87"/>
              <a:gd name="T15" fmla="*/ 2147483646 h 64"/>
              <a:gd name="T16" fmla="*/ 2147483646 w 87"/>
              <a:gd name="T17" fmla="*/ 2147483646 h 64"/>
              <a:gd name="T18" fmla="*/ 2147483646 w 87"/>
              <a:gd name="T19" fmla="*/ 2147483646 h 64"/>
              <a:gd name="T20" fmla="*/ 2147483646 w 87"/>
              <a:gd name="T21" fmla="*/ 2147483646 h 64"/>
              <a:gd name="T22" fmla="*/ 2147483646 w 87"/>
              <a:gd name="T23" fmla="*/ 2147483646 h 6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7"/>
              <a:gd name="T37" fmla="*/ 0 h 64"/>
              <a:gd name="T38" fmla="*/ 87 w 87"/>
              <a:gd name="T39" fmla="*/ 64 h 6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7" h="64">
                <a:moveTo>
                  <a:pt x="60" y="64"/>
                </a:moveTo>
                <a:cubicBezTo>
                  <a:pt x="64" y="63"/>
                  <a:pt x="72" y="61"/>
                  <a:pt x="75" y="62"/>
                </a:cubicBezTo>
                <a:cubicBezTo>
                  <a:pt x="78" y="62"/>
                  <a:pt x="87" y="53"/>
                  <a:pt x="78" y="50"/>
                </a:cubicBezTo>
                <a:cubicBezTo>
                  <a:pt x="69" y="47"/>
                  <a:pt x="61" y="46"/>
                  <a:pt x="56" y="43"/>
                </a:cubicBezTo>
                <a:cubicBezTo>
                  <a:pt x="51" y="40"/>
                  <a:pt x="44" y="35"/>
                  <a:pt x="35" y="27"/>
                </a:cubicBezTo>
                <a:cubicBezTo>
                  <a:pt x="27" y="19"/>
                  <a:pt x="20" y="16"/>
                  <a:pt x="19" y="7"/>
                </a:cubicBezTo>
                <a:cubicBezTo>
                  <a:pt x="19" y="4"/>
                  <a:pt x="17" y="1"/>
                  <a:pt x="14" y="0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2"/>
                  <a:pt x="14" y="22"/>
                  <a:pt x="13" y="31"/>
                </a:cubicBezTo>
                <a:cubicBezTo>
                  <a:pt x="11" y="41"/>
                  <a:pt x="0" y="56"/>
                  <a:pt x="11" y="56"/>
                </a:cubicBezTo>
                <a:cubicBezTo>
                  <a:pt x="22" y="57"/>
                  <a:pt x="50" y="55"/>
                  <a:pt x="59" y="63"/>
                </a:cubicBezTo>
                <a:lnTo>
                  <a:pt x="60" y="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58" name="Freeform 391"/>
          <p:cNvSpPr>
            <a:spLocks/>
          </p:cNvSpPr>
          <p:nvPr userDrawn="1"/>
        </p:nvSpPr>
        <p:spPr bwMode="auto">
          <a:xfrm>
            <a:off x="3708358" y="5698135"/>
            <a:ext cx="256289" cy="1003380"/>
          </a:xfrm>
          <a:custGeom>
            <a:avLst/>
            <a:gdLst>
              <a:gd name="T0" fmla="*/ 2147483646 w 275"/>
              <a:gd name="T1" fmla="*/ 2147483646 h 1075"/>
              <a:gd name="T2" fmla="*/ 2147483646 w 275"/>
              <a:gd name="T3" fmla="*/ 2147483646 h 1075"/>
              <a:gd name="T4" fmla="*/ 2147483646 w 275"/>
              <a:gd name="T5" fmla="*/ 2147483646 h 1075"/>
              <a:gd name="T6" fmla="*/ 2147483646 w 275"/>
              <a:gd name="T7" fmla="*/ 2147483646 h 1075"/>
              <a:gd name="T8" fmla="*/ 2147483646 w 275"/>
              <a:gd name="T9" fmla="*/ 2147483646 h 1075"/>
              <a:gd name="T10" fmla="*/ 2147483646 w 275"/>
              <a:gd name="T11" fmla="*/ 2147483646 h 1075"/>
              <a:gd name="T12" fmla="*/ 2147483646 w 275"/>
              <a:gd name="T13" fmla="*/ 2147483646 h 1075"/>
              <a:gd name="T14" fmla="*/ 2147483646 w 275"/>
              <a:gd name="T15" fmla="*/ 2147483646 h 1075"/>
              <a:gd name="T16" fmla="*/ 2147483646 w 275"/>
              <a:gd name="T17" fmla="*/ 2147483646 h 1075"/>
              <a:gd name="T18" fmla="*/ 2147483646 w 275"/>
              <a:gd name="T19" fmla="*/ 2147483646 h 1075"/>
              <a:gd name="T20" fmla="*/ 2147483646 w 275"/>
              <a:gd name="T21" fmla="*/ 2147483646 h 1075"/>
              <a:gd name="T22" fmla="*/ 2147483646 w 275"/>
              <a:gd name="T23" fmla="*/ 2147483646 h 1075"/>
              <a:gd name="T24" fmla="*/ 2147483646 w 275"/>
              <a:gd name="T25" fmla="*/ 2147483646 h 1075"/>
              <a:gd name="T26" fmla="*/ 2147483646 w 275"/>
              <a:gd name="T27" fmla="*/ 2147483646 h 1075"/>
              <a:gd name="T28" fmla="*/ 2147483646 w 275"/>
              <a:gd name="T29" fmla="*/ 2147483646 h 1075"/>
              <a:gd name="T30" fmla="*/ 2147483646 w 275"/>
              <a:gd name="T31" fmla="*/ 2147483646 h 1075"/>
              <a:gd name="T32" fmla="*/ 2147483646 w 275"/>
              <a:gd name="T33" fmla="*/ 2147483646 h 1075"/>
              <a:gd name="T34" fmla="*/ 2147483646 w 275"/>
              <a:gd name="T35" fmla="*/ 2147483646 h 1075"/>
              <a:gd name="T36" fmla="*/ 2147483646 w 275"/>
              <a:gd name="T37" fmla="*/ 2147483646 h 1075"/>
              <a:gd name="T38" fmla="*/ 2147483646 w 275"/>
              <a:gd name="T39" fmla="*/ 2147483646 h 1075"/>
              <a:gd name="T40" fmla="*/ 2147483646 w 275"/>
              <a:gd name="T41" fmla="*/ 2147483646 h 1075"/>
              <a:gd name="T42" fmla="*/ 2147483646 w 275"/>
              <a:gd name="T43" fmla="*/ 2147483646 h 1075"/>
              <a:gd name="T44" fmla="*/ 2147483646 w 275"/>
              <a:gd name="T45" fmla="*/ 2147483646 h 1075"/>
              <a:gd name="T46" fmla="*/ 2147483646 w 275"/>
              <a:gd name="T47" fmla="*/ 2147483646 h 1075"/>
              <a:gd name="T48" fmla="*/ 2147483646 w 275"/>
              <a:gd name="T49" fmla="*/ 2147483646 h 1075"/>
              <a:gd name="T50" fmla="*/ 2147483646 w 275"/>
              <a:gd name="T51" fmla="*/ 2147483646 h 1075"/>
              <a:gd name="T52" fmla="*/ 2147483646 w 275"/>
              <a:gd name="T53" fmla="*/ 2147483646 h 1075"/>
              <a:gd name="T54" fmla="*/ 2147483646 w 275"/>
              <a:gd name="T55" fmla="*/ 2147483646 h 1075"/>
              <a:gd name="T56" fmla="*/ 2147483646 w 275"/>
              <a:gd name="T57" fmla="*/ 2147483646 h 1075"/>
              <a:gd name="T58" fmla="*/ 2147483646 w 275"/>
              <a:gd name="T59" fmla="*/ 2147483646 h 1075"/>
              <a:gd name="T60" fmla="*/ 2147483646 w 275"/>
              <a:gd name="T61" fmla="*/ 2147483646 h 1075"/>
              <a:gd name="T62" fmla="*/ 2147483646 w 275"/>
              <a:gd name="T63" fmla="*/ 2147483646 h 1075"/>
              <a:gd name="T64" fmla="*/ 2147483646 w 275"/>
              <a:gd name="T65" fmla="*/ 2147483646 h 1075"/>
              <a:gd name="T66" fmla="*/ 2147483646 w 275"/>
              <a:gd name="T67" fmla="*/ 2147483646 h 1075"/>
              <a:gd name="T68" fmla="*/ 2147483646 w 275"/>
              <a:gd name="T69" fmla="*/ 2147483646 h 1075"/>
              <a:gd name="T70" fmla="*/ 2147483646 w 275"/>
              <a:gd name="T71" fmla="*/ 2147483646 h 1075"/>
              <a:gd name="T72" fmla="*/ 2147483646 w 275"/>
              <a:gd name="T73" fmla="*/ 2147483646 h 1075"/>
              <a:gd name="T74" fmla="*/ 2147483646 w 275"/>
              <a:gd name="T75" fmla="*/ 2147483646 h 1075"/>
              <a:gd name="T76" fmla="*/ 2147483646 w 275"/>
              <a:gd name="T77" fmla="*/ 2147483646 h 1075"/>
              <a:gd name="T78" fmla="*/ 2147483646 w 275"/>
              <a:gd name="T79" fmla="*/ 2147483646 h 1075"/>
              <a:gd name="T80" fmla="*/ 2147483646 w 275"/>
              <a:gd name="T81" fmla="*/ 2147483646 h 1075"/>
              <a:gd name="T82" fmla="*/ 2147483646 w 275"/>
              <a:gd name="T83" fmla="*/ 2147483646 h 1075"/>
              <a:gd name="T84" fmla="*/ 2147483646 w 275"/>
              <a:gd name="T85" fmla="*/ 2147483646 h 1075"/>
              <a:gd name="T86" fmla="*/ 2147483646 w 275"/>
              <a:gd name="T87" fmla="*/ 2147483646 h 1075"/>
              <a:gd name="T88" fmla="*/ 2147483646 w 275"/>
              <a:gd name="T89" fmla="*/ 2147483646 h 1075"/>
              <a:gd name="T90" fmla="*/ 2147483646 w 275"/>
              <a:gd name="T91" fmla="*/ 2147483646 h 1075"/>
              <a:gd name="T92" fmla="*/ 2147483646 w 275"/>
              <a:gd name="T93" fmla="*/ 2147483646 h 1075"/>
              <a:gd name="T94" fmla="*/ 2147483646 w 275"/>
              <a:gd name="T95" fmla="*/ 2147483646 h 1075"/>
              <a:gd name="T96" fmla="*/ 2147483646 w 275"/>
              <a:gd name="T97" fmla="*/ 2147483646 h 1075"/>
              <a:gd name="T98" fmla="*/ 2147483646 w 275"/>
              <a:gd name="T99" fmla="*/ 2147483646 h 1075"/>
              <a:gd name="T100" fmla="*/ 2147483646 w 275"/>
              <a:gd name="T101" fmla="*/ 2147483646 h 1075"/>
              <a:gd name="T102" fmla="*/ 2147483646 w 275"/>
              <a:gd name="T103" fmla="*/ 2147483646 h 107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75"/>
              <a:gd name="T157" fmla="*/ 0 h 1075"/>
              <a:gd name="T158" fmla="*/ 275 w 275"/>
              <a:gd name="T159" fmla="*/ 1075 h 107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75" h="1075">
                <a:moveTo>
                  <a:pt x="200" y="1056"/>
                </a:moveTo>
                <a:cubicBezTo>
                  <a:pt x="191" y="1049"/>
                  <a:pt x="163" y="1050"/>
                  <a:pt x="152" y="1050"/>
                </a:cubicBezTo>
                <a:cubicBezTo>
                  <a:pt x="141" y="1049"/>
                  <a:pt x="152" y="1034"/>
                  <a:pt x="154" y="1025"/>
                </a:cubicBezTo>
                <a:cubicBezTo>
                  <a:pt x="155" y="1015"/>
                  <a:pt x="155" y="995"/>
                  <a:pt x="155" y="995"/>
                </a:cubicBezTo>
                <a:cubicBezTo>
                  <a:pt x="155" y="993"/>
                  <a:pt x="155" y="993"/>
                  <a:pt x="155" y="993"/>
                </a:cubicBezTo>
                <a:cubicBezTo>
                  <a:pt x="151" y="990"/>
                  <a:pt x="145" y="988"/>
                  <a:pt x="143" y="986"/>
                </a:cubicBezTo>
                <a:cubicBezTo>
                  <a:pt x="141" y="984"/>
                  <a:pt x="139" y="979"/>
                  <a:pt x="140" y="977"/>
                </a:cubicBezTo>
                <a:cubicBezTo>
                  <a:pt x="140" y="976"/>
                  <a:pt x="140" y="976"/>
                  <a:pt x="140" y="976"/>
                </a:cubicBezTo>
                <a:cubicBezTo>
                  <a:pt x="134" y="965"/>
                  <a:pt x="105" y="974"/>
                  <a:pt x="92" y="971"/>
                </a:cubicBezTo>
                <a:cubicBezTo>
                  <a:pt x="79" y="968"/>
                  <a:pt x="83" y="968"/>
                  <a:pt x="78" y="953"/>
                </a:cubicBezTo>
                <a:cubicBezTo>
                  <a:pt x="73" y="938"/>
                  <a:pt x="83" y="945"/>
                  <a:pt x="79" y="934"/>
                </a:cubicBezTo>
                <a:cubicBezTo>
                  <a:pt x="75" y="923"/>
                  <a:pt x="68" y="939"/>
                  <a:pt x="62" y="935"/>
                </a:cubicBezTo>
                <a:cubicBezTo>
                  <a:pt x="56" y="931"/>
                  <a:pt x="54" y="922"/>
                  <a:pt x="54" y="912"/>
                </a:cubicBezTo>
                <a:cubicBezTo>
                  <a:pt x="53" y="902"/>
                  <a:pt x="81" y="880"/>
                  <a:pt x="81" y="874"/>
                </a:cubicBezTo>
                <a:cubicBezTo>
                  <a:pt x="80" y="868"/>
                  <a:pt x="86" y="865"/>
                  <a:pt x="92" y="857"/>
                </a:cubicBezTo>
                <a:cubicBezTo>
                  <a:pt x="97" y="849"/>
                  <a:pt x="98" y="848"/>
                  <a:pt x="97" y="843"/>
                </a:cubicBezTo>
                <a:cubicBezTo>
                  <a:pt x="97" y="837"/>
                  <a:pt x="102" y="834"/>
                  <a:pt x="103" y="830"/>
                </a:cubicBezTo>
                <a:cubicBezTo>
                  <a:pt x="104" y="826"/>
                  <a:pt x="102" y="826"/>
                  <a:pt x="100" y="819"/>
                </a:cubicBezTo>
                <a:cubicBezTo>
                  <a:pt x="98" y="812"/>
                  <a:pt x="111" y="808"/>
                  <a:pt x="112" y="801"/>
                </a:cubicBezTo>
                <a:cubicBezTo>
                  <a:pt x="113" y="793"/>
                  <a:pt x="102" y="796"/>
                  <a:pt x="98" y="794"/>
                </a:cubicBezTo>
                <a:cubicBezTo>
                  <a:pt x="94" y="792"/>
                  <a:pt x="102" y="790"/>
                  <a:pt x="107" y="789"/>
                </a:cubicBezTo>
                <a:cubicBezTo>
                  <a:pt x="111" y="789"/>
                  <a:pt x="120" y="780"/>
                  <a:pt x="121" y="775"/>
                </a:cubicBezTo>
                <a:cubicBezTo>
                  <a:pt x="123" y="771"/>
                  <a:pt x="114" y="771"/>
                  <a:pt x="106" y="766"/>
                </a:cubicBezTo>
                <a:cubicBezTo>
                  <a:pt x="99" y="761"/>
                  <a:pt x="101" y="761"/>
                  <a:pt x="105" y="748"/>
                </a:cubicBezTo>
                <a:cubicBezTo>
                  <a:pt x="108" y="735"/>
                  <a:pt x="95" y="736"/>
                  <a:pt x="93" y="729"/>
                </a:cubicBezTo>
                <a:cubicBezTo>
                  <a:pt x="91" y="723"/>
                  <a:pt x="104" y="715"/>
                  <a:pt x="107" y="707"/>
                </a:cubicBezTo>
                <a:cubicBezTo>
                  <a:pt x="110" y="700"/>
                  <a:pt x="113" y="696"/>
                  <a:pt x="113" y="679"/>
                </a:cubicBezTo>
                <a:cubicBezTo>
                  <a:pt x="113" y="662"/>
                  <a:pt x="114" y="664"/>
                  <a:pt x="115" y="648"/>
                </a:cubicBezTo>
                <a:cubicBezTo>
                  <a:pt x="115" y="633"/>
                  <a:pt x="113" y="642"/>
                  <a:pt x="116" y="633"/>
                </a:cubicBezTo>
                <a:cubicBezTo>
                  <a:pt x="119" y="624"/>
                  <a:pt x="127" y="627"/>
                  <a:pt x="139" y="617"/>
                </a:cubicBezTo>
                <a:cubicBezTo>
                  <a:pt x="152" y="608"/>
                  <a:pt x="141" y="610"/>
                  <a:pt x="139" y="605"/>
                </a:cubicBezTo>
                <a:cubicBezTo>
                  <a:pt x="138" y="600"/>
                  <a:pt x="137" y="599"/>
                  <a:pt x="136" y="591"/>
                </a:cubicBezTo>
                <a:cubicBezTo>
                  <a:pt x="134" y="583"/>
                  <a:pt x="133" y="576"/>
                  <a:pt x="145" y="556"/>
                </a:cubicBezTo>
                <a:cubicBezTo>
                  <a:pt x="156" y="536"/>
                  <a:pt x="155" y="549"/>
                  <a:pt x="157" y="538"/>
                </a:cubicBezTo>
                <a:cubicBezTo>
                  <a:pt x="160" y="527"/>
                  <a:pt x="157" y="523"/>
                  <a:pt x="158" y="511"/>
                </a:cubicBezTo>
                <a:cubicBezTo>
                  <a:pt x="159" y="499"/>
                  <a:pt x="171" y="497"/>
                  <a:pt x="176" y="487"/>
                </a:cubicBezTo>
                <a:cubicBezTo>
                  <a:pt x="180" y="477"/>
                  <a:pt x="181" y="468"/>
                  <a:pt x="181" y="460"/>
                </a:cubicBezTo>
                <a:cubicBezTo>
                  <a:pt x="182" y="452"/>
                  <a:pt x="166" y="416"/>
                  <a:pt x="163" y="406"/>
                </a:cubicBezTo>
                <a:cubicBezTo>
                  <a:pt x="160" y="395"/>
                  <a:pt x="170" y="389"/>
                  <a:pt x="178" y="384"/>
                </a:cubicBezTo>
                <a:cubicBezTo>
                  <a:pt x="185" y="379"/>
                  <a:pt x="182" y="367"/>
                  <a:pt x="180" y="362"/>
                </a:cubicBezTo>
                <a:cubicBezTo>
                  <a:pt x="179" y="358"/>
                  <a:pt x="196" y="324"/>
                  <a:pt x="199" y="317"/>
                </a:cubicBezTo>
                <a:cubicBezTo>
                  <a:pt x="202" y="311"/>
                  <a:pt x="200" y="304"/>
                  <a:pt x="206" y="297"/>
                </a:cubicBezTo>
                <a:cubicBezTo>
                  <a:pt x="213" y="291"/>
                  <a:pt x="231" y="285"/>
                  <a:pt x="235" y="279"/>
                </a:cubicBezTo>
                <a:cubicBezTo>
                  <a:pt x="240" y="273"/>
                  <a:pt x="230" y="274"/>
                  <a:pt x="227" y="271"/>
                </a:cubicBezTo>
                <a:cubicBezTo>
                  <a:pt x="225" y="268"/>
                  <a:pt x="233" y="261"/>
                  <a:pt x="235" y="254"/>
                </a:cubicBezTo>
                <a:cubicBezTo>
                  <a:pt x="238" y="248"/>
                  <a:pt x="233" y="233"/>
                  <a:pt x="229" y="216"/>
                </a:cubicBezTo>
                <a:cubicBezTo>
                  <a:pt x="226" y="199"/>
                  <a:pt x="234" y="211"/>
                  <a:pt x="252" y="202"/>
                </a:cubicBezTo>
                <a:cubicBezTo>
                  <a:pt x="271" y="194"/>
                  <a:pt x="272" y="188"/>
                  <a:pt x="273" y="170"/>
                </a:cubicBezTo>
                <a:cubicBezTo>
                  <a:pt x="274" y="158"/>
                  <a:pt x="275" y="152"/>
                  <a:pt x="275" y="150"/>
                </a:cubicBezTo>
                <a:cubicBezTo>
                  <a:pt x="275" y="149"/>
                  <a:pt x="275" y="149"/>
                  <a:pt x="275" y="149"/>
                </a:cubicBezTo>
                <a:cubicBezTo>
                  <a:pt x="275" y="149"/>
                  <a:pt x="274" y="150"/>
                  <a:pt x="273" y="150"/>
                </a:cubicBezTo>
                <a:cubicBezTo>
                  <a:pt x="268" y="152"/>
                  <a:pt x="256" y="152"/>
                  <a:pt x="254" y="158"/>
                </a:cubicBezTo>
                <a:cubicBezTo>
                  <a:pt x="247" y="146"/>
                  <a:pt x="247" y="127"/>
                  <a:pt x="241" y="113"/>
                </a:cubicBezTo>
                <a:cubicBezTo>
                  <a:pt x="238" y="103"/>
                  <a:pt x="236" y="92"/>
                  <a:pt x="230" y="84"/>
                </a:cubicBezTo>
                <a:cubicBezTo>
                  <a:pt x="225" y="76"/>
                  <a:pt x="221" y="74"/>
                  <a:pt x="225" y="64"/>
                </a:cubicBezTo>
                <a:cubicBezTo>
                  <a:pt x="228" y="57"/>
                  <a:pt x="233" y="55"/>
                  <a:pt x="231" y="47"/>
                </a:cubicBezTo>
                <a:cubicBezTo>
                  <a:pt x="229" y="42"/>
                  <a:pt x="222" y="37"/>
                  <a:pt x="219" y="32"/>
                </a:cubicBezTo>
                <a:cubicBezTo>
                  <a:pt x="215" y="23"/>
                  <a:pt x="215" y="6"/>
                  <a:pt x="208" y="0"/>
                </a:cubicBezTo>
                <a:cubicBezTo>
                  <a:pt x="208" y="0"/>
                  <a:pt x="208" y="0"/>
                  <a:pt x="208" y="0"/>
                </a:cubicBezTo>
                <a:cubicBezTo>
                  <a:pt x="204" y="8"/>
                  <a:pt x="195" y="24"/>
                  <a:pt x="184" y="25"/>
                </a:cubicBezTo>
                <a:cubicBezTo>
                  <a:pt x="184" y="28"/>
                  <a:pt x="184" y="28"/>
                  <a:pt x="184" y="28"/>
                </a:cubicBezTo>
                <a:cubicBezTo>
                  <a:pt x="184" y="41"/>
                  <a:pt x="184" y="76"/>
                  <a:pt x="186" y="86"/>
                </a:cubicBezTo>
                <a:cubicBezTo>
                  <a:pt x="188" y="99"/>
                  <a:pt x="173" y="157"/>
                  <a:pt x="173" y="179"/>
                </a:cubicBezTo>
                <a:cubicBezTo>
                  <a:pt x="173" y="201"/>
                  <a:pt x="173" y="220"/>
                  <a:pt x="171" y="230"/>
                </a:cubicBezTo>
                <a:cubicBezTo>
                  <a:pt x="169" y="241"/>
                  <a:pt x="167" y="252"/>
                  <a:pt x="164" y="265"/>
                </a:cubicBezTo>
                <a:cubicBezTo>
                  <a:pt x="160" y="278"/>
                  <a:pt x="153" y="302"/>
                  <a:pt x="149" y="316"/>
                </a:cubicBezTo>
                <a:cubicBezTo>
                  <a:pt x="146" y="331"/>
                  <a:pt x="138" y="342"/>
                  <a:pt x="140" y="355"/>
                </a:cubicBezTo>
                <a:cubicBezTo>
                  <a:pt x="142" y="368"/>
                  <a:pt x="146" y="386"/>
                  <a:pt x="136" y="386"/>
                </a:cubicBezTo>
                <a:cubicBezTo>
                  <a:pt x="127" y="386"/>
                  <a:pt x="127" y="371"/>
                  <a:pt x="127" y="386"/>
                </a:cubicBezTo>
                <a:cubicBezTo>
                  <a:pt x="127" y="401"/>
                  <a:pt x="131" y="434"/>
                  <a:pt x="129" y="446"/>
                </a:cubicBezTo>
                <a:cubicBezTo>
                  <a:pt x="127" y="459"/>
                  <a:pt x="116" y="478"/>
                  <a:pt x="114" y="485"/>
                </a:cubicBezTo>
                <a:cubicBezTo>
                  <a:pt x="113" y="492"/>
                  <a:pt x="109" y="509"/>
                  <a:pt x="107" y="514"/>
                </a:cubicBezTo>
                <a:cubicBezTo>
                  <a:pt x="105" y="520"/>
                  <a:pt x="91" y="538"/>
                  <a:pt x="87" y="547"/>
                </a:cubicBezTo>
                <a:cubicBezTo>
                  <a:pt x="83" y="556"/>
                  <a:pt x="76" y="565"/>
                  <a:pt x="76" y="565"/>
                </a:cubicBezTo>
                <a:cubicBezTo>
                  <a:pt x="76" y="565"/>
                  <a:pt x="67" y="567"/>
                  <a:pt x="65" y="573"/>
                </a:cubicBezTo>
                <a:cubicBezTo>
                  <a:pt x="63" y="578"/>
                  <a:pt x="65" y="609"/>
                  <a:pt x="69" y="618"/>
                </a:cubicBezTo>
                <a:cubicBezTo>
                  <a:pt x="72" y="628"/>
                  <a:pt x="74" y="635"/>
                  <a:pt x="65" y="646"/>
                </a:cubicBezTo>
                <a:cubicBezTo>
                  <a:pt x="56" y="657"/>
                  <a:pt x="52" y="681"/>
                  <a:pt x="52" y="681"/>
                </a:cubicBezTo>
                <a:cubicBezTo>
                  <a:pt x="52" y="681"/>
                  <a:pt x="53" y="693"/>
                  <a:pt x="56" y="697"/>
                </a:cubicBezTo>
                <a:cubicBezTo>
                  <a:pt x="59" y="702"/>
                  <a:pt x="67" y="705"/>
                  <a:pt x="70" y="702"/>
                </a:cubicBezTo>
                <a:cubicBezTo>
                  <a:pt x="72" y="700"/>
                  <a:pt x="77" y="693"/>
                  <a:pt x="80" y="695"/>
                </a:cubicBezTo>
                <a:cubicBezTo>
                  <a:pt x="82" y="696"/>
                  <a:pt x="82" y="711"/>
                  <a:pt x="80" y="715"/>
                </a:cubicBezTo>
                <a:cubicBezTo>
                  <a:pt x="78" y="720"/>
                  <a:pt x="82" y="723"/>
                  <a:pt x="79" y="726"/>
                </a:cubicBezTo>
                <a:cubicBezTo>
                  <a:pt x="76" y="729"/>
                  <a:pt x="70" y="738"/>
                  <a:pt x="71" y="741"/>
                </a:cubicBezTo>
                <a:cubicBezTo>
                  <a:pt x="72" y="744"/>
                  <a:pt x="77" y="751"/>
                  <a:pt x="75" y="756"/>
                </a:cubicBezTo>
                <a:cubicBezTo>
                  <a:pt x="72" y="761"/>
                  <a:pt x="68" y="764"/>
                  <a:pt x="70" y="767"/>
                </a:cubicBezTo>
                <a:cubicBezTo>
                  <a:pt x="71" y="770"/>
                  <a:pt x="75" y="771"/>
                  <a:pt x="75" y="773"/>
                </a:cubicBezTo>
                <a:cubicBezTo>
                  <a:pt x="74" y="775"/>
                  <a:pt x="65" y="781"/>
                  <a:pt x="64" y="783"/>
                </a:cubicBezTo>
                <a:cubicBezTo>
                  <a:pt x="61" y="791"/>
                  <a:pt x="63" y="794"/>
                  <a:pt x="62" y="798"/>
                </a:cubicBezTo>
                <a:cubicBezTo>
                  <a:pt x="60" y="802"/>
                  <a:pt x="60" y="804"/>
                  <a:pt x="59" y="808"/>
                </a:cubicBezTo>
                <a:cubicBezTo>
                  <a:pt x="59" y="813"/>
                  <a:pt x="59" y="812"/>
                  <a:pt x="57" y="815"/>
                </a:cubicBezTo>
                <a:cubicBezTo>
                  <a:pt x="56" y="817"/>
                  <a:pt x="51" y="826"/>
                  <a:pt x="48" y="824"/>
                </a:cubicBezTo>
                <a:cubicBezTo>
                  <a:pt x="45" y="821"/>
                  <a:pt x="43" y="815"/>
                  <a:pt x="43" y="815"/>
                </a:cubicBezTo>
                <a:cubicBezTo>
                  <a:pt x="43" y="815"/>
                  <a:pt x="40" y="810"/>
                  <a:pt x="38" y="807"/>
                </a:cubicBezTo>
                <a:cubicBezTo>
                  <a:pt x="36" y="804"/>
                  <a:pt x="35" y="797"/>
                  <a:pt x="31" y="808"/>
                </a:cubicBezTo>
                <a:cubicBezTo>
                  <a:pt x="27" y="819"/>
                  <a:pt x="26" y="818"/>
                  <a:pt x="20" y="821"/>
                </a:cubicBezTo>
                <a:cubicBezTo>
                  <a:pt x="13" y="825"/>
                  <a:pt x="12" y="824"/>
                  <a:pt x="11" y="829"/>
                </a:cubicBezTo>
                <a:cubicBezTo>
                  <a:pt x="11" y="833"/>
                  <a:pt x="4" y="827"/>
                  <a:pt x="6" y="833"/>
                </a:cubicBezTo>
                <a:cubicBezTo>
                  <a:pt x="8" y="838"/>
                  <a:pt x="12" y="836"/>
                  <a:pt x="17" y="836"/>
                </a:cubicBezTo>
                <a:cubicBezTo>
                  <a:pt x="22" y="836"/>
                  <a:pt x="28" y="832"/>
                  <a:pt x="30" y="835"/>
                </a:cubicBezTo>
                <a:cubicBezTo>
                  <a:pt x="31" y="839"/>
                  <a:pt x="33" y="838"/>
                  <a:pt x="36" y="840"/>
                </a:cubicBezTo>
                <a:cubicBezTo>
                  <a:pt x="40" y="842"/>
                  <a:pt x="45" y="845"/>
                  <a:pt x="40" y="849"/>
                </a:cubicBezTo>
                <a:cubicBezTo>
                  <a:pt x="35" y="853"/>
                  <a:pt x="36" y="860"/>
                  <a:pt x="40" y="861"/>
                </a:cubicBezTo>
                <a:cubicBezTo>
                  <a:pt x="44" y="862"/>
                  <a:pt x="51" y="861"/>
                  <a:pt x="50" y="866"/>
                </a:cubicBezTo>
                <a:cubicBezTo>
                  <a:pt x="49" y="871"/>
                  <a:pt x="40" y="878"/>
                  <a:pt x="38" y="879"/>
                </a:cubicBezTo>
                <a:cubicBezTo>
                  <a:pt x="36" y="880"/>
                  <a:pt x="43" y="883"/>
                  <a:pt x="34" y="888"/>
                </a:cubicBezTo>
                <a:cubicBezTo>
                  <a:pt x="26" y="893"/>
                  <a:pt x="22" y="884"/>
                  <a:pt x="21" y="893"/>
                </a:cubicBezTo>
                <a:cubicBezTo>
                  <a:pt x="21" y="902"/>
                  <a:pt x="28" y="901"/>
                  <a:pt x="19" y="904"/>
                </a:cubicBezTo>
                <a:cubicBezTo>
                  <a:pt x="10" y="908"/>
                  <a:pt x="9" y="903"/>
                  <a:pt x="5" y="911"/>
                </a:cubicBezTo>
                <a:cubicBezTo>
                  <a:pt x="0" y="920"/>
                  <a:pt x="2" y="924"/>
                  <a:pt x="8" y="924"/>
                </a:cubicBezTo>
                <a:cubicBezTo>
                  <a:pt x="15" y="924"/>
                  <a:pt x="17" y="913"/>
                  <a:pt x="22" y="917"/>
                </a:cubicBezTo>
                <a:cubicBezTo>
                  <a:pt x="27" y="920"/>
                  <a:pt x="30" y="916"/>
                  <a:pt x="31" y="911"/>
                </a:cubicBezTo>
                <a:cubicBezTo>
                  <a:pt x="31" y="907"/>
                  <a:pt x="36" y="899"/>
                  <a:pt x="38" y="903"/>
                </a:cubicBezTo>
                <a:cubicBezTo>
                  <a:pt x="39" y="906"/>
                  <a:pt x="43" y="908"/>
                  <a:pt x="38" y="916"/>
                </a:cubicBezTo>
                <a:cubicBezTo>
                  <a:pt x="33" y="923"/>
                  <a:pt x="25" y="915"/>
                  <a:pt x="29" y="925"/>
                </a:cubicBezTo>
                <a:cubicBezTo>
                  <a:pt x="33" y="935"/>
                  <a:pt x="33" y="937"/>
                  <a:pt x="29" y="940"/>
                </a:cubicBezTo>
                <a:cubicBezTo>
                  <a:pt x="24" y="943"/>
                  <a:pt x="18" y="941"/>
                  <a:pt x="21" y="945"/>
                </a:cubicBezTo>
                <a:cubicBezTo>
                  <a:pt x="23" y="950"/>
                  <a:pt x="30" y="948"/>
                  <a:pt x="32" y="947"/>
                </a:cubicBezTo>
                <a:cubicBezTo>
                  <a:pt x="34" y="945"/>
                  <a:pt x="36" y="934"/>
                  <a:pt x="36" y="944"/>
                </a:cubicBezTo>
                <a:cubicBezTo>
                  <a:pt x="35" y="954"/>
                  <a:pt x="30" y="956"/>
                  <a:pt x="35" y="958"/>
                </a:cubicBezTo>
                <a:cubicBezTo>
                  <a:pt x="40" y="961"/>
                  <a:pt x="43" y="959"/>
                  <a:pt x="47" y="956"/>
                </a:cubicBezTo>
                <a:cubicBezTo>
                  <a:pt x="50" y="953"/>
                  <a:pt x="55" y="959"/>
                  <a:pt x="52" y="965"/>
                </a:cubicBezTo>
                <a:cubicBezTo>
                  <a:pt x="49" y="971"/>
                  <a:pt x="43" y="966"/>
                  <a:pt x="48" y="972"/>
                </a:cubicBezTo>
                <a:cubicBezTo>
                  <a:pt x="53" y="979"/>
                  <a:pt x="57" y="977"/>
                  <a:pt x="59" y="975"/>
                </a:cubicBezTo>
                <a:cubicBezTo>
                  <a:pt x="62" y="972"/>
                  <a:pt x="69" y="967"/>
                  <a:pt x="69" y="969"/>
                </a:cubicBezTo>
                <a:cubicBezTo>
                  <a:pt x="69" y="971"/>
                  <a:pt x="52" y="986"/>
                  <a:pt x="52" y="992"/>
                </a:cubicBezTo>
                <a:cubicBezTo>
                  <a:pt x="51" y="998"/>
                  <a:pt x="56" y="1001"/>
                  <a:pt x="58" y="1002"/>
                </a:cubicBezTo>
                <a:cubicBezTo>
                  <a:pt x="59" y="1003"/>
                  <a:pt x="49" y="1006"/>
                  <a:pt x="48" y="1011"/>
                </a:cubicBezTo>
                <a:cubicBezTo>
                  <a:pt x="47" y="1017"/>
                  <a:pt x="42" y="1015"/>
                  <a:pt x="48" y="1019"/>
                </a:cubicBezTo>
                <a:cubicBezTo>
                  <a:pt x="54" y="1023"/>
                  <a:pt x="61" y="1021"/>
                  <a:pt x="61" y="1021"/>
                </a:cubicBezTo>
                <a:cubicBezTo>
                  <a:pt x="73" y="1011"/>
                  <a:pt x="73" y="1011"/>
                  <a:pt x="73" y="1011"/>
                </a:cubicBezTo>
                <a:cubicBezTo>
                  <a:pt x="73" y="1011"/>
                  <a:pt x="72" y="1002"/>
                  <a:pt x="76" y="1003"/>
                </a:cubicBezTo>
                <a:cubicBezTo>
                  <a:pt x="80" y="1005"/>
                  <a:pt x="72" y="999"/>
                  <a:pt x="82" y="1000"/>
                </a:cubicBezTo>
                <a:cubicBezTo>
                  <a:pt x="93" y="1002"/>
                  <a:pt x="94" y="1006"/>
                  <a:pt x="88" y="1010"/>
                </a:cubicBezTo>
                <a:cubicBezTo>
                  <a:pt x="82" y="1014"/>
                  <a:pt x="75" y="1016"/>
                  <a:pt x="77" y="1021"/>
                </a:cubicBezTo>
                <a:cubicBezTo>
                  <a:pt x="79" y="1025"/>
                  <a:pt x="75" y="1027"/>
                  <a:pt x="80" y="1029"/>
                </a:cubicBezTo>
                <a:cubicBezTo>
                  <a:pt x="85" y="1031"/>
                  <a:pt x="94" y="1029"/>
                  <a:pt x="98" y="1026"/>
                </a:cubicBezTo>
                <a:cubicBezTo>
                  <a:pt x="101" y="1024"/>
                  <a:pt x="107" y="1018"/>
                  <a:pt x="106" y="1015"/>
                </a:cubicBezTo>
                <a:cubicBezTo>
                  <a:pt x="105" y="1012"/>
                  <a:pt x="102" y="1000"/>
                  <a:pt x="108" y="1001"/>
                </a:cubicBezTo>
                <a:cubicBezTo>
                  <a:pt x="114" y="1002"/>
                  <a:pt x="109" y="996"/>
                  <a:pt x="116" y="998"/>
                </a:cubicBezTo>
                <a:cubicBezTo>
                  <a:pt x="122" y="1000"/>
                  <a:pt x="116" y="1004"/>
                  <a:pt x="116" y="1008"/>
                </a:cubicBezTo>
                <a:cubicBezTo>
                  <a:pt x="117" y="1013"/>
                  <a:pt x="118" y="1009"/>
                  <a:pt x="123" y="1011"/>
                </a:cubicBezTo>
                <a:cubicBezTo>
                  <a:pt x="128" y="1012"/>
                  <a:pt x="134" y="1004"/>
                  <a:pt x="135" y="1010"/>
                </a:cubicBezTo>
                <a:cubicBezTo>
                  <a:pt x="135" y="1016"/>
                  <a:pt x="136" y="1018"/>
                  <a:pt x="131" y="1021"/>
                </a:cubicBezTo>
                <a:cubicBezTo>
                  <a:pt x="127" y="1023"/>
                  <a:pt x="122" y="1020"/>
                  <a:pt x="120" y="1024"/>
                </a:cubicBezTo>
                <a:cubicBezTo>
                  <a:pt x="118" y="1028"/>
                  <a:pt x="125" y="1034"/>
                  <a:pt x="125" y="1034"/>
                </a:cubicBezTo>
                <a:cubicBezTo>
                  <a:pt x="125" y="1034"/>
                  <a:pt x="135" y="1030"/>
                  <a:pt x="131" y="1036"/>
                </a:cubicBezTo>
                <a:cubicBezTo>
                  <a:pt x="127" y="1043"/>
                  <a:pt x="113" y="1042"/>
                  <a:pt x="111" y="1043"/>
                </a:cubicBezTo>
                <a:cubicBezTo>
                  <a:pt x="108" y="1044"/>
                  <a:pt x="104" y="1035"/>
                  <a:pt x="104" y="1044"/>
                </a:cubicBezTo>
                <a:cubicBezTo>
                  <a:pt x="105" y="1053"/>
                  <a:pt x="127" y="1039"/>
                  <a:pt x="127" y="1052"/>
                </a:cubicBezTo>
                <a:cubicBezTo>
                  <a:pt x="126" y="1064"/>
                  <a:pt x="123" y="1062"/>
                  <a:pt x="130" y="1066"/>
                </a:cubicBezTo>
                <a:cubicBezTo>
                  <a:pt x="137" y="1069"/>
                  <a:pt x="132" y="1071"/>
                  <a:pt x="143" y="1066"/>
                </a:cubicBezTo>
                <a:cubicBezTo>
                  <a:pt x="154" y="1060"/>
                  <a:pt x="162" y="1046"/>
                  <a:pt x="164" y="1059"/>
                </a:cubicBezTo>
                <a:cubicBezTo>
                  <a:pt x="166" y="1072"/>
                  <a:pt x="157" y="1075"/>
                  <a:pt x="175" y="1069"/>
                </a:cubicBezTo>
                <a:cubicBezTo>
                  <a:pt x="192" y="1063"/>
                  <a:pt x="198" y="1058"/>
                  <a:pt x="198" y="1058"/>
                </a:cubicBezTo>
                <a:cubicBezTo>
                  <a:pt x="198" y="1058"/>
                  <a:pt x="199" y="1058"/>
                  <a:pt x="201" y="1057"/>
                </a:cubicBezTo>
                <a:lnTo>
                  <a:pt x="200" y="105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59" name="Freeform 392"/>
          <p:cNvSpPr>
            <a:spLocks/>
          </p:cNvSpPr>
          <p:nvPr userDrawn="1"/>
        </p:nvSpPr>
        <p:spPr bwMode="auto">
          <a:xfrm>
            <a:off x="3832315" y="4612675"/>
            <a:ext cx="93805" cy="73704"/>
          </a:xfrm>
          <a:custGeom>
            <a:avLst/>
            <a:gdLst>
              <a:gd name="T0" fmla="*/ 0 w 101"/>
              <a:gd name="T1" fmla="*/ 2147483646 h 79"/>
              <a:gd name="T2" fmla="*/ 0 w 101"/>
              <a:gd name="T3" fmla="*/ 2147483646 h 79"/>
              <a:gd name="T4" fmla="*/ 2147483646 w 101"/>
              <a:gd name="T5" fmla="*/ 2147483646 h 79"/>
              <a:gd name="T6" fmla="*/ 2147483646 w 101"/>
              <a:gd name="T7" fmla="*/ 2147483646 h 79"/>
              <a:gd name="T8" fmla="*/ 2147483646 w 101"/>
              <a:gd name="T9" fmla="*/ 2147483646 h 79"/>
              <a:gd name="T10" fmla="*/ 2147483646 w 101"/>
              <a:gd name="T11" fmla="*/ 2147483646 h 79"/>
              <a:gd name="T12" fmla="*/ 2147483646 w 101"/>
              <a:gd name="T13" fmla="*/ 2147483646 h 79"/>
              <a:gd name="T14" fmla="*/ 2147483646 w 101"/>
              <a:gd name="T15" fmla="*/ 2147483646 h 79"/>
              <a:gd name="T16" fmla="*/ 2147483646 w 101"/>
              <a:gd name="T17" fmla="*/ 2147483646 h 79"/>
              <a:gd name="T18" fmla="*/ 2147483646 w 101"/>
              <a:gd name="T19" fmla="*/ 2147483646 h 79"/>
              <a:gd name="T20" fmla="*/ 2147483646 w 101"/>
              <a:gd name="T21" fmla="*/ 2147483646 h 79"/>
              <a:gd name="T22" fmla="*/ 2147483646 w 101"/>
              <a:gd name="T23" fmla="*/ 2147483646 h 79"/>
              <a:gd name="T24" fmla="*/ 0 w 101"/>
              <a:gd name="T25" fmla="*/ 2147483646 h 7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1"/>
              <a:gd name="T40" fmla="*/ 0 h 79"/>
              <a:gd name="T41" fmla="*/ 101 w 101"/>
              <a:gd name="T42" fmla="*/ 79 h 7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1" h="79">
                <a:moveTo>
                  <a:pt x="0" y="12"/>
                </a:moveTo>
                <a:cubicBezTo>
                  <a:pt x="0" y="12"/>
                  <a:pt x="0" y="12"/>
                  <a:pt x="0" y="12"/>
                </a:cubicBezTo>
                <a:cubicBezTo>
                  <a:pt x="5" y="13"/>
                  <a:pt x="11" y="12"/>
                  <a:pt x="16" y="7"/>
                </a:cubicBezTo>
                <a:cubicBezTo>
                  <a:pt x="25" y="0"/>
                  <a:pt x="34" y="13"/>
                  <a:pt x="40" y="10"/>
                </a:cubicBezTo>
                <a:cubicBezTo>
                  <a:pt x="45" y="7"/>
                  <a:pt x="46" y="28"/>
                  <a:pt x="58" y="30"/>
                </a:cubicBezTo>
                <a:cubicBezTo>
                  <a:pt x="70" y="31"/>
                  <a:pt x="75" y="32"/>
                  <a:pt x="88" y="31"/>
                </a:cubicBezTo>
                <a:cubicBezTo>
                  <a:pt x="101" y="30"/>
                  <a:pt x="98" y="47"/>
                  <a:pt x="91" y="53"/>
                </a:cubicBezTo>
                <a:cubicBezTo>
                  <a:pt x="83" y="60"/>
                  <a:pt x="85" y="60"/>
                  <a:pt x="49" y="62"/>
                </a:cubicBezTo>
                <a:cubicBezTo>
                  <a:pt x="33" y="64"/>
                  <a:pt x="33" y="65"/>
                  <a:pt x="26" y="62"/>
                </a:cubicBezTo>
                <a:cubicBezTo>
                  <a:pt x="15" y="58"/>
                  <a:pt x="21" y="79"/>
                  <a:pt x="17" y="78"/>
                </a:cubicBezTo>
                <a:cubicBezTo>
                  <a:pt x="13" y="77"/>
                  <a:pt x="15" y="70"/>
                  <a:pt x="8" y="64"/>
                </a:cubicBezTo>
                <a:cubicBezTo>
                  <a:pt x="7" y="63"/>
                  <a:pt x="4" y="62"/>
                  <a:pt x="1" y="62"/>
                </a:cubicBezTo>
                <a:lnTo>
                  <a:pt x="0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60" name="Freeform 393"/>
          <p:cNvSpPr>
            <a:spLocks/>
          </p:cNvSpPr>
          <p:nvPr userDrawn="1"/>
        </p:nvSpPr>
        <p:spPr bwMode="auto">
          <a:xfrm>
            <a:off x="3753586" y="4616026"/>
            <a:ext cx="80404" cy="61977"/>
          </a:xfrm>
          <a:custGeom>
            <a:avLst/>
            <a:gdLst>
              <a:gd name="T0" fmla="*/ 2147483646 w 85"/>
              <a:gd name="T1" fmla="*/ 2147483646 h 67"/>
              <a:gd name="T2" fmla="*/ 2147483646 w 85"/>
              <a:gd name="T3" fmla="*/ 2147483646 h 67"/>
              <a:gd name="T4" fmla="*/ 2147483646 w 85"/>
              <a:gd name="T5" fmla="*/ 2147483646 h 67"/>
              <a:gd name="T6" fmla="*/ 2147483646 w 85"/>
              <a:gd name="T7" fmla="*/ 2147483646 h 67"/>
              <a:gd name="T8" fmla="*/ 2147483646 w 85"/>
              <a:gd name="T9" fmla="*/ 2147483646 h 67"/>
              <a:gd name="T10" fmla="*/ 2147483646 w 85"/>
              <a:gd name="T11" fmla="*/ 2147483646 h 67"/>
              <a:gd name="T12" fmla="*/ 2147483646 w 85"/>
              <a:gd name="T13" fmla="*/ 2147483646 h 67"/>
              <a:gd name="T14" fmla="*/ 2147483646 w 85"/>
              <a:gd name="T15" fmla="*/ 0 h 67"/>
              <a:gd name="T16" fmla="*/ 2147483646 w 85"/>
              <a:gd name="T17" fmla="*/ 2147483646 h 67"/>
              <a:gd name="T18" fmla="*/ 2147483646 w 85"/>
              <a:gd name="T19" fmla="*/ 2147483646 h 67"/>
              <a:gd name="T20" fmla="*/ 2147483646 w 85"/>
              <a:gd name="T21" fmla="*/ 2147483646 h 6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5"/>
              <a:gd name="T34" fmla="*/ 0 h 67"/>
              <a:gd name="T35" fmla="*/ 85 w 85"/>
              <a:gd name="T36" fmla="*/ 67 h 6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5" h="67">
                <a:moveTo>
                  <a:pt x="85" y="57"/>
                </a:moveTo>
                <a:cubicBezTo>
                  <a:pt x="70" y="56"/>
                  <a:pt x="38" y="62"/>
                  <a:pt x="21" y="65"/>
                </a:cubicBezTo>
                <a:cubicBezTo>
                  <a:pt x="0" y="67"/>
                  <a:pt x="4" y="57"/>
                  <a:pt x="4" y="42"/>
                </a:cubicBezTo>
                <a:cubicBezTo>
                  <a:pt x="4" y="28"/>
                  <a:pt x="13" y="46"/>
                  <a:pt x="20" y="46"/>
                </a:cubicBezTo>
                <a:cubicBezTo>
                  <a:pt x="26" y="46"/>
                  <a:pt x="68" y="50"/>
                  <a:pt x="62" y="45"/>
                </a:cubicBezTo>
                <a:cubicBezTo>
                  <a:pt x="55" y="40"/>
                  <a:pt x="55" y="37"/>
                  <a:pt x="59" y="31"/>
                </a:cubicBezTo>
                <a:cubicBezTo>
                  <a:pt x="63" y="24"/>
                  <a:pt x="51" y="23"/>
                  <a:pt x="37" y="16"/>
                </a:cubicBezTo>
                <a:cubicBezTo>
                  <a:pt x="22" y="10"/>
                  <a:pt x="43" y="0"/>
                  <a:pt x="51" y="0"/>
                </a:cubicBezTo>
                <a:cubicBezTo>
                  <a:pt x="51" y="0"/>
                  <a:pt x="66" y="0"/>
                  <a:pt x="72" y="4"/>
                </a:cubicBezTo>
                <a:cubicBezTo>
                  <a:pt x="75" y="6"/>
                  <a:pt x="79" y="8"/>
                  <a:pt x="84" y="8"/>
                </a:cubicBezTo>
                <a:lnTo>
                  <a:pt x="85" y="5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61" name="Freeform 394"/>
          <p:cNvSpPr>
            <a:spLocks/>
          </p:cNvSpPr>
          <p:nvPr userDrawn="1"/>
        </p:nvSpPr>
        <p:spPr bwMode="auto">
          <a:xfrm>
            <a:off x="3341513" y="4656229"/>
            <a:ext cx="45227" cy="78729"/>
          </a:xfrm>
          <a:custGeom>
            <a:avLst/>
            <a:gdLst>
              <a:gd name="T0" fmla="*/ 2147483646 w 49"/>
              <a:gd name="T1" fmla="*/ 2147483646 h 84"/>
              <a:gd name="T2" fmla="*/ 2147483646 w 49"/>
              <a:gd name="T3" fmla="*/ 2147483646 h 84"/>
              <a:gd name="T4" fmla="*/ 2147483646 w 49"/>
              <a:gd name="T5" fmla="*/ 2147483646 h 84"/>
              <a:gd name="T6" fmla="*/ 2147483646 w 49"/>
              <a:gd name="T7" fmla="*/ 2147483646 h 84"/>
              <a:gd name="T8" fmla="*/ 2147483646 w 49"/>
              <a:gd name="T9" fmla="*/ 2147483646 h 84"/>
              <a:gd name="T10" fmla="*/ 2147483646 w 49"/>
              <a:gd name="T11" fmla="*/ 2147483646 h 84"/>
              <a:gd name="T12" fmla="*/ 2147483646 w 49"/>
              <a:gd name="T13" fmla="*/ 2147483646 h 84"/>
              <a:gd name="T14" fmla="*/ 2147483646 w 49"/>
              <a:gd name="T15" fmla="*/ 2147483646 h 84"/>
              <a:gd name="T16" fmla="*/ 2147483646 w 49"/>
              <a:gd name="T17" fmla="*/ 2147483646 h 84"/>
              <a:gd name="T18" fmla="*/ 2147483646 w 49"/>
              <a:gd name="T19" fmla="*/ 2147483646 h 84"/>
              <a:gd name="T20" fmla="*/ 2147483646 w 49"/>
              <a:gd name="T21" fmla="*/ 2147483646 h 84"/>
              <a:gd name="T22" fmla="*/ 2147483646 w 49"/>
              <a:gd name="T23" fmla="*/ 2147483646 h 84"/>
              <a:gd name="T24" fmla="*/ 2147483646 w 49"/>
              <a:gd name="T25" fmla="*/ 2147483646 h 84"/>
              <a:gd name="T26" fmla="*/ 2147483646 w 49"/>
              <a:gd name="T27" fmla="*/ 2147483646 h 84"/>
              <a:gd name="T28" fmla="*/ 2147483646 w 49"/>
              <a:gd name="T29" fmla="*/ 2147483646 h 8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9"/>
              <a:gd name="T46" fmla="*/ 0 h 84"/>
              <a:gd name="T47" fmla="*/ 49 w 49"/>
              <a:gd name="T48" fmla="*/ 84 h 8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9" h="84">
                <a:moveTo>
                  <a:pt x="16" y="76"/>
                </a:moveTo>
                <a:cubicBezTo>
                  <a:pt x="23" y="68"/>
                  <a:pt x="35" y="58"/>
                  <a:pt x="35" y="58"/>
                </a:cubicBezTo>
                <a:cubicBezTo>
                  <a:pt x="35" y="58"/>
                  <a:pt x="37" y="48"/>
                  <a:pt x="36" y="38"/>
                </a:cubicBezTo>
                <a:cubicBezTo>
                  <a:pt x="36" y="27"/>
                  <a:pt x="37" y="20"/>
                  <a:pt x="37" y="20"/>
                </a:cubicBezTo>
                <a:cubicBezTo>
                  <a:pt x="37" y="20"/>
                  <a:pt x="45" y="15"/>
                  <a:pt x="49" y="12"/>
                </a:cubicBezTo>
                <a:cubicBezTo>
                  <a:pt x="49" y="10"/>
                  <a:pt x="49" y="10"/>
                  <a:pt x="49" y="10"/>
                </a:cubicBezTo>
                <a:cubicBezTo>
                  <a:pt x="49" y="10"/>
                  <a:pt x="43" y="1"/>
                  <a:pt x="40" y="1"/>
                </a:cubicBezTo>
                <a:cubicBezTo>
                  <a:pt x="37" y="0"/>
                  <a:pt x="32" y="0"/>
                  <a:pt x="28" y="2"/>
                </a:cubicBezTo>
                <a:cubicBezTo>
                  <a:pt x="25" y="5"/>
                  <a:pt x="19" y="12"/>
                  <a:pt x="18" y="15"/>
                </a:cubicBezTo>
                <a:cubicBezTo>
                  <a:pt x="16" y="17"/>
                  <a:pt x="10" y="22"/>
                  <a:pt x="9" y="28"/>
                </a:cubicBezTo>
                <a:cubicBezTo>
                  <a:pt x="7" y="34"/>
                  <a:pt x="6" y="33"/>
                  <a:pt x="7" y="43"/>
                </a:cubicBezTo>
                <a:cubicBezTo>
                  <a:pt x="8" y="53"/>
                  <a:pt x="8" y="42"/>
                  <a:pt x="5" y="60"/>
                </a:cubicBezTo>
                <a:cubicBezTo>
                  <a:pt x="1" y="77"/>
                  <a:pt x="0" y="80"/>
                  <a:pt x="3" y="82"/>
                </a:cubicBezTo>
                <a:cubicBezTo>
                  <a:pt x="6" y="84"/>
                  <a:pt x="14" y="79"/>
                  <a:pt x="14" y="79"/>
                </a:cubicBezTo>
                <a:lnTo>
                  <a:pt x="16" y="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62" name="Line 395"/>
          <p:cNvSpPr>
            <a:spLocks noChangeShapeType="1"/>
          </p:cNvSpPr>
          <p:nvPr userDrawn="1"/>
        </p:nvSpPr>
        <p:spPr bwMode="auto">
          <a:xfrm>
            <a:off x="3426943" y="4882365"/>
            <a:ext cx="1676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63" name="Line 396"/>
          <p:cNvSpPr>
            <a:spLocks noChangeShapeType="1"/>
          </p:cNvSpPr>
          <p:nvPr userDrawn="1"/>
        </p:nvSpPr>
        <p:spPr bwMode="auto">
          <a:xfrm>
            <a:off x="3426943" y="4882365"/>
            <a:ext cx="1676" cy="1676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64" name="Line 397"/>
          <p:cNvSpPr>
            <a:spLocks noChangeShapeType="1"/>
          </p:cNvSpPr>
          <p:nvPr userDrawn="1"/>
        </p:nvSpPr>
        <p:spPr bwMode="auto">
          <a:xfrm>
            <a:off x="3465469" y="4981195"/>
            <a:ext cx="1675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65" name="Line 398"/>
          <p:cNvSpPr>
            <a:spLocks noChangeShapeType="1"/>
          </p:cNvSpPr>
          <p:nvPr userDrawn="1"/>
        </p:nvSpPr>
        <p:spPr bwMode="auto">
          <a:xfrm>
            <a:off x="3465469" y="4981195"/>
            <a:ext cx="1675" cy="1675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66" name="Freeform 399"/>
          <p:cNvSpPr>
            <a:spLocks/>
          </p:cNvSpPr>
          <p:nvPr userDrawn="1"/>
        </p:nvSpPr>
        <p:spPr bwMode="auto">
          <a:xfrm>
            <a:off x="3462120" y="4523896"/>
            <a:ext cx="298167" cy="100505"/>
          </a:xfrm>
          <a:custGeom>
            <a:avLst/>
            <a:gdLst>
              <a:gd name="T0" fmla="*/ 2147483646 w 319"/>
              <a:gd name="T1" fmla="*/ 2147483646 h 107"/>
              <a:gd name="T2" fmla="*/ 2147483646 w 319"/>
              <a:gd name="T3" fmla="*/ 2147483646 h 107"/>
              <a:gd name="T4" fmla="*/ 2147483646 w 319"/>
              <a:gd name="T5" fmla="*/ 2147483646 h 107"/>
              <a:gd name="T6" fmla="*/ 2147483646 w 319"/>
              <a:gd name="T7" fmla="*/ 2147483646 h 107"/>
              <a:gd name="T8" fmla="*/ 2147483646 w 319"/>
              <a:gd name="T9" fmla="*/ 2147483646 h 107"/>
              <a:gd name="T10" fmla="*/ 2147483646 w 319"/>
              <a:gd name="T11" fmla="*/ 2147483646 h 107"/>
              <a:gd name="T12" fmla="*/ 2147483646 w 319"/>
              <a:gd name="T13" fmla="*/ 2147483646 h 107"/>
              <a:gd name="T14" fmla="*/ 2147483646 w 319"/>
              <a:gd name="T15" fmla="*/ 2147483646 h 107"/>
              <a:gd name="T16" fmla="*/ 2147483646 w 319"/>
              <a:gd name="T17" fmla="*/ 2147483646 h 107"/>
              <a:gd name="T18" fmla="*/ 2147483646 w 319"/>
              <a:gd name="T19" fmla="*/ 2147483646 h 107"/>
              <a:gd name="T20" fmla="*/ 2147483646 w 319"/>
              <a:gd name="T21" fmla="*/ 2147483646 h 107"/>
              <a:gd name="T22" fmla="*/ 2147483646 w 319"/>
              <a:gd name="T23" fmla="*/ 2147483646 h 107"/>
              <a:gd name="T24" fmla="*/ 2147483646 w 319"/>
              <a:gd name="T25" fmla="*/ 2147483646 h 107"/>
              <a:gd name="T26" fmla="*/ 2147483646 w 319"/>
              <a:gd name="T27" fmla="*/ 2147483646 h 107"/>
              <a:gd name="T28" fmla="*/ 2147483646 w 319"/>
              <a:gd name="T29" fmla="*/ 2147483646 h 107"/>
              <a:gd name="T30" fmla="*/ 2147483646 w 319"/>
              <a:gd name="T31" fmla="*/ 2147483646 h 107"/>
              <a:gd name="T32" fmla="*/ 2147483646 w 319"/>
              <a:gd name="T33" fmla="*/ 2147483646 h 107"/>
              <a:gd name="T34" fmla="*/ 2147483646 w 319"/>
              <a:gd name="T35" fmla="*/ 2147483646 h 107"/>
              <a:gd name="T36" fmla="*/ 2147483646 w 319"/>
              <a:gd name="T37" fmla="*/ 2147483646 h 107"/>
              <a:gd name="T38" fmla="*/ 2147483646 w 319"/>
              <a:gd name="T39" fmla="*/ 2147483646 h 107"/>
              <a:gd name="T40" fmla="*/ 2147483646 w 319"/>
              <a:gd name="T41" fmla="*/ 2147483646 h 107"/>
              <a:gd name="T42" fmla="*/ 2147483646 w 319"/>
              <a:gd name="T43" fmla="*/ 2147483646 h 107"/>
              <a:gd name="T44" fmla="*/ 2147483646 w 319"/>
              <a:gd name="T45" fmla="*/ 2147483646 h 107"/>
              <a:gd name="T46" fmla="*/ 2147483646 w 319"/>
              <a:gd name="T47" fmla="*/ 2147483646 h 107"/>
              <a:gd name="T48" fmla="*/ 2147483646 w 319"/>
              <a:gd name="T49" fmla="*/ 2147483646 h 107"/>
              <a:gd name="T50" fmla="*/ 2147483646 w 319"/>
              <a:gd name="T51" fmla="*/ 2147483646 h 107"/>
              <a:gd name="T52" fmla="*/ 2147483646 w 319"/>
              <a:gd name="T53" fmla="*/ 2147483646 h 107"/>
              <a:gd name="T54" fmla="*/ 2147483646 w 319"/>
              <a:gd name="T55" fmla="*/ 2147483646 h 107"/>
              <a:gd name="T56" fmla="*/ 2147483646 w 319"/>
              <a:gd name="T57" fmla="*/ 2147483646 h 10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19"/>
              <a:gd name="T88" fmla="*/ 0 h 107"/>
              <a:gd name="T89" fmla="*/ 319 w 319"/>
              <a:gd name="T90" fmla="*/ 107 h 10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19" h="107">
                <a:moveTo>
                  <a:pt x="109" y="6"/>
                </a:moveTo>
                <a:cubicBezTo>
                  <a:pt x="84" y="5"/>
                  <a:pt x="76" y="0"/>
                  <a:pt x="65" y="5"/>
                </a:cubicBezTo>
                <a:cubicBezTo>
                  <a:pt x="53" y="10"/>
                  <a:pt x="45" y="5"/>
                  <a:pt x="40" y="15"/>
                </a:cubicBezTo>
                <a:cubicBezTo>
                  <a:pt x="34" y="26"/>
                  <a:pt x="40" y="27"/>
                  <a:pt x="30" y="32"/>
                </a:cubicBezTo>
                <a:cubicBezTo>
                  <a:pt x="21" y="38"/>
                  <a:pt x="0" y="44"/>
                  <a:pt x="19" y="43"/>
                </a:cubicBezTo>
                <a:cubicBezTo>
                  <a:pt x="37" y="41"/>
                  <a:pt x="49" y="36"/>
                  <a:pt x="57" y="32"/>
                </a:cubicBezTo>
                <a:cubicBezTo>
                  <a:pt x="65" y="28"/>
                  <a:pt x="62" y="17"/>
                  <a:pt x="70" y="19"/>
                </a:cubicBezTo>
                <a:cubicBezTo>
                  <a:pt x="78" y="22"/>
                  <a:pt x="83" y="10"/>
                  <a:pt x="88" y="18"/>
                </a:cubicBezTo>
                <a:cubicBezTo>
                  <a:pt x="93" y="26"/>
                  <a:pt x="109" y="6"/>
                  <a:pt x="108" y="19"/>
                </a:cubicBezTo>
                <a:cubicBezTo>
                  <a:pt x="106" y="32"/>
                  <a:pt x="92" y="22"/>
                  <a:pt x="96" y="28"/>
                </a:cubicBezTo>
                <a:cubicBezTo>
                  <a:pt x="100" y="35"/>
                  <a:pt x="106" y="30"/>
                  <a:pt x="118" y="36"/>
                </a:cubicBezTo>
                <a:cubicBezTo>
                  <a:pt x="130" y="43"/>
                  <a:pt x="146" y="23"/>
                  <a:pt x="151" y="36"/>
                </a:cubicBezTo>
                <a:cubicBezTo>
                  <a:pt x="156" y="49"/>
                  <a:pt x="155" y="49"/>
                  <a:pt x="164" y="52"/>
                </a:cubicBezTo>
                <a:cubicBezTo>
                  <a:pt x="173" y="55"/>
                  <a:pt x="176" y="44"/>
                  <a:pt x="186" y="53"/>
                </a:cubicBezTo>
                <a:cubicBezTo>
                  <a:pt x="197" y="62"/>
                  <a:pt x="207" y="44"/>
                  <a:pt x="203" y="61"/>
                </a:cubicBezTo>
                <a:cubicBezTo>
                  <a:pt x="199" y="78"/>
                  <a:pt x="211" y="73"/>
                  <a:pt x="222" y="82"/>
                </a:cubicBezTo>
                <a:cubicBezTo>
                  <a:pt x="232" y="91"/>
                  <a:pt x="218" y="83"/>
                  <a:pt x="219" y="95"/>
                </a:cubicBezTo>
                <a:cubicBezTo>
                  <a:pt x="220" y="107"/>
                  <a:pt x="207" y="103"/>
                  <a:pt x="235" y="103"/>
                </a:cubicBezTo>
                <a:cubicBezTo>
                  <a:pt x="262" y="103"/>
                  <a:pt x="300" y="106"/>
                  <a:pt x="306" y="104"/>
                </a:cubicBezTo>
                <a:cubicBezTo>
                  <a:pt x="311" y="103"/>
                  <a:pt x="317" y="100"/>
                  <a:pt x="317" y="100"/>
                </a:cubicBezTo>
                <a:cubicBezTo>
                  <a:pt x="317" y="100"/>
                  <a:pt x="319" y="78"/>
                  <a:pt x="308" y="82"/>
                </a:cubicBezTo>
                <a:cubicBezTo>
                  <a:pt x="298" y="86"/>
                  <a:pt x="296" y="73"/>
                  <a:pt x="287" y="77"/>
                </a:cubicBezTo>
                <a:cubicBezTo>
                  <a:pt x="278" y="81"/>
                  <a:pt x="282" y="57"/>
                  <a:pt x="271" y="60"/>
                </a:cubicBezTo>
                <a:cubicBezTo>
                  <a:pt x="261" y="62"/>
                  <a:pt x="247" y="59"/>
                  <a:pt x="239" y="53"/>
                </a:cubicBezTo>
                <a:cubicBezTo>
                  <a:pt x="231" y="48"/>
                  <a:pt x="220" y="45"/>
                  <a:pt x="214" y="43"/>
                </a:cubicBezTo>
                <a:cubicBezTo>
                  <a:pt x="207" y="40"/>
                  <a:pt x="205" y="34"/>
                  <a:pt x="196" y="30"/>
                </a:cubicBezTo>
                <a:cubicBezTo>
                  <a:pt x="186" y="26"/>
                  <a:pt x="175" y="24"/>
                  <a:pt x="168" y="23"/>
                </a:cubicBezTo>
                <a:cubicBezTo>
                  <a:pt x="161" y="22"/>
                  <a:pt x="141" y="6"/>
                  <a:pt x="135" y="6"/>
                </a:cubicBezTo>
                <a:cubicBezTo>
                  <a:pt x="130" y="6"/>
                  <a:pt x="109" y="6"/>
                  <a:pt x="109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67" name="Freeform 400"/>
          <p:cNvSpPr>
            <a:spLocks/>
          </p:cNvSpPr>
          <p:nvPr userDrawn="1"/>
        </p:nvSpPr>
        <p:spPr bwMode="auto">
          <a:xfrm>
            <a:off x="3947897" y="4639476"/>
            <a:ext cx="61977" cy="31827"/>
          </a:xfrm>
          <a:custGeom>
            <a:avLst/>
            <a:gdLst>
              <a:gd name="T0" fmla="*/ 2147483646 w 67"/>
              <a:gd name="T1" fmla="*/ 2147483646 h 33"/>
              <a:gd name="T2" fmla="*/ 2147483646 w 67"/>
              <a:gd name="T3" fmla="*/ 2147483646 h 33"/>
              <a:gd name="T4" fmla="*/ 2147483646 w 67"/>
              <a:gd name="T5" fmla="*/ 2147483646 h 33"/>
              <a:gd name="T6" fmla="*/ 2147483646 w 67"/>
              <a:gd name="T7" fmla="*/ 2147483646 h 33"/>
              <a:gd name="T8" fmla="*/ 2147483646 w 67"/>
              <a:gd name="T9" fmla="*/ 2147483646 h 33"/>
              <a:gd name="T10" fmla="*/ 2147483646 w 67"/>
              <a:gd name="T11" fmla="*/ 2147483646 h 33"/>
              <a:gd name="T12" fmla="*/ 2147483646 w 67"/>
              <a:gd name="T13" fmla="*/ 2147483646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7"/>
              <a:gd name="T22" fmla="*/ 0 h 33"/>
              <a:gd name="T23" fmla="*/ 67 w 6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7" h="33">
                <a:moveTo>
                  <a:pt x="33" y="14"/>
                </a:moveTo>
                <a:cubicBezTo>
                  <a:pt x="25" y="17"/>
                  <a:pt x="7" y="0"/>
                  <a:pt x="6" y="12"/>
                </a:cubicBezTo>
                <a:cubicBezTo>
                  <a:pt x="4" y="24"/>
                  <a:pt x="0" y="33"/>
                  <a:pt x="11" y="33"/>
                </a:cubicBezTo>
                <a:cubicBezTo>
                  <a:pt x="21" y="33"/>
                  <a:pt x="40" y="28"/>
                  <a:pt x="46" y="28"/>
                </a:cubicBezTo>
                <a:cubicBezTo>
                  <a:pt x="53" y="28"/>
                  <a:pt x="67" y="17"/>
                  <a:pt x="63" y="17"/>
                </a:cubicBezTo>
                <a:cubicBezTo>
                  <a:pt x="59" y="17"/>
                  <a:pt x="49" y="10"/>
                  <a:pt x="44" y="13"/>
                </a:cubicBezTo>
                <a:cubicBezTo>
                  <a:pt x="38" y="16"/>
                  <a:pt x="33" y="14"/>
                  <a:pt x="33" y="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68" name="Freeform 401"/>
          <p:cNvSpPr>
            <a:spLocks/>
          </p:cNvSpPr>
          <p:nvPr userDrawn="1"/>
        </p:nvSpPr>
        <p:spPr bwMode="auto">
          <a:xfrm>
            <a:off x="3648056" y="4659577"/>
            <a:ext cx="56953" cy="31827"/>
          </a:xfrm>
          <a:custGeom>
            <a:avLst/>
            <a:gdLst>
              <a:gd name="T0" fmla="*/ 2147483646 w 62"/>
              <a:gd name="T1" fmla="*/ 2147483646 h 34"/>
              <a:gd name="T2" fmla="*/ 0 w 62"/>
              <a:gd name="T3" fmla="*/ 2147483646 h 34"/>
              <a:gd name="T4" fmla="*/ 2147483646 w 62"/>
              <a:gd name="T5" fmla="*/ 2147483646 h 34"/>
              <a:gd name="T6" fmla="*/ 2147483646 w 62"/>
              <a:gd name="T7" fmla="*/ 2147483646 h 34"/>
              <a:gd name="T8" fmla="*/ 2147483646 w 62"/>
              <a:gd name="T9" fmla="*/ 2147483646 h 34"/>
              <a:gd name="T10" fmla="*/ 2147483646 w 62"/>
              <a:gd name="T11" fmla="*/ 2147483646 h 3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2"/>
              <a:gd name="T19" fmla="*/ 0 h 34"/>
              <a:gd name="T20" fmla="*/ 62 w 62"/>
              <a:gd name="T21" fmla="*/ 34 h 3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2" h="34">
                <a:moveTo>
                  <a:pt x="27" y="1"/>
                </a:moveTo>
                <a:cubicBezTo>
                  <a:pt x="17" y="3"/>
                  <a:pt x="0" y="0"/>
                  <a:pt x="0" y="8"/>
                </a:cubicBezTo>
                <a:cubicBezTo>
                  <a:pt x="0" y="16"/>
                  <a:pt x="7" y="26"/>
                  <a:pt x="20" y="30"/>
                </a:cubicBezTo>
                <a:cubicBezTo>
                  <a:pt x="33" y="34"/>
                  <a:pt x="44" y="25"/>
                  <a:pt x="52" y="25"/>
                </a:cubicBezTo>
                <a:cubicBezTo>
                  <a:pt x="59" y="25"/>
                  <a:pt x="62" y="18"/>
                  <a:pt x="62" y="18"/>
                </a:cubicBezTo>
                <a:lnTo>
                  <a:pt x="27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69" name="Freeform 402"/>
          <p:cNvSpPr>
            <a:spLocks/>
          </p:cNvSpPr>
          <p:nvPr userDrawn="1"/>
        </p:nvSpPr>
        <p:spPr bwMode="auto">
          <a:xfrm>
            <a:off x="4123782" y="4865613"/>
            <a:ext cx="25127" cy="31827"/>
          </a:xfrm>
          <a:custGeom>
            <a:avLst/>
            <a:gdLst>
              <a:gd name="T0" fmla="*/ 2147483646 w 26"/>
              <a:gd name="T1" fmla="*/ 2147483646 h 33"/>
              <a:gd name="T2" fmla="*/ 2147483646 w 26"/>
              <a:gd name="T3" fmla="*/ 2147483646 h 33"/>
              <a:gd name="T4" fmla="*/ 2147483646 w 26"/>
              <a:gd name="T5" fmla="*/ 2147483646 h 33"/>
              <a:gd name="T6" fmla="*/ 2147483646 w 26"/>
              <a:gd name="T7" fmla="*/ 2147483646 h 33"/>
              <a:gd name="T8" fmla="*/ 2147483646 w 26"/>
              <a:gd name="T9" fmla="*/ 2147483646 h 33"/>
              <a:gd name="T10" fmla="*/ 2147483646 w 26"/>
              <a:gd name="T11" fmla="*/ 2147483646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33"/>
              <a:gd name="T20" fmla="*/ 26 w 26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33">
                <a:moveTo>
                  <a:pt x="13" y="8"/>
                </a:moveTo>
                <a:cubicBezTo>
                  <a:pt x="9" y="11"/>
                  <a:pt x="0" y="19"/>
                  <a:pt x="3" y="24"/>
                </a:cubicBezTo>
                <a:cubicBezTo>
                  <a:pt x="6" y="29"/>
                  <a:pt x="15" y="33"/>
                  <a:pt x="19" y="29"/>
                </a:cubicBezTo>
                <a:cubicBezTo>
                  <a:pt x="23" y="25"/>
                  <a:pt x="26" y="13"/>
                  <a:pt x="26" y="13"/>
                </a:cubicBezTo>
                <a:cubicBezTo>
                  <a:pt x="26" y="13"/>
                  <a:pt x="24" y="0"/>
                  <a:pt x="19" y="4"/>
                </a:cubicBezTo>
                <a:cubicBezTo>
                  <a:pt x="13" y="8"/>
                  <a:pt x="13" y="8"/>
                  <a:pt x="13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70" name="Freeform 403"/>
          <p:cNvSpPr>
            <a:spLocks/>
          </p:cNvSpPr>
          <p:nvPr userDrawn="1"/>
        </p:nvSpPr>
        <p:spPr bwMode="auto">
          <a:xfrm>
            <a:off x="3254408" y="5187231"/>
            <a:ext cx="33501" cy="36852"/>
          </a:xfrm>
          <a:custGeom>
            <a:avLst/>
            <a:gdLst>
              <a:gd name="T0" fmla="*/ 2147483646 w 36"/>
              <a:gd name="T1" fmla="*/ 0 h 38"/>
              <a:gd name="T2" fmla="*/ 2147483646 w 36"/>
              <a:gd name="T3" fmla="*/ 2147483646 h 38"/>
              <a:gd name="T4" fmla="*/ 2147483646 w 36"/>
              <a:gd name="T5" fmla="*/ 2147483646 h 38"/>
              <a:gd name="T6" fmla="*/ 2147483646 w 36"/>
              <a:gd name="T7" fmla="*/ 2147483646 h 38"/>
              <a:gd name="T8" fmla="*/ 2147483646 w 36"/>
              <a:gd name="T9" fmla="*/ 2147483646 h 38"/>
              <a:gd name="T10" fmla="*/ 2147483646 w 36"/>
              <a:gd name="T11" fmla="*/ 2147483646 h 38"/>
              <a:gd name="T12" fmla="*/ 2147483646 w 36"/>
              <a:gd name="T13" fmla="*/ 2147483646 h 38"/>
              <a:gd name="T14" fmla="*/ 2147483646 w 36"/>
              <a:gd name="T15" fmla="*/ 2147483646 h 38"/>
              <a:gd name="T16" fmla="*/ 2147483646 w 36"/>
              <a:gd name="T17" fmla="*/ 2147483646 h 38"/>
              <a:gd name="T18" fmla="*/ 2147483646 w 36"/>
              <a:gd name="T19" fmla="*/ 0 h 3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6"/>
              <a:gd name="T31" fmla="*/ 0 h 38"/>
              <a:gd name="T32" fmla="*/ 36 w 36"/>
              <a:gd name="T33" fmla="*/ 38 h 3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6" h="38">
                <a:moveTo>
                  <a:pt x="15" y="0"/>
                </a:moveTo>
                <a:cubicBezTo>
                  <a:pt x="12" y="1"/>
                  <a:pt x="11" y="16"/>
                  <a:pt x="11" y="16"/>
                </a:cubicBezTo>
                <a:cubicBezTo>
                  <a:pt x="11" y="16"/>
                  <a:pt x="0" y="11"/>
                  <a:pt x="2" y="17"/>
                </a:cubicBezTo>
                <a:cubicBezTo>
                  <a:pt x="4" y="22"/>
                  <a:pt x="14" y="18"/>
                  <a:pt x="18" y="20"/>
                </a:cubicBezTo>
                <a:cubicBezTo>
                  <a:pt x="21" y="22"/>
                  <a:pt x="13" y="30"/>
                  <a:pt x="13" y="30"/>
                </a:cubicBezTo>
                <a:cubicBezTo>
                  <a:pt x="13" y="30"/>
                  <a:pt x="10" y="35"/>
                  <a:pt x="15" y="37"/>
                </a:cubicBezTo>
                <a:cubicBezTo>
                  <a:pt x="20" y="38"/>
                  <a:pt x="27" y="38"/>
                  <a:pt x="30" y="38"/>
                </a:cubicBezTo>
                <a:cubicBezTo>
                  <a:pt x="33" y="37"/>
                  <a:pt x="36" y="28"/>
                  <a:pt x="36" y="28"/>
                </a:cubicBezTo>
                <a:cubicBezTo>
                  <a:pt x="34" y="17"/>
                  <a:pt x="34" y="17"/>
                  <a:pt x="34" y="17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71" name="Freeform 404"/>
          <p:cNvSpPr>
            <a:spLocks/>
          </p:cNvSpPr>
          <p:nvPr userDrawn="1"/>
        </p:nvSpPr>
        <p:spPr bwMode="auto">
          <a:xfrm>
            <a:off x="4019926" y="6589285"/>
            <a:ext cx="72029" cy="38527"/>
          </a:xfrm>
          <a:custGeom>
            <a:avLst/>
            <a:gdLst>
              <a:gd name="T0" fmla="*/ 2147483646 w 77"/>
              <a:gd name="T1" fmla="*/ 2147483646 h 40"/>
              <a:gd name="T2" fmla="*/ 2147483646 w 77"/>
              <a:gd name="T3" fmla="*/ 2147483646 h 40"/>
              <a:gd name="T4" fmla="*/ 2147483646 w 77"/>
              <a:gd name="T5" fmla="*/ 2147483646 h 40"/>
              <a:gd name="T6" fmla="*/ 2147483646 w 77"/>
              <a:gd name="T7" fmla="*/ 2147483646 h 40"/>
              <a:gd name="T8" fmla="*/ 2147483646 w 77"/>
              <a:gd name="T9" fmla="*/ 2147483646 h 40"/>
              <a:gd name="T10" fmla="*/ 2147483646 w 77"/>
              <a:gd name="T11" fmla="*/ 2147483646 h 40"/>
              <a:gd name="T12" fmla="*/ 2147483646 w 77"/>
              <a:gd name="T13" fmla="*/ 2147483646 h 40"/>
              <a:gd name="T14" fmla="*/ 2147483646 w 77"/>
              <a:gd name="T15" fmla="*/ 2147483646 h 40"/>
              <a:gd name="T16" fmla="*/ 2147483646 w 77"/>
              <a:gd name="T17" fmla="*/ 2147483646 h 40"/>
              <a:gd name="T18" fmla="*/ 2147483646 w 77"/>
              <a:gd name="T19" fmla="*/ 2147483646 h 40"/>
              <a:gd name="T20" fmla="*/ 2147483646 w 77"/>
              <a:gd name="T21" fmla="*/ 2147483646 h 4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7"/>
              <a:gd name="T34" fmla="*/ 0 h 40"/>
              <a:gd name="T35" fmla="*/ 77 w 77"/>
              <a:gd name="T36" fmla="*/ 40 h 4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7" h="40">
                <a:moveTo>
                  <a:pt x="36" y="9"/>
                </a:moveTo>
                <a:cubicBezTo>
                  <a:pt x="36" y="9"/>
                  <a:pt x="31" y="4"/>
                  <a:pt x="26" y="7"/>
                </a:cubicBezTo>
                <a:cubicBezTo>
                  <a:pt x="21" y="11"/>
                  <a:pt x="17" y="14"/>
                  <a:pt x="13" y="17"/>
                </a:cubicBezTo>
                <a:cubicBezTo>
                  <a:pt x="10" y="21"/>
                  <a:pt x="0" y="15"/>
                  <a:pt x="2" y="22"/>
                </a:cubicBezTo>
                <a:cubicBezTo>
                  <a:pt x="5" y="28"/>
                  <a:pt x="22" y="28"/>
                  <a:pt x="25" y="30"/>
                </a:cubicBezTo>
                <a:cubicBezTo>
                  <a:pt x="29" y="33"/>
                  <a:pt x="31" y="26"/>
                  <a:pt x="35" y="33"/>
                </a:cubicBezTo>
                <a:cubicBezTo>
                  <a:pt x="38" y="40"/>
                  <a:pt x="42" y="34"/>
                  <a:pt x="49" y="28"/>
                </a:cubicBezTo>
                <a:cubicBezTo>
                  <a:pt x="56" y="22"/>
                  <a:pt x="58" y="16"/>
                  <a:pt x="64" y="17"/>
                </a:cubicBezTo>
                <a:cubicBezTo>
                  <a:pt x="70" y="17"/>
                  <a:pt x="77" y="11"/>
                  <a:pt x="75" y="9"/>
                </a:cubicBezTo>
                <a:cubicBezTo>
                  <a:pt x="74" y="6"/>
                  <a:pt x="70" y="0"/>
                  <a:pt x="67" y="1"/>
                </a:cubicBezTo>
                <a:cubicBezTo>
                  <a:pt x="63" y="3"/>
                  <a:pt x="36" y="9"/>
                  <a:pt x="36" y="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72" name="Freeform 405"/>
          <p:cNvSpPr>
            <a:spLocks/>
          </p:cNvSpPr>
          <p:nvPr userDrawn="1"/>
        </p:nvSpPr>
        <p:spPr bwMode="auto">
          <a:xfrm>
            <a:off x="3740186" y="6358122"/>
            <a:ext cx="28476" cy="41877"/>
          </a:xfrm>
          <a:custGeom>
            <a:avLst/>
            <a:gdLst>
              <a:gd name="T0" fmla="*/ 2147483646 w 31"/>
              <a:gd name="T1" fmla="*/ 2147483646 h 44"/>
              <a:gd name="T2" fmla="*/ 2147483646 w 31"/>
              <a:gd name="T3" fmla="*/ 2147483646 h 44"/>
              <a:gd name="T4" fmla="*/ 2147483646 w 31"/>
              <a:gd name="T5" fmla="*/ 2147483646 h 44"/>
              <a:gd name="T6" fmla="*/ 2147483646 w 31"/>
              <a:gd name="T7" fmla="*/ 2147483646 h 44"/>
              <a:gd name="T8" fmla="*/ 2147483646 w 31"/>
              <a:gd name="T9" fmla="*/ 2147483646 h 44"/>
              <a:gd name="T10" fmla="*/ 2147483646 w 31"/>
              <a:gd name="T11" fmla="*/ 2147483646 h 44"/>
              <a:gd name="T12" fmla="*/ 2147483646 w 31"/>
              <a:gd name="T13" fmla="*/ 2147483646 h 44"/>
              <a:gd name="T14" fmla="*/ 2147483646 w 31"/>
              <a:gd name="T15" fmla="*/ 2147483646 h 4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1"/>
              <a:gd name="T25" fmla="*/ 0 h 44"/>
              <a:gd name="T26" fmla="*/ 31 w 31"/>
              <a:gd name="T27" fmla="*/ 44 h 4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1" h="44">
                <a:moveTo>
                  <a:pt x="19" y="1"/>
                </a:moveTo>
                <a:cubicBezTo>
                  <a:pt x="14" y="1"/>
                  <a:pt x="11" y="0"/>
                  <a:pt x="10" y="8"/>
                </a:cubicBezTo>
                <a:cubicBezTo>
                  <a:pt x="9" y="15"/>
                  <a:pt x="12" y="13"/>
                  <a:pt x="12" y="20"/>
                </a:cubicBezTo>
                <a:cubicBezTo>
                  <a:pt x="12" y="27"/>
                  <a:pt x="4" y="26"/>
                  <a:pt x="4" y="31"/>
                </a:cubicBezTo>
                <a:cubicBezTo>
                  <a:pt x="3" y="36"/>
                  <a:pt x="0" y="36"/>
                  <a:pt x="10" y="40"/>
                </a:cubicBezTo>
                <a:cubicBezTo>
                  <a:pt x="20" y="44"/>
                  <a:pt x="25" y="36"/>
                  <a:pt x="27" y="35"/>
                </a:cubicBezTo>
                <a:cubicBezTo>
                  <a:pt x="29" y="34"/>
                  <a:pt x="31" y="21"/>
                  <a:pt x="31" y="17"/>
                </a:cubicBezTo>
                <a:cubicBezTo>
                  <a:pt x="31" y="13"/>
                  <a:pt x="19" y="1"/>
                  <a:pt x="19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73" name="Freeform 406"/>
          <p:cNvSpPr>
            <a:spLocks/>
          </p:cNvSpPr>
          <p:nvPr userDrawn="1"/>
        </p:nvSpPr>
        <p:spPr bwMode="auto">
          <a:xfrm>
            <a:off x="3705009" y="6507205"/>
            <a:ext cx="25127" cy="25127"/>
          </a:xfrm>
          <a:custGeom>
            <a:avLst/>
            <a:gdLst>
              <a:gd name="T0" fmla="*/ 2147483646 w 28"/>
              <a:gd name="T1" fmla="*/ 2147483646 h 28"/>
              <a:gd name="T2" fmla="*/ 2147483646 w 28"/>
              <a:gd name="T3" fmla="*/ 2147483646 h 28"/>
              <a:gd name="T4" fmla="*/ 2147483646 w 28"/>
              <a:gd name="T5" fmla="*/ 2147483646 h 28"/>
              <a:gd name="T6" fmla="*/ 2147483646 w 28"/>
              <a:gd name="T7" fmla="*/ 2147483646 h 28"/>
              <a:gd name="T8" fmla="*/ 2147483646 w 28"/>
              <a:gd name="T9" fmla="*/ 2147483646 h 28"/>
              <a:gd name="T10" fmla="*/ 2147483646 w 28"/>
              <a:gd name="T11" fmla="*/ 2147483646 h 28"/>
              <a:gd name="T12" fmla="*/ 2147483646 w 28"/>
              <a:gd name="T13" fmla="*/ 2147483646 h 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28"/>
              <a:gd name="T23" fmla="*/ 28 w 28"/>
              <a:gd name="T24" fmla="*/ 28 h 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28">
                <a:moveTo>
                  <a:pt x="20" y="1"/>
                </a:moveTo>
                <a:cubicBezTo>
                  <a:pt x="18" y="0"/>
                  <a:pt x="11" y="0"/>
                  <a:pt x="9" y="5"/>
                </a:cubicBezTo>
                <a:cubicBezTo>
                  <a:pt x="8" y="10"/>
                  <a:pt x="11" y="11"/>
                  <a:pt x="9" y="17"/>
                </a:cubicBezTo>
                <a:cubicBezTo>
                  <a:pt x="8" y="23"/>
                  <a:pt x="0" y="22"/>
                  <a:pt x="6" y="25"/>
                </a:cubicBezTo>
                <a:cubicBezTo>
                  <a:pt x="11" y="28"/>
                  <a:pt x="20" y="18"/>
                  <a:pt x="22" y="16"/>
                </a:cubicBezTo>
                <a:cubicBezTo>
                  <a:pt x="24" y="14"/>
                  <a:pt x="28" y="7"/>
                  <a:pt x="28" y="7"/>
                </a:cubicBezTo>
                <a:lnTo>
                  <a:pt x="20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74" name="Freeform 407"/>
          <p:cNvSpPr>
            <a:spLocks/>
          </p:cNvSpPr>
          <p:nvPr userDrawn="1"/>
        </p:nvSpPr>
        <p:spPr bwMode="auto">
          <a:xfrm>
            <a:off x="3711708" y="6587609"/>
            <a:ext cx="10051" cy="15076"/>
          </a:xfrm>
          <a:custGeom>
            <a:avLst/>
            <a:gdLst>
              <a:gd name="T0" fmla="*/ 2147483646 w 11"/>
              <a:gd name="T1" fmla="*/ 0 h 16"/>
              <a:gd name="T2" fmla="*/ 2147483646 w 11"/>
              <a:gd name="T3" fmla="*/ 2147483646 h 16"/>
              <a:gd name="T4" fmla="*/ 2147483646 w 11"/>
              <a:gd name="T5" fmla="*/ 2147483646 h 16"/>
              <a:gd name="T6" fmla="*/ 2147483646 w 11"/>
              <a:gd name="T7" fmla="*/ 2147483646 h 16"/>
              <a:gd name="T8" fmla="*/ 2147483646 w 11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16"/>
              <a:gd name="T17" fmla="*/ 11 w 11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16">
                <a:moveTo>
                  <a:pt x="3" y="0"/>
                </a:moveTo>
                <a:cubicBezTo>
                  <a:pt x="0" y="2"/>
                  <a:pt x="0" y="12"/>
                  <a:pt x="4" y="14"/>
                </a:cubicBezTo>
                <a:cubicBezTo>
                  <a:pt x="8" y="16"/>
                  <a:pt x="9" y="10"/>
                  <a:pt x="9" y="8"/>
                </a:cubicBezTo>
                <a:cubicBezTo>
                  <a:pt x="10" y="7"/>
                  <a:pt x="11" y="2"/>
                  <a:pt x="10" y="2"/>
                </a:cubicBezTo>
                <a:cubicBezTo>
                  <a:pt x="9" y="2"/>
                  <a:pt x="3" y="0"/>
                  <a:pt x="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75" name="Freeform 408"/>
          <p:cNvSpPr>
            <a:spLocks/>
          </p:cNvSpPr>
          <p:nvPr userDrawn="1"/>
        </p:nvSpPr>
        <p:spPr bwMode="auto">
          <a:xfrm>
            <a:off x="3730135" y="6607710"/>
            <a:ext cx="10051" cy="13401"/>
          </a:xfrm>
          <a:custGeom>
            <a:avLst/>
            <a:gdLst>
              <a:gd name="T0" fmla="*/ 2147483646 w 10"/>
              <a:gd name="T1" fmla="*/ 2147483646 h 14"/>
              <a:gd name="T2" fmla="*/ 2147483646 w 10"/>
              <a:gd name="T3" fmla="*/ 2147483646 h 14"/>
              <a:gd name="T4" fmla="*/ 2147483646 w 10"/>
              <a:gd name="T5" fmla="*/ 2147483646 h 14"/>
              <a:gd name="T6" fmla="*/ 2147483646 w 10"/>
              <a:gd name="T7" fmla="*/ 2147483646 h 14"/>
              <a:gd name="T8" fmla="*/ 2147483646 w 10"/>
              <a:gd name="T9" fmla="*/ 2147483646 h 14"/>
              <a:gd name="T10" fmla="*/ 2147483646 w 10"/>
              <a:gd name="T11" fmla="*/ 2147483646 h 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"/>
              <a:gd name="T19" fmla="*/ 0 h 14"/>
              <a:gd name="T20" fmla="*/ 10 w 10"/>
              <a:gd name="T21" fmla="*/ 14 h 1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" h="14">
                <a:moveTo>
                  <a:pt x="4" y="4"/>
                </a:moveTo>
                <a:cubicBezTo>
                  <a:pt x="4" y="4"/>
                  <a:pt x="7" y="0"/>
                  <a:pt x="9" y="7"/>
                </a:cubicBezTo>
                <a:cubicBezTo>
                  <a:pt x="10" y="13"/>
                  <a:pt x="10" y="12"/>
                  <a:pt x="7" y="13"/>
                </a:cubicBezTo>
                <a:cubicBezTo>
                  <a:pt x="5" y="14"/>
                  <a:pt x="1" y="13"/>
                  <a:pt x="1" y="11"/>
                </a:cubicBezTo>
                <a:cubicBezTo>
                  <a:pt x="0" y="10"/>
                  <a:pt x="2" y="6"/>
                  <a:pt x="2" y="6"/>
                </a:cubicBezTo>
                <a:lnTo>
                  <a:pt x="4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76" name="Freeform 409"/>
          <p:cNvSpPr>
            <a:spLocks/>
          </p:cNvSpPr>
          <p:nvPr userDrawn="1"/>
        </p:nvSpPr>
        <p:spPr bwMode="auto">
          <a:xfrm>
            <a:off x="3730135" y="6632836"/>
            <a:ext cx="16751" cy="10051"/>
          </a:xfrm>
          <a:custGeom>
            <a:avLst/>
            <a:gdLst>
              <a:gd name="T0" fmla="*/ 2147483646 w 18"/>
              <a:gd name="T1" fmla="*/ 2147483646 h 10"/>
              <a:gd name="T2" fmla="*/ 0 w 18"/>
              <a:gd name="T3" fmla="*/ 2147483646 h 10"/>
              <a:gd name="T4" fmla="*/ 2147483646 w 18"/>
              <a:gd name="T5" fmla="*/ 2147483646 h 10"/>
              <a:gd name="T6" fmla="*/ 2147483646 w 18"/>
              <a:gd name="T7" fmla="*/ 2147483646 h 10"/>
              <a:gd name="T8" fmla="*/ 2147483646 w 18"/>
              <a:gd name="T9" fmla="*/ 0 h 10"/>
              <a:gd name="T10" fmla="*/ 2147483646 w 18"/>
              <a:gd name="T11" fmla="*/ 2147483646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0"/>
              <a:gd name="T20" fmla="*/ 18 w 18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0">
                <a:moveTo>
                  <a:pt x="6" y="2"/>
                </a:moveTo>
                <a:cubicBezTo>
                  <a:pt x="4" y="2"/>
                  <a:pt x="0" y="2"/>
                  <a:pt x="0" y="4"/>
                </a:cubicBezTo>
                <a:cubicBezTo>
                  <a:pt x="1" y="6"/>
                  <a:pt x="7" y="10"/>
                  <a:pt x="8" y="10"/>
                </a:cubicBezTo>
                <a:cubicBezTo>
                  <a:pt x="10" y="10"/>
                  <a:pt x="15" y="5"/>
                  <a:pt x="15" y="5"/>
                </a:cubicBezTo>
                <a:cubicBezTo>
                  <a:pt x="15" y="5"/>
                  <a:pt x="18" y="0"/>
                  <a:pt x="16" y="0"/>
                </a:cubicBezTo>
                <a:cubicBezTo>
                  <a:pt x="15" y="0"/>
                  <a:pt x="6" y="2"/>
                  <a:pt x="6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77" name="Freeform 410"/>
          <p:cNvSpPr>
            <a:spLocks/>
          </p:cNvSpPr>
          <p:nvPr userDrawn="1"/>
        </p:nvSpPr>
        <p:spPr bwMode="auto">
          <a:xfrm>
            <a:off x="2237627" y="2455156"/>
            <a:ext cx="738716" cy="713589"/>
          </a:xfrm>
          <a:custGeom>
            <a:avLst/>
            <a:gdLst>
              <a:gd name="T0" fmla="*/ 2147483646 w 792"/>
              <a:gd name="T1" fmla="*/ 2147483646 h 764"/>
              <a:gd name="T2" fmla="*/ 2147483646 w 792"/>
              <a:gd name="T3" fmla="*/ 2147483646 h 764"/>
              <a:gd name="T4" fmla="*/ 2147483646 w 792"/>
              <a:gd name="T5" fmla="*/ 2147483646 h 764"/>
              <a:gd name="T6" fmla="*/ 2147483646 w 792"/>
              <a:gd name="T7" fmla="*/ 2147483646 h 764"/>
              <a:gd name="T8" fmla="*/ 2147483646 w 792"/>
              <a:gd name="T9" fmla="*/ 2147483646 h 764"/>
              <a:gd name="T10" fmla="*/ 2147483646 w 792"/>
              <a:gd name="T11" fmla="*/ 2147483646 h 764"/>
              <a:gd name="T12" fmla="*/ 2147483646 w 792"/>
              <a:gd name="T13" fmla="*/ 2147483646 h 764"/>
              <a:gd name="T14" fmla="*/ 2147483646 w 792"/>
              <a:gd name="T15" fmla="*/ 2147483646 h 764"/>
              <a:gd name="T16" fmla="*/ 2147483646 w 792"/>
              <a:gd name="T17" fmla="*/ 2147483646 h 764"/>
              <a:gd name="T18" fmla="*/ 2147483646 w 792"/>
              <a:gd name="T19" fmla="*/ 2147483646 h 764"/>
              <a:gd name="T20" fmla="*/ 2147483646 w 792"/>
              <a:gd name="T21" fmla="*/ 2147483646 h 764"/>
              <a:gd name="T22" fmla="*/ 2147483646 w 792"/>
              <a:gd name="T23" fmla="*/ 2147483646 h 764"/>
              <a:gd name="T24" fmla="*/ 2147483646 w 792"/>
              <a:gd name="T25" fmla="*/ 2147483646 h 764"/>
              <a:gd name="T26" fmla="*/ 2147483646 w 792"/>
              <a:gd name="T27" fmla="*/ 2147483646 h 764"/>
              <a:gd name="T28" fmla="*/ 2147483646 w 792"/>
              <a:gd name="T29" fmla="*/ 2147483646 h 764"/>
              <a:gd name="T30" fmla="*/ 2147483646 w 792"/>
              <a:gd name="T31" fmla="*/ 2147483646 h 764"/>
              <a:gd name="T32" fmla="*/ 2147483646 w 792"/>
              <a:gd name="T33" fmla="*/ 2147483646 h 764"/>
              <a:gd name="T34" fmla="*/ 2147483646 w 792"/>
              <a:gd name="T35" fmla="*/ 2147483646 h 764"/>
              <a:gd name="T36" fmla="*/ 2147483646 w 792"/>
              <a:gd name="T37" fmla="*/ 2147483646 h 764"/>
              <a:gd name="T38" fmla="*/ 2147483646 w 792"/>
              <a:gd name="T39" fmla="*/ 2147483646 h 764"/>
              <a:gd name="T40" fmla="*/ 2147483646 w 792"/>
              <a:gd name="T41" fmla="*/ 2147483646 h 764"/>
              <a:gd name="T42" fmla="*/ 2147483646 w 792"/>
              <a:gd name="T43" fmla="*/ 2147483646 h 764"/>
              <a:gd name="T44" fmla="*/ 2147483646 w 792"/>
              <a:gd name="T45" fmla="*/ 2147483646 h 764"/>
              <a:gd name="T46" fmla="*/ 2147483646 w 792"/>
              <a:gd name="T47" fmla="*/ 2147483646 h 764"/>
              <a:gd name="T48" fmla="*/ 2147483646 w 792"/>
              <a:gd name="T49" fmla="*/ 2147483646 h 764"/>
              <a:gd name="T50" fmla="*/ 2147483646 w 792"/>
              <a:gd name="T51" fmla="*/ 2147483646 h 764"/>
              <a:gd name="T52" fmla="*/ 2147483646 w 792"/>
              <a:gd name="T53" fmla="*/ 2147483646 h 764"/>
              <a:gd name="T54" fmla="*/ 2147483646 w 792"/>
              <a:gd name="T55" fmla="*/ 2147483646 h 764"/>
              <a:gd name="T56" fmla="*/ 2147483646 w 792"/>
              <a:gd name="T57" fmla="*/ 2147483646 h 764"/>
              <a:gd name="T58" fmla="*/ 2147483646 w 792"/>
              <a:gd name="T59" fmla="*/ 2147483646 h 764"/>
              <a:gd name="T60" fmla="*/ 2147483646 w 792"/>
              <a:gd name="T61" fmla="*/ 2147483646 h 764"/>
              <a:gd name="T62" fmla="*/ 2147483646 w 792"/>
              <a:gd name="T63" fmla="*/ 2147483646 h 764"/>
              <a:gd name="T64" fmla="*/ 2147483646 w 792"/>
              <a:gd name="T65" fmla="*/ 2147483646 h 764"/>
              <a:gd name="T66" fmla="*/ 2147483646 w 792"/>
              <a:gd name="T67" fmla="*/ 2147483646 h 764"/>
              <a:gd name="T68" fmla="*/ 2147483646 w 792"/>
              <a:gd name="T69" fmla="*/ 2147483646 h 764"/>
              <a:gd name="T70" fmla="*/ 2147483646 w 792"/>
              <a:gd name="T71" fmla="*/ 2147483646 h 764"/>
              <a:gd name="T72" fmla="*/ 2147483646 w 792"/>
              <a:gd name="T73" fmla="*/ 2147483646 h 764"/>
              <a:gd name="T74" fmla="*/ 2147483646 w 792"/>
              <a:gd name="T75" fmla="*/ 2147483646 h 764"/>
              <a:gd name="T76" fmla="*/ 2147483646 w 792"/>
              <a:gd name="T77" fmla="*/ 2147483646 h 764"/>
              <a:gd name="T78" fmla="*/ 2147483646 w 792"/>
              <a:gd name="T79" fmla="*/ 2147483646 h 764"/>
              <a:gd name="T80" fmla="*/ 2147483646 w 792"/>
              <a:gd name="T81" fmla="*/ 2147483646 h 764"/>
              <a:gd name="T82" fmla="*/ 2147483646 w 792"/>
              <a:gd name="T83" fmla="*/ 2147483646 h 764"/>
              <a:gd name="T84" fmla="*/ 2147483646 w 792"/>
              <a:gd name="T85" fmla="*/ 2147483646 h 764"/>
              <a:gd name="T86" fmla="*/ 2147483646 w 792"/>
              <a:gd name="T87" fmla="*/ 2147483646 h 764"/>
              <a:gd name="T88" fmla="*/ 2147483646 w 792"/>
              <a:gd name="T89" fmla="*/ 2147483646 h 764"/>
              <a:gd name="T90" fmla="*/ 2147483646 w 792"/>
              <a:gd name="T91" fmla="*/ 2147483646 h 764"/>
              <a:gd name="T92" fmla="*/ 2147483646 w 792"/>
              <a:gd name="T93" fmla="*/ 2147483646 h 764"/>
              <a:gd name="T94" fmla="*/ 2147483646 w 792"/>
              <a:gd name="T95" fmla="*/ 2147483646 h 764"/>
              <a:gd name="T96" fmla="*/ 2147483646 w 792"/>
              <a:gd name="T97" fmla="*/ 2147483646 h 764"/>
              <a:gd name="T98" fmla="*/ 2147483646 w 792"/>
              <a:gd name="T99" fmla="*/ 2147483646 h 764"/>
              <a:gd name="T100" fmla="*/ 2147483646 w 792"/>
              <a:gd name="T101" fmla="*/ 2147483646 h 764"/>
              <a:gd name="T102" fmla="*/ 2147483646 w 792"/>
              <a:gd name="T103" fmla="*/ 2147483646 h 764"/>
              <a:gd name="T104" fmla="*/ 2147483646 w 792"/>
              <a:gd name="T105" fmla="*/ 2147483646 h 764"/>
              <a:gd name="T106" fmla="*/ 2147483646 w 792"/>
              <a:gd name="T107" fmla="*/ 2147483646 h 764"/>
              <a:gd name="T108" fmla="*/ 2147483646 w 792"/>
              <a:gd name="T109" fmla="*/ 2147483646 h 764"/>
              <a:gd name="T110" fmla="*/ 2147483646 w 792"/>
              <a:gd name="T111" fmla="*/ 2147483646 h 764"/>
              <a:gd name="T112" fmla="*/ 2147483646 w 792"/>
              <a:gd name="T113" fmla="*/ 2147483646 h 764"/>
              <a:gd name="T114" fmla="*/ 2147483646 w 792"/>
              <a:gd name="T115" fmla="*/ 2147483646 h 764"/>
              <a:gd name="T116" fmla="*/ 2147483646 w 792"/>
              <a:gd name="T117" fmla="*/ 2147483646 h 764"/>
              <a:gd name="T118" fmla="*/ 2147483646 w 792"/>
              <a:gd name="T119" fmla="*/ 2147483646 h 764"/>
              <a:gd name="T120" fmla="*/ 2147483646 w 792"/>
              <a:gd name="T121" fmla="*/ 2147483646 h 76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792"/>
              <a:gd name="T184" fmla="*/ 0 h 764"/>
              <a:gd name="T185" fmla="*/ 792 w 792"/>
              <a:gd name="T186" fmla="*/ 764 h 76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792" h="764">
                <a:moveTo>
                  <a:pt x="791" y="221"/>
                </a:moveTo>
                <a:cubicBezTo>
                  <a:pt x="790" y="218"/>
                  <a:pt x="792" y="208"/>
                  <a:pt x="789" y="201"/>
                </a:cubicBezTo>
                <a:cubicBezTo>
                  <a:pt x="787" y="194"/>
                  <a:pt x="780" y="189"/>
                  <a:pt x="777" y="185"/>
                </a:cubicBezTo>
                <a:cubicBezTo>
                  <a:pt x="774" y="182"/>
                  <a:pt x="766" y="170"/>
                  <a:pt x="766" y="170"/>
                </a:cubicBezTo>
                <a:cubicBezTo>
                  <a:pt x="766" y="170"/>
                  <a:pt x="766" y="160"/>
                  <a:pt x="765" y="152"/>
                </a:cubicBezTo>
                <a:cubicBezTo>
                  <a:pt x="763" y="144"/>
                  <a:pt x="756" y="142"/>
                  <a:pt x="753" y="136"/>
                </a:cubicBezTo>
                <a:cubicBezTo>
                  <a:pt x="749" y="130"/>
                  <a:pt x="747" y="128"/>
                  <a:pt x="748" y="121"/>
                </a:cubicBezTo>
                <a:cubicBezTo>
                  <a:pt x="749" y="115"/>
                  <a:pt x="745" y="119"/>
                  <a:pt x="745" y="115"/>
                </a:cubicBezTo>
                <a:cubicBezTo>
                  <a:pt x="745" y="111"/>
                  <a:pt x="756" y="94"/>
                  <a:pt x="756" y="94"/>
                </a:cubicBezTo>
                <a:cubicBezTo>
                  <a:pt x="756" y="94"/>
                  <a:pt x="756" y="94"/>
                  <a:pt x="749" y="88"/>
                </a:cubicBezTo>
                <a:cubicBezTo>
                  <a:pt x="743" y="82"/>
                  <a:pt x="744" y="72"/>
                  <a:pt x="744" y="72"/>
                </a:cubicBezTo>
                <a:cubicBezTo>
                  <a:pt x="744" y="72"/>
                  <a:pt x="738" y="66"/>
                  <a:pt x="745" y="66"/>
                </a:cubicBezTo>
                <a:cubicBezTo>
                  <a:pt x="752" y="65"/>
                  <a:pt x="755" y="60"/>
                  <a:pt x="755" y="60"/>
                </a:cubicBezTo>
                <a:cubicBezTo>
                  <a:pt x="749" y="56"/>
                  <a:pt x="749" y="56"/>
                  <a:pt x="749" y="56"/>
                </a:cubicBezTo>
                <a:cubicBezTo>
                  <a:pt x="742" y="52"/>
                  <a:pt x="742" y="52"/>
                  <a:pt x="742" y="52"/>
                </a:cubicBezTo>
                <a:cubicBezTo>
                  <a:pt x="725" y="51"/>
                  <a:pt x="725" y="51"/>
                  <a:pt x="725" y="51"/>
                </a:cubicBezTo>
                <a:cubicBezTo>
                  <a:pt x="725" y="51"/>
                  <a:pt x="718" y="37"/>
                  <a:pt x="716" y="39"/>
                </a:cubicBezTo>
                <a:cubicBezTo>
                  <a:pt x="714" y="40"/>
                  <a:pt x="701" y="30"/>
                  <a:pt x="695" y="35"/>
                </a:cubicBezTo>
                <a:cubicBezTo>
                  <a:pt x="689" y="39"/>
                  <a:pt x="680" y="34"/>
                  <a:pt x="680" y="34"/>
                </a:cubicBezTo>
                <a:cubicBezTo>
                  <a:pt x="672" y="20"/>
                  <a:pt x="672" y="20"/>
                  <a:pt x="672" y="20"/>
                </a:cubicBezTo>
                <a:cubicBezTo>
                  <a:pt x="658" y="25"/>
                  <a:pt x="658" y="25"/>
                  <a:pt x="658" y="25"/>
                </a:cubicBezTo>
                <a:cubicBezTo>
                  <a:pt x="658" y="25"/>
                  <a:pt x="652" y="18"/>
                  <a:pt x="644" y="20"/>
                </a:cubicBezTo>
                <a:cubicBezTo>
                  <a:pt x="637" y="22"/>
                  <a:pt x="629" y="28"/>
                  <a:pt x="623" y="25"/>
                </a:cubicBezTo>
                <a:cubicBezTo>
                  <a:pt x="618" y="23"/>
                  <a:pt x="604" y="3"/>
                  <a:pt x="591" y="6"/>
                </a:cubicBezTo>
                <a:cubicBezTo>
                  <a:pt x="577" y="9"/>
                  <a:pt x="577" y="0"/>
                  <a:pt x="571" y="12"/>
                </a:cubicBezTo>
                <a:cubicBezTo>
                  <a:pt x="565" y="24"/>
                  <a:pt x="570" y="18"/>
                  <a:pt x="559" y="35"/>
                </a:cubicBezTo>
                <a:cubicBezTo>
                  <a:pt x="548" y="52"/>
                  <a:pt x="542" y="48"/>
                  <a:pt x="539" y="58"/>
                </a:cubicBezTo>
                <a:cubicBezTo>
                  <a:pt x="537" y="68"/>
                  <a:pt x="550" y="75"/>
                  <a:pt x="544" y="79"/>
                </a:cubicBezTo>
                <a:cubicBezTo>
                  <a:pt x="539" y="83"/>
                  <a:pt x="529" y="86"/>
                  <a:pt x="529" y="86"/>
                </a:cubicBezTo>
                <a:cubicBezTo>
                  <a:pt x="529" y="86"/>
                  <a:pt x="533" y="101"/>
                  <a:pt x="524" y="103"/>
                </a:cubicBezTo>
                <a:cubicBezTo>
                  <a:pt x="515" y="105"/>
                  <a:pt x="512" y="125"/>
                  <a:pt x="503" y="101"/>
                </a:cubicBezTo>
                <a:cubicBezTo>
                  <a:pt x="495" y="78"/>
                  <a:pt x="503" y="72"/>
                  <a:pt x="506" y="70"/>
                </a:cubicBezTo>
                <a:cubicBezTo>
                  <a:pt x="509" y="69"/>
                  <a:pt x="510" y="62"/>
                  <a:pt x="506" y="60"/>
                </a:cubicBezTo>
                <a:cubicBezTo>
                  <a:pt x="501" y="58"/>
                  <a:pt x="494" y="49"/>
                  <a:pt x="489" y="51"/>
                </a:cubicBezTo>
                <a:cubicBezTo>
                  <a:pt x="484" y="53"/>
                  <a:pt x="475" y="48"/>
                  <a:pt x="475" y="48"/>
                </a:cubicBezTo>
                <a:cubicBezTo>
                  <a:pt x="460" y="39"/>
                  <a:pt x="460" y="39"/>
                  <a:pt x="460" y="39"/>
                </a:cubicBezTo>
                <a:cubicBezTo>
                  <a:pt x="448" y="42"/>
                  <a:pt x="448" y="42"/>
                  <a:pt x="448" y="42"/>
                </a:cubicBezTo>
                <a:cubicBezTo>
                  <a:pt x="438" y="47"/>
                  <a:pt x="448" y="62"/>
                  <a:pt x="435" y="66"/>
                </a:cubicBezTo>
                <a:cubicBezTo>
                  <a:pt x="423" y="69"/>
                  <a:pt x="412" y="61"/>
                  <a:pt x="409" y="69"/>
                </a:cubicBezTo>
                <a:cubicBezTo>
                  <a:pt x="406" y="76"/>
                  <a:pt x="410" y="107"/>
                  <a:pt x="410" y="107"/>
                </a:cubicBezTo>
                <a:cubicBezTo>
                  <a:pt x="424" y="129"/>
                  <a:pt x="445" y="134"/>
                  <a:pt x="445" y="134"/>
                </a:cubicBezTo>
                <a:cubicBezTo>
                  <a:pt x="445" y="134"/>
                  <a:pt x="438" y="140"/>
                  <a:pt x="426" y="146"/>
                </a:cubicBezTo>
                <a:cubicBezTo>
                  <a:pt x="414" y="152"/>
                  <a:pt x="406" y="134"/>
                  <a:pt x="398" y="146"/>
                </a:cubicBezTo>
                <a:cubicBezTo>
                  <a:pt x="390" y="159"/>
                  <a:pt x="379" y="160"/>
                  <a:pt x="375" y="154"/>
                </a:cubicBezTo>
                <a:cubicBezTo>
                  <a:pt x="370" y="148"/>
                  <a:pt x="373" y="140"/>
                  <a:pt x="366" y="137"/>
                </a:cubicBezTo>
                <a:cubicBezTo>
                  <a:pt x="358" y="134"/>
                  <a:pt x="358" y="131"/>
                  <a:pt x="348" y="132"/>
                </a:cubicBezTo>
                <a:cubicBezTo>
                  <a:pt x="339" y="134"/>
                  <a:pt x="339" y="112"/>
                  <a:pt x="328" y="128"/>
                </a:cubicBezTo>
                <a:cubicBezTo>
                  <a:pt x="317" y="143"/>
                  <a:pt x="310" y="148"/>
                  <a:pt x="297" y="146"/>
                </a:cubicBezTo>
                <a:cubicBezTo>
                  <a:pt x="285" y="145"/>
                  <a:pt x="299" y="142"/>
                  <a:pt x="285" y="145"/>
                </a:cubicBezTo>
                <a:cubicBezTo>
                  <a:pt x="271" y="148"/>
                  <a:pt x="252" y="159"/>
                  <a:pt x="254" y="169"/>
                </a:cubicBezTo>
                <a:cubicBezTo>
                  <a:pt x="255" y="180"/>
                  <a:pt x="259" y="183"/>
                  <a:pt x="242" y="191"/>
                </a:cubicBezTo>
                <a:cubicBezTo>
                  <a:pt x="224" y="199"/>
                  <a:pt x="209" y="210"/>
                  <a:pt x="217" y="217"/>
                </a:cubicBezTo>
                <a:cubicBezTo>
                  <a:pt x="224" y="225"/>
                  <a:pt x="232" y="210"/>
                  <a:pt x="242" y="214"/>
                </a:cubicBezTo>
                <a:cubicBezTo>
                  <a:pt x="251" y="219"/>
                  <a:pt x="217" y="242"/>
                  <a:pt x="209" y="252"/>
                </a:cubicBezTo>
                <a:cubicBezTo>
                  <a:pt x="201" y="261"/>
                  <a:pt x="201" y="256"/>
                  <a:pt x="195" y="265"/>
                </a:cubicBezTo>
                <a:cubicBezTo>
                  <a:pt x="189" y="275"/>
                  <a:pt x="170" y="244"/>
                  <a:pt x="180" y="269"/>
                </a:cubicBezTo>
                <a:cubicBezTo>
                  <a:pt x="189" y="293"/>
                  <a:pt x="198" y="284"/>
                  <a:pt x="206" y="301"/>
                </a:cubicBezTo>
                <a:cubicBezTo>
                  <a:pt x="214" y="318"/>
                  <a:pt x="198" y="321"/>
                  <a:pt x="203" y="326"/>
                </a:cubicBezTo>
                <a:cubicBezTo>
                  <a:pt x="207" y="331"/>
                  <a:pt x="187" y="343"/>
                  <a:pt x="175" y="345"/>
                </a:cubicBezTo>
                <a:cubicBezTo>
                  <a:pt x="163" y="346"/>
                  <a:pt x="144" y="348"/>
                  <a:pt x="135" y="349"/>
                </a:cubicBezTo>
                <a:cubicBezTo>
                  <a:pt x="125" y="351"/>
                  <a:pt x="110" y="352"/>
                  <a:pt x="97" y="345"/>
                </a:cubicBezTo>
                <a:cubicBezTo>
                  <a:pt x="85" y="337"/>
                  <a:pt x="87" y="337"/>
                  <a:pt x="65" y="346"/>
                </a:cubicBezTo>
                <a:cubicBezTo>
                  <a:pt x="43" y="355"/>
                  <a:pt x="35" y="349"/>
                  <a:pt x="26" y="348"/>
                </a:cubicBezTo>
                <a:cubicBezTo>
                  <a:pt x="17" y="346"/>
                  <a:pt x="15" y="326"/>
                  <a:pt x="11" y="334"/>
                </a:cubicBezTo>
                <a:cubicBezTo>
                  <a:pt x="6" y="341"/>
                  <a:pt x="0" y="360"/>
                  <a:pt x="23" y="362"/>
                </a:cubicBezTo>
                <a:cubicBezTo>
                  <a:pt x="46" y="363"/>
                  <a:pt x="63" y="369"/>
                  <a:pt x="68" y="374"/>
                </a:cubicBezTo>
                <a:cubicBezTo>
                  <a:pt x="73" y="379"/>
                  <a:pt x="80" y="351"/>
                  <a:pt x="90" y="365"/>
                </a:cubicBezTo>
                <a:cubicBezTo>
                  <a:pt x="99" y="379"/>
                  <a:pt x="91" y="372"/>
                  <a:pt x="107" y="383"/>
                </a:cubicBezTo>
                <a:cubicBezTo>
                  <a:pt x="122" y="394"/>
                  <a:pt x="133" y="385"/>
                  <a:pt x="159" y="380"/>
                </a:cubicBezTo>
                <a:cubicBezTo>
                  <a:pt x="186" y="376"/>
                  <a:pt x="204" y="360"/>
                  <a:pt x="215" y="369"/>
                </a:cubicBezTo>
                <a:cubicBezTo>
                  <a:pt x="226" y="379"/>
                  <a:pt x="228" y="380"/>
                  <a:pt x="238" y="379"/>
                </a:cubicBezTo>
                <a:cubicBezTo>
                  <a:pt x="249" y="377"/>
                  <a:pt x="245" y="365"/>
                  <a:pt x="257" y="369"/>
                </a:cubicBezTo>
                <a:cubicBezTo>
                  <a:pt x="269" y="374"/>
                  <a:pt x="260" y="366"/>
                  <a:pt x="273" y="362"/>
                </a:cubicBezTo>
                <a:cubicBezTo>
                  <a:pt x="285" y="357"/>
                  <a:pt x="280" y="362"/>
                  <a:pt x="297" y="358"/>
                </a:cubicBezTo>
                <a:cubicBezTo>
                  <a:pt x="314" y="355"/>
                  <a:pt x="314" y="352"/>
                  <a:pt x="328" y="352"/>
                </a:cubicBezTo>
                <a:cubicBezTo>
                  <a:pt x="342" y="352"/>
                  <a:pt x="339" y="348"/>
                  <a:pt x="350" y="348"/>
                </a:cubicBezTo>
                <a:cubicBezTo>
                  <a:pt x="361" y="348"/>
                  <a:pt x="356" y="341"/>
                  <a:pt x="369" y="346"/>
                </a:cubicBezTo>
                <a:cubicBezTo>
                  <a:pt x="381" y="351"/>
                  <a:pt x="383" y="349"/>
                  <a:pt x="386" y="355"/>
                </a:cubicBezTo>
                <a:cubicBezTo>
                  <a:pt x="389" y="362"/>
                  <a:pt x="369" y="357"/>
                  <a:pt x="358" y="360"/>
                </a:cubicBezTo>
                <a:cubicBezTo>
                  <a:pt x="347" y="363"/>
                  <a:pt x="345" y="348"/>
                  <a:pt x="338" y="360"/>
                </a:cubicBezTo>
                <a:cubicBezTo>
                  <a:pt x="330" y="372"/>
                  <a:pt x="322" y="372"/>
                  <a:pt x="322" y="377"/>
                </a:cubicBezTo>
                <a:cubicBezTo>
                  <a:pt x="322" y="382"/>
                  <a:pt x="293" y="377"/>
                  <a:pt x="300" y="385"/>
                </a:cubicBezTo>
                <a:cubicBezTo>
                  <a:pt x="308" y="393"/>
                  <a:pt x="333" y="399"/>
                  <a:pt x="342" y="397"/>
                </a:cubicBezTo>
                <a:cubicBezTo>
                  <a:pt x="352" y="396"/>
                  <a:pt x="364" y="410"/>
                  <a:pt x="373" y="407"/>
                </a:cubicBezTo>
                <a:cubicBezTo>
                  <a:pt x="383" y="403"/>
                  <a:pt x="393" y="396"/>
                  <a:pt x="398" y="389"/>
                </a:cubicBezTo>
                <a:cubicBezTo>
                  <a:pt x="403" y="383"/>
                  <a:pt x="417" y="385"/>
                  <a:pt x="418" y="394"/>
                </a:cubicBezTo>
                <a:cubicBezTo>
                  <a:pt x="420" y="403"/>
                  <a:pt x="420" y="400"/>
                  <a:pt x="415" y="413"/>
                </a:cubicBezTo>
                <a:cubicBezTo>
                  <a:pt x="410" y="425"/>
                  <a:pt x="415" y="431"/>
                  <a:pt x="418" y="438"/>
                </a:cubicBezTo>
                <a:cubicBezTo>
                  <a:pt x="421" y="444"/>
                  <a:pt x="412" y="455"/>
                  <a:pt x="418" y="461"/>
                </a:cubicBezTo>
                <a:cubicBezTo>
                  <a:pt x="424" y="467"/>
                  <a:pt x="431" y="469"/>
                  <a:pt x="438" y="473"/>
                </a:cubicBezTo>
                <a:cubicBezTo>
                  <a:pt x="446" y="478"/>
                  <a:pt x="451" y="470"/>
                  <a:pt x="452" y="482"/>
                </a:cubicBezTo>
                <a:cubicBezTo>
                  <a:pt x="454" y="495"/>
                  <a:pt x="441" y="496"/>
                  <a:pt x="454" y="504"/>
                </a:cubicBezTo>
                <a:cubicBezTo>
                  <a:pt x="466" y="512"/>
                  <a:pt x="476" y="503"/>
                  <a:pt x="476" y="512"/>
                </a:cubicBezTo>
                <a:cubicBezTo>
                  <a:pt x="476" y="521"/>
                  <a:pt x="468" y="526"/>
                  <a:pt x="465" y="534"/>
                </a:cubicBezTo>
                <a:cubicBezTo>
                  <a:pt x="462" y="541"/>
                  <a:pt x="451" y="552"/>
                  <a:pt x="457" y="558"/>
                </a:cubicBezTo>
                <a:cubicBezTo>
                  <a:pt x="463" y="565"/>
                  <a:pt x="465" y="568"/>
                  <a:pt x="469" y="572"/>
                </a:cubicBezTo>
                <a:cubicBezTo>
                  <a:pt x="474" y="577"/>
                  <a:pt x="476" y="574"/>
                  <a:pt x="480" y="574"/>
                </a:cubicBezTo>
                <a:cubicBezTo>
                  <a:pt x="485" y="574"/>
                  <a:pt x="491" y="583"/>
                  <a:pt x="486" y="591"/>
                </a:cubicBezTo>
                <a:cubicBezTo>
                  <a:pt x="482" y="599"/>
                  <a:pt x="474" y="603"/>
                  <a:pt x="482" y="606"/>
                </a:cubicBezTo>
                <a:cubicBezTo>
                  <a:pt x="489" y="610"/>
                  <a:pt x="493" y="603"/>
                  <a:pt x="494" y="611"/>
                </a:cubicBezTo>
                <a:cubicBezTo>
                  <a:pt x="496" y="619"/>
                  <a:pt x="497" y="625"/>
                  <a:pt x="489" y="633"/>
                </a:cubicBezTo>
                <a:cubicBezTo>
                  <a:pt x="482" y="641"/>
                  <a:pt x="480" y="628"/>
                  <a:pt x="482" y="641"/>
                </a:cubicBezTo>
                <a:cubicBezTo>
                  <a:pt x="483" y="653"/>
                  <a:pt x="468" y="673"/>
                  <a:pt x="469" y="679"/>
                </a:cubicBezTo>
                <a:cubicBezTo>
                  <a:pt x="474" y="698"/>
                  <a:pt x="477" y="709"/>
                  <a:pt x="472" y="712"/>
                </a:cubicBezTo>
                <a:cubicBezTo>
                  <a:pt x="468" y="715"/>
                  <a:pt x="448" y="716"/>
                  <a:pt x="452" y="721"/>
                </a:cubicBezTo>
                <a:cubicBezTo>
                  <a:pt x="457" y="726"/>
                  <a:pt x="457" y="729"/>
                  <a:pt x="465" y="724"/>
                </a:cubicBezTo>
                <a:cubicBezTo>
                  <a:pt x="472" y="720"/>
                  <a:pt x="482" y="704"/>
                  <a:pt x="483" y="712"/>
                </a:cubicBezTo>
                <a:cubicBezTo>
                  <a:pt x="485" y="720"/>
                  <a:pt x="488" y="718"/>
                  <a:pt x="485" y="724"/>
                </a:cubicBezTo>
                <a:cubicBezTo>
                  <a:pt x="482" y="730"/>
                  <a:pt x="474" y="746"/>
                  <a:pt x="466" y="747"/>
                </a:cubicBezTo>
                <a:cubicBezTo>
                  <a:pt x="461" y="750"/>
                  <a:pt x="461" y="750"/>
                  <a:pt x="461" y="750"/>
                </a:cubicBezTo>
                <a:cubicBezTo>
                  <a:pt x="461" y="750"/>
                  <a:pt x="482" y="764"/>
                  <a:pt x="490" y="750"/>
                </a:cubicBezTo>
                <a:cubicBezTo>
                  <a:pt x="499" y="736"/>
                  <a:pt x="509" y="728"/>
                  <a:pt x="512" y="721"/>
                </a:cubicBezTo>
                <a:cubicBezTo>
                  <a:pt x="516" y="714"/>
                  <a:pt x="514" y="699"/>
                  <a:pt x="507" y="688"/>
                </a:cubicBezTo>
                <a:cubicBezTo>
                  <a:pt x="500" y="678"/>
                  <a:pt x="497" y="678"/>
                  <a:pt x="504" y="664"/>
                </a:cubicBezTo>
                <a:cubicBezTo>
                  <a:pt x="511" y="651"/>
                  <a:pt x="509" y="651"/>
                  <a:pt x="514" y="634"/>
                </a:cubicBezTo>
                <a:cubicBezTo>
                  <a:pt x="519" y="617"/>
                  <a:pt x="523" y="575"/>
                  <a:pt x="526" y="562"/>
                </a:cubicBezTo>
                <a:cubicBezTo>
                  <a:pt x="529" y="548"/>
                  <a:pt x="514" y="529"/>
                  <a:pt x="507" y="540"/>
                </a:cubicBezTo>
                <a:cubicBezTo>
                  <a:pt x="500" y="550"/>
                  <a:pt x="488" y="557"/>
                  <a:pt x="485" y="545"/>
                </a:cubicBezTo>
                <a:cubicBezTo>
                  <a:pt x="482" y="533"/>
                  <a:pt x="494" y="528"/>
                  <a:pt x="499" y="519"/>
                </a:cubicBezTo>
                <a:cubicBezTo>
                  <a:pt x="504" y="510"/>
                  <a:pt x="511" y="500"/>
                  <a:pt x="504" y="493"/>
                </a:cubicBezTo>
                <a:cubicBezTo>
                  <a:pt x="497" y="487"/>
                  <a:pt x="494" y="480"/>
                  <a:pt x="488" y="475"/>
                </a:cubicBezTo>
                <a:cubicBezTo>
                  <a:pt x="483" y="469"/>
                  <a:pt x="475" y="469"/>
                  <a:pt x="480" y="461"/>
                </a:cubicBezTo>
                <a:cubicBezTo>
                  <a:pt x="485" y="452"/>
                  <a:pt x="766" y="235"/>
                  <a:pt x="791" y="22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78" name="Freeform 411"/>
          <p:cNvSpPr>
            <a:spLocks/>
          </p:cNvSpPr>
          <p:nvPr userDrawn="1"/>
        </p:nvSpPr>
        <p:spPr bwMode="auto">
          <a:xfrm>
            <a:off x="2567621" y="4018018"/>
            <a:ext cx="793993" cy="752117"/>
          </a:xfrm>
          <a:custGeom>
            <a:avLst/>
            <a:gdLst>
              <a:gd name="T0" fmla="*/ 2147483646 w 852"/>
              <a:gd name="T1" fmla="*/ 2147483646 h 807"/>
              <a:gd name="T2" fmla="*/ 2147483646 w 852"/>
              <a:gd name="T3" fmla="*/ 2147483646 h 807"/>
              <a:gd name="T4" fmla="*/ 2147483646 w 852"/>
              <a:gd name="T5" fmla="*/ 2147483646 h 807"/>
              <a:gd name="T6" fmla="*/ 2147483646 w 852"/>
              <a:gd name="T7" fmla="*/ 2147483646 h 807"/>
              <a:gd name="T8" fmla="*/ 2147483646 w 852"/>
              <a:gd name="T9" fmla="*/ 2147483646 h 807"/>
              <a:gd name="T10" fmla="*/ 2147483646 w 852"/>
              <a:gd name="T11" fmla="*/ 2147483646 h 807"/>
              <a:gd name="T12" fmla="*/ 2147483646 w 852"/>
              <a:gd name="T13" fmla="*/ 2147483646 h 807"/>
              <a:gd name="T14" fmla="*/ 2147483646 w 852"/>
              <a:gd name="T15" fmla="*/ 2147483646 h 807"/>
              <a:gd name="T16" fmla="*/ 2147483646 w 852"/>
              <a:gd name="T17" fmla="*/ 2147483646 h 807"/>
              <a:gd name="T18" fmla="*/ 2147483646 w 852"/>
              <a:gd name="T19" fmla="*/ 2147483646 h 807"/>
              <a:gd name="T20" fmla="*/ 2147483646 w 852"/>
              <a:gd name="T21" fmla="*/ 2147483646 h 807"/>
              <a:gd name="T22" fmla="*/ 2147483646 w 852"/>
              <a:gd name="T23" fmla="*/ 2147483646 h 807"/>
              <a:gd name="T24" fmla="*/ 2147483646 w 852"/>
              <a:gd name="T25" fmla="*/ 2147483646 h 807"/>
              <a:gd name="T26" fmla="*/ 2147483646 w 852"/>
              <a:gd name="T27" fmla="*/ 2147483646 h 807"/>
              <a:gd name="T28" fmla="*/ 2147483646 w 852"/>
              <a:gd name="T29" fmla="*/ 2147483646 h 807"/>
              <a:gd name="T30" fmla="*/ 2147483646 w 852"/>
              <a:gd name="T31" fmla="*/ 2147483646 h 807"/>
              <a:gd name="T32" fmla="*/ 2147483646 w 852"/>
              <a:gd name="T33" fmla="*/ 2147483646 h 807"/>
              <a:gd name="T34" fmla="*/ 2147483646 w 852"/>
              <a:gd name="T35" fmla="*/ 2147483646 h 807"/>
              <a:gd name="T36" fmla="*/ 2147483646 w 852"/>
              <a:gd name="T37" fmla="*/ 2147483646 h 807"/>
              <a:gd name="T38" fmla="*/ 2147483646 w 852"/>
              <a:gd name="T39" fmla="*/ 2147483646 h 807"/>
              <a:gd name="T40" fmla="*/ 2147483646 w 852"/>
              <a:gd name="T41" fmla="*/ 2147483646 h 807"/>
              <a:gd name="T42" fmla="*/ 2147483646 w 852"/>
              <a:gd name="T43" fmla="*/ 2147483646 h 807"/>
              <a:gd name="T44" fmla="*/ 2147483646 w 852"/>
              <a:gd name="T45" fmla="*/ 2147483646 h 807"/>
              <a:gd name="T46" fmla="*/ 2147483646 w 852"/>
              <a:gd name="T47" fmla="*/ 2147483646 h 807"/>
              <a:gd name="T48" fmla="*/ 2147483646 w 852"/>
              <a:gd name="T49" fmla="*/ 2147483646 h 807"/>
              <a:gd name="T50" fmla="*/ 2147483646 w 852"/>
              <a:gd name="T51" fmla="*/ 2147483646 h 807"/>
              <a:gd name="T52" fmla="*/ 2147483646 w 852"/>
              <a:gd name="T53" fmla="*/ 2147483646 h 807"/>
              <a:gd name="T54" fmla="*/ 2147483646 w 852"/>
              <a:gd name="T55" fmla="*/ 2147483646 h 807"/>
              <a:gd name="T56" fmla="*/ 2147483646 w 852"/>
              <a:gd name="T57" fmla="*/ 2147483646 h 807"/>
              <a:gd name="T58" fmla="*/ 2147483646 w 852"/>
              <a:gd name="T59" fmla="*/ 2147483646 h 807"/>
              <a:gd name="T60" fmla="*/ 2147483646 w 852"/>
              <a:gd name="T61" fmla="*/ 2147483646 h 807"/>
              <a:gd name="T62" fmla="*/ 2147483646 w 852"/>
              <a:gd name="T63" fmla="*/ 2147483646 h 807"/>
              <a:gd name="T64" fmla="*/ 2147483646 w 852"/>
              <a:gd name="T65" fmla="*/ 2147483646 h 807"/>
              <a:gd name="T66" fmla="*/ 2147483646 w 852"/>
              <a:gd name="T67" fmla="*/ 2147483646 h 807"/>
              <a:gd name="T68" fmla="*/ 2147483646 w 852"/>
              <a:gd name="T69" fmla="*/ 2147483646 h 807"/>
              <a:gd name="T70" fmla="*/ 2147483646 w 852"/>
              <a:gd name="T71" fmla="*/ 2147483646 h 807"/>
              <a:gd name="T72" fmla="*/ 2147483646 w 852"/>
              <a:gd name="T73" fmla="*/ 2147483646 h 807"/>
              <a:gd name="T74" fmla="*/ 2147483646 w 852"/>
              <a:gd name="T75" fmla="*/ 2147483646 h 807"/>
              <a:gd name="T76" fmla="*/ 2147483646 w 852"/>
              <a:gd name="T77" fmla="*/ 2147483646 h 807"/>
              <a:gd name="T78" fmla="*/ 2147483646 w 852"/>
              <a:gd name="T79" fmla="*/ 2147483646 h 807"/>
              <a:gd name="T80" fmla="*/ 2147483646 w 852"/>
              <a:gd name="T81" fmla="*/ 2147483646 h 807"/>
              <a:gd name="T82" fmla="*/ 2147483646 w 852"/>
              <a:gd name="T83" fmla="*/ 2147483646 h 807"/>
              <a:gd name="T84" fmla="*/ 2147483646 w 852"/>
              <a:gd name="T85" fmla="*/ 2147483646 h 807"/>
              <a:gd name="T86" fmla="*/ 2147483646 w 852"/>
              <a:gd name="T87" fmla="*/ 2147483646 h 807"/>
              <a:gd name="T88" fmla="*/ 2147483646 w 852"/>
              <a:gd name="T89" fmla="*/ 2147483646 h 807"/>
              <a:gd name="T90" fmla="*/ 2147483646 w 852"/>
              <a:gd name="T91" fmla="*/ 2147483646 h 807"/>
              <a:gd name="T92" fmla="*/ 2147483646 w 852"/>
              <a:gd name="T93" fmla="*/ 2147483646 h 807"/>
              <a:gd name="T94" fmla="*/ 2147483646 w 852"/>
              <a:gd name="T95" fmla="*/ 2147483646 h 807"/>
              <a:gd name="T96" fmla="*/ 2147483646 w 852"/>
              <a:gd name="T97" fmla="*/ 2147483646 h 807"/>
              <a:gd name="T98" fmla="*/ 2147483646 w 852"/>
              <a:gd name="T99" fmla="*/ 2147483646 h 807"/>
              <a:gd name="T100" fmla="*/ 2147483646 w 852"/>
              <a:gd name="T101" fmla="*/ 2147483646 h 807"/>
              <a:gd name="T102" fmla="*/ 2147483646 w 852"/>
              <a:gd name="T103" fmla="*/ 2147483646 h 807"/>
              <a:gd name="T104" fmla="*/ 2147483646 w 852"/>
              <a:gd name="T105" fmla="*/ 2147483646 h 807"/>
              <a:gd name="T106" fmla="*/ 2147483646 w 852"/>
              <a:gd name="T107" fmla="*/ 2147483646 h 807"/>
              <a:gd name="T108" fmla="*/ 2147483646 w 852"/>
              <a:gd name="T109" fmla="*/ 2147483646 h 807"/>
              <a:gd name="T110" fmla="*/ 2147483646 w 852"/>
              <a:gd name="T111" fmla="*/ 2147483646 h 80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852"/>
              <a:gd name="T169" fmla="*/ 0 h 807"/>
              <a:gd name="T170" fmla="*/ 852 w 852"/>
              <a:gd name="T171" fmla="*/ 807 h 80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852" h="807">
                <a:moveTo>
                  <a:pt x="845" y="701"/>
                </a:moveTo>
                <a:cubicBezTo>
                  <a:pt x="841" y="699"/>
                  <a:pt x="833" y="697"/>
                  <a:pt x="830" y="698"/>
                </a:cubicBezTo>
                <a:cubicBezTo>
                  <a:pt x="824" y="698"/>
                  <a:pt x="830" y="698"/>
                  <a:pt x="819" y="699"/>
                </a:cubicBezTo>
                <a:cubicBezTo>
                  <a:pt x="808" y="700"/>
                  <a:pt x="812" y="704"/>
                  <a:pt x="801" y="698"/>
                </a:cubicBezTo>
                <a:cubicBezTo>
                  <a:pt x="789" y="691"/>
                  <a:pt x="794" y="704"/>
                  <a:pt x="791" y="707"/>
                </a:cubicBezTo>
                <a:cubicBezTo>
                  <a:pt x="788" y="709"/>
                  <a:pt x="783" y="719"/>
                  <a:pt x="779" y="722"/>
                </a:cubicBezTo>
                <a:cubicBezTo>
                  <a:pt x="775" y="726"/>
                  <a:pt x="785" y="729"/>
                  <a:pt x="793" y="734"/>
                </a:cubicBezTo>
                <a:cubicBezTo>
                  <a:pt x="800" y="738"/>
                  <a:pt x="798" y="752"/>
                  <a:pt x="797" y="755"/>
                </a:cubicBezTo>
                <a:cubicBezTo>
                  <a:pt x="795" y="758"/>
                  <a:pt x="782" y="757"/>
                  <a:pt x="768" y="755"/>
                </a:cubicBezTo>
                <a:cubicBezTo>
                  <a:pt x="755" y="752"/>
                  <a:pt x="761" y="759"/>
                  <a:pt x="754" y="763"/>
                </a:cubicBezTo>
                <a:cubicBezTo>
                  <a:pt x="748" y="767"/>
                  <a:pt x="746" y="772"/>
                  <a:pt x="745" y="780"/>
                </a:cubicBezTo>
                <a:cubicBezTo>
                  <a:pt x="744" y="786"/>
                  <a:pt x="744" y="798"/>
                  <a:pt x="743" y="803"/>
                </a:cubicBezTo>
                <a:cubicBezTo>
                  <a:pt x="743" y="804"/>
                  <a:pt x="743" y="804"/>
                  <a:pt x="743" y="804"/>
                </a:cubicBezTo>
                <a:cubicBezTo>
                  <a:pt x="743" y="804"/>
                  <a:pt x="726" y="807"/>
                  <a:pt x="724" y="803"/>
                </a:cubicBezTo>
                <a:cubicBezTo>
                  <a:pt x="721" y="800"/>
                  <a:pt x="716" y="789"/>
                  <a:pt x="711" y="789"/>
                </a:cubicBezTo>
                <a:cubicBezTo>
                  <a:pt x="706" y="788"/>
                  <a:pt x="697" y="789"/>
                  <a:pt x="692" y="779"/>
                </a:cubicBezTo>
                <a:cubicBezTo>
                  <a:pt x="688" y="770"/>
                  <a:pt x="680" y="775"/>
                  <a:pt x="674" y="765"/>
                </a:cubicBezTo>
                <a:cubicBezTo>
                  <a:pt x="668" y="756"/>
                  <a:pt x="660" y="753"/>
                  <a:pt x="649" y="755"/>
                </a:cubicBezTo>
                <a:cubicBezTo>
                  <a:pt x="638" y="756"/>
                  <a:pt x="621" y="761"/>
                  <a:pt x="612" y="765"/>
                </a:cubicBezTo>
                <a:cubicBezTo>
                  <a:pt x="602" y="770"/>
                  <a:pt x="593" y="770"/>
                  <a:pt x="587" y="765"/>
                </a:cubicBezTo>
                <a:cubicBezTo>
                  <a:pt x="581" y="761"/>
                  <a:pt x="567" y="762"/>
                  <a:pt x="561" y="759"/>
                </a:cubicBezTo>
                <a:cubicBezTo>
                  <a:pt x="554" y="756"/>
                  <a:pt x="536" y="750"/>
                  <a:pt x="528" y="744"/>
                </a:cubicBezTo>
                <a:cubicBezTo>
                  <a:pt x="520" y="738"/>
                  <a:pt x="492" y="731"/>
                  <a:pt x="486" y="724"/>
                </a:cubicBezTo>
                <a:cubicBezTo>
                  <a:pt x="480" y="716"/>
                  <a:pt x="474" y="725"/>
                  <a:pt x="461" y="716"/>
                </a:cubicBezTo>
                <a:cubicBezTo>
                  <a:pt x="449" y="707"/>
                  <a:pt x="443" y="708"/>
                  <a:pt x="434" y="700"/>
                </a:cubicBezTo>
                <a:cubicBezTo>
                  <a:pt x="424" y="693"/>
                  <a:pt x="420" y="690"/>
                  <a:pt x="418" y="683"/>
                </a:cubicBezTo>
                <a:cubicBezTo>
                  <a:pt x="416" y="677"/>
                  <a:pt x="403" y="668"/>
                  <a:pt x="393" y="666"/>
                </a:cubicBezTo>
                <a:cubicBezTo>
                  <a:pt x="384" y="665"/>
                  <a:pt x="373" y="648"/>
                  <a:pt x="358" y="645"/>
                </a:cubicBezTo>
                <a:cubicBezTo>
                  <a:pt x="342" y="642"/>
                  <a:pt x="328" y="628"/>
                  <a:pt x="327" y="611"/>
                </a:cubicBezTo>
                <a:cubicBezTo>
                  <a:pt x="325" y="593"/>
                  <a:pt x="306" y="598"/>
                  <a:pt x="294" y="592"/>
                </a:cubicBezTo>
                <a:cubicBezTo>
                  <a:pt x="282" y="586"/>
                  <a:pt x="277" y="569"/>
                  <a:pt x="274" y="558"/>
                </a:cubicBezTo>
                <a:cubicBezTo>
                  <a:pt x="271" y="547"/>
                  <a:pt x="286" y="527"/>
                  <a:pt x="289" y="508"/>
                </a:cubicBezTo>
                <a:cubicBezTo>
                  <a:pt x="293" y="490"/>
                  <a:pt x="286" y="493"/>
                  <a:pt x="279" y="480"/>
                </a:cubicBezTo>
                <a:cubicBezTo>
                  <a:pt x="271" y="468"/>
                  <a:pt x="277" y="462"/>
                  <a:pt x="277" y="451"/>
                </a:cubicBezTo>
                <a:cubicBezTo>
                  <a:pt x="277" y="440"/>
                  <a:pt x="265" y="423"/>
                  <a:pt x="258" y="417"/>
                </a:cubicBezTo>
                <a:cubicBezTo>
                  <a:pt x="252" y="411"/>
                  <a:pt x="238" y="395"/>
                  <a:pt x="235" y="389"/>
                </a:cubicBezTo>
                <a:cubicBezTo>
                  <a:pt x="232" y="383"/>
                  <a:pt x="229" y="373"/>
                  <a:pt x="223" y="358"/>
                </a:cubicBezTo>
                <a:cubicBezTo>
                  <a:pt x="217" y="342"/>
                  <a:pt x="209" y="352"/>
                  <a:pt x="190" y="338"/>
                </a:cubicBezTo>
                <a:cubicBezTo>
                  <a:pt x="172" y="324"/>
                  <a:pt x="189" y="325"/>
                  <a:pt x="200" y="319"/>
                </a:cubicBezTo>
                <a:cubicBezTo>
                  <a:pt x="210" y="313"/>
                  <a:pt x="204" y="304"/>
                  <a:pt x="201" y="290"/>
                </a:cubicBezTo>
                <a:cubicBezTo>
                  <a:pt x="198" y="276"/>
                  <a:pt x="182" y="282"/>
                  <a:pt x="179" y="268"/>
                </a:cubicBezTo>
                <a:cubicBezTo>
                  <a:pt x="176" y="254"/>
                  <a:pt x="164" y="249"/>
                  <a:pt x="158" y="243"/>
                </a:cubicBezTo>
                <a:cubicBezTo>
                  <a:pt x="151" y="237"/>
                  <a:pt x="148" y="236"/>
                  <a:pt x="145" y="226"/>
                </a:cubicBezTo>
                <a:cubicBezTo>
                  <a:pt x="142" y="217"/>
                  <a:pt x="141" y="201"/>
                  <a:pt x="138" y="192"/>
                </a:cubicBezTo>
                <a:cubicBezTo>
                  <a:pt x="134" y="183"/>
                  <a:pt x="125" y="180"/>
                  <a:pt x="122" y="167"/>
                </a:cubicBezTo>
                <a:cubicBezTo>
                  <a:pt x="119" y="155"/>
                  <a:pt x="120" y="149"/>
                  <a:pt x="125" y="129"/>
                </a:cubicBezTo>
                <a:cubicBezTo>
                  <a:pt x="130" y="108"/>
                  <a:pt x="119" y="110"/>
                  <a:pt x="114" y="98"/>
                </a:cubicBezTo>
                <a:cubicBezTo>
                  <a:pt x="110" y="85"/>
                  <a:pt x="116" y="85"/>
                  <a:pt x="114" y="71"/>
                </a:cubicBezTo>
                <a:cubicBezTo>
                  <a:pt x="113" y="57"/>
                  <a:pt x="100" y="68"/>
                  <a:pt x="90" y="59"/>
                </a:cubicBezTo>
                <a:cubicBezTo>
                  <a:pt x="79" y="50"/>
                  <a:pt x="66" y="39"/>
                  <a:pt x="66" y="39"/>
                </a:cubicBezTo>
                <a:cubicBezTo>
                  <a:pt x="66" y="39"/>
                  <a:pt x="66" y="43"/>
                  <a:pt x="66" y="50"/>
                </a:cubicBezTo>
                <a:cubicBezTo>
                  <a:pt x="66" y="56"/>
                  <a:pt x="66" y="67"/>
                  <a:pt x="66" y="73"/>
                </a:cubicBezTo>
                <a:cubicBezTo>
                  <a:pt x="66" y="79"/>
                  <a:pt x="63" y="88"/>
                  <a:pt x="60" y="94"/>
                </a:cubicBezTo>
                <a:cubicBezTo>
                  <a:pt x="57" y="101"/>
                  <a:pt x="63" y="110"/>
                  <a:pt x="68" y="115"/>
                </a:cubicBezTo>
                <a:cubicBezTo>
                  <a:pt x="72" y="119"/>
                  <a:pt x="69" y="132"/>
                  <a:pt x="71" y="143"/>
                </a:cubicBezTo>
                <a:cubicBezTo>
                  <a:pt x="72" y="153"/>
                  <a:pt x="79" y="158"/>
                  <a:pt x="83" y="161"/>
                </a:cubicBezTo>
                <a:cubicBezTo>
                  <a:pt x="88" y="164"/>
                  <a:pt x="85" y="177"/>
                  <a:pt x="82" y="187"/>
                </a:cubicBezTo>
                <a:cubicBezTo>
                  <a:pt x="79" y="198"/>
                  <a:pt x="82" y="203"/>
                  <a:pt x="90" y="206"/>
                </a:cubicBezTo>
                <a:cubicBezTo>
                  <a:pt x="97" y="209"/>
                  <a:pt x="94" y="220"/>
                  <a:pt x="96" y="228"/>
                </a:cubicBezTo>
                <a:cubicBezTo>
                  <a:pt x="97" y="236"/>
                  <a:pt x="100" y="245"/>
                  <a:pt x="105" y="248"/>
                </a:cubicBezTo>
                <a:cubicBezTo>
                  <a:pt x="110" y="251"/>
                  <a:pt x="114" y="271"/>
                  <a:pt x="119" y="279"/>
                </a:cubicBezTo>
                <a:cubicBezTo>
                  <a:pt x="124" y="287"/>
                  <a:pt x="120" y="302"/>
                  <a:pt x="124" y="307"/>
                </a:cubicBezTo>
                <a:cubicBezTo>
                  <a:pt x="127" y="311"/>
                  <a:pt x="134" y="322"/>
                  <a:pt x="138" y="327"/>
                </a:cubicBezTo>
                <a:cubicBezTo>
                  <a:pt x="141" y="332"/>
                  <a:pt x="133" y="347"/>
                  <a:pt x="128" y="359"/>
                </a:cubicBezTo>
                <a:cubicBezTo>
                  <a:pt x="124" y="372"/>
                  <a:pt x="138" y="378"/>
                  <a:pt x="151" y="377"/>
                </a:cubicBezTo>
                <a:cubicBezTo>
                  <a:pt x="165" y="375"/>
                  <a:pt x="165" y="411"/>
                  <a:pt x="162" y="415"/>
                </a:cubicBezTo>
                <a:cubicBezTo>
                  <a:pt x="159" y="420"/>
                  <a:pt x="153" y="426"/>
                  <a:pt x="142" y="423"/>
                </a:cubicBezTo>
                <a:cubicBezTo>
                  <a:pt x="131" y="420"/>
                  <a:pt x="130" y="404"/>
                  <a:pt x="124" y="395"/>
                </a:cubicBezTo>
                <a:cubicBezTo>
                  <a:pt x="117" y="386"/>
                  <a:pt x="113" y="375"/>
                  <a:pt x="108" y="359"/>
                </a:cubicBezTo>
                <a:cubicBezTo>
                  <a:pt x="103" y="344"/>
                  <a:pt x="97" y="359"/>
                  <a:pt x="83" y="352"/>
                </a:cubicBezTo>
                <a:cubicBezTo>
                  <a:pt x="69" y="344"/>
                  <a:pt x="80" y="346"/>
                  <a:pt x="85" y="335"/>
                </a:cubicBezTo>
                <a:cubicBezTo>
                  <a:pt x="90" y="324"/>
                  <a:pt x="93" y="322"/>
                  <a:pt x="94" y="305"/>
                </a:cubicBezTo>
                <a:cubicBezTo>
                  <a:pt x="96" y="288"/>
                  <a:pt x="77" y="284"/>
                  <a:pt x="72" y="260"/>
                </a:cubicBezTo>
                <a:cubicBezTo>
                  <a:pt x="71" y="253"/>
                  <a:pt x="62" y="257"/>
                  <a:pt x="54" y="248"/>
                </a:cubicBezTo>
                <a:cubicBezTo>
                  <a:pt x="46" y="239"/>
                  <a:pt x="37" y="231"/>
                  <a:pt x="32" y="200"/>
                </a:cubicBezTo>
                <a:cubicBezTo>
                  <a:pt x="31" y="192"/>
                  <a:pt x="46" y="200"/>
                  <a:pt x="52" y="184"/>
                </a:cubicBezTo>
                <a:cubicBezTo>
                  <a:pt x="59" y="169"/>
                  <a:pt x="51" y="169"/>
                  <a:pt x="46" y="153"/>
                </a:cubicBezTo>
                <a:cubicBezTo>
                  <a:pt x="41" y="138"/>
                  <a:pt x="38" y="143"/>
                  <a:pt x="29" y="130"/>
                </a:cubicBezTo>
                <a:cubicBezTo>
                  <a:pt x="20" y="118"/>
                  <a:pt x="23" y="98"/>
                  <a:pt x="23" y="88"/>
                </a:cubicBezTo>
                <a:cubicBezTo>
                  <a:pt x="23" y="79"/>
                  <a:pt x="15" y="51"/>
                  <a:pt x="10" y="36"/>
                </a:cubicBezTo>
                <a:cubicBezTo>
                  <a:pt x="6" y="20"/>
                  <a:pt x="0" y="17"/>
                  <a:pt x="1" y="6"/>
                </a:cubicBezTo>
                <a:cubicBezTo>
                  <a:pt x="1" y="6"/>
                  <a:pt x="12" y="9"/>
                  <a:pt x="31" y="9"/>
                </a:cubicBezTo>
                <a:cubicBezTo>
                  <a:pt x="49" y="9"/>
                  <a:pt x="75" y="0"/>
                  <a:pt x="85" y="14"/>
                </a:cubicBezTo>
                <a:cubicBezTo>
                  <a:pt x="96" y="28"/>
                  <a:pt x="97" y="38"/>
                  <a:pt x="116" y="48"/>
                </a:cubicBezTo>
                <a:cubicBezTo>
                  <a:pt x="135" y="59"/>
                  <a:pt x="161" y="100"/>
                  <a:pt x="212" y="100"/>
                </a:cubicBezTo>
                <a:cubicBezTo>
                  <a:pt x="263" y="100"/>
                  <a:pt x="273" y="115"/>
                  <a:pt x="278" y="101"/>
                </a:cubicBezTo>
                <a:cubicBezTo>
                  <a:pt x="284" y="88"/>
                  <a:pt x="290" y="96"/>
                  <a:pt x="314" y="101"/>
                </a:cubicBezTo>
                <a:cubicBezTo>
                  <a:pt x="338" y="106"/>
                  <a:pt x="338" y="115"/>
                  <a:pt x="355" y="132"/>
                </a:cubicBezTo>
                <a:cubicBezTo>
                  <a:pt x="373" y="149"/>
                  <a:pt x="366" y="153"/>
                  <a:pt x="374" y="178"/>
                </a:cubicBezTo>
                <a:cubicBezTo>
                  <a:pt x="383" y="204"/>
                  <a:pt x="381" y="209"/>
                  <a:pt x="398" y="219"/>
                </a:cubicBezTo>
                <a:cubicBezTo>
                  <a:pt x="415" y="230"/>
                  <a:pt x="431" y="216"/>
                  <a:pt x="446" y="204"/>
                </a:cubicBezTo>
                <a:cubicBezTo>
                  <a:pt x="461" y="192"/>
                  <a:pt x="451" y="182"/>
                  <a:pt x="479" y="204"/>
                </a:cubicBezTo>
                <a:cubicBezTo>
                  <a:pt x="506" y="226"/>
                  <a:pt x="521" y="228"/>
                  <a:pt x="518" y="259"/>
                </a:cubicBezTo>
                <a:cubicBezTo>
                  <a:pt x="514" y="289"/>
                  <a:pt x="533" y="329"/>
                  <a:pt x="533" y="329"/>
                </a:cubicBezTo>
                <a:cubicBezTo>
                  <a:pt x="549" y="353"/>
                  <a:pt x="549" y="359"/>
                  <a:pt x="564" y="365"/>
                </a:cubicBezTo>
                <a:cubicBezTo>
                  <a:pt x="579" y="370"/>
                  <a:pt x="597" y="378"/>
                  <a:pt x="597" y="378"/>
                </a:cubicBezTo>
                <a:cubicBezTo>
                  <a:pt x="597" y="379"/>
                  <a:pt x="597" y="379"/>
                  <a:pt x="597" y="379"/>
                </a:cubicBezTo>
                <a:cubicBezTo>
                  <a:pt x="596" y="384"/>
                  <a:pt x="592" y="387"/>
                  <a:pt x="583" y="397"/>
                </a:cubicBezTo>
                <a:cubicBezTo>
                  <a:pt x="568" y="415"/>
                  <a:pt x="569" y="441"/>
                  <a:pt x="556" y="494"/>
                </a:cubicBezTo>
                <a:cubicBezTo>
                  <a:pt x="543" y="546"/>
                  <a:pt x="580" y="587"/>
                  <a:pt x="585" y="599"/>
                </a:cubicBezTo>
                <a:cubicBezTo>
                  <a:pt x="591" y="612"/>
                  <a:pt x="603" y="633"/>
                  <a:pt x="603" y="633"/>
                </a:cubicBezTo>
                <a:cubicBezTo>
                  <a:pt x="619" y="644"/>
                  <a:pt x="619" y="644"/>
                  <a:pt x="619" y="644"/>
                </a:cubicBezTo>
                <a:cubicBezTo>
                  <a:pt x="619" y="644"/>
                  <a:pt x="629" y="648"/>
                  <a:pt x="637" y="657"/>
                </a:cubicBezTo>
                <a:cubicBezTo>
                  <a:pt x="645" y="665"/>
                  <a:pt x="668" y="669"/>
                  <a:pt x="683" y="673"/>
                </a:cubicBezTo>
                <a:cubicBezTo>
                  <a:pt x="698" y="678"/>
                  <a:pt x="705" y="674"/>
                  <a:pt x="730" y="660"/>
                </a:cubicBezTo>
                <a:cubicBezTo>
                  <a:pt x="754" y="645"/>
                  <a:pt x="739" y="666"/>
                  <a:pt x="751" y="663"/>
                </a:cubicBezTo>
                <a:cubicBezTo>
                  <a:pt x="763" y="660"/>
                  <a:pt x="762" y="662"/>
                  <a:pt x="778" y="653"/>
                </a:cubicBezTo>
                <a:cubicBezTo>
                  <a:pt x="794" y="644"/>
                  <a:pt x="789" y="646"/>
                  <a:pt x="793" y="634"/>
                </a:cubicBezTo>
                <a:cubicBezTo>
                  <a:pt x="793" y="634"/>
                  <a:pt x="802" y="616"/>
                  <a:pt x="811" y="622"/>
                </a:cubicBezTo>
                <a:cubicBezTo>
                  <a:pt x="820" y="628"/>
                  <a:pt x="831" y="633"/>
                  <a:pt x="834" y="635"/>
                </a:cubicBezTo>
                <a:cubicBezTo>
                  <a:pt x="838" y="638"/>
                  <a:pt x="846" y="651"/>
                  <a:pt x="847" y="652"/>
                </a:cubicBezTo>
                <a:cubicBezTo>
                  <a:pt x="847" y="653"/>
                  <a:pt x="852" y="675"/>
                  <a:pt x="852" y="681"/>
                </a:cubicBezTo>
                <a:cubicBezTo>
                  <a:pt x="852" y="686"/>
                  <a:pt x="845" y="701"/>
                  <a:pt x="845" y="7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79" name="Freeform 412"/>
          <p:cNvSpPr>
            <a:spLocks/>
          </p:cNvSpPr>
          <p:nvPr userDrawn="1"/>
        </p:nvSpPr>
        <p:spPr bwMode="auto">
          <a:xfrm>
            <a:off x="3177356" y="2637741"/>
            <a:ext cx="152433" cy="110556"/>
          </a:xfrm>
          <a:custGeom>
            <a:avLst/>
            <a:gdLst>
              <a:gd name="T0" fmla="*/ 2147483646 w 164"/>
              <a:gd name="T1" fmla="*/ 2147483646 h 119"/>
              <a:gd name="T2" fmla="*/ 2147483646 w 164"/>
              <a:gd name="T3" fmla="*/ 2147483646 h 119"/>
              <a:gd name="T4" fmla="*/ 2147483646 w 164"/>
              <a:gd name="T5" fmla="*/ 2147483646 h 119"/>
              <a:gd name="T6" fmla="*/ 2147483646 w 164"/>
              <a:gd name="T7" fmla="*/ 2147483646 h 119"/>
              <a:gd name="T8" fmla="*/ 2147483646 w 164"/>
              <a:gd name="T9" fmla="*/ 2147483646 h 119"/>
              <a:gd name="T10" fmla="*/ 2147483646 w 164"/>
              <a:gd name="T11" fmla="*/ 2147483646 h 119"/>
              <a:gd name="T12" fmla="*/ 2147483646 w 164"/>
              <a:gd name="T13" fmla="*/ 2147483646 h 119"/>
              <a:gd name="T14" fmla="*/ 2147483646 w 164"/>
              <a:gd name="T15" fmla="*/ 2147483646 h 119"/>
              <a:gd name="T16" fmla="*/ 2147483646 w 164"/>
              <a:gd name="T17" fmla="*/ 2147483646 h 119"/>
              <a:gd name="T18" fmla="*/ 2147483646 w 164"/>
              <a:gd name="T19" fmla="*/ 2147483646 h 119"/>
              <a:gd name="T20" fmla="*/ 2147483646 w 164"/>
              <a:gd name="T21" fmla="*/ 2147483646 h 119"/>
              <a:gd name="T22" fmla="*/ 2147483646 w 164"/>
              <a:gd name="T23" fmla="*/ 2147483646 h 119"/>
              <a:gd name="T24" fmla="*/ 2147483646 w 164"/>
              <a:gd name="T25" fmla="*/ 2147483646 h 119"/>
              <a:gd name="T26" fmla="*/ 2147483646 w 164"/>
              <a:gd name="T27" fmla="*/ 2147483646 h 119"/>
              <a:gd name="T28" fmla="*/ 2147483646 w 164"/>
              <a:gd name="T29" fmla="*/ 2147483646 h 119"/>
              <a:gd name="T30" fmla="*/ 2147483646 w 164"/>
              <a:gd name="T31" fmla="*/ 2147483646 h 119"/>
              <a:gd name="T32" fmla="*/ 2147483646 w 164"/>
              <a:gd name="T33" fmla="*/ 2147483646 h 1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64"/>
              <a:gd name="T52" fmla="*/ 0 h 119"/>
              <a:gd name="T53" fmla="*/ 164 w 164"/>
              <a:gd name="T54" fmla="*/ 119 h 1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64" h="119">
                <a:moveTo>
                  <a:pt x="88" y="13"/>
                </a:moveTo>
                <a:cubicBezTo>
                  <a:pt x="80" y="14"/>
                  <a:pt x="81" y="14"/>
                  <a:pt x="74" y="24"/>
                </a:cubicBezTo>
                <a:cubicBezTo>
                  <a:pt x="67" y="35"/>
                  <a:pt x="59" y="39"/>
                  <a:pt x="52" y="42"/>
                </a:cubicBezTo>
                <a:cubicBezTo>
                  <a:pt x="45" y="44"/>
                  <a:pt x="32" y="49"/>
                  <a:pt x="22" y="58"/>
                </a:cubicBezTo>
                <a:cubicBezTo>
                  <a:pt x="12" y="67"/>
                  <a:pt x="13" y="62"/>
                  <a:pt x="9" y="69"/>
                </a:cubicBezTo>
                <a:cubicBezTo>
                  <a:pt x="6" y="76"/>
                  <a:pt x="6" y="79"/>
                  <a:pt x="16" y="92"/>
                </a:cubicBezTo>
                <a:cubicBezTo>
                  <a:pt x="27" y="106"/>
                  <a:pt x="0" y="108"/>
                  <a:pt x="20" y="110"/>
                </a:cubicBezTo>
                <a:cubicBezTo>
                  <a:pt x="39" y="111"/>
                  <a:pt x="23" y="119"/>
                  <a:pt x="60" y="106"/>
                </a:cubicBezTo>
                <a:cubicBezTo>
                  <a:pt x="97" y="94"/>
                  <a:pt x="93" y="69"/>
                  <a:pt x="106" y="75"/>
                </a:cubicBezTo>
                <a:cubicBezTo>
                  <a:pt x="119" y="81"/>
                  <a:pt x="119" y="73"/>
                  <a:pt x="134" y="75"/>
                </a:cubicBezTo>
                <a:cubicBezTo>
                  <a:pt x="149" y="77"/>
                  <a:pt x="145" y="70"/>
                  <a:pt x="152" y="68"/>
                </a:cubicBezTo>
                <a:cubicBezTo>
                  <a:pt x="159" y="66"/>
                  <a:pt x="164" y="54"/>
                  <a:pt x="156" y="49"/>
                </a:cubicBezTo>
                <a:cubicBezTo>
                  <a:pt x="148" y="43"/>
                  <a:pt x="150" y="32"/>
                  <a:pt x="138" y="35"/>
                </a:cubicBezTo>
                <a:cubicBezTo>
                  <a:pt x="127" y="37"/>
                  <a:pt x="126" y="36"/>
                  <a:pt x="121" y="21"/>
                </a:cubicBezTo>
                <a:cubicBezTo>
                  <a:pt x="116" y="6"/>
                  <a:pt x="120" y="0"/>
                  <a:pt x="110" y="5"/>
                </a:cubicBezTo>
                <a:cubicBezTo>
                  <a:pt x="99" y="9"/>
                  <a:pt x="100" y="4"/>
                  <a:pt x="96" y="7"/>
                </a:cubicBezTo>
                <a:cubicBezTo>
                  <a:pt x="91" y="11"/>
                  <a:pt x="88" y="13"/>
                  <a:pt x="88" y="1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80" name="Freeform 413"/>
          <p:cNvSpPr>
            <a:spLocks/>
          </p:cNvSpPr>
          <p:nvPr userDrawn="1"/>
        </p:nvSpPr>
        <p:spPr bwMode="auto">
          <a:xfrm>
            <a:off x="3217557" y="2704744"/>
            <a:ext cx="214412" cy="187611"/>
          </a:xfrm>
          <a:custGeom>
            <a:avLst/>
            <a:gdLst>
              <a:gd name="T0" fmla="*/ 2147483646 w 230"/>
              <a:gd name="T1" fmla="*/ 2147483646 h 200"/>
              <a:gd name="T2" fmla="*/ 2147483646 w 230"/>
              <a:gd name="T3" fmla="*/ 2147483646 h 200"/>
              <a:gd name="T4" fmla="*/ 2147483646 w 230"/>
              <a:gd name="T5" fmla="*/ 2147483646 h 200"/>
              <a:gd name="T6" fmla="*/ 2147483646 w 230"/>
              <a:gd name="T7" fmla="*/ 2147483646 h 200"/>
              <a:gd name="T8" fmla="*/ 2147483646 w 230"/>
              <a:gd name="T9" fmla="*/ 2147483646 h 200"/>
              <a:gd name="T10" fmla="*/ 2147483646 w 230"/>
              <a:gd name="T11" fmla="*/ 2147483646 h 200"/>
              <a:gd name="T12" fmla="*/ 2147483646 w 230"/>
              <a:gd name="T13" fmla="*/ 2147483646 h 200"/>
              <a:gd name="T14" fmla="*/ 2147483646 w 230"/>
              <a:gd name="T15" fmla="*/ 2147483646 h 200"/>
              <a:gd name="T16" fmla="*/ 2147483646 w 230"/>
              <a:gd name="T17" fmla="*/ 2147483646 h 200"/>
              <a:gd name="T18" fmla="*/ 2147483646 w 230"/>
              <a:gd name="T19" fmla="*/ 2147483646 h 200"/>
              <a:gd name="T20" fmla="*/ 2147483646 w 230"/>
              <a:gd name="T21" fmla="*/ 2147483646 h 200"/>
              <a:gd name="T22" fmla="*/ 2147483646 w 230"/>
              <a:gd name="T23" fmla="*/ 2147483646 h 200"/>
              <a:gd name="T24" fmla="*/ 2147483646 w 230"/>
              <a:gd name="T25" fmla="*/ 2147483646 h 200"/>
              <a:gd name="T26" fmla="*/ 2147483646 w 230"/>
              <a:gd name="T27" fmla="*/ 2147483646 h 200"/>
              <a:gd name="T28" fmla="*/ 2147483646 w 230"/>
              <a:gd name="T29" fmla="*/ 2147483646 h 200"/>
              <a:gd name="T30" fmla="*/ 2147483646 w 230"/>
              <a:gd name="T31" fmla="*/ 2147483646 h 200"/>
              <a:gd name="T32" fmla="*/ 2147483646 w 230"/>
              <a:gd name="T33" fmla="*/ 2147483646 h 200"/>
              <a:gd name="T34" fmla="*/ 2147483646 w 230"/>
              <a:gd name="T35" fmla="*/ 2147483646 h 200"/>
              <a:gd name="T36" fmla="*/ 2147483646 w 230"/>
              <a:gd name="T37" fmla="*/ 2147483646 h 200"/>
              <a:gd name="T38" fmla="*/ 2147483646 w 230"/>
              <a:gd name="T39" fmla="*/ 2147483646 h 200"/>
              <a:gd name="T40" fmla="*/ 2147483646 w 230"/>
              <a:gd name="T41" fmla="*/ 2147483646 h 200"/>
              <a:gd name="T42" fmla="*/ 2147483646 w 230"/>
              <a:gd name="T43" fmla="*/ 2147483646 h 200"/>
              <a:gd name="T44" fmla="*/ 2147483646 w 230"/>
              <a:gd name="T45" fmla="*/ 2147483646 h 200"/>
              <a:gd name="T46" fmla="*/ 2147483646 w 230"/>
              <a:gd name="T47" fmla="*/ 2147483646 h 200"/>
              <a:gd name="T48" fmla="*/ 2147483646 w 230"/>
              <a:gd name="T49" fmla="*/ 2147483646 h 200"/>
              <a:gd name="T50" fmla="*/ 2147483646 w 230"/>
              <a:gd name="T51" fmla="*/ 2147483646 h 200"/>
              <a:gd name="T52" fmla="*/ 2147483646 w 230"/>
              <a:gd name="T53" fmla="*/ 2147483646 h 200"/>
              <a:gd name="T54" fmla="*/ 2147483646 w 230"/>
              <a:gd name="T55" fmla="*/ 2147483646 h 200"/>
              <a:gd name="T56" fmla="*/ 2147483646 w 230"/>
              <a:gd name="T57" fmla="*/ 2147483646 h 200"/>
              <a:gd name="T58" fmla="*/ 2147483646 w 230"/>
              <a:gd name="T59" fmla="*/ 2147483646 h 200"/>
              <a:gd name="T60" fmla="*/ 2147483646 w 230"/>
              <a:gd name="T61" fmla="*/ 2147483646 h 200"/>
              <a:gd name="T62" fmla="*/ 2147483646 w 230"/>
              <a:gd name="T63" fmla="*/ 2147483646 h 200"/>
              <a:gd name="T64" fmla="*/ 2147483646 w 230"/>
              <a:gd name="T65" fmla="*/ 2147483646 h 200"/>
              <a:gd name="T66" fmla="*/ 2147483646 w 230"/>
              <a:gd name="T67" fmla="*/ 2147483646 h 200"/>
              <a:gd name="T68" fmla="*/ 2147483646 w 230"/>
              <a:gd name="T69" fmla="*/ 2147483646 h 200"/>
              <a:gd name="T70" fmla="*/ 2147483646 w 230"/>
              <a:gd name="T71" fmla="*/ 2147483646 h 200"/>
              <a:gd name="T72" fmla="*/ 2147483646 w 230"/>
              <a:gd name="T73" fmla="*/ 2147483646 h 200"/>
              <a:gd name="T74" fmla="*/ 2147483646 w 230"/>
              <a:gd name="T75" fmla="*/ 2147483646 h 200"/>
              <a:gd name="T76" fmla="*/ 2147483646 w 230"/>
              <a:gd name="T77" fmla="*/ 2147483646 h 200"/>
              <a:gd name="T78" fmla="*/ 2147483646 w 230"/>
              <a:gd name="T79" fmla="*/ 2147483646 h 20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30"/>
              <a:gd name="T121" fmla="*/ 0 h 200"/>
              <a:gd name="T122" fmla="*/ 230 w 230"/>
              <a:gd name="T123" fmla="*/ 200 h 20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30" h="200">
                <a:moveTo>
                  <a:pt x="55" y="25"/>
                </a:moveTo>
                <a:cubicBezTo>
                  <a:pt x="48" y="32"/>
                  <a:pt x="28" y="44"/>
                  <a:pt x="34" y="52"/>
                </a:cubicBezTo>
                <a:cubicBezTo>
                  <a:pt x="41" y="60"/>
                  <a:pt x="41" y="57"/>
                  <a:pt x="48" y="61"/>
                </a:cubicBezTo>
                <a:cubicBezTo>
                  <a:pt x="55" y="64"/>
                  <a:pt x="37" y="72"/>
                  <a:pt x="33" y="71"/>
                </a:cubicBezTo>
                <a:cubicBezTo>
                  <a:pt x="30" y="70"/>
                  <a:pt x="28" y="56"/>
                  <a:pt x="25" y="67"/>
                </a:cubicBezTo>
                <a:cubicBezTo>
                  <a:pt x="23" y="77"/>
                  <a:pt x="19" y="84"/>
                  <a:pt x="31" y="87"/>
                </a:cubicBezTo>
                <a:cubicBezTo>
                  <a:pt x="43" y="91"/>
                  <a:pt x="51" y="89"/>
                  <a:pt x="62" y="94"/>
                </a:cubicBezTo>
                <a:cubicBezTo>
                  <a:pt x="74" y="100"/>
                  <a:pt x="90" y="100"/>
                  <a:pt x="85" y="108"/>
                </a:cubicBezTo>
                <a:cubicBezTo>
                  <a:pt x="81" y="116"/>
                  <a:pt x="64" y="123"/>
                  <a:pt x="55" y="115"/>
                </a:cubicBezTo>
                <a:cubicBezTo>
                  <a:pt x="46" y="107"/>
                  <a:pt x="39" y="100"/>
                  <a:pt x="33" y="101"/>
                </a:cubicBezTo>
                <a:cubicBezTo>
                  <a:pt x="28" y="102"/>
                  <a:pt x="17" y="97"/>
                  <a:pt x="13" y="102"/>
                </a:cubicBezTo>
                <a:cubicBezTo>
                  <a:pt x="8" y="108"/>
                  <a:pt x="0" y="122"/>
                  <a:pt x="15" y="132"/>
                </a:cubicBezTo>
                <a:cubicBezTo>
                  <a:pt x="30" y="143"/>
                  <a:pt x="44" y="133"/>
                  <a:pt x="44" y="145"/>
                </a:cubicBezTo>
                <a:cubicBezTo>
                  <a:pt x="44" y="157"/>
                  <a:pt x="25" y="163"/>
                  <a:pt x="41" y="167"/>
                </a:cubicBezTo>
                <a:cubicBezTo>
                  <a:pt x="58" y="170"/>
                  <a:pt x="69" y="166"/>
                  <a:pt x="87" y="168"/>
                </a:cubicBezTo>
                <a:cubicBezTo>
                  <a:pt x="106" y="170"/>
                  <a:pt x="105" y="158"/>
                  <a:pt x="119" y="166"/>
                </a:cubicBezTo>
                <a:cubicBezTo>
                  <a:pt x="132" y="174"/>
                  <a:pt x="127" y="158"/>
                  <a:pt x="141" y="168"/>
                </a:cubicBezTo>
                <a:cubicBezTo>
                  <a:pt x="154" y="178"/>
                  <a:pt x="151" y="180"/>
                  <a:pt x="170" y="190"/>
                </a:cubicBezTo>
                <a:cubicBezTo>
                  <a:pt x="190" y="200"/>
                  <a:pt x="198" y="198"/>
                  <a:pt x="203" y="195"/>
                </a:cubicBezTo>
                <a:cubicBezTo>
                  <a:pt x="207" y="191"/>
                  <a:pt x="204" y="174"/>
                  <a:pt x="204" y="174"/>
                </a:cubicBezTo>
                <a:cubicBezTo>
                  <a:pt x="204" y="174"/>
                  <a:pt x="206" y="176"/>
                  <a:pt x="218" y="177"/>
                </a:cubicBezTo>
                <a:cubicBezTo>
                  <a:pt x="229" y="178"/>
                  <a:pt x="230" y="165"/>
                  <a:pt x="225" y="163"/>
                </a:cubicBezTo>
                <a:cubicBezTo>
                  <a:pt x="219" y="162"/>
                  <a:pt x="200" y="152"/>
                  <a:pt x="205" y="148"/>
                </a:cubicBezTo>
                <a:cubicBezTo>
                  <a:pt x="210" y="145"/>
                  <a:pt x="203" y="154"/>
                  <a:pt x="204" y="131"/>
                </a:cubicBezTo>
                <a:cubicBezTo>
                  <a:pt x="205" y="108"/>
                  <a:pt x="200" y="120"/>
                  <a:pt x="210" y="106"/>
                </a:cubicBezTo>
                <a:cubicBezTo>
                  <a:pt x="219" y="92"/>
                  <a:pt x="212" y="102"/>
                  <a:pt x="214" y="80"/>
                </a:cubicBezTo>
                <a:cubicBezTo>
                  <a:pt x="217" y="59"/>
                  <a:pt x="222" y="44"/>
                  <a:pt x="213" y="42"/>
                </a:cubicBezTo>
                <a:cubicBezTo>
                  <a:pt x="204" y="41"/>
                  <a:pt x="197" y="26"/>
                  <a:pt x="192" y="35"/>
                </a:cubicBezTo>
                <a:cubicBezTo>
                  <a:pt x="188" y="45"/>
                  <a:pt x="181" y="56"/>
                  <a:pt x="180" y="70"/>
                </a:cubicBezTo>
                <a:cubicBezTo>
                  <a:pt x="179" y="84"/>
                  <a:pt x="176" y="95"/>
                  <a:pt x="169" y="97"/>
                </a:cubicBezTo>
                <a:cubicBezTo>
                  <a:pt x="162" y="98"/>
                  <a:pt x="157" y="78"/>
                  <a:pt x="165" y="71"/>
                </a:cubicBezTo>
                <a:cubicBezTo>
                  <a:pt x="173" y="64"/>
                  <a:pt x="175" y="41"/>
                  <a:pt x="165" y="48"/>
                </a:cubicBezTo>
                <a:cubicBezTo>
                  <a:pt x="154" y="55"/>
                  <a:pt x="122" y="63"/>
                  <a:pt x="130" y="59"/>
                </a:cubicBezTo>
                <a:cubicBezTo>
                  <a:pt x="138" y="54"/>
                  <a:pt x="144" y="53"/>
                  <a:pt x="142" y="45"/>
                </a:cubicBezTo>
                <a:cubicBezTo>
                  <a:pt x="139" y="37"/>
                  <a:pt x="127" y="32"/>
                  <a:pt x="123" y="34"/>
                </a:cubicBezTo>
                <a:cubicBezTo>
                  <a:pt x="120" y="37"/>
                  <a:pt x="89" y="42"/>
                  <a:pt x="105" y="32"/>
                </a:cubicBezTo>
                <a:cubicBezTo>
                  <a:pt x="121" y="22"/>
                  <a:pt x="135" y="0"/>
                  <a:pt x="121" y="6"/>
                </a:cubicBezTo>
                <a:cubicBezTo>
                  <a:pt x="107" y="11"/>
                  <a:pt x="76" y="8"/>
                  <a:pt x="71" y="12"/>
                </a:cubicBezTo>
                <a:cubicBezTo>
                  <a:pt x="67" y="17"/>
                  <a:pt x="62" y="11"/>
                  <a:pt x="60" y="17"/>
                </a:cubicBezTo>
                <a:cubicBezTo>
                  <a:pt x="58" y="23"/>
                  <a:pt x="55" y="25"/>
                  <a:pt x="55" y="2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81" name="Freeform 414"/>
          <p:cNvSpPr>
            <a:spLocks/>
          </p:cNvSpPr>
          <p:nvPr userDrawn="1"/>
        </p:nvSpPr>
        <p:spPr bwMode="auto">
          <a:xfrm>
            <a:off x="3313036" y="2587488"/>
            <a:ext cx="103856" cy="38528"/>
          </a:xfrm>
          <a:custGeom>
            <a:avLst/>
            <a:gdLst>
              <a:gd name="T0" fmla="*/ 2147483646 w 112"/>
              <a:gd name="T1" fmla="*/ 2147483646 h 42"/>
              <a:gd name="T2" fmla="*/ 2147483646 w 112"/>
              <a:gd name="T3" fmla="*/ 2147483646 h 42"/>
              <a:gd name="T4" fmla="*/ 2147483646 w 112"/>
              <a:gd name="T5" fmla="*/ 2147483646 h 42"/>
              <a:gd name="T6" fmla="*/ 2147483646 w 112"/>
              <a:gd name="T7" fmla="*/ 2147483646 h 42"/>
              <a:gd name="T8" fmla="*/ 2147483646 w 112"/>
              <a:gd name="T9" fmla="*/ 2147483646 h 42"/>
              <a:gd name="T10" fmla="*/ 2147483646 w 112"/>
              <a:gd name="T11" fmla="*/ 2147483646 h 42"/>
              <a:gd name="T12" fmla="*/ 2147483646 w 112"/>
              <a:gd name="T13" fmla="*/ 2147483646 h 42"/>
              <a:gd name="T14" fmla="*/ 2147483646 w 112"/>
              <a:gd name="T15" fmla="*/ 2147483646 h 42"/>
              <a:gd name="T16" fmla="*/ 2147483646 w 112"/>
              <a:gd name="T17" fmla="*/ 2147483646 h 42"/>
              <a:gd name="T18" fmla="*/ 2147483646 w 112"/>
              <a:gd name="T19" fmla="*/ 2147483646 h 42"/>
              <a:gd name="T20" fmla="*/ 2147483646 w 112"/>
              <a:gd name="T21" fmla="*/ 2147483646 h 42"/>
              <a:gd name="T22" fmla="*/ 2147483646 w 112"/>
              <a:gd name="T23" fmla="*/ 2147483646 h 42"/>
              <a:gd name="T24" fmla="*/ 2147483646 w 112"/>
              <a:gd name="T25" fmla="*/ 2147483646 h 4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2"/>
              <a:gd name="T40" fmla="*/ 0 h 42"/>
              <a:gd name="T41" fmla="*/ 112 w 112"/>
              <a:gd name="T42" fmla="*/ 42 h 4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2" h="42">
                <a:moveTo>
                  <a:pt x="73" y="1"/>
                </a:moveTo>
                <a:cubicBezTo>
                  <a:pt x="67" y="0"/>
                  <a:pt x="55" y="0"/>
                  <a:pt x="48" y="8"/>
                </a:cubicBezTo>
                <a:cubicBezTo>
                  <a:pt x="41" y="16"/>
                  <a:pt x="36" y="15"/>
                  <a:pt x="30" y="14"/>
                </a:cubicBezTo>
                <a:cubicBezTo>
                  <a:pt x="25" y="13"/>
                  <a:pt x="22" y="12"/>
                  <a:pt x="17" y="15"/>
                </a:cubicBezTo>
                <a:cubicBezTo>
                  <a:pt x="11" y="19"/>
                  <a:pt x="0" y="20"/>
                  <a:pt x="11" y="29"/>
                </a:cubicBezTo>
                <a:cubicBezTo>
                  <a:pt x="21" y="38"/>
                  <a:pt x="29" y="42"/>
                  <a:pt x="37" y="38"/>
                </a:cubicBezTo>
                <a:cubicBezTo>
                  <a:pt x="45" y="35"/>
                  <a:pt x="50" y="12"/>
                  <a:pt x="55" y="25"/>
                </a:cubicBezTo>
                <a:cubicBezTo>
                  <a:pt x="59" y="39"/>
                  <a:pt x="62" y="19"/>
                  <a:pt x="66" y="29"/>
                </a:cubicBezTo>
                <a:cubicBezTo>
                  <a:pt x="71" y="39"/>
                  <a:pt x="75" y="27"/>
                  <a:pt x="80" y="28"/>
                </a:cubicBezTo>
                <a:cubicBezTo>
                  <a:pt x="85" y="29"/>
                  <a:pt x="88" y="29"/>
                  <a:pt x="93" y="30"/>
                </a:cubicBezTo>
                <a:cubicBezTo>
                  <a:pt x="97" y="31"/>
                  <a:pt x="101" y="21"/>
                  <a:pt x="104" y="19"/>
                </a:cubicBezTo>
                <a:cubicBezTo>
                  <a:pt x="108" y="16"/>
                  <a:pt x="112" y="9"/>
                  <a:pt x="108" y="9"/>
                </a:cubicBezTo>
                <a:cubicBezTo>
                  <a:pt x="103" y="9"/>
                  <a:pt x="73" y="1"/>
                  <a:pt x="73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82" name="Freeform 415"/>
          <p:cNvSpPr>
            <a:spLocks/>
          </p:cNvSpPr>
          <p:nvPr userDrawn="1"/>
        </p:nvSpPr>
        <p:spPr bwMode="auto">
          <a:xfrm>
            <a:off x="3349888" y="2631040"/>
            <a:ext cx="115581" cy="61979"/>
          </a:xfrm>
          <a:custGeom>
            <a:avLst/>
            <a:gdLst>
              <a:gd name="T0" fmla="*/ 2147483646 w 124"/>
              <a:gd name="T1" fmla="*/ 2147483646 h 67"/>
              <a:gd name="T2" fmla="*/ 2147483646 w 124"/>
              <a:gd name="T3" fmla="*/ 2147483646 h 67"/>
              <a:gd name="T4" fmla="*/ 0 w 124"/>
              <a:gd name="T5" fmla="*/ 2147483646 h 67"/>
              <a:gd name="T6" fmla="*/ 2147483646 w 124"/>
              <a:gd name="T7" fmla="*/ 2147483646 h 67"/>
              <a:gd name="T8" fmla="*/ 2147483646 w 124"/>
              <a:gd name="T9" fmla="*/ 2147483646 h 67"/>
              <a:gd name="T10" fmla="*/ 2147483646 w 124"/>
              <a:gd name="T11" fmla="*/ 2147483646 h 67"/>
              <a:gd name="T12" fmla="*/ 2147483646 w 124"/>
              <a:gd name="T13" fmla="*/ 2147483646 h 67"/>
              <a:gd name="T14" fmla="*/ 2147483646 w 124"/>
              <a:gd name="T15" fmla="*/ 2147483646 h 67"/>
              <a:gd name="T16" fmla="*/ 2147483646 w 124"/>
              <a:gd name="T17" fmla="*/ 2147483646 h 67"/>
              <a:gd name="T18" fmla="*/ 2147483646 w 124"/>
              <a:gd name="T19" fmla="*/ 2147483646 h 67"/>
              <a:gd name="T20" fmla="*/ 2147483646 w 124"/>
              <a:gd name="T21" fmla="*/ 2147483646 h 67"/>
              <a:gd name="T22" fmla="*/ 2147483646 w 124"/>
              <a:gd name="T23" fmla="*/ 2147483646 h 67"/>
              <a:gd name="T24" fmla="*/ 2147483646 w 124"/>
              <a:gd name="T25" fmla="*/ 2147483646 h 67"/>
              <a:gd name="T26" fmla="*/ 2147483646 w 124"/>
              <a:gd name="T27" fmla="*/ 2147483646 h 67"/>
              <a:gd name="T28" fmla="*/ 2147483646 w 124"/>
              <a:gd name="T29" fmla="*/ 2147483646 h 67"/>
              <a:gd name="T30" fmla="*/ 2147483646 w 124"/>
              <a:gd name="T31" fmla="*/ 2147483646 h 67"/>
              <a:gd name="T32" fmla="*/ 2147483646 w 124"/>
              <a:gd name="T33" fmla="*/ 2147483646 h 67"/>
              <a:gd name="T34" fmla="*/ 2147483646 w 124"/>
              <a:gd name="T35" fmla="*/ 2147483646 h 67"/>
              <a:gd name="T36" fmla="*/ 2147483646 w 124"/>
              <a:gd name="T37" fmla="*/ 2147483646 h 6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24"/>
              <a:gd name="T58" fmla="*/ 0 h 67"/>
              <a:gd name="T59" fmla="*/ 124 w 124"/>
              <a:gd name="T60" fmla="*/ 67 h 6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24" h="67">
                <a:moveTo>
                  <a:pt x="34" y="3"/>
                </a:moveTo>
                <a:cubicBezTo>
                  <a:pt x="30" y="3"/>
                  <a:pt x="15" y="5"/>
                  <a:pt x="17" y="12"/>
                </a:cubicBezTo>
                <a:cubicBezTo>
                  <a:pt x="19" y="19"/>
                  <a:pt x="0" y="28"/>
                  <a:pt x="0" y="28"/>
                </a:cubicBezTo>
                <a:cubicBezTo>
                  <a:pt x="9" y="38"/>
                  <a:pt x="11" y="30"/>
                  <a:pt x="19" y="37"/>
                </a:cubicBezTo>
                <a:cubicBezTo>
                  <a:pt x="27" y="44"/>
                  <a:pt x="19" y="47"/>
                  <a:pt x="24" y="47"/>
                </a:cubicBezTo>
                <a:cubicBezTo>
                  <a:pt x="28" y="47"/>
                  <a:pt x="33" y="28"/>
                  <a:pt x="39" y="38"/>
                </a:cubicBezTo>
                <a:cubicBezTo>
                  <a:pt x="45" y="49"/>
                  <a:pt x="12" y="49"/>
                  <a:pt x="13" y="53"/>
                </a:cubicBezTo>
                <a:cubicBezTo>
                  <a:pt x="15" y="58"/>
                  <a:pt x="56" y="58"/>
                  <a:pt x="64" y="61"/>
                </a:cubicBezTo>
                <a:cubicBezTo>
                  <a:pt x="72" y="65"/>
                  <a:pt x="98" y="62"/>
                  <a:pt x="102" y="65"/>
                </a:cubicBezTo>
                <a:cubicBezTo>
                  <a:pt x="107" y="67"/>
                  <a:pt x="111" y="53"/>
                  <a:pt x="115" y="50"/>
                </a:cubicBezTo>
                <a:cubicBezTo>
                  <a:pt x="118" y="46"/>
                  <a:pt x="113" y="43"/>
                  <a:pt x="110" y="34"/>
                </a:cubicBezTo>
                <a:cubicBezTo>
                  <a:pt x="108" y="24"/>
                  <a:pt x="111" y="26"/>
                  <a:pt x="115" y="21"/>
                </a:cubicBezTo>
                <a:cubicBezTo>
                  <a:pt x="118" y="16"/>
                  <a:pt x="124" y="0"/>
                  <a:pt x="115" y="5"/>
                </a:cubicBezTo>
                <a:cubicBezTo>
                  <a:pt x="106" y="9"/>
                  <a:pt x="92" y="4"/>
                  <a:pt x="91" y="14"/>
                </a:cubicBezTo>
                <a:cubicBezTo>
                  <a:pt x="90" y="24"/>
                  <a:pt x="85" y="33"/>
                  <a:pt x="82" y="31"/>
                </a:cubicBezTo>
                <a:cubicBezTo>
                  <a:pt x="78" y="30"/>
                  <a:pt x="76" y="22"/>
                  <a:pt x="71" y="22"/>
                </a:cubicBezTo>
                <a:cubicBezTo>
                  <a:pt x="67" y="22"/>
                  <a:pt x="61" y="23"/>
                  <a:pt x="58" y="19"/>
                </a:cubicBezTo>
                <a:cubicBezTo>
                  <a:pt x="56" y="14"/>
                  <a:pt x="58" y="1"/>
                  <a:pt x="52" y="1"/>
                </a:cubicBezTo>
                <a:cubicBezTo>
                  <a:pt x="45" y="1"/>
                  <a:pt x="34" y="3"/>
                  <a:pt x="34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83" name="Freeform 416"/>
          <p:cNvSpPr>
            <a:spLocks/>
          </p:cNvSpPr>
          <p:nvPr userDrawn="1"/>
        </p:nvSpPr>
        <p:spPr bwMode="auto">
          <a:xfrm>
            <a:off x="3438669" y="2746623"/>
            <a:ext cx="87105" cy="80404"/>
          </a:xfrm>
          <a:custGeom>
            <a:avLst/>
            <a:gdLst>
              <a:gd name="T0" fmla="*/ 2147483646 w 94"/>
              <a:gd name="T1" fmla="*/ 2147483646 h 86"/>
              <a:gd name="T2" fmla="*/ 2147483646 w 94"/>
              <a:gd name="T3" fmla="*/ 2147483646 h 86"/>
              <a:gd name="T4" fmla="*/ 2147483646 w 94"/>
              <a:gd name="T5" fmla="*/ 2147483646 h 86"/>
              <a:gd name="T6" fmla="*/ 2147483646 w 94"/>
              <a:gd name="T7" fmla="*/ 2147483646 h 86"/>
              <a:gd name="T8" fmla="*/ 2147483646 w 94"/>
              <a:gd name="T9" fmla="*/ 2147483646 h 86"/>
              <a:gd name="T10" fmla="*/ 2147483646 w 94"/>
              <a:gd name="T11" fmla="*/ 2147483646 h 86"/>
              <a:gd name="T12" fmla="*/ 2147483646 w 94"/>
              <a:gd name="T13" fmla="*/ 2147483646 h 86"/>
              <a:gd name="T14" fmla="*/ 2147483646 w 94"/>
              <a:gd name="T15" fmla="*/ 2147483646 h 86"/>
              <a:gd name="T16" fmla="*/ 2147483646 w 94"/>
              <a:gd name="T17" fmla="*/ 2147483646 h 86"/>
              <a:gd name="T18" fmla="*/ 2147483646 w 94"/>
              <a:gd name="T19" fmla="*/ 2147483646 h 86"/>
              <a:gd name="T20" fmla="*/ 2147483646 w 94"/>
              <a:gd name="T21" fmla="*/ 2147483646 h 86"/>
              <a:gd name="T22" fmla="*/ 2147483646 w 94"/>
              <a:gd name="T23" fmla="*/ 2147483646 h 86"/>
              <a:gd name="T24" fmla="*/ 2147483646 w 94"/>
              <a:gd name="T25" fmla="*/ 2147483646 h 86"/>
              <a:gd name="T26" fmla="*/ 2147483646 w 94"/>
              <a:gd name="T27" fmla="*/ 2147483646 h 86"/>
              <a:gd name="T28" fmla="*/ 2147483646 w 94"/>
              <a:gd name="T29" fmla="*/ 2147483646 h 86"/>
              <a:gd name="T30" fmla="*/ 2147483646 w 94"/>
              <a:gd name="T31" fmla="*/ 2147483646 h 86"/>
              <a:gd name="T32" fmla="*/ 2147483646 w 94"/>
              <a:gd name="T33" fmla="*/ 2147483646 h 8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4"/>
              <a:gd name="T52" fmla="*/ 0 h 86"/>
              <a:gd name="T53" fmla="*/ 94 w 94"/>
              <a:gd name="T54" fmla="*/ 86 h 8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4" h="86">
                <a:moveTo>
                  <a:pt x="47" y="4"/>
                </a:moveTo>
                <a:cubicBezTo>
                  <a:pt x="42" y="2"/>
                  <a:pt x="35" y="18"/>
                  <a:pt x="39" y="20"/>
                </a:cubicBezTo>
                <a:cubicBezTo>
                  <a:pt x="44" y="23"/>
                  <a:pt x="53" y="26"/>
                  <a:pt x="45" y="28"/>
                </a:cubicBezTo>
                <a:cubicBezTo>
                  <a:pt x="37" y="31"/>
                  <a:pt x="27" y="32"/>
                  <a:pt x="27" y="32"/>
                </a:cubicBezTo>
                <a:cubicBezTo>
                  <a:pt x="27" y="32"/>
                  <a:pt x="24" y="17"/>
                  <a:pt x="20" y="18"/>
                </a:cubicBezTo>
                <a:cubicBezTo>
                  <a:pt x="15" y="19"/>
                  <a:pt x="0" y="49"/>
                  <a:pt x="12" y="54"/>
                </a:cubicBezTo>
                <a:cubicBezTo>
                  <a:pt x="23" y="58"/>
                  <a:pt x="31" y="47"/>
                  <a:pt x="34" y="58"/>
                </a:cubicBezTo>
                <a:cubicBezTo>
                  <a:pt x="36" y="70"/>
                  <a:pt x="24" y="80"/>
                  <a:pt x="32" y="83"/>
                </a:cubicBezTo>
                <a:cubicBezTo>
                  <a:pt x="41" y="85"/>
                  <a:pt x="49" y="86"/>
                  <a:pt x="53" y="78"/>
                </a:cubicBezTo>
                <a:cubicBezTo>
                  <a:pt x="58" y="70"/>
                  <a:pt x="54" y="58"/>
                  <a:pt x="64" y="64"/>
                </a:cubicBezTo>
                <a:cubicBezTo>
                  <a:pt x="73" y="70"/>
                  <a:pt x="77" y="59"/>
                  <a:pt x="79" y="53"/>
                </a:cubicBezTo>
                <a:cubicBezTo>
                  <a:pt x="80" y="46"/>
                  <a:pt x="79" y="38"/>
                  <a:pt x="79" y="38"/>
                </a:cubicBezTo>
                <a:cubicBezTo>
                  <a:pt x="79" y="38"/>
                  <a:pt x="75" y="21"/>
                  <a:pt x="81" y="20"/>
                </a:cubicBezTo>
                <a:cubicBezTo>
                  <a:pt x="87" y="19"/>
                  <a:pt x="91" y="11"/>
                  <a:pt x="91" y="11"/>
                </a:cubicBezTo>
                <a:cubicBezTo>
                  <a:pt x="91" y="11"/>
                  <a:pt x="94" y="0"/>
                  <a:pt x="88" y="3"/>
                </a:cubicBezTo>
                <a:cubicBezTo>
                  <a:pt x="82" y="6"/>
                  <a:pt x="51" y="3"/>
                  <a:pt x="51" y="3"/>
                </a:cubicBezTo>
                <a:lnTo>
                  <a:pt x="47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84" name="Freeform 417"/>
          <p:cNvSpPr>
            <a:spLocks/>
          </p:cNvSpPr>
          <p:nvPr userDrawn="1"/>
        </p:nvSpPr>
        <p:spPr bwMode="auto">
          <a:xfrm>
            <a:off x="3586077" y="2770073"/>
            <a:ext cx="403697" cy="378571"/>
          </a:xfrm>
          <a:custGeom>
            <a:avLst/>
            <a:gdLst>
              <a:gd name="T0" fmla="*/ 2147483646 w 433"/>
              <a:gd name="T1" fmla="*/ 2147483646 h 406"/>
              <a:gd name="T2" fmla="*/ 2147483646 w 433"/>
              <a:gd name="T3" fmla="*/ 2147483646 h 406"/>
              <a:gd name="T4" fmla="*/ 2147483646 w 433"/>
              <a:gd name="T5" fmla="*/ 2147483646 h 406"/>
              <a:gd name="T6" fmla="*/ 2147483646 w 433"/>
              <a:gd name="T7" fmla="*/ 2147483646 h 406"/>
              <a:gd name="T8" fmla="*/ 2147483646 w 433"/>
              <a:gd name="T9" fmla="*/ 2147483646 h 406"/>
              <a:gd name="T10" fmla="*/ 2147483646 w 433"/>
              <a:gd name="T11" fmla="*/ 2147483646 h 406"/>
              <a:gd name="T12" fmla="*/ 2147483646 w 433"/>
              <a:gd name="T13" fmla="*/ 2147483646 h 406"/>
              <a:gd name="T14" fmla="*/ 2147483646 w 433"/>
              <a:gd name="T15" fmla="*/ 2147483646 h 406"/>
              <a:gd name="T16" fmla="*/ 2147483646 w 433"/>
              <a:gd name="T17" fmla="*/ 2147483646 h 406"/>
              <a:gd name="T18" fmla="*/ 2147483646 w 433"/>
              <a:gd name="T19" fmla="*/ 2147483646 h 406"/>
              <a:gd name="T20" fmla="*/ 2147483646 w 433"/>
              <a:gd name="T21" fmla="*/ 2147483646 h 406"/>
              <a:gd name="T22" fmla="*/ 2147483646 w 433"/>
              <a:gd name="T23" fmla="*/ 2147483646 h 406"/>
              <a:gd name="T24" fmla="*/ 2147483646 w 433"/>
              <a:gd name="T25" fmla="*/ 2147483646 h 406"/>
              <a:gd name="T26" fmla="*/ 2147483646 w 433"/>
              <a:gd name="T27" fmla="*/ 2147483646 h 406"/>
              <a:gd name="T28" fmla="*/ 2147483646 w 433"/>
              <a:gd name="T29" fmla="*/ 2147483646 h 406"/>
              <a:gd name="T30" fmla="*/ 2147483646 w 433"/>
              <a:gd name="T31" fmla="*/ 2147483646 h 406"/>
              <a:gd name="T32" fmla="*/ 2147483646 w 433"/>
              <a:gd name="T33" fmla="*/ 2147483646 h 406"/>
              <a:gd name="T34" fmla="*/ 2147483646 w 433"/>
              <a:gd name="T35" fmla="*/ 2147483646 h 406"/>
              <a:gd name="T36" fmla="*/ 2147483646 w 433"/>
              <a:gd name="T37" fmla="*/ 2147483646 h 406"/>
              <a:gd name="T38" fmla="*/ 2147483646 w 433"/>
              <a:gd name="T39" fmla="*/ 2147483646 h 406"/>
              <a:gd name="T40" fmla="*/ 2147483646 w 433"/>
              <a:gd name="T41" fmla="*/ 2147483646 h 406"/>
              <a:gd name="T42" fmla="*/ 2147483646 w 433"/>
              <a:gd name="T43" fmla="*/ 2147483646 h 406"/>
              <a:gd name="T44" fmla="*/ 2147483646 w 433"/>
              <a:gd name="T45" fmla="*/ 2147483646 h 406"/>
              <a:gd name="T46" fmla="*/ 2147483646 w 433"/>
              <a:gd name="T47" fmla="*/ 2147483646 h 406"/>
              <a:gd name="T48" fmla="*/ 2147483646 w 433"/>
              <a:gd name="T49" fmla="*/ 2147483646 h 406"/>
              <a:gd name="T50" fmla="*/ 2147483646 w 433"/>
              <a:gd name="T51" fmla="*/ 2147483646 h 406"/>
              <a:gd name="T52" fmla="*/ 2147483646 w 433"/>
              <a:gd name="T53" fmla="*/ 2147483646 h 406"/>
              <a:gd name="T54" fmla="*/ 2147483646 w 433"/>
              <a:gd name="T55" fmla="*/ 2147483646 h 406"/>
              <a:gd name="T56" fmla="*/ 2147483646 w 433"/>
              <a:gd name="T57" fmla="*/ 2147483646 h 406"/>
              <a:gd name="T58" fmla="*/ 2147483646 w 433"/>
              <a:gd name="T59" fmla="*/ 2147483646 h 406"/>
              <a:gd name="T60" fmla="*/ 2147483646 w 433"/>
              <a:gd name="T61" fmla="*/ 2147483646 h 406"/>
              <a:gd name="T62" fmla="*/ 2147483646 w 433"/>
              <a:gd name="T63" fmla="*/ 2147483646 h 406"/>
              <a:gd name="T64" fmla="*/ 2147483646 w 433"/>
              <a:gd name="T65" fmla="*/ 2147483646 h 406"/>
              <a:gd name="T66" fmla="*/ 2147483646 w 433"/>
              <a:gd name="T67" fmla="*/ 2147483646 h 406"/>
              <a:gd name="T68" fmla="*/ 2147483646 w 433"/>
              <a:gd name="T69" fmla="*/ 2147483646 h 406"/>
              <a:gd name="T70" fmla="*/ 2147483646 w 433"/>
              <a:gd name="T71" fmla="*/ 2147483646 h 406"/>
              <a:gd name="T72" fmla="*/ 2147483646 w 433"/>
              <a:gd name="T73" fmla="*/ 2147483646 h 406"/>
              <a:gd name="T74" fmla="*/ 2147483646 w 433"/>
              <a:gd name="T75" fmla="*/ 2147483646 h 406"/>
              <a:gd name="T76" fmla="*/ 2147483646 w 433"/>
              <a:gd name="T77" fmla="*/ 2147483646 h 406"/>
              <a:gd name="T78" fmla="*/ 2147483646 w 433"/>
              <a:gd name="T79" fmla="*/ 2147483646 h 406"/>
              <a:gd name="T80" fmla="*/ 2147483646 w 433"/>
              <a:gd name="T81" fmla="*/ 2147483646 h 406"/>
              <a:gd name="T82" fmla="*/ 2147483646 w 433"/>
              <a:gd name="T83" fmla="*/ 2147483646 h 406"/>
              <a:gd name="T84" fmla="*/ 2147483646 w 433"/>
              <a:gd name="T85" fmla="*/ 2147483646 h 406"/>
              <a:gd name="T86" fmla="*/ 2147483646 w 433"/>
              <a:gd name="T87" fmla="*/ 2147483646 h 406"/>
              <a:gd name="T88" fmla="*/ 2147483646 w 433"/>
              <a:gd name="T89" fmla="*/ 2147483646 h 406"/>
              <a:gd name="T90" fmla="*/ 2147483646 w 433"/>
              <a:gd name="T91" fmla="*/ 2147483646 h 406"/>
              <a:gd name="T92" fmla="*/ 2147483646 w 433"/>
              <a:gd name="T93" fmla="*/ 2147483646 h 406"/>
              <a:gd name="T94" fmla="*/ 2147483646 w 433"/>
              <a:gd name="T95" fmla="*/ 2147483646 h 406"/>
              <a:gd name="T96" fmla="*/ 2147483646 w 433"/>
              <a:gd name="T97" fmla="*/ 2147483646 h 406"/>
              <a:gd name="T98" fmla="*/ 2147483646 w 433"/>
              <a:gd name="T99" fmla="*/ 0 h 40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33"/>
              <a:gd name="T151" fmla="*/ 0 h 406"/>
              <a:gd name="T152" fmla="*/ 433 w 433"/>
              <a:gd name="T153" fmla="*/ 406 h 40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33" h="406">
                <a:moveTo>
                  <a:pt x="54" y="0"/>
                </a:moveTo>
                <a:cubicBezTo>
                  <a:pt x="43" y="1"/>
                  <a:pt x="35" y="12"/>
                  <a:pt x="27" y="24"/>
                </a:cubicBezTo>
                <a:cubicBezTo>
                  <a:pt x="19" y="37"/>
                  <a:pt x="7" y="42"/>
                  <a:pt x="7" y="54"/>
                </a:cubicBezTo>
                <a:cubicBezTo>
                  <a:pt x="7" y="67"/>
                  <a:pt x="0" y="70"/>
                  <a:pt x="5" y="76"/>
                </a:cubicBezTo>
                <a:cubicBezTo>
                  <a:pt x="9" y="82"/>
                  <a:pt x="17" y="65"/>
                  <a:pt x="28" y="74"/>
                </a:cubicBezTo>
                <a:cubicBezTo>
                  <a:pt x="38" y="83"/>
                  <a:pt x="42" y="85"/>
                  <a:pt x="31" y="89"/>
                </a:cubicBezTo>
                <a:cubicBezTo>
                  <a:pt x="21" y="92"/>
                  <a:pt x="8" y="98"/>
                  <a:pt x="8" y="98"/>
                </a:cubicBezTo>
                <a:cubicBezTo>
                  <a:pt x="8" y="98"/>
                  <a:pt x="5" y="102"/>
                  <a:pt x="21" y="106"/>
                </a:cubicBezTo>
                <a:cubicBezTo>
                  <a:pt x="37" y="111"/>
                  <a:pt x="43" y="92"/>
                  <a:pt x="46" y="103"/>
                </a:cubicBezTo>
                <a:cubicBezTo>
                  <a:pt x="50" y="113"/>
                  <a:pt x="44" y="116"/>
                  <a:pt x="55" y="116"/>
                </a:cubicBezTo>
                <a:cubicBezTo>
                  <a:pt x="67" y="116"/>
                  <a:pt x="67" y="108"/>
                  <a:pt x="77" y="116"/>
                </a:cubicBezTo>
                <a:cubicBezTo>
                  <a:pt x="88" y="125"/>
                  <a:pt x="97" y="121"/>
                  <a:pt x="112" y="125"/>
                </a:cubicBezTo>
                <a:cubicBezTo>
                  <a:pt x="127" y="128"/>
                  <a:pt x="138" y="119"/>
                  <a:pt x="138" y="119"/>
                </a:cubicBezTo>
                <a:cubicBezTo>
                  <a:pt x="138" y="119"/>
                  <a:pt x="138" y="96"/>
                  <a:pt x="149" y="111"/>
                </a:cubicBezTo>
                <a:cubicBezTo>
                  <a:pt x="159" y="126"/>
                  <a:pt x="153" y="128"/>
                  <a:pt x="165" y="133"/>
                </a:cubicBezTo>
                <a:cubicBezTo>
                  <a:pt x="176" y="137"/>
                  <a:pt x="195" y="149"/>
                  <a:pt x="208" y="163"/>
                </a:cubicBezTo>
                <a:cubicBezTo>
                  <a:pt x="220" y="176"/>
                  <a:pt x="218" y="171"/>
                  <a:pt x="220" y="176"/>
                </a:cubicBezTo>
                <a:cubicBezTo>
                  <a:pt x="223" y="182"/>
                  <a:pt x="206" y="193"/>
                  <a:pt x="216" y="190"/>
                </a:cubicBezTo>
                <a:cubicBezTo>
                  <a:pt x="225" y="188"/>
                  <a:pt x="227" y="185"/>
                  <a:pt x="232" y="188"/>
                </a:cubicBezTo>
                <a:cubicBezTo>
                  <a:pt x="236" y="191"/>
                  <a:pt x="241" y="194"/>
                  <a:pt x="240" y="199"/>
                </a:cubicBezTo>
                <a:cubicBezTo>
                  <a:pt x="239" y="205"/>
                  <a:pt x="229" y="218"/>
                  <a:pt x="240" y="212"/>
                </a:cubicBezTo>
                <a:cubicBezTo>
                  <a:pt x="250" y="206"/>
                  <a:pt x="255" y="190"/>
                  <a:pt x="255" y="204"/>
                </a:cubicBezTo>
                <a:cubicBezTo>
                  <a:pt x="255" y="218"/>
                  <a:pt x="249" y="220"/>
                  <a:pt x="254" y="224"/>
                </a:cubicBezTo>
                <a:cubicBezTo>
                  <a:pt x="258" y="227"/>
                  <a:pt x="269" y="232"/>
                  <a:pt x="261" y="235"/>
                </a:cubicBezTo>
                <a:cubicBezTo>
                  <a:pt x="253" y="239"/>
                  <a:pt x="256" y="242"/>
                  <a:pt x="251" y="244"/>
                </a:cubicBezTo>
                <a:cubicBezTo>
                  <a:pt x="247" y="247"/>
                  <a:pt x="242" y="241"/>
                  <a:pt x="238" y="251"/>
                </a:cubicBezTo>
                <a:cubicBezTo>
                  <a:pt x="233" y="262"/>
                  <a:pt x="233" y="265"/>
                  <a:pt x="236" y="272"/>
                </a:cubicBezTo>
                <a:cubicBezTo>
                  <a:pt x="240" y="279"/>
                  <a:pt x="210" y="292"/>
                  <a:pt x="201" y="288"/>
                </a:cubicBezTo>
                <a:cubicBezTo>
                  <a:pt x="191" y="285"/>
                  <a:pt x="182" y="274"/>
                  <a:pt x="178" y="278"/>
                </a:cubicBezTo>
                <a:cubicBezTo>
                  <a:pt x="173" y="281"/>
                  <a:pt x="155" y="302"/>
                  <a:pt x="160" y="314"/>
                </a:cubicBezTo>
                <a:cubicBezTo>
                  <a:pt x="166" y="325"/>
                  <a:pt x="171" y="340"/>
                  <a:pt x="188" y="339"/>
                </a:cubicBezTo>
                <a:cubicBezTo>
                  <a:pt x="205" y="338"/>
                  <a:pt x="206" y="318"/>
                  <a:pt x="212" y="322"/>
                </a:cubicBezTo>
                <a:cubicBezTo>
                  <a:pt x="218" y="325"/>
                  <a:pt x="234" y="310"/>
                  <a:pt x="240" y="314"/>
                </a:cubicBezTo>
                <a:cubicBezTo>
                  <a:pt x="246" y="317"/>
                  <a:pt x="256" y="304"/>
                  <a:pt x="263" y="325"/>
                </a:cubicBezTo>
                <a:cubicBezTo>
                  <a:pt x="270" y="346"/>
                  <a:pt x="280" y="350"/>
                  <a:pt x="288" y="355"/>
                </a:cubicBezTo>
                <a:cubicBezTo>
                  <a:pt x="296" y="360"/>
                  <a:pt x="310" y="339"/>
                  <a:pt x="304" y="359"/>
                </a:cubicBezTo>
                <a:cubicBezTo>
                  <a:pt x="299" y="378"/>
                  <a:pt x="329" y="372"/>
                  <a:pt x="339" y="383"/>
                </a:cubicBezTo>
                <a:cubicBezTo>
                  <a:pt x="349" y="393"/>
                  <a:pt x="348" y="371"/>
                  <a:pt x="361" y="389"/>
                </a:cubicBezTo>
                <a:cubicBezTo>
                  <a:pt x="374" y="406"/>
                  <a:pt x="379" y="391"/>
                  <a:pt x="386" y="397"/>
                </a:cubicBezTo>
                <a:cubicBezTo>
                  <a:pt x="393" y="402"/>
                  <a:pt x="401" y="389"/>
                  <a:pt x="404" y="393"/>
                </a:cubicBezTo>
                <a:cubicBezTo>
                  <a:pt x="406" y="398"/>
                  <a:pt x="348" y="356"/>
                  <a:pt x="344" y="354"/>
                </a:cubicBezTo>
                <a:cubicBezTo>
                  <a:pt x="339" y="352"/>
                  <a:pt x="330" y="340"/>
                  <a:pt x="339" y="340"/>
                </a:cubicBezTo>
                <a:cubicBezTo>
                  <a:pt x="348" y="340"/>
                  <a:pt x="359" y="336"/>
                  <a:pt x="367" y="349"/>
                </a:cubicBezTo>
                <a:cubicBezTo>
                  <a:pt x="375" y="363"/>
                  <a:pt x="377" y="352"/>
                  <a:pt x="385" y="359"/>
                </a:cubicBezTo>
                <a:cubicBezTo>
                  <a:pt x="393" y="365"/>
                  <a:pt x="399" y="354"/>
                  <a:pt x="405" y="361"/>
                </a:cubicBezTo>
                <a:cubicBezTo>
                  <a:pt x="410" y="368"/>
                  <a:pt x="414" y="357"/>
                  <a:pt x="415" y="354"/>
                </a:cubicBezTo>
                <a:cubicBezTo>
                  <a:pt x="416" y="350"/>
                  <a:pt x="413" y="330"/>
                  <a:pt x="413" y="330"/>
                </a:cubicBezTo>
                <a:cubicBezTo>
                  <a:pt x="413" y="330"/>
                  <a:pt x="406" y="302"/>
                  <a:pt x="398" y="310"/>
                </a:cubicBezTo>
                <a:cubicBezTo>
                  <a:pt x="390" y="318"/>
                  <a:pt x="389" y="289"/>
                  <a:pt x="376" y="293"/>
                </a:cubicBezTo>
                <a:cubicBezTo>
                  <a:pt x="363" y="296"/>
                  <a:pt x="368" y="281"/>
                  <a:pt x="352" y="276"/>
                </a:cubicBezTo>
                <a:cubicBezTo>
                  <a:pt x="336" y="270"/>
                  <a:pt x="325" y="246"/>
                  <a:pt x="322" y="249"/>
                </a:cubicBezTo>
                <a:cubicBezTo>
                  <a:pt x="318" y="253"/>
                  <a:pt x="314" y="233"/>
                  <a:pt x="309" y="244"/>
                </a:cubicBezTo>
                <a:cubicBezTo>
                  <a:pt x="304" y="256"/>
                  <a:pt x="334" y="228"/>
                  <a:pt x="339" y="235"/>
                </a:cubicBezTo>
                <a:cubicBezTo>
                  <a:pt x="344" y="242"/>
                  <a:pt x="354" y="248"/>
                  <a:pt x="359" y="253"/>
                </a:cubicBezTo>
                <a:cubicBezTo>
                  <a:pt x="363" y="257"/>
                  <a:pt x="370" y="243"/>
                  <a:pt x="382" y="258"/>
                </a:cubicBezTo>
                <a:cubicBezTo>
                  <a:pt x="393" y="273"/>
                  <a:pt x="401" y="267"/>
                  <a:pt x="412" y="279"/>
                </a:cubicBezTo>
                <a:cubicBezTo>
                  <a:pt x="422" y="291"/>
                  <a:pt x="428" y="279"/>
                  <a:pt x="428" y="267"/>
                </a:cubicBezTo>
                <a:cubicBezTo>
                  <a:pt x="428" y="256"/>
                  <a:pt x="433" y="228"/>
                  <a:pt x="430" y="234"/>
                </a:cubicBezTo>
                <a:cubicBezTo>
                  <a:pt x="427" y="240"/>
                  <a:pt x="421" y="204"/>
                  <a:pt x="409" y="217"/>
                </a:cubicBezTo>
                <a:cubicBezTo>
                  <a:pt x="398" y="229"/>
                  <a:pt x="391" y="196"/>
                  <a:pt x="378" y="199"/>
                </a:cubicBezTo>
                <a:cubicBezTo>
                  <a:pt x="365" y="203"/>
                  <a:pt x="362" y="187"/>
                  <a:pt x="355" y="183"/>
                </a:cubicBezTo>
                <a:cubicBezTo>
                  <a:pt x="348" y="180"/>
                  <a:pt x="340" y="161"/>
                  <a:pt x="336" y="164"/>
                </a:cubicBezTo>
                <a:cubicBezTo>
                  <a:pt x="331" y="166"/>
                  <a:pt x="323" y="143"/>
                  <a:pt x="318" y="143"/>
                </a:cubicBezTo>
                <a:cubicBezTo>
                  <a:pt x="314" y="143"/>
                  <a:pt x="333" y="156"/>
                  <a:pt x="333" y="149"/>
                </a:cubicBezTo>
                <a:cubicBezTo>
                  <a:pt x="333" y="142"/>
                  <a:pt x="326" y="122"/>
                  <a:pt x="319" y="127"/>
                </a:cubicBezTo>
                <a:cubicBezTo>
                  <a:pt x="312" y="131"/>
                  <a:pt x="302" y="135"/>
                  <a:pt x="301" y="140"/>
                </a:cubicBezTo>
                <a:cubicBezTo>
                  <a:pt x="300" y="144"/>
                  <a:pt x="297" y="143"/>
                  <a:pt x="294" y="140"/>
                </a:cubicBezTo>
                <a:cubicBezTo>
                  <a:pt x="291" y="136"/>
                  <a:pt x="291" y="111"/>
                  <a:pt x="299" y="114"/>
                </a:cubicBezTo>
                <a:cubicBezTo>
                  <a:pt x="307" y="118"/>
                  <a:pt x="289" y="108"/>
                  <a:pt x="289" y="108"/>
                </a:cubicBezTo>
                <a:cubicBezTo>
                  <a:pt x="289" y="108"/>
                  <a:pt x="284" y="118"/>
                  <a:pt x="279" y="125"/>
                </a:cubicBezTo>
                <a:cubicBezTo>
                  <a:pt x="274" y="131"/>
                  <a:pt x="278" y="91"/>
                  <a:pt x="281" y="91"/>
                </a:cubicBezTo>
                <a:cubicBezTo>
                  <a:pt x="285" y="91"/>
                  <a:pt x="259" y="87"/>
                  <a:pt x="257" y="99"/>
                </a:cubicBezTo>
                <a:cubicBezTo>
                  <a:pt x="255" y="112"/>
                  <a:pt x="246" y="89"/>
                  <a:pt x="247" y="85"/>
                </a:cubicBezTo>
                <a:cubicBezTo>
                  <a:pt x="248" y="82"/>
                  <a:pt x="236" y="74"/>
                  <a:pt x="236" y="74"/>
                </a:cubicBezTo>
                <a:cubicBezTo>
                  <a:pt x="236" y="74"/>
                  <a:pt x="229" y="88"/>
                  <a:pt x="232" y="92"/>
                </a:cubicBezTo>
                <a:cubicBezTo>
                  <a:pt x="234" y="97"/>
                  <a:pt x="219" y="90"/>
                  <a:pt x="217" y="87"/>
                </a:cubicBezTo>
                <a:cubicBezTo>
                  <a:pt x="214" y="83"/>
                  <a:pt x="211" y="74"/>
                  <a:pt x="213" y="68"/>
                </a:cubicBezTo>
                <a:cubicBezTo>
                  <a:pt x="216" y="62"/>
                  <a:pt x="208" y="52"/>
                  <a:pt x="203" y="53"/>
                </a:cubicBezTo>
                <a:cubicBezTo>
                  <a:pt x="198" y="54"/>
                  <a:pt x="183" y="48"/>
                  <a:pt x="187" y="59"/>
                </a:cubicBezTo>
                <a:cubicBezTo>
                  <a:pt x="190" y="69"/>
                  <a:pt x="197" y="88"/>
                  <a:pt x="187" y="78"/>
                </a:cubicBezTo>
                <a:cubicBezTo>
                  <a:pt x="176" y="69"/>
                  <a:pt x="163" y="55"/>
                  <a:pt x="161" y="52"/>
                </a:cubicBezTo>
                <a:cubicBezTo>
                  <a:pt x="160" y="48"/>
                  <a:pt x="144" y="40"/>
                  <a:pt x="144" y="40"/>
                </a:cubicBezTo>
                <a:cubicBezTo>
                  <a:pt x="144" y="40"/>
                  <a:pt x="140" y="50"/>
                  <a:pt x="138" y="53"/>
                </a:cubicBezTo>
                <a:cubicBezTo>
                  <a:pt x="137" y="57"/>
                  <a:pt x="130" y="54"/>
                  <a:pt x="127" y="57"/>
                </a:cubicBezTo>
                <a:cubicBezTo>
                  <a:pt x="123" y="59"/>
                  <a:pt x="117" y="54"/>
                  <a:pt x="122" y="46"/>
                </a:cubicBezTo>
                <a:cubicBezTo>
                  <a:pt x="128" y="38"/>
                  <a:pt x="133" y="23"/>
                  <a:pt x="129" y="22"/>
                </a:cubicBezTo>
                <a:cubicBezTo>
                  <a:pt x="126" y="21"/>
                  <a:pt x="123" y="6"/>
                  <a:pt x="113" y="7"/>
                </a:cubicBezTo>
                <a:cubicBezTo>
                  <a:pt x="103" y="8"/>
                  <a:pt x="92" y="30"/>
                  <a:pt x="85" y="31"/>
                </a:cubicBezTo>
                <a:cubicBezTo>
                  <a:pt x="78" y="32"/>
                  <a:pt x="58" y="20"/>
                  <a:pt x="63" y="28"/>
                </a:cubicBezTo>
                <a:cubicBezTo>
                  <a:pt x="69" y="36"/>
                  <a:pt x="63" y="42"/>
                  <a:pt x="73" y="43"/>
                </a:cubicBezTo>
                <a:cubicBezTo>
                  <a:pt x="82" y="44"/>
                  <a:pt x="88" y="57"/>
                  <a:pt x="84" y="57"/>
                </a:cubicBezTo>
                <a:cubicBezTo>
                  <a:pt x="81" y="57"/>
                  <a:pt x="77" y="53"/>
                  <a:pt x="74" y="54"/>
                </a:cubicBezTo>
                <a:cubicBezTo>
                  <a:pt x="70" y="55"/>
                  <a:pt x="70" y="40"/>
                  <a:pt x="66" y="46"/>
                </a:cubicBezTo>
                <a:cubicBezTo>
                  <a:pt x="61" y="52"/>
                  <a:pt x="63" y="53"/>
                  <a:pt x="68" y="60"/>
                </a:cubicBezTo>
                <a:cubicBezTo>
                  <a:pt x="73" y="67"/>
                  <a:pt x="85" y="65"/>
                  <a:pt x="84" y="68"/>
                </a:cubicBezTo>
                <a:cubicBezTo>
                  <a:pt x="83" y="72"/>
                  <a:pt x="81" y="75"/>
                  <a:pt x="73" y="77"/>
                </a:cubicBezTo>
                <a:cubicBezTo>
                  <a:pt x="65" y="80"/>
                  <a:pt x="68" y="73"/>
                  <a:pt x="61" y="77"/>
                </a:cubicBezTo>
                <a:cubicBezTo>
                  <a:pt x="54" y="82"/>
                  <a:pt x="45" y="75"/>
                  <a:pt x="46" y="68"/>
                </a:cubicBezTo>
                <a:cubicBezTo>
                  <a:pt x="47" y="61"/>
                  <a:pt x="51" y="19"/>
                  <a:pt x="68" y="13"/>
                </a:cubicBezTo>
                <a:cubicBezTo>
                  <a:pt x="85" y="7"/>
                  <a:pt x="54" y="0"/>
                  <a:pt x="5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85" name="Freeform 418"/>
          <p:cNvSpPr>
            <a:spLocks/>
          </p:cNvSpPr>
          <p:nvPr userDrawn="1"/>
        </p:nvSpPr>
        <p:spPr bwMode="auto">
          <a:xfrm>
            <a:off x="3713384" y="2771748"/>
            <a:ext cx="55277" cy="33501"/>
          </a:xfrm>
          <a:custGeom>
            <a:avLst/>
            <a:gdLst>
              <a:gd name="T0" fmla="*/ 2147483646 w 60"/>
              <a:gd name="T1" fmla="*/ 2147483646 h 36"/>
              <a:gd name="T2" fmla="*/ 2147483646 w 60"/>
              <a:gd name="T3" fmla="*/ 2147483646 h 36"/>
              <a:gd name="T4" fmla="*/ 2147483646 w 60"/>
              <a:gd name="T5" fmla="*/ 2147483646 h 36"/>
              <a:gd name="T6" fmla="*/ 2147483646 w 60"/>
              <a:gd name="T7" fmla="*/ 2147483646 h 36"/>
              <a:gd name="T8" fmla="*/ 2147483646 w 60"/>
              <a:gd name="T9" fmla="*/ 2147483646 h 36"/>
              <a:gd name="T10" fmla="*/ 2147483646 w 60"/>
              <a:gd name="T11" fmla="*/ 2147483646 h 36"/>
              <a:gd name="T12" fmla="*/ 2147483646 w 60"/>
              <a:gd name="T13" fmla="*/ 2147483646 h 36"/>
              <a:gd name="T14" fmla="*/ 2147483646 w 60"/>
              <a:gd name="T15" fmla="*/ 2147483646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0"/>
              <a:gd name="T25" fmla="*/ 0 h 36"/>
              <a:gd name="T26" fmla="*/ 60 w 60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0" h="36">
                <a:moveTo>
                  <a:pt x="18" y="4"/>
                </a:moveTo>
                <a:cubicBezTo>
                  <a:pt x="9" y="0"/>
                  <a:pt x="1" y="6"/>
                  <a:pt x="1" y="13"/>
                </a:cubicBezTo>
                <a:cubicBezTo>
                  <a:pt x="1" y="20"/>
                  <a:pt x="0" y="22"/>
                  <a:pt x="7" y="27"/>
                </a:cubicBezTo>
                <a:cubicBezTo>
                  <a:pt x="14" y="32"/>
                  <a:pt x="21" y="32"/>
                  <a:pt x="28" y="34"/>
                </a:cubicBezTo>
                <a:cubicBezTo>
                  <a:pt x="35" y="36"/>
                  <a:pt x="41" y="23"/>
                  <a:pt x="45" y="27"/>
                </a:cubicBezTo>
                <a:cubicBezTo>
                  <a:pt x="50" y="30"/>
                  <a:pt x="60" y="19"/>
                  <a:pt x="56" y="18"/>
                </a:cubicBezTo>
                <a:cubicBezTo>
                  <a:pt x="51" y="17"/>
                  <a:pt x="38" y="5"/>
                  <a:pt x="35" y="5"/>
                </a:cubicBezTo>
                <a:cubicBezTo>
                  <a:pt x="31" y="5"/>
                  <a:pt x="18" y="4"/>
                  <a:pt x="18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86" name="Freeform 419"/>
          <p:cNvSpPr>
            <a:spLocks/>
          </p:cNvSpPr>
          <p:nvPr userDrawn="1"/>
        </p:nvSpPr>
        <p:spPr bwMode="auto">
          <a:xfrm>
            <a:off x="3581051" y="3023013"/>
            <a:ext cx="113907" cy="85431"/>
          </a:xfrm>
          <a:custGeom>
            <a:avLst/>
            <a:gdLst>
              <a:gd name="T0" fmla="*/ 2147483646 w 123"/>
              <a:gd name="T1" fmla="*/ 0 h 92"/>
              <a:gd name="T2" fmla="*/ 2147483646 w 123"/>
              <a:gd name="T3" fmla="*/ 2147483646 h 92"/>
              <a:gd name="T4" fmla="*/ 2147483646 w 123"/>
              <a:gd name="T5" fmla="*/ 2147483646 h 92"/>
              <a:gd name="T6" fmla="*/ 2147483646 w 123"/>
              <a:gd name="T7" fmla="*/ 2147483646 h 92"/>
              <a:gd name="T8" fmla="*/ 2147483646 w 123"/>
              <a:gd name="T9" fmla="*/ 2147483646 h 92"/>
              <a:gd name="T10" fmla="*/ 2147483646 w 123"/>
              <a:gd name="T11" fmla="*/ 2147483646 h 92"/>
              <a:gd name="T12" fmla="*/ 2147483646 w 123"/>
              <a:gd name="T13" fmla="*/ 2147483646 h 92"/>
              <a:gd name="T14" fmla="*/ 2147483646 w 123"/>
              <a:gd name="T15" fmla="*/ 2147483646 h 92"/>
              <a:gd name="T16" fmla="*/ 2147483646 w 123"/>
              <a:gd name="T17" fmla="*/ 2147483646 h 92"/>
              <a:gd name="T18" fmla="*/ 2147483646 w 123"/>
              <a:gd name="T19" fmla="*/ 2147483646 h 92"/>
              <a:gd name="T20" fmla="*/ 2147483646 w 123"/>
              <a:gd name="T21" fmla="*/ 2147483646 h 92"/>
              <a:gd name="T22" fmla="*/ 2147483646 w 123"/>
              <a:gd name="T23" fmla="*/ 2147483646 h 92"/>
              <a:gd name="T24" fmla="*/ 2147483646 w 123"/>
              <a:gd name="T25" fmla="*/ 2147483646 h 92"/>
              <a:gd name="T26" fmla="*/ 2147483646 w 123"/>
              <a:gd name="T27" fmla="*/ 2147483646 h 92"/>
              <a:gd name="T28" fmla="*/ 2147483646 w 123"/>
              <a:gd name="T29" fmla="*/ 2147483646 h 92"/>
              <a:gd name="T30" fmla="*/ 2147483646 w 123"/>
              <a:gd name="T31" fmla="*/ 0 h 9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23"/>
              <a:gd name="T49" fmla="*/ 0 h 92"/>
              <a:gd name="T50" fmla="*/ 123 w 123"/>
              <a:gd name="T51" fmla="*/ 92 h 9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23" h="92">
                <a:moveTo>
                  <a:pt x="47" y="0"/>
                </a:moveTo>
                <a:cubicBezTo>
                  <a:pt x="47" y="0"/>
                  <a:pt x="30" y="3"/>
                  <a:pt x="30" y="11"/>
                </a:cubicBezTo>
                <a:cubicBezTo>
                  <a:pt x="30" y="20"/>
                  <a:pt x="30" y="25"/>
                  <a:pt x="29" y="35"/>
                </a:cubicBezTo>
                <a:cubicBezTo>
                  <a:pt x="28" y="44"/>
                  <a:pt x="5" y="67"/>
                  <a:pt x="3" y="71"/>
                </a:cubicBezTo>
                <a:cubicBezTo>
                  <a:pt x="0" y="76"/>
                  <a:pt x="14" y="69"/>
                  <a:pt x="20" y="70"/>
                </a:cubicBezTo>
                <a:cubicBezTo>
                  <a:pt x="26" y="71"/>
                  <a:pt x="41" y="56"/>
                  <a:pt x="35" y="71"/>
                </a:cubicBezTo>
                <a:cubicBezTo>
                  <a:pt x="29" y="86"/>
                  <a:pt x="20" y="92"/>
                  <a:pt x="32" y="91"/>
                </a:cubicBezTo>
                <a:cubicBezTo>
                  <a:pt x="43" y="90"/>
                  <a:pt x="47" y="71"/>
                  <a:pt x="54" y="70"/>
                </a:cubicBezTo>
                <a:cubicBezTo>
                  <a:pt x="60" y="69"/>
                  <a:pt x="65" y="51"/>
                  <a:pt x="71" y="65"/>
                </a:cubicBezTo>
                <a:cubicBezTo>
                  <a:pt x="77" y="78"/>
                  <a:pt x="78" y="67"/>
                  <a:pt x="90" y="76"/>
                </a:cubicBezTo>
                <a:cubicBezTo>
                  <a:pt x="103" y="85"/>
                  <a:pt x="113" y="75"/>
                  <a:pt x="118" y="76"/>
                </a:cubicBezTo>
                <a:cubicBezTo>
                  <a:pt x="123" y="77"/>
                  <a:pt x="119" y="56"/>
                  <a:pt x="111" y="56"/>
                </a:cubicBezTo>
                <a:cubicBezTo>
                  <a:pt x="103" y="56"/>
                  <a:pt x="89" y="46"/>
                  <a:pt x="85" y="40"/>
                </a:cubicBezTo>
                <a:cubicBezTo>
                  <a:pt x="80" y="35"/>
                  <a:pt x="80" y="23"/>
                  <a:pt x="74" y="21"/>
                </a:cubicBezTo>
                <a:cubicBezTo>
                  <a:pt x="68" y="18"/>
                  <a:pt x="60" y="11"/>
                  <a:pt x="60" y="11"/>
                </a:cubicBezTo>
                <a:lnTo>
                  <a:pt x="4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87" name="Freeform 420"/>
          <p:cNvSpPr>
            <a:spLocks/>
          </p:cNvSpPr>
          <p:nvPr userDrawn="1"/>
        </p:nvSpPr>
        <p:spPr bwMode="auto">
          <a:xfrm>
            <a:off x="3626279" y="3116817"/>
            <a:ext cx="38527" cy="31827"/>
          </a:xfrm>
          <a:custGeom>
            <a:avLst/>
            <a:gdLst>
              <a:gd name="T0" fmla="*/ 2147483646 w 41"/>
              <a:gd name="T1" fmla="*/ 0 h 34"/>
              <a:gd name="T2" fmla="*/ 2147483646 w 41"/>
              <a:gd name="T3" fmla="*/ 2147483646 h 34"/>
              <a:gd name="T4" fmla="*/ 2147483646 w 41"/>
              <a:gd name="T5" fmla="*/ 2147483646 h 34"/>
              <a:gd name="T6" fmla="*/ 2147483646 w 41"/>
              <a:gd name="T7" fmla="*/ 2147483646 h 34"/>
              <a:gd name="T8" fmla="*/ 2147483646 w 41"/>
              <a:gd name="T9" fmla="*/ 0 h 3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1"/>
              <a:gd name="T16" fmla="*/ 0 h 34"/>
              <a:gd name="T17" fmla="*/ 41 w 41"/>
              <a:gd name="T18" fmla="*/ 34 h 3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1" h="34">
                <a:moveTo>
                  <a:pt x="24" y="0"/>
                </a:moveTo>
                <a:cubicBezTo>
                  <a:pt x="18" y="4"/>
                  <a:pt x="0" y="4"/>
                  <a:pt x="8" y="19"/>
                </a:cubicBezTo>
                <a:cubicBezTo>
                  <a:pt x="16" y="34"/>
                  <a:pt x="21" y="23"/>
                  <a:pt x="26" y="23"/>
                </a:cubicBezTo>
                <a:cubicBezTo>
                  <a:pt x="32" y="23"/>
                  <a:pt x="37" y="19"/>
                  <a:pt x="39" y="15"/>
                </a:cubicBezTo>
                <a:cubicBezTo>
                  <a:pt x="41" y="12"/>
                  <a:pt x="24" y="0"/>
                  <a:pt x="2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88" name="Freeform 421"/>
          <p:cNvSpPr>
            <a:spLocks/>
          </p:cNvSpPr>
          <p:nvPr userDrawn="1"/>
        </p:nvSpPr>
        <p:spPr bwMode="auto">
          <a:xfrm>
            <a:off x="3694957" y="3136919"/>
            <a:ext cx="23451" cy="28477"/>
          </a:xfrm>
          <a:custGeom>
            <a:avLst/>
            <a:gdLst>
              <a:gd name="T0" fmla="*/ 2147483646 w 26"/>
              <a:gd name="T1" fmla="*/ 0 h 30"/>
              <a:gd name="T2" fmla="*/ 2147483646 w 26"/>
              <a:gd name="T3" fmla="*/ 2147483646 h 30"/>
              <a:gd name="T4" fmla="*/ 2147483646 w 26"/>
              <a:gd name="T5" fmla="*/ 2147483646 h 30"/>
              <a:gd name="T6" fmla="*/ 2147483646 w 26"/>
              <a:gd name="T7" fmla="*/ 2147483646 h 30"/>
              <a:gd name="T8" fmla="*/ 2147483646 w 26"/>
              <a:gd name="T9" fmla="*/ 0 h 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30"/>
              <a:gd name="T17" fmla="*/ 26 w 26"/>
              <a:gd name="T18" fmla="*/ 30 h 3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30">
                <a:moveTo>
                  <a:pt x="17" y="0"/>
                </a:moveTo>
                <a:cubicBezTo>
                  <a:pt x="10" y="0"/>
                  <a:pt x="0" y="2"/>
                  <a:pt x="3" y="14"/>
                </a:cubicBezTo>
                <a:cubicBezTo>
                  <a:pt x="6" y="25"/>
                  <a:pt x="8" y="30"/>
                  <a:pt x="14" y="28"/>
                </a:cubicBezTo>
                <a:cubicBezTo>
                  <a:pt x="21" y="25"/>
                  <a:pt x="26" y="15"/>
                  <a:pt x="26" y="15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89" name="Freeform 422"/>
          <p:cNvSpPr>
            <a:spLocks/>
          </p:cNvSpPr>
          <p:nvPr userDrawn="1"/>
        </p:nvSpPr>
        <p:spPr bwMode="auto">
          <a:xfrm>
            <a:off x="3745210" y="2944283"/>
            <a:ext cx="45228" cy="40203"/>
          </a:xfrm>
          <a:custGeom>
            <a:avLst/>
            <a:gdLst>
              <a:gd name="T0" fmla="*/ 2147483646 w 49"/>
              <a:gd name="T1" fmla="*/ 2147483646 h 42"/>
              <a:gd name="T2" fmla="*/ 2147483646 w 49"/>
              <a:gd name="T3" fmla="*/ 2147483646 h 42"/>
              <a:gd name="T4" fmla="*/ 2147483646 w 49"/>
              <a:gd name="T5" fmla="*/ 2147483646 h 42"/>
              <a:gd name="T6" fmla="*/ 2147483646 w 49"/>
              <a:gd name="T7" fmla="*/ 2147483646 h 42"/>
              <a:gd name="T8" fmla="*/ 2147483646 w 49"/>
              <a:gd name="T9" fmla="*/ 2147483646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9"/>
              <a:gd name="T16" fmla="*/ 0 h 42"/>
              <a:gd name="T17" fmla="*/ 49 w 49"/>
              <a:gd name="T18" fmla="*/ 42 h 4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9" h="42">
                <a:moveTo>
                  <a:pt x="29" y="4"/>
                </a:moveTo>
                <a:cubicBezTo>
                  <a:pt x="24" y="3"/>
                  <a:pt x="11" y="0"/>
                  <a:pt x="8" y="14"/>
                </a:cubicBezTo>
                <a:cubicBezTo>
                  <a:pt x="4" y="27"/>
                  <a:pt x="0" y="19"/>
                  <a:pt x="9" y="31"/>
                </a:cubicBezTo>
                <a:cubicBezTo>
                  <a:pt x="18" y="42"/>
                  <a:pt x="33" y="39"/>
                  <a:pt x="37" y="36"/>
                </a:cubicBezTo>
                <a:cubicBezTo>
                  <a:pt x="40" y="32"/>
                  <a:pt x="49" y="9"/>
                  <a:pt x="29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90" name="Freeform 423"/>
          <p:cNvSpPr>
            <a:spLocks/>
          </p:cNvSpPr>
          <p:nvPr userDrawn="1"/>
        </p:nvSpPr>
        <p:spPr bwMode="auto">
          <a:xfrm>
            <a:off x="3611203" y="2480282"/>
            <a:ext cx="224463" cy="226137"/>
          </a:xfrm>
          <a:custGeom>
            <a:avLst/>
            <a:gdLst>
              <a:gd name="T0" fmla="*/ 2147483646 w 242"/>
              <a:gd name="T1" fmla="*/ 2147483646 h 241"/>
              <a:gd name="T2" fmla="*/ 2147483646 w 242"/>
              <a:gd name="T3" fmla="*/ 2147483646 h 241"/>
              <a:gd name="T4" fmla="*/ 2147483646 w 242"/>
              <a:gd name="T5" fmla="*/ 2147483646 h 241"/>
              <a:gd name="T6" fmla="*/ 2147483646 w 242"/>
              <a:gd name="T7" fmla="*/ 2147483646 h 241"/>
              <a:gd name="T8" fmla="*/ 2147483646 w 242"/>
              <a:gd name="T9" fmla="*/ 2147483646 h 241"/>
              <a:gd name="T10" fmla="*/ 2147483646 w 242"/>
              <a:gd name="T11" fmla="*/ 2147483646 h 241"/>
              <a:gd name="T12" fmla="*/ 2147483646 w 242"/>
              <a:gd name="T13" fmla="*/ 2147483646 h 241"/>
              <a:gd name="T14" fmla="*/ 2147483646 w 242"/>
              <a:gd name="T15" fmla="*/ 2147483646 h 241"/>
              <a:gd name="T16" fmla="*/ 2147483646 w 242"/>
              <a:gd name="T17" fmla="*/ 2147483646 h 241"/>
              <a:gd name="T18" fmla="*/ 2147483646 w 242"/>
              <a:gd name="T19" fmla="*/ 2147483646 h 241"/>
              <a:gd name="T20" fmla="*/ 2147483646 w 242"/>
              <a:gd name="T21" fmla="*/ 2147483646 h 241"/>
              <a:gd name="T22" fmla="*/ 2147483646 w 242"/>
              <a:gd name="T23" fmla="*/ 2147483646 h 241"/>
              <a:gd name="T24" fmla="*/ 2147483646 w 242"/>
              <a:gd name="T25" fmla="*/ 2147483646 h 241"/>
              <a:gd name="T26" fmla="*/ 2147483646 w 242"/>
              <a:gd name="T27" fmla="*/ 2147483646 h 241"/>
              <a:gd name="T28" fmla="*/ 2147483646 w 242"/>
              <a:gd name="T29" fmla="*/ 2147483646 h 241"/>
              <a:gd name="T30" fmla="*/ 2147483646 w 242"/>
              <a:gd name="T31" fmla="*/ 2147483646 h 241"/>
              <a:gd name="T32" fmla="*/ 2147483646 w 242"/>
              <a:gd name="T33" fmla="*/ 2147483646 h 241"/>
              <a:gd name="T34" fmla="*/ 2147483646 w 242"/>
              <a:gd name="T35" fmla="*/ 2147483646 h 241"/>
              <a:gd name="T36" fmla="*/ 2147483646 w 242"/>
              <a:gd name="T37" fmla="*/ 2147483646 h 241"/>
              <a:gd name="T38" fmla="*/ 2147483646 w 242"/>
              <a:gd name="T39" fmla="*/ 2147483646 h 241"/>
              <a:gd name="T40" fmla="*/ 2147483646 w 242"/>
              <a:gd name="T41" fmla="*/ 2147483646 h 241"/>
              <a:gd name="T42" fmla="*/ 2147483646 w 242"/>
              <a:gd name="T43" fmla="*/ 2147483646 h 241"/>
              <a:gd name="T44" fmla="*/ 2147483646 w 242"/>
              <a:gd name="T45" fmla="*/ 2147483646 h 241"/>
              <a:gd name="T46" fmla="*/ 2147483646 w 242"/>
              <a:gd name="T47" fmla="*/ 2147483646 h 241"/>
              <a:gd name="T48" fmla="*/ 2147483646 w 242"/>
              <a:gd name="T49" fmla="*/ 2147483646 h 241"/>
              <a:gd name="T50" fmla="*/ 2147483646 w 242"/>
              <a:gd name="T51" fmla="*/ 2147483646 h 241"/>
              <a:gd name="T52" fmla="*/ 2147483646 w 242"/>
              <a:gd name="T53" fmla="*/ 2147483646 h 241"/>
              <a:gd name="T54" fmla="*/ 2147483646 w 242"/>
              <a:gd name="T55" fmla="*/ 2147483646 h 241"/>
              <a:gd name="T56" fmla="*/ 2147483646 w 242"/>
              <a:gd name="T57" fmla="*/ 2147483646 h 241"/>
              <a:gd name="T58" fmla="*/ 2147483646 w 242"/>
              <a:gd name="T59" fmla="*/ 2147483646 h 241"/>
              <a:gd name="T60" fmla="*/ 2147483646 w 242"/>
              <a:gd name="T61" fmla="*/ 2147483646 h 241"/>
              <a:gd name="T62" fmla="*/ 2147483646 w 242"/>
              <a:gd name="T63" fmla="*/ 2147483646 h 241"/>
              <a:gd name="T64" fmla="*/ 2147483646 w 242"/>
              <a:gd name="T65" fmla="*/ 2147483646 h 241"/>
              <a:gd name="T66" fmla="*/ 2147483646 w 242"/>
              <a:gd name="T67" fmla="*/ 2147483646 h 24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42"/>
              <a:gd name="T103" fmla="*/ 0 h 241"/>
              <a:gd name="T104" fmla="*/ 242 w 242"/>
              <a:gd name="T105" fmla="*/ 241 h 24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42" h="241">
                <a:moveTo>
                  <a:pt x="228" y="17"/>
                </a:moveTo>
                <a:cubicBezTo>
                  <a:pt x="219" y="16"/>
                  <a:pt x="213" y="9"/>
                  <a:pt x="204" y="14"/>
                </a:cubicBezTo>
                <a:cubicBezTo>
                  <a:pt x="194" y="18"/>
                  <a:pt x="192" y="17"/>
                  <a:pt x="186" y="15"/>
                </a:cubicBezTo>
                <a:cubicBezTo>
                  <a:pt x="181" y="13"/>
                  <a:pt x="181" y="0"/>
                  <a:pt x="169" y="5"/>
                </a:cubicBezTo>
                <a:cubicBezTo>
                  <a:pt x="158" y="9"/>
                  <a:pt x="139" y="14"/>
                  <a:pt x="141" y="20"/>
                </a:cubicBezTo>
                <a:cubicBezTo>
                  <a:pt x="144" y="25"/>
                  <a:pt x="139" y="29"/>
                  <a:pt x="129" y="25"/>
                </a:cubicBezTo>
                <a:cubicBezTo>
                  <a:pt x="118" y="22"/>
                  <a:pt x="110" y="10"/>
                  <a:pt x="114" y="21"/>
                </a:cubicBezTo>
                <a:cubicBezTo>
                  <a:pt x="117" y="31"/>
                  <a:pt x="92" y="22"/>
                  <a:pt x="88" y="28"/>
                </a:cubicBezTo>
                <a:cubicBezTo>
                  <a:pt x="85" y="33"/>
                  <a:pt x="75" y="40"/>
                  <a:pt x="79" y="45"/>
                </a:cubicBezTo>
                <a:cubicBezTo>
                  <a:pt x="84" y="50"/>
                  <a:pt x="79" y="42"/>
                  <a:pt x="66" y="48"/>
                </a:cubicBezTo>
                <a:cubicBezTo>
                  <a:pt x="54" y="55"/>
                  <a:pt x="55" y="58"/>
                  <a:pt x="68" y="65"/>
                </a:cubicBezTo>
                <a:cubicBezTo>
                  <a:pt x="80" y="71"/>
                  <a:pt x="92" y="58"/>
                  <a:pt x="85" y="70"/>
                </a:cubicBezTo>
                <a:cubicBezTo>
                  <a:pt x="78" y="83"/>
                  <a:pt x="71" y="88"/>
                  <a:pt x="81" y="85"/>
                </a:cubicBezTo>
                <a:cubicBezTo>
                  <a:pt x="92" y="83"/>
                  <a:pt x="92" y="71"/>
                  <a:pt x="98" y="71"/>
                </a:cubicBezTo>
                <a:cubicBezTo>
                  <a:pt x="103" y="71"/>
                  <a:pt x="114" y="81"/>
                  <a:pt x="121" y="77"/>
                </a:cubicBezTo>
                <a:cubicBezTo>
                  <a:pt x="128" y="74"/>
                  <a:pt x="124" y="61"/>
                  <a:pt x="130" y="67"/>
                </a:cubicBezTo>
                <a:cubicBezTo>
                  <a:pt x="136" y="73"/>
                  <a:pt x="113" y="92"/>
                  <a:pt x="117" y="96"/>
                </a:cubicBezTo>
                <a:cubicBezTo>
                  <a:pt x="122" y="99"/>
                  <a:pt x="103" y="99"/>
                  <a:pt x="102" y="96"/>
                </a:cubicBezTo>
                <a:cubicBezTo>
                  <a:pt x="101" y="92"/>
                  <a:pt x="87" y="88"/>
                  <a:pt x="95" y="96"/>
                </a:cubicBezTo>
                <a:cubicBezTo>
                  <a:pt x="103" y="104"/>
                  <a:pt x="113" y="98"/>
                  <a:pt x="115" y="111"/>
                </a:cubicBezTo>
                <a:cubicBezTo>
                  <a:pt x="117" y="123"/>
                  <a:pt x="99" y="125"/>
                  <a:pt x="96" y="120"/>
                </a:cubicBezTo>
                <a:cubicBezTo>
                  <a:pt x="94" y="115"/>
                  <a:pt x="91" y="104"/>
                  <a:pt x="91" y="104"/>
                </a:cubicBezTo>
                <a:cubicBezTo>
                  <a:pt x="91" y="104"/>
                  <a:pt x="71" y="106"/>
                  <a:pt x="75" y="115"/>
                </a:cubicBezTo>
                <a:cubicBezTo>
                  <a:pt x="78" y="125"/>
                  <a:pt x="84" y="128"/>
                  <a:pt x="88" y="131"/>
                </a:cubicBezTo>
                <a:cubicBezTo>
                  <a:pt x="93" y="135"/>
                  <a:pt x="108" y="128"/>
                  <a:pt x="101" y="141"/>
                </a:cubicBezTo>
                <a:cubicBezTo>
                  <a:pt x="94" y="153"/>
                  <a:pt x="87" y="149"/>
                  <a:pt x="83" y="149"/>
                </a:cubicBezTo>
                <a:cubicBezTo>
                  <a:pt x="78" y="149"/>
                  <a:pt x="78" y="133"/>
                  <a:pt x="72" y="141"/>
                </a:cubicBezTo>
                <a:cubicBezTo>
                  <a:pt x="66" y="149"/>
                  <a:pt x="72" y="158"/>
                  <a:pt x="66" y="159"/>
                </a:cubicBezTo>
                <a:cubicBezTo>
                  <a:pt x="61" y="160"/>
                  <a:pt x="50" y="160"/>
                  <a:pt x="50" y="160"/>
                </a:cubicBezTo>
                <a:cubicBezTo>
                  <a:pt x="50" y="160"/>
                  <a:pt x="38" y="167"/>
                  <a:pt x="50" y="172"/>
                </a:cubicBezTo>
                <a:cubicBezTo>
                  <a:pt x="53" y="173"/>
                  <a:pt x="56" y="173"/>
                  <a:pt x="58" y="173"/>
                </a:cubicBezTo>
                <a:cubicBezTo>
                  <a:pt x="65" y="174"/>
                  <a:pt x="68" y="170"/>
                  <a:pt x="71" y="173"/>
                </a:cubicBezTo>
                <a:cubicBezTo>
                  <a:pt x="75" y="176"/>
                  <a:pt x="72" y="183"/>
                  <a:pt x="75" y="189"/>
                </a:cubicBezTo>
                <a:cubicBezTo>
                  <a:pt x="77" y="195"/>
                  <a:pt x="85" y="188"/>
                  <a:pt x="85" y="188"/>
                </a:cubicBezTo>
                <a:cubicBezTo>
                  <a:pt x="85" y="188"/>
                  <a:pt x="70" y="198"/>
                  <a:pt x="66" y="191"/>
                </a:cubicBezTo>
                <a:cubicBezTo>
                  <a:pt x="63" y="184"/>
                  <a:pt x="44" y="179"/>
                  <a:pt x="45" y="183"/>
                </a:cubicBezTo>
                <a:cubicBezTo>
                  <a:pt x="46" y="198"/>
                  <a:pt x="26" y="194"/>
                  <a:pt x="23" y="198"/>
                </a:cubicBezTo>
                <a:cubicBezTo>
                  <a:pt x="19" y="203"/>
                  <a:pt x="0" y="207"/>
                  <a:pt x="19" y="214"/>
                </a:cubicBezTo>
                <a:cubicBezTo>
                  <a:pt x="39" y="221"/>
                  <a:pt x="39" y="210"/>
                  <a:pt x="51" y="213"/>
                </a:cubicBezTo>
                <a:cubicBezTo>
                  <a:pt x="64" y="217"/>
                  <a:pt x="66" y="222"/>
                  <a:pt x="72" y="219"/>
                </a:cubicBezTo>
                <a:cubicBezTo>
                  <a:pt x="78" y="216"/>
                  <a:pt x="78" y="198"/>
                  <a:pt x="84" y="209"/>
                </a:cubicBezTo>
                <a:cubicBezTo>
                  <a:pt x="90" y="219"/>
                  <a:pt x="80" y="221"/>
                  <a:pt x="87" y="224"/>
                </a:cubicBezTo>
                <a:cubicBezTo>
                  <a:pt x="94" y="226"/>
                  <a:pt x="99" y="216"/>
                  <a:pt x="102" y="222"/>
                </a:cubicBezTo>
                <a:cubicBezTo>
                  <a:pt x="106" y="229"/>
                  <a:pt x="99" y="241"/>
                  <a:pt x="109" y="239"/>
                </a:cubicBezTo>
                <a:cubicBezTo>
                  <a:pt x="119" y="236"/>
                  <a:pt x="115" y="218"/>
                  <a:pt x="126" y="222"/>
                </a:cubicBezTo>
                <a:cubicBezTo>
                  <a:pt x="138" y="227"/>
                  <a:pt x="140" y="217"/>
                  <a:pt x="140" y="217"/>
                </a:cubicBezTo>
                <a:cubicBezTo>
                  <a:pt x="140" y="217"/>
                  <a:pt x="140" y="205"/>
                  <a:pt x="136" y="206"/>
                </a:cubicBezTo>
                <a:cubicBezTo>
                  <a:pt x="131" y="207"/>
                  <a:pt x="126" y="203"/>
                  <a:pt x="126" y="199"/>
                </a:cubicBezTo>
                <a:cubicBezTo>
                  <a:pt x="126" y="196"/>
                  <a:pt x="133" y="201"/>
                  <a:pt x="139" y="196"/>
                </a:cubicBezTo>
                <a:cubicBezTo>
                  <a:pt x="145" y="191"/>
                  <a:pt x="137" y="177"/>
                  <a:pt x="140" y="178"/>
                </a:cubicBezTo>
                <a:cubicBezTo>
                  <a:pt x="156" y="181"/>
                  <a:pt x="156" y="176"/>
                  <a:pt x="160" y="173"/>
                </a:cubicBezTo>
                <a:cubicBezTo>
                  <a:pt x="163" y="169"/>
                  <a:pt x="164" y="151"/>
                  <a:pt x="164" y="151"/>
                </a:cubicBezTo>
                <a:cubicBezTo>
                  <a:pt x="164" y="151"/>
                  <a:pt x="158" y="141"/>
                  <a:pt x="153" y="145"/>
                </a:cubicBezTo>
                <a:cubicBezTo>
                  <a:pt x="148" y="150"/>
                  <a:pt x="147" y="136"/>
                  <a:pt x="147" y="136"/>
                </a:cubicBezTo>
                <a:cubicBezTo>
                  <a:pt x="147" y="136"/>
                  <a:pt x="136" y="143"/>
                  <a:pt x="140" y="134"/>
                </a:cubicBezTo>
                <a:cubicBezTo>
                  <a:pt x="145" y="125"/>
                  <a:pt x="155" y="114"/>
                  <a:pt x="161" y="123"/>
                </a:cubicBezTo>
                <a:cubicBezTo>
                  <a:pt x="167" y="133"/>
                  <a:pt x="158" y="127"/>
                  <a:pt x="167" y="130"/>
                </a:cubicBezTo>
                <a:cubicBezTo>
                  <a:pt x="176" y="134"/>
                  <a:pt x="172" y="130"/>
                  <a:pt x="179" y="122"/>
                </a:cubicBezTo>
                <a:cubicBezTo>
                  <a:pt x="186" y="114"/>
                  <a:pt x="191" y="108"/>
                  <a:pt x="186" y="110"/>
                </a:cubicBezTo>
                <a:cubicBezTo>
                  <a:pt x="182" y="111"/>
                  <a:pt x="174" y="110"/>
                  <a:pt x="176" y="105"/>
                </a:cubicBezTo>
                <a:cubicBezTo>
                  <a:pt x="178" y="100"/>
                  <a:pt x="182" y="95"/>
                  <a:pt x="186" y="97"/>
                </a:cubicBezTo>
                <a:cubicBezTo>
                  <a:pt x="191" y="99"/>
                  <a:pt x="191" y="84"/>
                  <a:pt x="200" y="83"/>
                </a:cubicBezTo>
                <a:cubicBezTo>
                  <a:pt x="209" y="82"/>
                  <a:pt x="212" y="75"/>
                  <a:pt x="216" y="70"/>
                </a:cubicBezTo>
                <a:cubicBezTo>
                  <a:pt x="221" y="66"/>
                  <a:pt x="229" y="55"/>
                  <a:pt x="229" y="55"/>
                </a:cubicBezTo>
                <a:cubicBezTo>
                  <a:pt x="229" y="55"/>
                  <a:pt x="221" y="53"/>
                  <a:pt x="216" y="55"/>
                </a:cubicBezTo>
                <a:cubicBezTo>
                  <a:pt x="212" y="58"/>
                  <a:pt x="202" y="52"/>
                  <a:pt x="211" y="48"/>
                </a:cubicBezTo>
                <a:cubicBezTo>
                  <a:pt x="219" y="45"/>
                  <a:pt x="242" y="27"/>
                  <a:pt x="242" y="27"/>
                </a:cubicBezTo>
                <a:cubicBezTo>
                  <a:pt x="242" y="27"/>
                  <a:pt x="237" y="18"/>
                  <a:pt x="228" y="1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91" name="Freeform 424"/>
          <p:cNvSpPr>
            <a:spLocks/>
          </p:cNvSpPr>
          <p:nvPr userDrawn="1"/>
        </p:nvSpPr>
        <p:spPr bwMode="auto">
          <a:xfrm>
            <a:off x="3594452" y="2532212"/>
            <a:ext cx="82080" cy="100505"/>
          </a:xfrm>
          <a:custGeom>
            <a:avLst/>
            <a:gdLst>
              <a:gd name="T0" fmla="*/ 2147483646 w 87"/>
              <a:gd name="T1" fmla="*/ 2147483646 h 109"/>
              <a:gd name="T2" fmla="*/ 2147483646 w 87"/>
              <a:gd name="T3" fmla="*/ 2147483646 h 109"/>
              <a:gd name="T4" fmla="*/ 2147483646 w 87"/>
              <a:gd name="T5" fmla="*/ 2147483646 h 109"/>
              <a:gd name="T6" fmla="*/ 2147483646 w 87"/>
              <a:gd name="T7" fmla="*/ 2147483646 h 109"/>
              <a:gd name="T8" fmla="*/ 2147483646 w 87"/>
              <a:gd name="T9" fmla="*/ 2147483646 h 109"/>
              <a:gd name="T10" fmla="*/ 2147483646 w 87"/>
              <a:gd name="T11" fmla="*/ 2147483646 h 109"/>
              <a:gd name="T12" fmla="*/ 2147483646 w 87"/>
              <a:gd name="T13" fmla="*/ 2147483646 h 109"/>
              <a:gd name="T14" fmla="*/ 2147483646 w 87"/>
              <a:gd name="T15" fmla="*/ 2147483646 h 109"/>
              <a:gd name="T16" fmla="*/ 2147483646 w 87"/>
              <a:gd name="T17" fmla="*/ 2147483646 h 109"/>
              <a:gd name="T18" fmla="*/ 2147483646 w 87"/>
              <a:gd name="T19" fmla="*/ 2147483646 h 109"/>
              <a:gd name="T20" fmla="*/ 2147483646 w 87"/>
              <a:gd name="T21" fmla="*/ 2147483646 h 109"/>
              <a:gd name="T22" fmla="*/ 2147483646 w 87"/>
              <a:gd name="T23" fmla="*/ 2147483646 h 109"/>
              <a:gd name="T24" fmla="*/ 2147483646 w 87"/>
              <a:gd name="T25" fmla="*/ 2147483646 h 109"/>
              <a:gd name="T26" fmla="*/ 2147483646 w 87"/>
              <a:gd name="T27" fmla="*/ 2147483646 h 109"/>
              <a:gd name="T28" fmla="*/ 2147483646 w 87"/>
              <a:gd name="T29" fmla="*/ 2147483646 h 109"/>
              <a:gd name="T30" fmla="*/ 2147483646 w 87"/>
              <a:gd name="T31" fmla="*/ 2147483646 h 109"/>
              <a:gd name="T32" fmla="*/ 2147483646 w 87"/>
              <a:gd name="T33" fmla="*/ 2147483646 h 109"/>
              <a:gd name="T34" fmla="*/ 2147483646 w 87"/>
              <a:gd name="T35" fmla="*/ 2147483646 h 109"/>
              <a:gd name="T36" fmla="*/ 2147483646 w 87"/>
              <a:gd name="T37" fmla="*/ 2147483646 h 109"/>
              <a:gd name="T38" fmla="*/ 2147483646 w 87"/>
              <a:gd name="T39" fmla="*/ 2147483646 h 109"/>
              <a:gd name="T40" fmla="*/ 2147483646 w 87"/>
              <a:gd name="T41" fmla="*/ 2147483646 h 109"/>
              <a:gd name="T42" fmla="*/ 2147483646 w 87"/>
              <a:gd name="T43" fmla="*/ 2147483646 h 10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7"/>
              <a:gd name="T67" fmla="*/ 0 h 109"/>
              <a:gd name="T68" fmla="*/ 87 w 87"/>
              <a:gd name="T69" fmla="*/ 109 h 10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7" h="109">
                <a:moveTo>
                  <a:pt x="55" y="1"/>
                </a:moveTo>
                <a:cubicBezTo>
                  <a:pt x="47" y="3"/>
                  <a:pt x="37" y="4"/>
                  <a:pt x="39" y="11"/>
                </a:cubicBezTo>
                <a:cubicBezTo>
                  <a:pt x="40" y="17"/>
                  <a:pt x="40" y="19"/>
                  <a:pt x="36" y="23"/>
                </a:cubicBezTo>
                <a:cubicBezTo>
                  <a:pt x="33" y="28"/>
                  <a:pt x="26" y="28"/>
                  <a:pt x="21" y="27"/>
                </a:cubicBezTo>
                <a:cubicBezTo>
                  <a:pt x="17" y="26"/>
                  <a:pt x="7" y="20"/>
                  <a:pt x="13" y="29"/>
                </a:cubicBezTo>
                <a:cubicBezTo>
                  <a:pt x="19" y="38"/>
                  <a:pt x="25" y="41"/>
                  <a:pt x="22" y="44"/>
                </a:cubicBezTo>
                <a:cubicBezTo>
                  <a:pt x="20" y="47"/>
                  <a:pt x="4" y="39"/>
                  <a:pt x="3" y="44"/>
                </a:cubicBezTo>
                <a:cubicBezTo>
                  <a:pt x="2" y="49"/>
                  <a:pt x="0" y="45"/>
                  <a:pt x="4" y="52"/>
                </a:cubicBezTo>
                <a:cubicBezTo>
                  <a:pt x="7" y="59"/>
                  <a:pt x="20" y="51"/>
                  <a:pt x="20" y="56"/>
                </a:cubicBezTo>
                <a:cubicBezTo>
                  <a:pt x="20" y="60"/>
                  <a:pt x="6" y="60"/>
                  <a:pt x="13" y="65"/>
                </a:cubicBezTo>
                <a:cubicBezTo>
                  <a:pt x="20" y="69"/>
                  <a:pt x="26" y="60"/>
                  <a:pt x="30" y="61"/>
                </a:cubicBezTo>
                <a:cubicBezTo>
                  <a:pt x="35" y="62"/>
                  <a:pt x="24" y="71"/>
                  <a:pt x="20" y="74"/>
                </a:cubicBezTo>
                <a:cubicBezTo>
                  <a:pt x="17" y="77"/>
                  <a:pt x="14" y="79"/>
                  <a:pt x="20" y="85"/>
                </a:cubicBezTo>
                <a:cubicBezTo>
                  <a:pt x="26" y="92"/>
                  <a:pt x="42" y="84"/>
                  <a:pt x="40" y="90"/>
                </a:cubicBezTo>
                <a:cubicBezTo>
                  <a:pt x="37" y="96"/>
                  <a:pt x="19" y="109"/>
                  <a:pt x="33" y="106"/>
                </a:cubicBezTo>
                <a:cubicBezTo>
                  <a:pt x="47" y="104"/>
                  <a:pt x="51" y="94"/>
                  <a:pt x="56" y="94"/>
                </a:cubicBezTo>
                <a:cubicBezTo>
                  <a:pt x="60" y="94"/>
                  <a:pt x="60" y="77"/>
                  <a:pt x="68" y="83"/>
                </a:cubicBezTo>
                <a:cubicBezTo>
                  <a:pt x="77" y="89"/>
                  <a:pt x="81" y="79"/>
                  <a:pt x="79" y="71"/>
                </a:cubicBezTo>
                <a:cubicBezTo>
                  <a:pt x="77" y="62"/>
                  <a:pt x="75" y="52"/>
                  <a:pt x="81" y="51"/>
                </a:cubicBezTo>
                <a:cubicBezTo>
                  <a:pt x="87" y="50"/>
                  <a:pt x="81" y="44"/>
                  <a:pt x="74" y="38"/>
                </a:cubicBezTo>
                <a:cubicBezTo>
                  <a:pt x="67" y="32"/>
                  <a:pt x="67" y="26"/>
                  <a:pt x="64" y="21"/>
                </a:cubicBezTo>
                <a:cubicBezTo>
                  <a:pt x="60" y="16"/>
                  <a:pt x="62" y="0"/>
                  <a:pt x="5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92" name="Freeform 425"/>
          <p:cNvSpPr>
            <a:spLocks/>
          </p:cNvSpPr>
          <p:nvPr userDrawn="1"/>
        </p:nvSpPr>
        <p:spPr bwMode="auto">
          <a:xfrm>
            <a:off x="3520748" y="2575763"/>
            <a:ext cx="43552" cy="65328"/>
          </a:xfrm>
          <a:custGeom>
            <a:avLst/>
            <a:gdLst>
              <a:gd name="T0" fmla="*/ 2147483646 w 46"/>
              <a:gd name="T1" fmla="*/ 2147483646 h 70"/>
              <a:gd name="T2" fmla="*/ 2147483646 w 46"/>
              <a:gd name="T3" fmla="*/ 2147483646 h 70"/>
              <a:gd name="T4" fmla="*/ 2147483646 w 46"/>
              <a:gd name="T5" fmla="*/ 2147483646 h 70"/>
              <a:gd name="T6" fmla="*/ 2147483646 w 46"/>
              <a:gd name="T7" fmla="*/ 2147483646 h 70"/>
              <a:gd name="T8" fmla="*/ 2147483646 w 46"/>
              <a:gd name="T9" fmla="*/ 2147483646 h 70"/>
              <a:gd name="T10" fmla="*/ 2147483646 w 46"/>
              <a:gd name="T11" fmla="*/ 2147483646 h 70"/>
              <a:gd name="T12" fmla="*/ 2147483646 w 46"/>
              <a:gd name="T13" fmla="*/ 2147483646 h 70"/>
              <a:gd name="T14" fmla="*/ 2147483646 w 46"/>
              <a:gd name="T15" fmla="*/ 2147483646 h 70"/>
              <a:gd name="T16" fmla="*/ 2147483646 w 46"/>
              <a:gd name="T17" fmla="*/ 2147483646 h 70"/>
              <a:gd name="T18" fmla="*/ 2147483646 w 46"/>
              <a:gd name="T19" fmla="*/ 2147483646 h 7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6"/>
              <a:gd name="T31" fmla="*/ 0 h 70"/>
              <a:gd name="T32" fmla="*/ 46 w 46"/>
              <a:gd name="T33" fmla="*/ 70 h 7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6" h="70">
                <a:moveTo>
                  <a:pt x="15" y="2"/>
                </a:moveTo>
                <a:cubicBezTo>
                  <a:pt x="7" y="3"/>
                  <a:pt x="5" y="24"/>
                  <a:pt x="9" y="27"/>
                </a:cubicBezTo>
                <a:cubicBezTo>
                  <a:pt x="14" y="30"/>
                  <a:pt x="5" y="27"/>
                  <a:pt x="2" y="30"/>
                </a:cubicBezTo>
                <a:cubicBezTo>
                  <a:pt x="0" y="34"/>
                  <a:pt x="10" y="38"/>
                  <a:pt x="16" y="41"/>
                </a:cubicBezTo>
                <a:cubicBezTo>
                  <a:pt x="22" y="43"/>
                  <a:pt x="25" y="49"/>
                  <a:pt x="24" y="55"/>
                </a:cubicBezTo>
                <a:cubicBezTo>
                  <a:pt x="23" y="60"/>
                  <a:pt x="29" y="70"/>
                  <a:pt x="35" y="64"/>
                </a:cubicBezTo>
                <a:cubicBezTo>
                  <a:pt x="40" y="58"/>
                  <a:pt x="40" y="45"/>
                  <a:pt x="40" y="38"/>
                </a:cubicBezTo>
                <a:cubicBezTo>
                  <a:pt x="40" y="32"/>
                  <a:pt x="46" y="22"/>
                  <a:pt x="44" y="19"/>
                </a:cubicBezTo>
                <a:cubicBezTo>
                  <a:pt x="41" y="15"/>
                  <a:pt x="35" y="0"/>
                  <a:pt x="31" y="3"/>
                </a:cubicBezTo>
                <a:cubicBezTo>
                  <a:pt x="28" y="5"/>
                  <a:pt x="15" y="2"/>
                  <a:pt x="15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93" name="Freeform 426"/>
          <p:cNvSpPr>
            <a:spLocks/>
          </p:cNvSpPr>
          <p:nvPr userDrawn="1"/>
        </p:nvSpPr>
        <p:spPr bwMode="auto">
          <a:xfrm>
            <a:off x="3567651" y="2609264"/>
            <a:ext cx="28477" cy="25125"/>
          </a:xfrm>
          <a:custGeom>
            <a:avLst/>
            <a:gdLst>
              <a:gd name="T0" fmla="*/ 2147483646 w 30"/>
              <a:gd name="T1" fmla="*/ 2147483646 h 27"/>
              <a:gd name="T2" fmla="*/ 2147483646 w 30"/>
              <a:gd name="T3" fmla="*/ 2147483646 h 27"/>
              <a:gd name="T4" fmla="*/ 2147483646 w 30"/>
              <a:gd name="T5" fmla="*/ 2147483646 h 27"/>
              <a:gd name="T6" fmla="*/ 2147483646 w 30"/>
              <a:gd name="T7" fmla="*/ 2147483646 h 27"/>
              <a:gd name="T8" fmla="*/ 2147483646 w 30"/>
              <a:gd name="T9" fmla="*/ 2147483646 h 27"/>
              <a:gd name="T10" fmla="*/ 2147483646 w 30"/>
              <a:gd name="T11" fmla="*/ 2147483646 h 2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"/>
              <a:gd name="T19" fmla="*/ 0 h 27"/>
              <a:gd name="T20" fmla="*/ 30 w 30"/>
              <a:gd name="T21" fmla="*/ 27 h 2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" h="27">
                <a:moveTo>
                  <a:pt x="12" y="1"/>
                </a:moveTo>
                <a:cubicBezTo>
                  <a:pt x="9" y="0"/>
                  <a:pt x="0" y="8"/>
                  <a:pt x="5" y="16"/>
                </a:cubicBezTo>
                <a:cubicBezTo>
                  <a:pt x="11" y="24"/>
                  <a:pt x="9" y="20"/>
                  <a:pt x="15" y="23"/>
                </a:cubicBezTo>
                <a:cubicBezTo>
                  <a:pt x="20" y="27"/>
                  <a:pt x="25" y="19"/>
                  <a:pt x="25" y="19"/>
                </a:cubicBezTo>
                <a:cubicBezTo>
                  <a:pt x="30" y="9"/>
                  <a:pt x="30" y="9"/>
                  <a:pt x="30" y="9"/>
                </a:cubicBezTo>
                <a:lnTo>
                  <a:pt x="12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94" name="Freeform 427"/>
          <p:cNvSpPr>
            <a:spLocks/>
          </p:cNvSpPr>
          <p:nvPr userDrawn="1"/>
        </p:nvSpPr>
        <p:spPr bwMode="auto">
          <a:xfrm>
            <a:off x="3490596" y="2647792"/>
            <a:ext cx="63653" cy="65329"/>
          </a:xfrm>
          <a:custGeom>
            <a:avLst/>
            <a:gdLst>
              <a:gd name="T0" fmla="*/ 2147483646 w 67"/>
              <a:gd name="T1" fmla="*/ 2147483646 h 70"/>
              <a:gd name="T2" fmla="*/ 2147483646 w 67"/>
              <a:gd name="T3" fmla="*/ 2147483646 h 70"/>
              <a:gd name="T4" fmla="*/ 2147483646 w 67"/>
              <a:gd name="T5" fmla="*/ 2147483646 h 70"/>
              <a:gd name="T6" fmla="*/ 2147483646 w 67"/>
              <a:gd name="T7" fmla="*/ 2147483646 h 70"/>
              <a:gd name="T8" fmla="*/ 2147483646 w 67"/>
              <a:gd name="T9" fmla="*/ 2147483646 h 70"/>
              <a:gd name="T10" fmla="*/ 2147483646 w 67"/>
              <a:gd name="T11" fmla="*/ 2147483646 h 70"/>
              <a:gd name="T12" fmla="*/ 2147483646 w 67"/>
              <a:gd name="T13" fmla="*/ 2147483646 h 70"/>
              <a:gd name="T14" fmla="*/ 2147483646 w 67"/>
              <a:gd name="T15" fmla="*/ 2147483646 h 70"/>
              <a:gd name="T16" fmla="*/ 2147483646 w 67"/>
              <a:gd name="T17" fmla="*/ 2147483646 h 70"/>
              <a:gd name="T18" fmla="*/ 2147483646 w 67"/>
              <a:gd name="T19" fmla="*/ 2147483646 h 70"/>
              <a:gd name="T20" fmla="*/ 2147483646 w 67"/>
              <a:gd name="T21" fmla="*/ 2147483646 h 70"/>
              <a:gd name="T22" fmla="*/ 2147483646 w 67"/>
              <a:gd name="T23" fmla="*/ 2147483646 h 70"/>
              <a:gd name="T24" fmla="*/ 2147483646 w 67"/>
              <a:gd name="T25" fmla="*/ 2147483646 h 7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7"/>
              <a:gd name="T40" fmla="*/ 0 h 70"/>
              <a:gd name="T41" fmla="*/ 67 w 67"/>
              <a:gd name="T42" fmla="*/ 70 h 7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7" h="70">
                <a:moveTo>
                  <a:pt x="39" y="13"/>
                </a:moveTo>
                <a:cubicBezTo>
                  <a:pt x="38" y="19"/>
                  <a:pt x="28" y="26"/>
                  <a:pt x="25" y="28"/>
                </a:cubicBezTo>
                <a:cubicBezTo>
                  <a:pt x="22" y="31"/>
                  <a:pt x="16" y="24"/>
                  <a:pt x="16" y="24"/>
                </a:cubicBezTo>
                <a:cubicBezTo>
                  <a:pt x="16" y="24"/>
                  <a:pt x="8" y="29"/>
                  <a:pt x="7" y="25"/>
                </a:cubicBezTo>
                <a:cubicBezTo>
                  <a:pt x="5" y="20"/>
                  <a:pt x="10" y="0"/>
                  <a:pt x="5" y="2"/>
                </a:cubicBezTo>
                <a:cubicBezTo>
                  <a:pt x="1" y="4"/>
                  <a:pt x="0" y="41"/>
                  <a:pt x="4" y="42"/>
                </a:cubicBezTo>
                <a:cubicBezTo>
                  <a:pt x="9" y="43"/>
                  <a:pt x="17" y="36"/>
                  <a:pt x="22" y="39"/>
                </a:cubicBezTo>
                <a:cubicBezTo>
                  <a:pt x="26" y="41"/>
                  <a:pt x="15" y="54"/>
                  <a:pt x="13" y="57"/>
                </a:cubicBezTo>
                <a:cubicBezTo>
                  <a:pt x="12" y="61"/>
                  <a:pt x="18" y="65"/>
                  <a:pt x="23" y="68"/>
                </a:cubicBezTo>
                <a:cubicBezTo>
                  <a:pt x="27" y="70"/>
                  <a:pt x="37" y="61"/>
                  <a:pt x="42" y="63"/>
                </a:cubicBezTo>
                <a:cubicBezTo>
                  <a:pt x="48" y="65"/>
                  <a:pt x="57" y="54"/>
                  <a:pt x="58" y="49"/>
                </a:cubicBezTo>
                <a:cubicBezTo>
                  <a:pt x="60" y="44"/>
                  <a:pt x="67" y="19"/>
                  <a:pt x="62" y="18"/>
                </a:cubicBezTo>
                <a:cubicBezTo>
                  <a:pt x="57" y="17"/>
                  <a:pt x="39" y="13"/>
                  <a:pt x="39" y="1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95" name="Freeform 428"/>
          <p:cNvSpPr>
            <a:spLocks/>
          </p:cNvSpPr>
          <p:nvPr userDrawn="1"/>
        </p:nvSpPr>
        <p:spPr bwMode="auto">
          <a:xfrm>
            <a:off x="3582727" y="2676269"/>
            <a:ext cx="137357" cy="77055"/>
          </a:xfrm>
          <a:custGeom>
            <a:avLst/>
            <a:gdLst>
              <a:gd name="T0" fmla="*/ 2147483646 w 148"/>
              <a:gd name="T1" fmla="*/ 2147483646 h 82"/>
              <a:gd name="T2" fmla="*/ 2147483646 w 148"/>
              <a:gd name="T3" fmla="*/ 2147483646 h 82"/>
              <a:gd name="T4" fmla="*/ 2147483646 w 148"/>
              <a:gd name="T5" fmla="*/ 2147483646 h 82"/>
              <a:gd name="T6" fmla="*/ 2147483646 w 148"/>
              <a:gd name="T7" fmla="*/ 2147483646 h 82"/>
              <a:gd name="T8" fmla="*/ 2147483646 w 148"/>
              <a:gd name="T9" fmla="*/ 2147483646 h 82"/>
              <a:gd name="T10" fmla="*/ 2147483646 w 148"/>
              <a:gd name="T11" fmla="*/ 2147483646 h 82"/>
              <a:gd name="T12" fmla="*/ 2147483646 w 148"/>
              <a:gd name="T13" fmla="*/ 2147483646 h 82"/>
              <a:gd name="T14" fmla="*/ 2147483646 w 148"/>
              <a:gd name="T15" fmla="*/ 2147483646 h 82"/>
              <a:gd name="T16" fmla="*/ 2147483646 w 148"/>
              <a:gd name="T17" fmla="*/ 2147483646 h 82"/>
              <a:gd name="T18" fmla="*/ 2147483646 w 148"/>
              <a:gd name="T19" fmla="*/ 2147483646 h 82"/>
              <a:gd name="T20" fmla="*/ 2147483646 w 148"/>
              <a:gd name="T21" fmla="*/ 2147483646 h 82"/>
              <a:gd name="T22" fmla="*/ 2147483646 w 148"/>
              <a:gd name="T23" fmla="*/ 2147483646 h 82"/>
              <a:gd name="T24" fmla="*/ 2147483646 w 148"/>
              <a:gd name="T25" fmla="*/ 2147483646 h 82"/>
              <a:gd name="T26" fmla="*/ 2147483646 w 148"/>
              <a:gd name="T27" fmla="*/ 2147483646 h 82"/>
              <a:gd name="T28" fmla="*/ 2147483646 w 148"/>
              <a:gd name="T29" fmla="*/ 2147483646 h 82"/>
              <a:gd name="T30" fmla="*/ 2147483646 w 148"/>
              <a:gd name="T31" fmla="*/ 2147483646 h 82"/>
              <a:gd name="T32" fmla="*/ 2147483646 w 148"/>
              <a:gd name="T33" fmla="*/ 2147483646 h 8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8"/>
              <a:gd name="T52" fmla="*/ 0 h 82"/>
              <a:gd name="T53" fmla="*/ 148 w 148"/>
              <a:gd name="T54" fmla="*/ 82 h 82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8" h="82">
                <a:moveTo>
                  <a:pt x="22" y="1"/>
                </a:moveTo>
                <a:cubicBezTo>
                  <a:pt x="15" y="0"/>
                  <a:pt x="0" y="1"/>
                  <a:pt x="9" y="11"/>
                </a:cubicBezTo>
                <a:cubicBezTo>
                  <a:pt x="18" y="22"/>
                  <a:pt x="22" y="30"/>
                  <a:pt x="17" y="34"/>
                </a:cubicBezTo>
                <a:cubicBezTo>
                  <a:pt x="12" y="39"/>
                  <a:pt x="4" y="40"/>
                  <a:pt x="5" y="47"/>
                </a:cubicBezTo>
                <a:cubicBezTo>
                  <a:pt x="7" y="54"/>
                  <a:pt x="10" y="53"/>
                  <a:pt x="17" y="56"/>
                </a:cubicBezTo>
                <a:cubicBezTo>
                  <a:pt x="24" y="60"/>
                  <a:pt x="32" y="46"/>
                  <a:pt x="41" y="56"/>
                </a:cubicBezTo>
                <a:cubicBezTo>
                  <a:pt x="50" y="67"/>
                  <a:pt x="60" y="62"/>
                  <a:pt x="66" y="68"/>
                </a:cubicBezTo>
                <a:cubicBezTo>
                  <a:pt x="73" y="74"/>
                  <a:pt x="78" y="61"/>
                  <a:pt x="87" y="71"/>
                </a:cubicBezTo>
                <a:cubicBezTo>
                  <a:pt x="96" y="82"/>
                  <a:pt x="100" y="62"/>
                  <a:pt x="106" y="67"/>
                </a:cubicBezTo>
                <a:cubicBezTo>
                  <a:pt x="111" y="71"/>
                  <a:pt x="121" y="47"/>
                  <a:pt x="125" y="64"/>
                </a:cubicBezTo>
                <a:cubicBezTo>
                  <a:pt x="130" y="82"/>
                  <a:pt x="148" y="39"/>
                  <a:pt x="144" y="38"/>
                </a:cubicBezTo>
                <a:cubicBezTo>
                  <a:pt x="139" y="37"/>
                  <a:pt x="108" y="26"/>
                  <a:pt x="107" y="30"/>
                </a:cubicBezTo>
                <a:cubicBezTo>
                  <a:pt x="106" y="33"/>
                  <a:pt x="90" y="40"/>
                  <a:pt x="83" y="42"/>
                </a:cubicBezTo>
                <a:cubicBezTo>
                  <a:pt x="76" y="45"/>
                  <a:pt x="62" y="33"/>
                  <a:pt x="58" y="36"/>
                </a:cubicBezTo>
                <a:cubicBezTo>
                  <a:pt x="55" y="38"/>
                  <a:pt x="49" y="30"/>
                  <a:pt x="45" y="31"/>
                </a:cubicBezTo>
                <a:cubicBezTo>
                  <a:pt x="40" y="32"/>
                  <a:pt x="30" y="17"/>
                  <a:pt x="32" y="14"/>
                </a:cubicBezTo>
                <a:cubicBezTo>
                  <a:pt x="34" y="10"/>
                  <a:pt x="28" y="2"/>
                  <a:pt x="2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96" name="Freeform 429"/>
          <p:cNvSpPr>
            <a:spLocks/>
          </p:cNvSpPr>
          <p:nvPr userDrawn="1"/>
        </p:nvSpPr>
        <p:spPr bwMode="auto">
          <a:xfrm>
            <a:off x="3535824" y="2699721"/>
            <a:ext cx="43552" cy="36852"/>
          </a:xfrm>
          <a:custGeom>
            <a:avLst/>
            <a:gdLst>
              <a:gd name="T0" fmla="*/ 2147483646 w 47"/>
              <a:gd name="T1" fmla="*/ 2147483646 h 38"/>
              <a:gd name="T2" fmla="*/ 2147483646 w 47"/>
              <a:gd name="T3" fmla="*/ 2147483646 h 38"/>
              <a:gd name="T4" fmla="*/ 2147483646 w 47"/>
              <a:gd name="T5" fmla="*/ 2147483646 h 38"/>
              <a:gd name="T6" fmla="*/ 2147483646 w 47"/>
              <a:gd name="T7" fmla="*/ 2147483646 h 38"/>
              <a:gd name="T8" fmla="*/ 2147483646 w 47"/>
              <a:gd name="T9" fmla="*/ 2147483646 h 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7"/>
              <a:gd name="T16" fmla="*/ 0 h 38"/>
              <a:gd name="T17" fmla="*/ 47 w 47"/>
              <a:gd name="T18" fmla="*/ 38 h 3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7" h="38">
                <a:moveTo>
                  <a:pt x="23" y="1"/>
                </a:moveTo>
                <a:cubicBezTo>
                  <a:pt x="16" y="0"/>
                  <a:pt x="0" y="5"/>
                  <a:pt x="10" y="21"/>
                </a:cubicBezTo>
                <a:cubicBezTo>
                  <a:pt x="21" y="37"/>
                  <a:pt x="20" y="31"/>
                  <a:pt x="30" y="35"/>
                </a:cubicBezTo>
                <a:cubicBezTo>
                  <a:pt x="40" y="38"/>
                  <a:pt x="47" y="31"/>
                  <a:pt x="47" y="24"/>
                </a:cubicBezTo>
                <a:cubicBezTo>
                  <a:pt x="47" y="17"/>
                  <a:pt x="29" y="2"/>
                  <a:pt x="23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97" name="Freeform 430"/>
          <p:cNvSpPr>
            <a:spLocks/>
          </p:cNvSpPr>
          <p:nvPr userDrawn="1"/>
        </p:nvSpPr>
        <p:spPr bwMode="auto">
          <a:xfrm>
            <a:off x="4187435" y="3450162"/>
            <a:ext cx="187611" cy="174209"/>
          </a:xfrm>
          <a:custGeom>
            <a:avLst/>
            <a:gdLst>
              <a:gd name="T0" fmla="*/ 2147483646 w 200"/>
              <a:gd name="T1" fmla="*/ 2147483646 h 187"/>
              <a:gd name="T2" fmla="*/ 2147483646 w 200"/>
              <a:gd name="T3" fmla="*/ 2147483646 h 187"/>
              <a:gd name="T4" fmla="*/ 2147483646 w 200"/>
              <a:gd name="T5" fmla="*/ 2147483646 h 187"/>
              <a:gd name="T6" fmla="*/ 2147483646 w 200"/>
              <a:gd name="T7" fmla="*/ 2147483646 h 187"/>
              <a:gd name="T8" fmla="*/ 2147483646 w 200"/>
              <a:gd name="T9" fmla="*/ 2147483646 h 187"/>
              <a:gd name="T10" fmla="*/ 2147483646 w 200"/>
              <a:gd name="T11" fmla="*/ 2147483646 h 187"/>
              <a:gd name="T12" fmla="*/ 2147483646 w 200"/>
              <a:gd name="T13" fmla="*/ 2147483646 h 187"/>
              <a:gd name="T14" fmla="*/ 2147483646 w 200"/>
              <a:gd name="T15" fmla="*/ 2147483646 h 187"/>
              <a:gd name="T16" fmla="*/ 2147483646 w 200"/>
              <a:gd name="T17" fmla="*/ 2147483646 h 187"/>
              <a:gd name="T18" fmla="*/ 2147483646 w 200"/>
              <a:gd name="T19" fmla="*/ 2147483646 h 187"/>
              <a:gd name="T20" fmla="*/ 2147483646 w 200"/>
              <a:gd name="T21" fmla="*/ 2147483646 h 187"/>
              <a:gd name="T22" fmla="*/ 2147483646 w 200"/>
              <a:gd name="T23" fmla="*/ 2147483646 h 187"/>
              <a:gd name="T24" fmla="*/ 2147483646 w 200"/>
              <a:gd name="T25" fmla="*/ 2147483646 h 187"/>
              <a:gd name="T26" fmla="*/ 2147483646 w 200"/>
              <a:gd name="T27" fmla="*/ 2147483646 h 187"/>
              <a:gd name="T28" fmla="*/ 2147483646 w 200"/>
              <a:gd name="T29" fmla="*/ 2147483646 h 187"/>
              <a:gd name="T30" fmla="*/ 2147483646 w 200"/>
              <a:gd name="T31" fmla="*/ 2147483646 h 187"/>
              <a:gd name="T32" fmla="*/ 2147483646 w 200"/>
              <a:gd name="T33" fmla="*/ 2147483646 h 187"/>
              <a:gd name="T34" fmla="*/ 2147483646 w 200"/>
              <a:gd name="T35" fmla="*/ 2147483646 h 187"/>
              <a:gd name="T36" fmla="*/ 2147483646 w 200"/>
              <a:gd name="T37" fmla="*/ 2147483646 h 187"/>
              <a:gd name="T38" fmla="*/ 2147483646 w 200"/>
              <a:gd name="T39" fmla="*/ 2147483646 h 187"/>
              <a:gd name="T40" fmla="*/ 2147483646 w 200"/>
              <a:gd name="T41" fmla="*/ 2147483646 h 187"/>
              <a:gd name="T42" fmla="*/ 2147483646 w 200"/>
              <a:gd name="T43" fmla="*/ 2147483646 h 187"/>
              <a:gd name="T44" fmla="*/ 2147483646 w 200"/>
              <a:gd name="T45" fmla="*/ 2147483646 h 1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00"/>
              <a:gd name="T70" fmla="*/ 0 h 187"/>
              <a:gd name="T71" fmla="*/ 200 w 200"/>
              <a:gd name="T72" fmla="*/ 187 h 187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00" h="187">
                <a:moveTo>
                  <a:pt x="80" y="25"/>
                </a:moveTo>
                <a:cubicBezTo>
                  <a:pt x="76" y="11"/>
                  <a:pt x="64" y="0"/>
                  <a:pt x="56" y="14"/>
                </a:cubicBezTo>
                <a:cubicBezTo>
                  <a:pt x="47" y="27"/>
                  <a:pt x="42" y="18"/>
                  <a:pt x="45" y="43"/>
                </a:cubicBezTo>
                <a:cubicBezTo>
                  <a:pt x="47" y="67"/>
                  <a:pt x="45" y="73"/>
                  <a:pt x="36" y="86"/>
                </a:cubicBezTo>
                <a:cubicBezTo>
                  <a:pt x="28" y="100"/>
                  <a:pt x="46" y="100"/>
                  <a:pt x="34" y="106"/>
                </a:cubicBezTo>
                <a:cubicBezTo>
                  <a:pt x="22" y="112"/>
                  <a:pt x="0" y="102"/>
                  <a:pt x="12" y="114"/>
                </a:cubicBezTo>
                <a:cubicBezTo>
                  <a:pt x="24" y="126"/>
                  <a:pt x="41" y="121"/>
                  <a:pt x="32" y="131"/>
                </a:cubicBezTo>
                <a:cubicBezTo>
                  <a:pt x="22" y="141"/>
                  <a:pt x="5" y="135"/>
                  <a:pt x="15" y="146"/>
                </a:cubicBezTo>
                <a:cubicBezTo>
                  <a:pt x="24" y="156"/>
                  <a:pt x="50" y="147"/>
                  <a:pt x="59" y="148"/>
                </a:cubicBezTo>
                <a:cubicBezTo>
                  <a:pt x="69" y="149"/>
                  <a:pt x="80" y="140"/>
                  <a:pt x="92" y="149"/>
                </a:cubicBezTo>
                <a:cubicBezTo>
                  <a:pt x="104" y="159"/>
                  <a:pt x="110" y="143"/>
                  <a:pt x="121" y="149"/>
                </a:cubicBezTo>
                <a:cubicBezTo>
                  <a:pt x="132" y="155"/>
                  <a:pt x="99" y="171"/>
                  <a:pt x="132" y="166"/>
                </a:cubicBezTo>
                <a:cubicBezTo>
                  <a:pt x="165" y="161"/>
                  <a:pt x="162" y="131"/>
                  <a:pt x="171" y="159"/>
                </a:cubicBezTo>
                <a:cubicBezTo>
                  <a:pt x="179" y="187"/>
                  <a:pt x="183" y="183"/>
                  <a:pt x="191" y="176"/>
                </a:cubicBezTo>
                <a:cubicBezTo>
                  <a:pt x="200" y="169"/>
                  <a:pt x="200" y="125"/>
                  <a:pt x="190" y="126"/>
                </a:cubicBezTo>
                <a:cubicBezTo>
                  <a:pt x="180" y="127"/>
                  <a:pt x="184" y="103"/>
                  <a:pt x="173" y="117"/>
                </a:cubicBezTo>
                <a:cubicBezTo>
                  <a:pt x="162" y="130"/>
                  <a:pt x="154" y="117"/>
                  <a:pt x="157" y="108"/>
                </a:cubicBezTo>
                <a:cubicBezTo>
                  <a:pt x="161" y="100"/>
                  <a:pt x="170" y="79"/>
                  <a:pt x="153" y="87"/>
                </a:cubicBezTo>
                <a:cubicBezTo>
                  <a:pt x="136" y="96"/>
                  <a:pt x="159" y="73"/>
                  <a:pt x="127" y="79"/>
                </a:cubicBezTo>
                <a:cubicBezTo>
                  <a:pt x="96" y="85"/>
                  <a:pt x="82" y="84"/>
                  <a:pt x="81" y="73"/>
                </a:cubicBezTo>
                <a:cubicBezTo>
                  <a:pt x="80" y="62"/>
                  <a:pt x="76" y="50"/>
                  <a:pt x="81" y="44"/>
                </a:cubicBezTo>
                <a:cubicBezTo>
                  <a:pt x="86" y="38"/>
                  <a:pt x="87" y="26"/>
                  <a:pt x="87" y="26"/>
                </a:cubicBezTo>
                <a:lnTo>
                  <a:pt x="80" y="2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98" name="Freeform 431"/>
          <p:cNvSpPr>
            <a:spLocks noEditPoints="1"/>
          </p:cNvSpPr>
          <p:nvPr userDrawn="1"/>
        </p:nvSpPr>
        <p:spPr bwMode="auto">
          <a:xfrm>
            <a:off x="2495592" y="3411634"/>
            <a:ext cx="1534385" cy="1016781"/>
          </a:xfrm>
          <a:custGeom>
            <a:avLst/>
            <a:gdLst>
              <a:gd name="T0" fmla="*/ 2147483646 w 1644"/>
              <a:gd name="T1" fmla="*/ 2147483646 h 1089"/>
              <a:gd name="T2" fmla="*/ 2147483646 w 1644"/>
              <a:gd name="T3" fmla="*/ 2147483646 h 1089"/>
              <a:gd name="T4" fmla="*/ 2147483646 w 1644"/>
              <a:gd name="T5" fmla="*/ 2147483646 h 1089"/>
              <a:gd name="T6" fmla="*/ 2147483646 w 1644"/>
              <a:gd name="T7" fmla="*/ 2147483646 h 1089"/>
              <a:gd name="T8" fmla="*/ 2147483646 w 1644"/>
              <a:gd name="T9" fmla="*/ 2147483646 h 1089"/>
              <a:gd name="T10" fmla="*/ 2147483646 w 1644"/>
              <a:gd name="T11" fmla="*/ 2147483646 h 1089"/>
              <a:gd name="T12" fmla="*/ 2147483646 w 1644"/>
              <a:gd name="T13" fmla="*/ 2147483646 h 1089"/>
              <a:gd name="T14" fmla="*/ 2147483646 w 1644"/>
              <a:gd name="T15" fmla="*/ 2147483646 h 1089"/>
              <a:gd name="T16" fmla="*/ 2147483646 w 1644"/>
              <a:gd name="T17" fmla="*/ 2147483646 h 1089"/>
              <a:gd name="T18" fmla="*/ 2147483646 w 1644"/>
              <a:gd name="T19" fmla="*/ 2147483646 h 1089"/>
              <a:gd name="T20" fmla="*/ 2147483646 w 1644"/>
              <a:gd name="T21" fmla="*/ 2147483646 h 1089"/>
              <a:gd name="T22" fmla="*/ 2147483646 w 1644"/>
              <a:gd name="T23" fmla="*/ 2147483646 h 1089"/>
              <a:gd name="T24" fmla="*/ 2147483646 w 1644"/>
              <a:gd name="T25" fmla="*/ 2147483646 h 1089"/>
              <a:gd name="T26" fmla="*/ 2147483646 w 1644"/>
              <a:gd name="T27" fmla="*/ 2147483646 h 1089"/>
              <a:gd name="T28" fmla="*/ 2147483646 w 1644"/>
              <a:gd name="T29" fmla="*/ 2147483646 h 1089"/>
              <a:gd name="T30" fmla="*/ 2147483646 w 1644"/>
              <a:gd name="T31" fmla="*/ 2147483646 h 1089"/>
              <a:gd name="T32" fmla="*/ 2147483646 w 1644"/>
              <a:gd name="T33" fmla="*/ 2147483646 h 1089"/>
              <a:gd name="T34" fmla="*/ 2147483646 w 1644"/>
              <a:gd name="T35" fmla="*/ 2147483646 h 1089"/>
              <a:gd name="T36" fmla="*/ 2147483646 w 1644"/>
              <a:gd name="T37" fmla="*/ 2147483646 h 1089"/>
              <a:gd name="T38" fmla="*/ 2147483646 w 1644"/>
              <a:gd name="T39" fmla="*/ 2147483646 h 1089"/>
              <a:gd name="T40" fmla="*/ 2147483646 w 1644"/>
              <a:gd name="T41" fmla="*/ 2147483646 h 1089"/>
              <a:gd name="T42" fmla="*/ 2147483646 w 1644"/>
              <a:gd name="T43" fmla="*/ 2147483646 h 1089"/>
              <a:gd name="T44" fmla="*/ 2147483646 w 1644"/>
              <a:gd name="T45" fmla="*/ 2147483646 h 1089"/>
              <a:gd name="T46" fmla="*/ 2147483646 w 1644"/>
              <a:gd name="T47" fmla="*/ 2147483646 h 1089"/>
              <a:gd name="T48" fmla="*/ 2147483646 w 1644"/>
              <a:gd name="T49" fmla="*/ 2147483646 h 1089"/>
              <a:gd name="T50" fmla="*/ 2147483646 w 1644"/>
              <a:gd name="T51" fmla="*/ 2147483646 h 1089"/>
              <a:gd name="T52" fmla="*/ 2147483646 w 1644"/>
              <a:gd name="T53" fmla="*/ 2147483646 h 1089"/>
              <a:gd name="T54" fmla="*/ 2147483646 w 1644"/>
              <a:gd name="T55" fmla="*/ 2147483646 h 1089"/>
              <a:gd name="T56" fmla="*/ 2147483646 w 1644"/>
              <a:gd name="T57" fmla="*/ 2147483646 h 1089"/>
              <a:gd name="T58" fmla="*/ 2147483646 w 1644"/>
              <a:gd name="T59" fmla="*/ 2147483646 h 1089"/>
              <a:gd name="T60" fmla="*/ 2147483646 w 1644"/>
              <a:gd name="T61" fmla="*/ 2147483646 h 1089"/>
              <a:gd name="T62" fmla="*/ 2147483646 w 1644"/>
              <a:gd name="T63" fmla="*/ 2147483646 h 1089"/>
              <a:gd name="T64" fmla="*/ 2147483646 w 1644"/>
              <a:gd name="T65" fmla="*/ 2147483646 h 1089"/>
              <a:gd name="T66" fmla="*/ 2147483646 w 1644"/>
              <a:gd name="T67" fmla="*/ 2147483646 h 1089"/>
              <a:gd name="T68" fmla="*/ 2147483646 w 1644"/>
              <a:gd name="T69" fmla="*/ 2147483646 h 1089"/>
              <a:gd name="T70" fmla="*/ 2147483646 w 1644"/>
              <a:gd name="T71" fmla="*/ 2147483646 h 1089"/>
              <a:gd name="T72" fmla="*/ 2147483646 w 1644"/>
              <a:gd name="T73" fmla="*/ 2147483646 h 1089"/>
              <a:gd name="T74" fmla="*/ 2147483646 w 1644"/>
              <a:gd name="T75" fmla="*/ 2147483646 h 1089"/>
              <a:gd name="T76" fmla="*/ 2147483646 w 1644"/>
              <a:gd name="T77" fmla="*/ 2147483646 h 1089"/>
              <a:gd name="T78" fmla="*/ 2147483646 w 1644"/>
              <a:gd name="T79" fmla="*/ 2147483646 h 1089"/>
              <a:gd name="T80" fmla="*/ 2147483646 w 1644"/>
              <a:gd name="T81" fmla="*/ 2147483646 h 1089"/>
              <a:gd name="T82" fmla="*/ 2147483646 w 1644"/>
              <a:gd name="T83" fmla="*/ 2147483646 h 1089"/>
              <a:gd name="T84" fmla="*/ 2147483646 w 1644"/>
              <a:gd name="T85" fmla="*/ 2147483646 h 1089"/>
              <a:gd name="T86" fmla="*/ 2147483646 w 1644"/>
              <a:gd name="T87" fmla="*/ 2147483646 h 1089"/>
              <a:gd name="T88" fmla="*/ 2147483646 w 1644"/>
              <a:gd name="T89" fmla="*/ 2147483646 h 1089"/>
              <a:gd name="T90" fmla="*/ 2147483646 w 1644"/>
              <a:gd name="T91" fmla="*/ 2147483646 h 1089"/>
              <a:gd name="T92" fmla="*/ 2147483646 w 1644"/>
              <a:gd name="T93" fmla="*/ 2147483646 h 1089"/>
              <a:gd name="T94" fmla="*/ 2147483646 w 1644"/>
              <a:gd name="T95" fmla="*/ 2147483646 h 1089"/>
              <a:gd name="T96" fmla="*/ 2147483646 w 1644"/>
              <a:gd name="T97" fmla="*/ 2147483646 h 1089"/>
              <a:gd name="T98" fmla="*/ 2147483646 w 1644"/>
              <a:gd name="T99" fmla="*/ 2147483646 h 1089"/>
              <a:gd name="T100" fmla="*/ 2147483646 w 1644"/>
              <a:gd name="T101" fmla="*/ 2147483646 h 1089"/>
              <a:gd name="T102" fmla="*/ 2147483646 w 1644"/>
              <a:gd name="T103" fmla="*/ 2147483646 h 1089"/>
              <a:gd name="T104" fmla="*/ 2147483646 w 1644"/>
              <a:gd name="T105" fmla="*/ 2147483646 h 1089"/>
              <a:gd name="T106" fmla="*/ 2147483646 w 1644"/>
              <a:gd name="T107" fmla="*/ 2147483646 h 1089"/>
              <a:gd name="T108" fmla="*/ 2147483646 w 1644"/>
              <a:gd name="T109" fmla="*/ 2147483646 h 108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44"/>
              <a:gd name="T166" fmla="*/ 0 h 1089"/>
              <a:gd name="T167" fmla="*/ 1644 w 1644"/>
              <a:gd name="T168" fmla="*/ 1089 h 108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44" h="1089">
                <a:moveTo>
                  <a:pt x="1642" y="328"/>
                </a:moveTo>
                <a:cubicBezTo>
                  <a:pt x="1636" y="320"/>
                  <a:pt x="1622" y="299"/>
                  <a:pt x="1615" y="284"/>
                </a:cubicBezTo>
                <a:cubicBezTo>
                  <a:pt x="1608" y="268"/>
                  <a:pt x="1618" y="253"/>
                  <a:pt x="1608" y="244"/>
                </a:cubicBezTo>
                <a:cubicBezTo>
                  <a:pt x="1598" y="236"/>
                  <a:pt x="1593" y="249"/>
                  <a:pt x="1583" y="239"/>
                </a:cubicBezTo>
                <a:cubicBezTo>
                  <a:pt x="1572" y="229"/>
                  <a:pt x="1565" y="239"/>
                  <a:pt x="1560" y="251"/>
                </a:cubicBezTo>
                <a:cubicBezTo>
                  <a:pt x="1555" y="263"/>
                  <a:pt x="1547" y="278"/>
                  <a:pt x="1542" y="302"/>
                </a:cubicBezTo>
                <a:cubicBezTo>
                  <a:pt x="1536" y="326"/>
                  <a:pt x="1514" y="326"/>
                  <a:pt x="1500" y="332"/>
                </a:cubicBezTo>
                <a:cubicBezTo>
                  <a:pt x="1487" y="337"/>
                  <a:pt x="1463" y="338"/>
                  <a:pt x="1439" y="335"/>
                </a:cubicBezTo>
                <a:cubicBezTo>
                  <a:pt x="1415" y="331"/>
                  <a:pt x="1413" y="337"/>
                  <a:pt x="1406" y="343"/>
                </a:cubicBezTo>
                <a:cubicBezTo>
                  <a:pt x="1400" y="350"/>
                  <a:pt x="1386" y="359"/>
                  <a:pt x="1386" y="359"/>
                </a:cubicBezTo>
                <a:cubicBezTo>
                  <a:pt x="1384" y="360"/>
                  <a:pt x="1384" y="360"/>
                  <a:pt x="1384" y="360"/>
                </a:cubicBezTo>
                <a:cubicBezTo>
                  <a:pt x="1386" y="363"/>
                  <a:pt x="1387" y="368"/>
                  <a:pt x="1387" y="368"/>
                </a:cubicBezTo>
                <a:cubicBezTo>
                  <a:pt x="1387" y="368"/>
                  <a:pt x="1385" y="387"/>
                  <a:pt x="1382" y="389"/>
                </a:cubicBezTo>
                <a:cubicBezTo>
                  <a:pt x="1378" y="391"/>
                  <a:pt x="1368" y="400"/>
                  <a:pt x="1361" y="401"/>
                </a:cubicBezTo>
                <a:cubicBezTo>
                  <a:pt x="1355" y="402"/>
                  <a:pt x="1340" y="404"/>
                  <a:pt x="1324" y="394"/>
                </a:cubicBezTo>
                <a:cubicBezTo>
                  <a:pt x="1308" y="383"/>
                  <a:pt x="1314" y="399"/>
                  <a:pt x="1305" y="402"/>
                </a:cubicBezTo>
                <a:cubicBezTo>
                  <a:pt x="1295" y="405"/>
                  <a:pt x="1289" y="391"/>
                  <a:pt x="1291" y="383"/>
                </a:cubicBezTo>
                <a:cubicBezTo>
                  <a:pt x="1291" y="380"/>
                  <a:pt x="1291" y="380"/>
                  <a:pt x="1291" y="380"/>
                </a:cubicBezTo>
                <a:cubicBezTo>
                  <a:pt x="1283" y="370"/>
                  <a:pt x="1270" y="355"/>
                  <a:pt x="1257" y="347"/>
                </a:cubicBezTo>
                <a:cubicBezTo>
                  <a:pt x="1257" y="347"/>
                  <a:pt x="1254" y="342"/>
                  <a:pt x="1250" y="336"/>
                </a:cubicBezTo>
                <a:cubicBezTo>
                  <a:pt x="1242" y="323"/>
                  <a:pt x="1235" y="320"/>
                  <a:pt x="1231" y="322"/>
                </a:cubicBezTo>
                <a:cubicBezTo>
                  <a:pt x="1227" y="324"/>
                  <a:pt x="1235" y="336"/>
                  <a:pt x="1233" y="339"/>
                </a:cubicBezTo>
                <a:cubicBezTo>
                  <a:pt x="1231" y="342"/>
                  <a:pt x="1237" y="369"/>
                  <a:pt x="1227" y="387"/>
                </a:cubicBezTo>
                <a:cubicBezTo>
                  <a:pt x="1217" y="405"/>
                  <a:pt x="1218" y="402"/>
                  <a:pt x="1208" y="390"/>
                </a:cubicBezTo>
                <a:cubicBezTo>
                  <a:pt x="1197" y="379"/>
                  <a:pt x="1203" y="379"/>
                  <a:pt x="1194" y="368"/>
                </a:cubicBezTo>
                <a:cubicBezTo>
                  <a:pt x="1184" y="357"/>
                  <a:pt x="1177" y="378"/>
                  <a:pt x="1167" y="378"/>
                </a:cubicBezTo>
                <a:cubicBezTo>
                  <a:pt x="1158" y="378"/>
                  <a:pt x="1176" y="358"/>
                  <a:pt x="1181" y="348"/>
                </a:cubicBezTo>
                <a:cubicBezTo>
                  <a:pt x="1186" y="337"/>
                  <a:pt x="1185" y="336"/>
                  <a:pt x="1181" y="327"/>
                </a:cubicBezTo>
                <a:cubicBezTo>
                  <a:pt x="1177" y="319"/>
                  <a:pt x="1173" y="316"/>
                  <a:pt x="1149" y="302"/>
                </a:cubicBezTo>
                <a:cubicBezTo>
                  <a:pt x="1143" y="298"/>
                  <a:pt x="1139" y="297"/>
                  <a:pt x="1136" y="296"/>
                </a:cubicBezTo>
                <a:cubicBezTo>
                  <a:pt x="1139" y="296"/>
                  <a:pt x="1141" y="296"/>
                  <a:pt x="1145" y="296"/>
                </a:cubicBezTo>
                <a:cubicBezTo>
                  <a:pt x="1154" y="296"/>
                  <a:pt x="1167" y="294"/>
                  <a:pt x="1166" y="286"/>
                </a:cubicBezTo>
                <a:cubicBezTo>
                  <a:pt x="1165" y="277"/>
                  <a:pt x="1158" y="278"/>
                  <a:pt x="1143" y="264"/>
                </a:cubicBezTo>
                <a:cubicBezTo>
                  <a:pt x="1128" y="249"/>
                  <a:pt x="1138" y="268"/>
                  <a:pt x="1115" y="258"/>
                </a:cubicBezTo>
                <a:cubicBezTo>
                  <a:pt x="1092" y="249"/>
                  <a:pt x="1104" y="261"/>
                  <a:pt x="1087" y="253"/>
                </a:cubicBezTo>
                <a:cubicBezTo>
                  <a:pt x="1070" y="244"/>
                  <a:pt x="1069" y="257"/>
                  <a:pt x="1065" y="245"/>
                </a:cubicBezTo>
                <a:cubicBezTo>
                  <a:pt x="1061" y="234"/>
                  <a:pt x="1061" y="237"/>
                  <a:pt x="1048" y="237"/>
                </a:cubicBezTo>
                <a:cubicBezTo>
                  <a:pt x="1035" y="237"/>
                  <a:pt x="1035" y="248"/>
                  <a:pt x="1012" y="250"/>
                </a:cubicBezTo>
                <a:cubicBezTo>
                  <a:pt x="988" y="252"/>
                  <a:pt x="991" y="251"/>
                  <a:pt x="964" y="252"/>
                </a:cubicBezTo>
                <a:cubicBezTo>
                  <a:pt x="936" y="253"/>
                  <a:pt x="961" y="244"/>
                  <a:pt x="965" y="239"/>
                </a:cubicBezTo>
                <a:cubicBezTo>
                  <a:pt x="968" y="234"/>
                  <a:pt x="986" y="228"/>
                  <a:pt x="1002" y="222"/>
                </a:cubicBezTo>
                <a:cubicBezTo>
                  <a:pt x="1014" y="217"/>
                  <a:pt x="1024" y="216"/>
                  <a:pt x="1032" y="208"/>
                </a:cubicBezTo>
                <a:cubicBezTo>
                  <a:pt x="1027" y="208"/>
                  <a:pt x="1027" y="208"/>
                  <a:pt x="1027" y="208"/>
                </a:cubicBezTo>
                <a:cubicBezTo>
                  <a:pt x="1027" y="208"/>
                  <a:pt x="1011" y="207"/>
                  <a:pt x="1003" y="207"/>
                </a:cubicBezTo>
                <a:cubicBezTo>
                  <a:pt x="994" y="207"/>
                  <a:pt x="993" y="208"/>
                  <a:pt x="989" y="200"/>
                </a:cubicBezTo>
                <a:cubicBezTo>
                  <a:pt x="986" y="191"/>
                  <a:pt x="976" y="196"/>
                  <a:pt x="970" y="196"/>
                </a:cubicBezTo>
                <a:cubicBezTo>
                  <a:pt x="965" y="196"/>
                  <a:pt x="958" y="198"/>
                  <a:pt x="953" y="193"/>
                </a:cubicBezTo>
                <a:cubicBezTo>
                  <a:pt x="948" y="188"/>
                  <a:pt x="941" y="184"/>
                  <a:pt x="933" y="184"/>
                </a:cubicBezTo>
                <a:cubicBezTo>
                  <a:pt x="924" y="184"/>
                  <a:pt x="909" y="172"/>
                  <a:pt x="897" y="169"/>
                </a:cubicBezTo>
                <a:cubicBezTo>
                  <a:pt x="885" y="166"/>
                  <a:pt x="899" y="152"/>
                  <a:pt x="894" y="149"/>
                </a:cubicBezTo>
                <a:cubicBezTo>
                  <a:pt x="888" y="145"/>
                  <a:pt x="882" y="154"/>
                  <a:pt x="882" y="161"/>
                </a:cubicBezTo>
                <a:cubicBezTo>
                  <a:pt x="882" y="167"/>
                  <a:pt x="856" y="161"/>
                  <a:pt x="856" y="161"/>
                </a:cubicBezTo>
                <a:cubicBezTo>
                  <a:pt x="675" y="140"/>
                  <a:pt x="251" y="10"/>
                  <a:pt x="222" y="5"/>
                </a:cubicBezTo>
                <a:cubicBezTo>
                  <a:pt x="193" y="0"/>
                  <a:pt x="193" y="27"/>
                  <a:pt x="181" y="34"/>
                </a:cubicBezTo>
                <a:cubicBezTo>
                  <a:pt x="169" y="41"/>
                  <a:pt x="155" y="15"/>
                  <a:pt x="155" y="15"/>
                </a:cubicBezTo>
                <a:cubicBezTo>
                  <a:pt x="154" y="24"/>
                  <a:pt x="149" y="31"/>
                  <a:pt x="144" y="37"/>
                </a:cubicBezTo>
                <a:cubicBezTo>
                  <a:pt x="140" y="43"/>
                  <a:pt x="144" y="49"/>
                  <a:pt x="141" y="55"/>
                </a:cubicBezTo>
                <a:cubicBezTo>
                  <a:pt x="138" y="62"/>
                  <a:pt x="132" y="71"/>
                  <a:pt x="132" y="79"/>
                </a:cubicBezTo>
                <a:cubicBezTo>
                  <a:pt x="132" y="86"/>
                  <a:pt x="143" y="91"/>
                  <a:pt x="132" y="99"/>
                </a:cubicBezTo>
                <a:cubicBezTo>
                  <a:pt x="121" y="107"/>
                  <a:pt x="110" y="96"/>
                  <a:pt x="104" y="111"/>
                </a:cubicBezTo>
                <a:cubicBezTo>
                  <a:pt x="98" y="127"/>
                  <a:pt x="62" y="173"/>
                  <a:pt x="61" y="179"/>
                </a:cubicBezTo>
                <a:cubicBezTo>
                  <a:pt x="59" y="186"/>
                  <a:pt x="56" y="200"/>
                  <a:pt x="45" y="207"/>
                </a:cubicBezTo>
                <a:cubicBezTo>
                  <a:pt x="34" y="215"/>
                  <a:pt x="25" y="217"/>
                  <a:pt x="30" y="227"/>
                </a:cubicBezTo>
                <a:cubicBezTo>
                  <a:pt x="34" y="238"/>
                  <a:pt x="45" y="245"/>
                  <a:pt x="39" y="252"/>
                </a:cubicBezTo>
                <a:cubicBezTo>
                  <a:pt x="33" y="260"/>
                  <a:pt x="31" y="258"/>
                  <a:pt x="28" y="268"/>
                </a:cubicBezTo>
                <a:cubicBezTo>
                  <a:pt x="25" y="277"/>
                  <a:pt x="2" y="307"/>
                  <a:pt x="5" y="314"/>
                </a:cubicBezTo>
                <a:cubicBezTo>
                  <a:pt x="8" y="322"/>
                  <a:pt x="17" y="336"/>
                  <a:pt x="11" y="344"/>
                </a:cubicBezTo>
                <a:cubicBezTo>
                  <a:pt x="5" y="351"/>
                  <a:pt x="0" y="348"/>
                  <a:pt x="3" y="367"/>
                </a:cubicBezTo>
                <a:cubicBezTo>
                  <a:pt x="6" y="386"/>
                  <a:pt x="20" y="395"/>
                  <a:pt x="23" y="398"/>
                </a:cubicBezTo>
                <a:cubicBezTo>
                  <a:pt x="27" y="401"/>
                  <a:pt x="37" y="396"/>
                  <a:pt x="37" y="404"/>
                </a:cubicBezTo>
                <a:cubicBezTo>
                  <a:pt x="37" y="412"/>
                  <a:pt x="23" y="409"/>
                  <a:pt x="16" y="423"/>
                </a:cubicBezTo>
                <a:cubicBezTo>
                  <a:pt x="8" y="437"/>
                  <a:pt x="11" y="448"/>
                  <a:pt x="14" y="452"/>
                </a:cubicBezTo>
                <a:cubicBezTo>
                  <a:pt x="17" y="457"/>
                  <a:pt x="20" y="472"/>
                  <a:pt x="23" y="479"/>
                </a:cubicBezTo>
                <a:cubicBezTo>
                  <a:pt x="27" y="485"/>
                  <a:pt x="20" y="492"/>
                  <a:pt x="19" y="503"/>
                </a:cubicBezTo>
                <a:cubicBezTo>
                  <a:pt x="17" y="514"/>
                  <a:pt x="19" y="520"/>
                  <a:pt x="25" y="534"/>
                </a:cubicBezTo>
                <a:cubicBezTo>
                  <a:pt x="31" y="548"/>
                  <a:pt x="39" y="558"/>
                  <a:pt x="44" y="564"/>
                </a:cubicBezTo>
                <a:cubicBezTo>
                  <a:pt x="48" y="570"/>
                  <a:pt x="56" y="570"/>
                  <a:pt x="54" y="581"/>
                </a:cubicBezTo>
                <a:cubicBezTo>
                  <a:pt x="53" y="592"/>
                  <a:pt x="64" y="593"/>
                  <a:pt x="70" y="601"/>
                </a:cubicBezTo>
                <a:cubicBezTo>
                  <a:pt x="76" y="609"/>
                  <a:pt x="82" y="609"/>
                  <a:pt x="82" y="621"/>
                </a:cubicBezTo>
                <a:cubicBezTo>
                  <a:pt x="82" y="634"/>
                  <a:pt x="79" y="644"/>
                  <a:pt x="78" y="655"/>
                </a:cubicBezTo>
                <a:cubicBezTo>
                  <a:pt x="78" y="655"/>
                  <a:pt x="88" y="658"/>
                  <a:pt x="107" y="658"/>
                </a:cubicBezTo>
                <a:cubicBezTo>
                  <a:pt x="126" y="658"/>
                  <a:pt x="152" y="650"/>
                  <a:pt x="162" y="663"/>
                </a:cubicBezTo>
                <a:cubicBezTo>
                  <a:pt x="172" y="677"/>
                  <a:pt x="174" y="687"/>
                  <a:pt x="193" y="697"/>
                </a:cubicBezTo>
                <a:cubicBezTo>
                  <a:pt x="211" y="708"/>
                  <a:pt x="237" y="749"/>
                  <a:pt x="288" y="749"/>
                </a:cubicBezTo>
                <a:cubicBezTo>
                  <a:pt x="340" y="749"/>
                  <a:pt x="350" y="764"/>
                  <a:pt x="355" y="750"/>
                </a:cubicBezTo>
                <a:cubicBezTo>
                  <a:pt x="360" y="737"/>
                  <a:pt x="367" y="745"/>
                  <a:pt x="391" y="750"/>
                </a:cubicBezTo>
                <a:cubicBezTo>
                  <a:pt x="415" y="756"/>
                  <a:pt x="415" y="764"/>
                  <a:pt x="432" y="781"/>
                </a:cubicBezTo>
                <a:cubicBezTo>
                  <a:pt x="449" y="798"/>
                  <a:pt x="442" y="802"/>
                  <a:pt x="451" y="827"/>
                </a:cubicBezTo>
                <a:cubicBezTo>
                  <a:pt x="459" y="853"/>
                  <a:pt x="458" y="858"/>
                  <a:pt x="475" y="868"/>
                </a:cubicBezTo>
                <a:cubicBezTo>
                  <a:pt x="492" y="879"/>
                  <a:pt x="507" y="865"/>
                  <a:pt x="523" y="853"/>
                </a:cubicBezTo>
                <a:cubicBezTo>
                  <a:pt x="538" y="841"/>
                  <a:pt x="528" y="831"/>
                  <a:pt x="555" y="853"/>
                </a:cubicBezTo>
                <a:cubicBezTo>
                  <a:pt x="582" y="875"/>
                  <a:pt x="598" y="877"/>
                  <a:pt x="594" y="908"/>
                </a:cubicBezTo>
                <a:cubicBezTo>
                  <a:pt x="591" y="938"/>
                  <a:pt x="594" y="954"/>
                  <a:pt x="610" y="978"/>
                </a:cubicBezTo>
                <a:cubicBezTo>
                  <a:pt x="625" y="1002"/>
                  <a:pt x="625" y="1009"/>
                  <a:pt x="640" y="1014"/>
                </a:cubicBezTo>
                <a:cubicBezTo>
                  <a:pt x="656" y="1019"/>
                  <a:pt x="673" y="1027"/>
                  <a:pt x="673" y="1027"/>
                </a:cubicBezTo>
                <a:cubicBezTo>
                  <a:pt x="674" y="1027"/>
                  <a:pt x="674" y="1027"/>
                  <a:pt x="674" y="1027"/>
                </a:cubicBezTo>
                <a:cubicBezTo>
                  <a:pt x="674" y="1023"/>
                  <a:pt x="674" y="1018"/>
                  <a:pt x="673" y="1009"/>
                </a:cubicBezTo>
                <a:cubicBezTo>
                  <a:pt x="669" y="985"/>
                  <a:pt x="665" y="988"/>
                  <a:pt x="669" y="969"/>
                </a:cubicBezTo>
                <a:cubicBezTo>
                  <a:pt x="673" y="950"/>
                  <a:pt x="686" y="933"/>
                  <a:pt x="697" y="929"/>
                </a:cubicBezTo>
                <a:cubicBezTo>
                  <a:pt x="709" y="925"/>
                  <a:pt x="706" y="912"/>
                  <a:pt x="722" y="916"/>
                </a:cubicBezTo>
                <a:cubicBezTo>
                  <a:pt x="738" y="921"/>
                  <a:pt x="722" y="932"/>
                  <a:pt x="760" y="911"/>
                </a:cubicBezTo>
                <a:cubicBezTo>
                  <a:pt x="798" y="889"/>
                  <a:pt x="813" y="889"/>
                  <a:pt x="813" y="889"/>
                </a:cubicBezTo>
                <a:cubicBezTo>
                  <a:pt x="813" y="889"/>
                  <a:pt x="830" y="892"/>
                  <a:pt x="847" y="894"/>
                </a:cubicBezTo>
                <a:cubicBezTo>
                  <a:pt x="863" y="896"/>
                  <a:pt x="869" y="894"/>
                  <a:pt x="872" y="894"/>
                </a:cubicBezTo>
                <a:cubicBezTo>
                  <a:pt x="876" y="894"/>
                  <a:pt x="876" y="880"/>
                  <a:pt x="884" y="894"/>
                </a:cubicBezTo>
                <a:cubicBezTo>
                  <a:pt x="891" y="908"/>
                  <a:pt x="893" y="898"/>
                  <a:pt x="904" y="908"/>
                </a:cubicBezTo>
                <a:cubicBezTo>
                  <a:pt x="914" y="918"/>
                  <a:pt x="913" y="898"/>
                  <a:pt x="927" y="911"/>
                </a:cubicBezTo>
                <a:cubicBezTo>
                  <a:pt x="941" y="923"/>
                  <a:pt x="924" y="929"/>
                  <a:pt x="945" y="924"/>
                </a:cubicBezTo>
                <a:cubicBezTo>
                  <a:pt x="967" y="919"/>
                  <a:pt x="968" y="914"/>
                  <a:pt x="964" y="914"/>
                </a:cubicBezTo>
                <a:cubicBezTo>
                  <a:pt x="961" y="913"/>
                  <a:pt x="947" y="903"/>
                  <a:pt x="947" y="903"/>
                </a:cubicBezTo>
                <a:cubicBezTo>
                  <a:pt x="947" y="903"/>
                  <a:pt x="940" y="880"/>
                  <a:pt x="957" y="882"/>
                </a:cubicBezTo>
                <a:cubicBezTo>
                  <a:pt x="974" y="883"/>
                  <a:pt x="951" y="879"/>
                  <a:pt x="984" y="877"/>
                </a:cubicBezTo>
                <a:cubicBezTo>
                  <a:pt x="1018" y="875"/>
                  <a:pt x="996" y="892"/>
                  <a:pt x="1011" y="881"/>
                </a:cubicBezTo>
                <a:cubicBezTo>
                  <a:pt x="1027" y="870"/>
                  <a:pt x="1027" y="864"/>
                  <a:pt x="1038" y="871"/>
                </a:cubicBezTo>
                <a:cubicBezTo>
                  <a:pt x="1050" y="878"/>
                  <a:pt x="1047" y="870"/>
                  <a:pt x="1060" y="880"/>
                </a:cubicBezTo>
                <a:cubicBezTo>
                  <a:pt x="1072" y="889"/>
                  <a:pt x="1089" y="894"/>
                  <a:pt x="1092" y="902"/>
                </a:cubicBezTo>
                <a:cubicBezTo>
                  <a:pt x="1094" y="910"/>
                  <a:pt x="1103" y="916"/>
                  <a:pt x="1103" y="916"/>
                </a:cubicBezTo>
                <a:cubicBezTo>
                  <a:pt x="1103" y="916"/>
                  <a:pt x="1109" y="896"/>
                  <a:pt x="1127" y="898"/>
                </a:cubicBezTo>
                <a:cubicBezTo>
                  <a:pt x="1145" y="900"/>
                  <a:pt x="1139" y="896"/>
                  <a:pt x="1149" y="910"/>
                </a:cubicBezTo>
                <a:cubicBezTo>
                  <a:pt x="1159" y="924"/>
                  <a:pt x="1165" y="932"/>
                  <a:pt x="1171" y="934"/>
                </a:cubicBezTo>
                <a:cubicBezTo>
                  <a:pt x="1176" y="935"/>
                  <a:pt x="1178" y="925"/>
                  <a:pt x="1178" y="939"/>
                </a:cubicBezTo>
                <a:cubicBezTo>
                  <a:pt x="1178" y="954"/>
                  <a:pt x="1163" y="946"/>
                  <a:pt x="1167" y="967"/>
                </a:cubicBezTo>
                <a:cubicBezTo>
                  <a:pt x="1171" y="988"/>
                  <a:pt x="1175" y="988"/>
                  <a:pt x="1180" y="990"/>
                </a:cubicBezTo>
                <a:cubicBezTo>
                  <a:pt x="1184" y="992"/>
                  <a:pt x="1176" y="986"/>
                  <a:pt x="1179" y="1003"/>
                </a:cubicBezTo>
                <a:cubicBezTo>
                  <a:pt x="1182" y="1019"/>
                  <a:pt x="1187" y="1016"/>
                  <a:pt x="1194" y="1024"/>
                </a:cubicBezTo>
                <a:cubicBezTo>
                  <a:pt x="1201" y="1033"/>
                  <a:pt x="1207" y="1038"/>
                  <a:pt x="1207" y="1038"/>
                </a:cubicBezTo>
                <a:cubicBezTo>
                  <a:pt x="1207" y="1038"/>
                  <a:pt x="1211" y="1060"/>
                  <a:pt x="1213" y="1066"/>
                </a:cubicBezTo>
                <a:cubicBezTo>
                  <a:pt x="1214" y="1072"/>
                  <a:pt x="1214" y="1072"/>
                  <a:pt x="1227" y="1078"/>
                </a:cubicBezTo>
                <a:cubicBezTo>
                  <a:pt x="1239" y="1085"/>
                  <a:pt x="1241" y="1089"/>
                  <a:pt x="1247" y="1081"/>
                </a:cubicBezTo>
                <a:cubicBezTo>
                  <a:pt x="1254" y="1073"/>
                  <a:pt x="1256" y="1067"/>
                  <a:pt x="1258" y="1062"/>
                </a:cubicBezTo>
                <a:cubicBezTo>
                  <a:pt x="1259" y="1057"/>
                  <a:pt x="1265" y="1026"/>
                  <a:pt x="1265" y="1026"/>
                </a:cubicBezTo>
                <a:cubicBezTo>
                  <a:pt x="1265" y="1026"/>
                  <a:pt x="1260" y="1001"/>
                  <a:pt x="1255" y="997"/>
                </a:cubicBezTo>
                <a:cubicBezTo>
                  <a:pt x="1250" y="993"/>
                  <a:pt x="1242" y="987"/>
                  <a:pt x="1241" y="972"/>
                </a:cubicBezTo>
                <a:cubicBezTo>
                  <a:pt x="1240" y="958"/>
                  <a:pt x="1243" y="957"/>
                  <a:pt x="1233" y="935"/>
                </a:cubicBezTo>
                <a:cubicBezTo>
                  <a:pt x="1224" y="913"/>
                  <a:pt x="1221" y="889"/>
                  <a:pt x="1219" y="868"/>
                </a:cubicBezTo>
                <a:cubicBezTo>
                  <a:pt x="1217" y="847"/>
                  <a:pt x="1226" y="835"/>
                  <a:pt x="1226" y="835"/>
                </a:cubicBezTo>
                <a:cubicBezTo>
                  <a:pt x="1226" y="835"/>
                  <a:pt x="1230" y="829"/>
                  <a:pt x="1241" y="815"/>
                </a:cubicBezTo>
                <a:cubicBezTo>
                  <a:pt x="1252" y="802"/>
                  <a:pt x="1272" y="802"/>
                  <a:pt x="1298" y="769"/>
                </a:cubicBezTo>
                <a:cubicBezTo>
                  <a:pt x="1324" y="737"/>
                  <a:pt x="1321" y="755"/>
                  <a:pt x="1334" y="746"/>
                </a:cubicBezTo>
                <a:cubicBezTo>
                  <a:pt x="1348" y="737"/>
                  <a:pt x="1348" y="718"/>
                  <a:pt x="1363" y="717"/>
                </a:cubicBezTo>
                <a:cubicBezTo>
                  <a:pt x="1379" y="717"/>
                  <a:pt x="1384" y="720"/>
                  <a:pt x="1388" y="712"/>
                </a:cubicBezTo>
                <a:cubicBezTo>
                  <a:pt x="1393" y="705"/>
                  <a:pt x="1379" y="701"/>
                  <a:pt x="1379" y="694"/>
                </a:cubicBezTo>
                <a:cubicBezTo>
                  <a:pt x="1379" y="688"/>
                  <a:pt x="1399" y="688"/>
                  <a:pt x="1397" y="686"/>
                </a:cubicBezTo>
                <a:cubicBezTo>
                  <a:pt x="1395" y="685"/>
                  <a:pt x="1387" y="679"/>
                  <a:pt x="1385" y="677"/>
                </a:cubicBezTo>
                <a:cubicBezTo>
                  <a:pt x="1383" y="675"/>
                  <a:pt x="1380" y="671"/>
                  <a:pt x="1380" y="671"/>
                </a:cubicBezTo>
                <a:cubicBezTo>
                  <a:pt x="1370" y="670"/>
                  <a:pt x="1370" y="670"/>
                  <a:pt x="1370" y="670"/>
                </a:cubicBezTo>
                <a:cubicBezTo>
                  <a:pt x="1370" y="670"/>
                  <a:pt x="1376" y="657"/>
                  <a:pt x="1381" y="661"/>
                </a:cubicBezTo>
                <a:cubicBezTo>
                  <a:pt x="1387" y="665"/>
                  <a:pt x="1392" y="659"/>
                  <a:pt x="1392" y="659"/>
                </a:cubicBezTo>
                <a:cubicBezTo>
                  <a:pt x="1392" y="659"/>
                  <a:pt x="1396" y="652"/>
                  <a:pt x="1395" y="649"/>
                </a:cubicBezTo>
                <a:cubicBezTo>
                  <a:pt x="1393" y="646"/>
                  <a:pt x="1395" y="638"/>
                  <a:pt x="1390" y="638"/>
                </a:cubicBezTo>
                <a:cubicBezTo>
                  <a:pt x="1385" y="638"/>
                  <a:pt x="1381" y="634"/>
                  <a:pt x="1381" y="634"/>
                </a:cubicBezTo>
                <a:cubicBezTo>
                  <a:pt x="1381" y="634"/>
                  <a:pt x="1372" y="632"/>
                  <a:pt x="1369" y="631"/>
                </a:cubicBezTo>
                <a:cubicBezTo>
                  <a:pt x="1366" y="630"/>
                  <a:pt x="1361" y="626"/>
                  <a:pt x="1361" y="626"/>
                </a:cubicBezTo>
                <a:cubicBezTo>
                  <a:pt x="1375" y="618"/>
                  <a:pt x="1375" y="618"/>
                  <a:pt x="1375" y="618"/>
                </a:cubicBezTo>
                <a:cubicBezTo>
                  <a:pt x="1384" y="618"/>
                  <a:pt x="1384" y="618"/>
                  <a:pt x="1384" y="618"/>
                </a:cubicBezTo>
                <a:cubicBezTo>
                  <a:pt x="1384" y="618"/>
                  <a:pt x="1386" y="608"/>
                  <a:pt x="1383" y="607"/>
                </a:cubicBezTo>
                <a:cubicBezTo>
                  <a:pt x="1380" y="605"/>
                  <a:pt x="1378" y="601"/>
                  <a:pt x="1378" y="601"/>
                </a:cubicBezTo>
                <a:cubicBezTo>
                  <a:pt x="1378" y="601"/>
                  <a:pt x="1376" y="600"/>
                  <a:pt x="1373" y="595"/>
                </a:cubicBezTo>
                <a:cubicBezTo>
                  <a:pt x="1370" y="590"/>
                  <a:pt x="1378" y="595"/>
                  <a:pt x="1379" y="584"/>
                </a:cubicBezTo>
                <a:cubicBezTo>
                  <a:pt x="1379" y="574"/>
                  <a:pt x="1378" y="571"/>
                  <a:pt x="1378" y="571"/>
                </a:cubicBezTo>
                <a:cubicBezTo>
                  <a:pt x="1378" y="571"/>
                  <a:pt x="1377" y="562"/>
                  <a:pt x="1378" y="558"/>
                </a:cubicBezTo>
                <a:cubicBezTo>
                  <a:pt x="1379" y="555"/>
                  <a:pt x="1377" y="551"/>
                  <a:pt x="1381" y="546"/>
                </a:cubicBezTo>
                <a:cubicBezTo>
                  <a:pt x="1386" y="540"/>
                  <a:pt x="1394" y="545"/>
                  <a:pt x="1394" y="545"/>
                </a:cubicBezTo>
                <a:cubicBezTo>
                  <a:pt x="1394" y="545"/>
                  <a:pt x="1385" y="558"/>
                  <a:pt x="1388" y="569"/>
                </a:cubicBezTo>
                <a:cubicBezTo>
                  <a:pt x="1392" y="581"/>
                  <a:pt x="1397" y="591"/>
                  <a:pt x="1397" y="591"/>
                </a:cubicBezTo>
                <a:cubicBezTo>
                  <a:pt x="1397" y="591"/>
                  <a:pt x="1406" y="602"/>
                  <a:pt x="1405" y="607"/>
                </a:cubicBezTo>
                <a:cubicBezTo>
                  <a:pt x="1404" y="611"/>
                  <a:pt x="1396" y="617"/>
                  <a:pt x="1396" y="617"/>
                </a:cubicBezTo>
                <a:cubicBezTo>
                  <a:pt x="1396" y="617"/>
                  <a:pt x="1392" y="617"/>
                  <a:pt x="1397" y="621"/>
                </a:cubicBezTo>
                <a:cubicBezTo>
                  <a:pt x="1402" y="625"/>
                  <a:pt x="1409" y="613"/>
                  <a:pt x="1409" y="613"/>
                </a:cubicBezTo>
                <a:cubicBezTo>
                  <a:pt x="1409" y="613"/>
                  <a:pt x="1409" y="600"/>
                  <a:pt x="1413" y="596"/>
                </a:cubicBezTo>
                <a:cubicBezTo>
                  <a:pt x="1417" y="591"/>
                  <a:pt x="1422" y="592"/>
                  <a:pt x="1422" y="585"/>
                </a:cubicBezTo>
                <a:cubicBezTo>
                  <a:pt x="1423" y="578"/>
                  <a:pt x="1426" y="572"/>
                  <a:pt x="1422" y="567"/>
                </a:cubicBezTo>
                <a:cubicBezTo>
                  <a:pt x="1417" y="561"/>
                  <a:pt x="1419" y="557"/>
                  <a:pt x="1413" y="555"/>
                </a:cubicBezTo>
                <a:cubicBezTo>
                  <a:pt x="1408" y="553"/>
                  <a:pt x="1405" y="551"/>
                  <a:pt x="1406" y="544"/>
                </a:cubicBezTo>
                <a:cubicBezTo>
                  <a:pt x="1406" y="537"/>
                  <a:pt x="1413" y="526"/>
                  <a:pt x="1413" y="526"/>
                </a:cubicBezTo>
                <a:cubicBezTo>
                  <a:pt x="1413" y="526"/>
                  <a:pt x="1424" y="522"/>
                  <a:pt x="1420" y="527"/>
                </a:cubicBezTo>
                <a:cubicBezTo>
                  <a:pt x="1416" y="532"/>
                  <a:pt x="1413" y="542"/>
                  <a:pt x="1417" y="546"/>
                </a:cubicBezTo>
                <a:cubicBezTo>
                  <a:pt x="1422" y="551"/>
                  <a:pt x="1424" y="555"/>
                  <a:pt x="1428" y="557"/>
                </a:cubicBezTo>
                <a:cubicBezTo>
                  <a:pt x="1431" y="559"/>
                  <a:pt x="1441" y="551"/>
                  <a:pt x="1441" y="551"/>
                </a:cubicBezTo>
                <a:cubicBezTo>
                  <a:pt x="1441" y="551"/>
                  <a:pt x="1444" y="544"/>
                  <a:pt x="1444" y="542"/>
                </a:cubicBezTo>
                <a:cubicBezTo>
                  <a:pt x="1444" y="539"/>
                  <a:pt x="1450" y="519"/>
                  <a:pt x="1450" y="519"/>
                </a:cubicBezTo>
                <a:cubicBezTo>
                  <a:pt x="1450" y="519"/>
                  <a:pt x="1452" y="506"/>
                  <a:pt x="1452" y="499"/>
                </a:cubicBezTo>
                <a:cubicBezTo>
                  <a:pt x="1452" y="493"/>
                  <a:pt x="1475" y="479"/>
                  <a:pt x="1475" y="479"/>
                </a:cubicBezTo>
                <a:cubicBezTo>
                  <a:pt x="1475" y="479"/>
                  <a:pt x="1485" y="472"/>
                  <a:pt x="1494" y="475"/>
                </a:cubicBezTo>
                <a:cubicBezTo>
                  <a:pt x="1502" y="477"/>
                  <a:pt x="1494" y="466"/>
                  <a:pt x="1510" y="468"/>
                </a:cubicBezTo>
                <a:cubicBezTo>
                  <a:pt x="1526" y="469"/>
                  <a:pt x="1536" y="460"/>
                  <a:pt x="1536" y="460"/>
                </a:cubicBezTo>
                <a:cubicBezTo>
                  <a:pt x="1536" y="460"/>
                  <a:pt x="1540" y="458"/>
                  <a:pt x="1543" y="454"/>
                </a:cubicBezTo>
                <a:cubicBezTo>
                  <a:pt x="1547" y="450"/>
                  <a:pt x="1549" y="448"/>
                  <a:pt x="1549" y="444"/>
                </a:cubicBezTo>
                <a:cubicBezTo>
                  <a:pt x="1549" y="440"/>
                  <a:pt x="1549" y="432"/>
                  <a:pt x="1549" y="432"/>
                </a:cubicBezTo>
                <a:cubicBezTo>
                  <a:pt x="1549" y="432"/>
                  <a:pt x="1545" y="427"/>
                  <a:pt x="1543" y="421"/>
                </a:cubicBezTo>
                <a:cubicBezTo>
                  <a:pt x="1542" y="415"/>
                  <a:pt x="1542" y="420"/>
                  <a:pt x="1545" y="404"/>
                </a:cubicBezTo>
                <a:cubicBezTo>
                  <a:pt x="1549" y="388"/>
                  <a:pt x="1575" y="360"/>
                  <a:pt x="1575" y="360"/>
                </a:cubicBezTo>
                <a:cubicBezTo>
                  <a:pt x="1575" y="360"/>
                  <a:pt x="1610" y="351"/>
                  <a:pt x="1619" y="347"/>
                </a:cubicBezTo>
                <a:cubicBezTo>
                  <a:pt x="1629" y="344"/>
                  <a:pt x="1637" y="340"/>
                  <a:pt x="1642" y="333"/>
                </a:cubicBezTo>
                <a:cubicBezTo>
                  <a:pt x="1644" y="330"/>
                  <a:pt x="1644" y="330"/>
                  <a:pt x="1644" y="330"/>
                </a:cubicBezTo>
                <a:lnTo>
                  <a:pt x="1642" y="328"/>
                </a:lnTo>
                <a:close/>
                <a:moveTo>
                  <a:pt x="1121" y="313"/>
                </a:moveTo>
                <a:cubicBezTo>
                  <a:pt x="1108" y="322"/>
                  <a:pt x="1093" y="364"/>
                  <a:pt x="1093" y="364"/>
                </a:cubicBezTo>
                <a:cubicBezTo>
                  <a:pt x="1093" y="364"/>
                  <a:pt x="1093" y="410"/>
                  <a:pt x="1090" y="419"/>
                </a:cubicBezTo>
                <a:cubicBezTo>
                  <a:pt x="1088" y="429"/>
                  <a:pt x="1071" y="446"/>
                  <a:pt x="1063" y="449"/>
                </a:cubicBezTo>
                <a:cubicBezTo>
                  <a:pt x="1054" y="452"/>
                  <a:pt x="1051" y="403"/>
                  <a:pt x="1057" y="384"/>
                </a:cubicBezTo>
                <a:cubicBezTo>
                  <a:pt x="1064" y="365"/>
                  <a:pt x="1067" y="364"/>
                  <a:pt x="1068" y="350"/>
                </a:cubicBezTo>
                <a:cubicBezTo>
                  <a:pt x="1069" y="336"/>
                  <a:pt x="1058" y="340"/>
                  <a:pt x="1063" y="319"/>
                </a:cubicBezTo>
                <a:cubicBezTo>
                  <a:pt x="1067" y="298"/>
                  <a:pt x="1079" y="309"/>
                  <a:pt x="1093" y="296"/>
                </a:cubicBezTo>
                <a:cubicBezTo>
                  <a:pt x="1106" y="282"/>
                  <a:pt x="1113" y="292"/>
                  <a:pt x="1122" y="296"/>
                </a:cubicBezTo>
                <a:cubicBezTo>
                  <a:pt x="1127" y="297"/>
                  <a:pt x="1130" y="297"/>
                  <a:pt x="1134" y="297"/>
                </a:cubicBezTo>
                <a:cubicBezTo>
                  <a:pt x="1130" y="299"/>
                  <a:pt x="1130" y="307"/>
                  <a:pt x="1121" y="313"/>
                </a:cubicBezTo>
                <a:close/>
                <a:moveTo>
                  <a:pt x="1302" y="407"/>
                </a:moveTo>
                <a:cubicBezTo>
                  <a:pt x="1300" y="411"/>
                  <a:pt x="1298" y="419"/>
                  <a:pt x="1294" y="420"/>
                </a:cubicBezTo>
                <a:cubicBezTo>
                  <a:pt x="1288" y="421"/>
                  <a:pt x="1277" y="435"/>
                  <a:pt x="1272" y="439"/>
                </a:cubicBezTo>
                <a:cubicBezTo>
                  <a:pt x="1268" y="444"/>
                  <a:pt x="1233" y="465"/>
                  <a:pt x="1217" y="465"/>
                </a:cubicBezTo>
                <a:cubicBezTo>
                  <a:pt x="1201" y="465"/>
                  <a:pt x="1205" y="468"/>
                  <a:pt x="1185" y="460"/>
                </a:cubicBezTo>
                <a:cubicBezTo>
                  <a:pt x="1165" y="451"/>
                  <a:pt x="1173" y="450"/>
                  <a:pt x="1174" y="444"/>
                </a:cubicBezTo>
                <a:cubicBezTo>
                  <a:pt x="1175" y="437"/>
                  <a:pt x="1198" y="444"/>
                  <a:pt x="1205" y="437"/>
                </a:cubicBezTo>
                <a:cubicBezTo>
                  <a:pt x="1205" y="437"/>
                  <a:pt x="1216" y="423"/>
                  <a:pt x="1221" y="426"/>
                </a:cubicBezTo>
                <a:cubicBezTo>
                  <a:pt x="1227" y="428"/>
                  <a:pt x="1248" y="426"/>
                  <a:pt x="1255" y="416"/>
                </a:cubicBezTo>
                <a:cubicBezTo>
                  <a:pt x="1263" y="406"/>
                  <a:pt x="1270" y="419"/>
                  <a:pt x="1278" y="415"/>
                </a:cubicBezTo>
                <a:cubicBezTo>
                  <a:pt x="1284" y="411"/>
                  <a:pt x="1298" y="410"/>
                  <a:pt x="1302" y="407"/>
                </a:cubicBezTo>
                <a:cubicBezTo>
                  <a:pt x="1302" y="406"/>
                  <a:pt x="1302" y="405"/>
                  <a:pt x="1302" y="406"/>
                </a:cubicBezTo>
                <a:cubicBezTo>
                  <a:pt x="1302" y="407"/>
                  <a:pt x="1302" y="407"/>
                  <a:pt x="1302" y="40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99" name="Freeform 432"/>
          <p:cNvSpPr>
            <a:spLocks noEditPoints="1"/>
          </p:cNvSpPr>
          <p:nvPr userDrawn="1"/>
        </p:nvSpPr>
        <p:spPr bwMode="auto">
          <a:xfrm>
            <a:off x="2601123" y="2662869"/>
            <a:ext cx="1653316" cy="1107236"/>
          </a:xfrm>
          <a:custGeom>
            <a:avLst/>
            <a:gdLst>
              <a:gd name="T0" fmla="*/ 2147483646 w 1772"/>
              <a:gd name="T1" fmla="*/ 2147483646 h 1187"/>
              <a:gd name="T2" fmla="*/ 2147483646 w 1772"/>
              <a:gd name="T3" fmla="*/ 2147483646 h 1187"/>
              <a:gd name="T4" fmla="*/ 2147483646 w 1772"/>
              <a:gd name="T5" fmla="*/ 2147483646 h 1187"/>
              <a:gd name="T6" fmla="*/ 2147483646 w 1772"/>
              <a:gd name="T7" fmla="*/ 2147483646 h 1187"/>
              <a:gd name="T8" fmla="*/ 2147483646 w 1772"/>
              <a:gd name="T9" fmla="*/ 2147483646 h 1187"/>
              <a:gd name="T10" fmla="*/ 2147483646 w 1772"/>
              <a:gd name="T11" fmla="*/ 2147483646 h 1187"/>
              <a:gd name="T12" fmla="*/ 2147483646 w 1772"/>
              <a:gd name="T13" fmla="*/ 2147483646 h 1187"/>
              <a:gd name="T14" fmla="*/ 2147483646 w 1772"/>
              <a:gd name="T15" fmla="*/ 2147483646 h 1187"/>
              <a:gd name="T16" fmla="*/ 2147483646 w 1772"/>
              <a:gd name="T17" fmla="*/ 2147483646 h 1187"/>
              <a:gd name="T18" fmla="*/ 2147483646 w 1772"/>
              <a:gd name="T19" fmla="*/ 2147483646 h 1187"/>
              <a:gd name="T20" fmla="*/ 2147483646 w 1772"/>
              <a:gd name="T21" fmla="*/ 2147483646 h 1187"/>
              <a:gd name="T22" fmla="*/ 2147483646 w 1772"/>
              <a:gd name="T23" fmla="*/ 2147483646 h 1187"/>
              <a:gd name="T24" fmla="*/ 2147483646 w 1772"/>
              <a:gd name="T25" fmla="*/ 2147483646 h 1187"/>
              <a:gd name="T26" fmla="*/ 2147483646 w 1772"/>
              <a:gd name="T27" fmla="*/ 2147483646 h 1187"/>
              <a:gd name="T28" fmla="*/ 2147483646 w 1772"/>
              <a:gd name="T29" fmla="*/ 2147483646 h 1187"/>
              <a:gd name="T30" fmla="*/ 2147483646 w 1772"/>
              <a:gd name="T31" fmla="*/ 2147483646 h 1187"/>
              <a:gd name="T32" fmla="*/ 2147483646 w 1772"/>
              <a:gd name="T33" fmla="*/ 2147483646 h 1187"/>
              <a:gd name="T34" fmla="*/ 2147483646 w 1772"/>
              <a:gd name="T35" fmla="*/ 2147483646 h 1187"/>
              <a:gd name="T36" fmla="*/ 2147483646 w 1772"/>
              <a:gd name="T37" fmla="*/ 2147483646 h 1187"/>
              <a:gd name="T38" fmla="*/ 2147483646 w 1772"/>
              <a:gd name="T39" fmla="*/ 2147483646 h 1187"/>
              <a:gd name="T40" fmla="*/ 2147483646 w 1772"/>
              <a:gd name="T41" fmla="*/ 2147483646 h 1187"/>
              <a:gd name="T42" fmla="*/ 2147483646 w 1772"/>
              <a:gd name="T43" fmla="*/ 2147483646 h 1187"/>
              <a:gd name="T44" fmla="*/ 2147483646 w 1772"/>
              <a:gd name="T45" fmla="*/ 2147483646 h 1187"/>
              <a:gd name="T46" fmla="*/ 2147483646 w 1772"/>
              <a:gd name="T47" fmla="*/ 2147483646 h 1187"/>
              <a:gd name="T48" fmla="*/ 2147483646 w 1772"/>
              <a:gd name="T49" fmla="*/ 2147483646 h 1187"/>
              <a:gd name="T50" fmla="*/ 2147483646 w 1772"/>
              <a:gd name="T51" fmla="*/ 2147483646 h 1187"/>
              <a:gd name="T52" fmla="*/ 2147483646 w 1772"/>
              <a:gd name="T53" fmla="*/ 2147483646 h 1187"/>
              <a:gd name="T54" fmla="*/ 2147483646 w 1772"/>
              <a:gd name="T55" fmla="*/ 2147483646 h 1187"/>
              <a:gd name="T56" fmla="*/ 2147483646 w 1772"/>
              <a:gd name="T57" fmla="*/ 2147483646 h 1187"/>
              <a:gd name="T58" fmla="*/ 2147483646 w 1772"/>
              <a:gd name="T59" fmla="*/ 2147483646 h 1187"/>
              <a:gd name="T60" fmla="*/ 2147483646 w 1772"/>
              <a:gd name="T61" fmla="*/ 2147483646 h 1187"/>
              <a:gd name="T62" fmla="*/ 2147483646 w 1772"/>
              <a:gd name="T63" fmla="*/ 2147483646 h 1187"/>
              <a:gd name="T64" fmla="*/ 2147483646 w 1772"/>
              <a:gd name="T65" fmla="*/ 2147483646 h 1187"/>
              <a:gd name="T66" fmla="*/ 2147483646 w 1772"/>
              <a:gd name="T67" fmla="*/ 2147483646 h 1187"/>
              <a:gd name="T68" fmla="*/ 2147483646 w 1772"/>
              <a:gd name="T69" fmla="*/ 2147483646 h 1187"/>
              <a:gd name="T70" fmla="*/ 2147483646 w 1772"/>
              <a:gd name="T71" fmla="*/ 2147483646 h 1187"/>
              <a:gd name="T72" fmla="*/ 2147483646 w 1772"/>
              <a:gd name="T73" fmla="*/ 2147483646 h 1187"/>
              <a:gd name="T74" fmla="*/ 2147483646 w 1772"/>
              <a:gd name="T75" fmla="*/ 2147483646 h 1187"/>
              <a:gd name="T76" fmla="*/ 2147483646 w 1772"/>
              <a:gd name="T77" fmla="*/ 2147483646 h 1187"/>
              <a:gd name="T78" fmla="*/ 2147483646 w 1772"/>
              <a:gd name="T79" fmla="*/ 2147483646 h 1187"/>
              <a:gd name="T80" fmla="*/ 2147483646 w 1772"/>
              <a:gd name="T81" fmla="*/ 2147483646 h 1187"/>
              <a:gd name="T82" fmla="*/ 2147483646 w 1772"/>
              <a:gd name="T83" fmla="*/ 2147483646 h 1187"/>
              <a:gd name="T84" fmla="*/ 2147483646 w 1772"/>
              <a:gd name="T85" fmla="*/ 2147483646 h 1187"/>
              <a:gd name="T86" fmla="*/ 2147483646 w 1772"/>
              <a:gd name="T87" fmla="*/ 2147483646 h 1187"/>
              <a:gd name="T88" fmla="*/ 2147483646 w 1772"/>
              <a:gd name="T89" fmla="*/ 2147483646 h 1187"/>
              <a:gd name="T90" fmla="*/ 2147483646 w 1772"/>
              <a:gd name="T91" fmla="*/ 2147483646 h 1187"/>
              <a:gd name="T92" fmla="*/ 2147483646 w 1772"/>
              <a:gd name="T93" fmla="*/ 2147483646 h 1187"/>
              <a:gd name="T94" fmla="*/ 2147483646 w 1772"/>
              <a:gd name="T95" fmla="*/ 2147483646 h 1187"/>
              <a:gd name="T96" fmla="*/ 2147483646 w 1772"/>
              <a:gd name="T97" fmla="*/ 2147483646 h 1187"/>
              <a:gd name="T98" fmla="*/ 2147483646 w 1772"/>
              <a:gd name="T99" fmla="*/ 2147483646 h 1187"/>
              <a:gd name="T100" fmla="*/ 2147483646 w 1772"/>
              <a:gd name="T101" fmla="*/ 2147483646 h 1187"/>
              <a:gd name="T102" fmla="*/ 2147483646 w 1772"/>
              <a:gd name="T103" fmla="*/ 2147483646 h 1187"/>
              <a:gd name="T104" fmla="*/ 2147483646 w 1772"/>
              <a:gd name="T105" fmla="*/ 2147483646 h 1187"/>
              <a:gd name="T106" fmla="*/ 2147483646 w 1772"/>
              <a:gd name="T107" fmla="*/ 2147483646 h 1187"/>
              <a:gd name="T108" fmla="*/ 2147483646 w 1772"/>
              <a:gd name="T109" fmla="*/ 2147483646 h 1187"/>
              <a:gd name="T110" fmla="*/ 2147483646 w 1772"/>
              <a:gd name="T111" fmla="*/ 2147483646 h 1187"/>
              <a:gd name="T112" fmla="*/ 2147483646 w 1772"/>
              <a:gd name="T113" fmla="*/ 2147483646 h 1187"/>
              <a:gd name="T114" fmla="*/ 2147483646 w 1772"/>
              <a:gd name="T115" fmla="*/ 2147483646 h 1187"/>
              <a:gd name="T116" fmla="*/ 2147483646 w 1772"/>
              <a:gd name="T117" fmla="*/ 2147483646 h 1187"/>
              <a:gd name="T118" fmla="*/ 2147483646 w 1772"/>
              <a:gd name="T119" fmla="*/ 2147483646 h 1187"/>
              <a:gd name="T120" fmla="*/ 2147483646 w 1772"/>
              <a:gd name="T121" fmla="*/ 2147483646 h 1187"/>
              <a:gd name="T122" fmla="*/ 2147483646 w 1772"/>
              <a:gd name="T123" fmla="*/ 2147483646 h 118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772"/>
              <a:gd name="T187" fmla="*/ 0 h 1187"/>
              <a:gd name="T188" fmla="*/ 1772 w 1772"/>
              <a:gd name="T189" fmla="*/ 1187 h 118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772" h="1187">
                <a:moveTo>
                  <a:pt x="1762" y="825"/>
                </a:moveTo>
                <a:cubicBezTo>
                  <a:pt x="1753" y="819"/>
                  <a:pt x="1749" y="817"/>
                  <a:pt x="1749" y="817"/>
                </a:cubicBezTo>
                <a:cubicBezTo>
                  <a:pt x="1751" y="802"/>
                  <a:pt x="1751" y="802"/>
                  <a:pt x="1751" y="802"/>
                </a:cubicBezTo>
                <a:cubicBezTo>
                  <a:pt x="1751" y="802"/>
                  <a:pt x="1751" y="784"/>
                  <a:pt x="1742" y="784"/>
                </a:cubicBezTo>
                <a:cubicBezTo>
                  <a:pt x="1733" y="784"/>
                  <a:pt x="1726" y="778"/>
                  <a:pt x="1726" y="778"/>
                </a:cubicBezTo>
                <a:cubicBezTo>
                  <a:pt x="1726" y="778"/>
                  <a:pt x="1719" y="787"/>
                  <a:pt x="1716" y="788"/>
                </a:cubicBezTo>
                <a:cubicBezTo>
                  <a:pt x="1713" y="790"/>
                  <a:pt x="1708" y="775"/>
                  <a:pt x="1708" y="775"/>
                </a:cubicBezTo>
                <a:cubicBezTo>
                  <a:pt x="1708" y="775"/>
                  <a:pt x="1684" y="772"/>
                  <a:pt x="1680" y="777"/>
                </a:cubicBezTo>
                <a:cubicBezTo>
                  <a:pt x="1676" y="781"/>
                  <a:pt x="1670" y="787"/>
                  <a:pt x="1670" y="787"/>
                </a:cubicBezTo>
                <a:cubicBezTo>
                  <a:pt x="1670" y="787"/>
                  <a:pt x="1651" y="805"/>
                  <a:pt x="1649" y="805"/>
                </a:cubicBezTo>
                <a:cubicBezTo>
                  <a:pt x="1647" y="805"/>
                  <a:pt x="1644" y="797"/>
                  <a:pt x="1644" y="797"/>
                </a:cubicBezTo>
                <a:cubicBezTo>
                  <a:pt x="1644" y="797"/>
                  <a:pt x="1667" y="775"/>
                  <a:pt x="1677" y="770"/>
                </a:cubicBezTo>
                <a:cubicBezTo>
                  <a:pt x="1688" y="764"/>
                  <a:pt x="1708" y="766"/>
                  <a:pt x="1699" y="757"/>
                </a:cubicBezTo>
                <a:cubicBezTo>
                  <a:pt x="1690" y="748"/>
                  <a:pt x="1662" y="749"/>
                  <a:pt x="1659" y="745"/>
                </a:cubicBezTo>
                <a:cubicBezTo>
                  <a:pt x="1655" y="741"/>
                  <a:pt x="1655" y="737"/>
                  <a:pt x="1650" y="740"/>
                </a:cubicBezTo>
                <a:cubicBezTo>
                  <a:pt x="1644" y="743"/>
                  <a:pt x="1640" y="756"/>
                  <a:pt x="1634" y="748"/>
                </a:cubicBezTo>
                <a:cubicBezTo>
                  <a:pt x="1629" y="739"/>
                  <a:pt x="1630" y="740"/>
                  <a:pt x="1625" y="733"/>
                </a:cubicBezTo>
                <a:cubicBezTo>
                  <a:pt x="1620" y="726"/>
                  <a:pt x="1616" y="721"/>
                  <a:pt x="1616" y="721"/>
                </a:cubicBezTo>
                <a:cubicBezTo>
                  <a:pt x="1616" y="721"/>
                  <a:pt x="1587" y="703"/>
                  <a:pt x="1581" y="693"/>
                </a:cubicBezTo>
                <a:cubicBezTo>
                  <a:pt x="1576" y="683"/>
                  <a:pt x="1592" y="688"/>
                  <a:pt x="1585" y="679"/>
                </a:cubicBezTo>
                <a:cubicBezTo>
                  <a:pt x="1579" y="670"/>
                  <a:pt x="1569" y="658"/>
                  <a:pt x="1562" y="655"/>
                </a:cubicBezTo>
                <a:cubicBezTo>
                  <a:pt x="1554" y="652"/>
                  <a:pt x="1557" y="648"/>
                  <a:pt x="1550" y="649"/>
                </a:cubicBezTo>
                <a:cubicBezTo>
                  <a:pt x="1543" y="651"/>
                  <a:pt x="1540" y="645"/>
                  <a:pt x="1542" y="641"/>
                </a:cubicBezTo>
                <a:cubicBezTo>
                  <a:pt x="1543" y="638"/>
                  <a:pt x="1549" y="624"/>
                  <a:pt x="1542" y="628"/>
                </a:cubicBezTo>
                <a:cubicBezTo>
                  <a:pt x="1536" y="631"/>
                  <a:pt x="1531" y="624"/>
                  <a:pt x="1531" y="624"/>
                </a:cubicBezTo>
                <a:cubicBezTo>
                  <a:pt x="1531" y="624"/>
                  <a:pt x="1539" y="608"/>
                  <a:pt x="1533" y="612"/>
                </a:cubicBezTo>
                <a:cubicBezTo>
                  <a:pt x="1528" y="616"/>
                  <a:pt x="1526" y="611"/>
                  <a:pt x="1526" y="611"/>
                </a:cubicBezTo>
                <a:cubicBezTo>
                  <a:pt x="1524" y="606"/>
                  <a:pt x="1524" y="606"/>
                  <a:pt x="1524" y="606"/>
                </a:cubicBezTo>
                <a:cubicBezTo>
                  <a:pt x="1524" y="602"/>
                  <a:pt x="1524" y="602"/>
                  <a:pt x="1524" y="602"/>
                </a:cubicBezTo>
                <a:cubicBezTo>
                  <a:pt x="1524" y="602"/>
                  <a:pt x="1521" y="596"/>
                  <a:pt x="1518" y="601"/>
                </a:cubicBezTo>
                <a:cubicBezTo>
                  <a:pt x="1515" y="606"/>
                  <a:pt x="1513" y="610"/>
                  <a:pt x="1513" y="610"/>
                </a:cubicBezTo>
                <a:cubicBezTo>
                  <a:pt x="1512" y="597"/>
                  <a:pt x="1512" y="597"/>
                  <a:pt x="1512" y="597"/>
                </a:cubicBezTo>
                <a:cubicBezTo>
                  <a:pt x="1512" y="597"/>
                  <a:pt x="1515" y="586"/>
                  <a:pt x="1512" y="586"/>
                </a:cubicBezTo>
                <a:cubicBezTo>
                  <a:pt x="1509" y="585"/>
                  <a:pt x="1503" y="586"/>
                  <a:pt x="1503" y="586"/>
                </a:cubicBezTo>
                <a:cubicBezTo>
                  <a:pt x="1497" y="576"/>
                  <a:pt x="1497" y="576"/>
                  <a:pt x="1497" y="576"/>
                </a:cubicBezTo>
                <a:cubicBezTo>
                  <a:pt x="1495" y="567"/>
                  <a:pt x="1495" y="567"/>
                  <a:pt x="1495" y="567"/>
                </a:cubicBezTo>
                <a:cubicBezTo>
                  <a:pt x="1488" y="564"/>
                  <a:pt x="1488" y="564"/>
                  <a:pt x="1488" y="564"/>
                </a:cubicBezTo>
                <a:cubicBezTo>
                  <a:pt x="1488" y="564"/>
                  <a:pt x="1484" y="573"/>
                  <a:pt x="1484" y="578"/>
                </a:cubicBezTo>
                <a:cubicBezTo>
                  <a:pt x="1485" y="584"/>
                  <a:pt x="1490" y="590"/>
                  <a:pt x="1483" y="595"/>
                </a:cubicBezTo>
                <a:cubicBezTo>
                  <a:pt x="1476" y="600"/>
                  <a:pt x="1472" y="593"/>
                  <a:pt x="1477" y="603"/>
                </a:cubicBezTo>
                <a:cubicBezTo>
                  <a:pt x="1482" y="613"/>
                  <a:pt x="1486" y="609"/>
                  <a:pt x="1484" y="616"/>
                </a:cubicBezTo>
                <a:cubicBezTo>
                  <a:pt x="1483" y="622"/>
                  <a:pt x="1480" y="622"/>
                  <a:pt x="1480" y="627"/>
                </a:cubicBezTo>
                <a:cubicBezTo>
                  <a:pt x="1480" y="631"/>
                  <a:pt x="1479" y="641"/>
                  <a:pt x="1479" y="641"/>
                </a:cubicBezTo>
                <a:cubicBezTo>
                  <a:pt x="1474" y="628"/>
                  <a:pt x="1474" y="628"/>
                  <a:pt x="1474" y="628"/>
                </a:cubicBezTo>
                <a:cubicBezTo>
                  <a:pt x="1474" y="628"/>
                  <a:pt x="1475" y="612"/>
                  <a:pt x="1468" y="623"/>
                </a:cubicBezTo>
                <a:cubicBezTo>
                  <a:pt x="1461" y="634"/>
                  <a:pt x="1464" y="637"/>
                  <a:pt x="1453" y="645"/>
                </a:cubicBezTo>
                <a:cubicBezTo>
                  <a:pt x="1441" y="652"/>
                  <a:pt x="1432" y="656"/>
                  <a:pt x="1432" y="656"/>
                </a:cubicBezTo>
                <a:cubicBezTo>
                  <a:pt x="1432" y="656"/>
                  <a:pt x="1435" y="650"/>
                  <a:pt x="1434" y="644"/>
                </a:cubicBezTo>
                <a:cubicBezTo>
                  <a:pt x="1432" y="638"/>
                  <a:pt x="1446" y="640"/>
                  <a:pt x="1431" y="634"/>
                </a:cubicBezTo>
                <a:cubicBezTo>
                  <a:pt x="1416" y="628"/>
                  <a:pt x="1419" y="621"/>
                  <a:pt x="1414" y="627"/>
                </a:cubicBezTo>
                <a:cubicBezTo>
                  <a:pt x="1409" y="632"/>
                  <a:pt x="1400" y="635"/>
                  <a:pt x="1400" y="635"/>
                </a:cubicBezTo>
                <a:cubicBezTo>
                  <a:pt x="1400" y="635"/>
                  <a:pt x="1391" y="639"/>
                  <a:pt x="1392" y="631"/>
                </a:cubicBezTo>
                <a:cubicBezTo>
                  <a:pt x="1392" y="624"/>
                  <a:pt x="1403" y="614"/>
                  <a:pt x="1401" y="611"/>
                </a:cubicBezTo>
                <a:cubicBezTo>
                  <a:pt x="1400" y="609"/>
                  <a:pt x="1405" y="599"/>
                  <a:pt x="1399" y="603"/>
                </a:cubicBezTo>
                <a:cubicBezTo>
                  <a:pt x="1394" y="607"/>
                  <a:pt x="1390" y="609"/>
                  <a:pt x="1391" y="603"/>
                </a:cubicBezTo>
                <a:cubicBezTo>
                  <a:pt x="1392" y="598"/>
                  <a:pt x="1397" y="589"/>
                  <a:pt x="1397" y="589"/>
                </a:cubicBezTo>
                <a:cubicBezTo>
                  <a:pt x="1392" y="579"/>
                  <a:pt x="1392" y="579"/>
                  <a:pt x="1392" y="579"/>
                </a:cubicBezTo>
                <a:cubicBezTo>
                  <a:pt x="1396" y="569"/>
                  <a:pt x="1396" y="569"/>
                  <a:pt x="1396" y="569"/>
                </a:cubicBezTo>
                <a:cubicBezTo>
                  <a:pt x="1396" y="569"/>
                  <a:pt x="1395" y="558"/>
                  <a:pt x="1387" y="559"/>
                </a:cubicBezTo>
                <a:cubicBezTo>
                  <a:pt x="1379" y="559"/>
                  <a:pt x="1373" y="557"/>
                  <a:pt x="1373" y="557"/>
                </a:cubicBezTo>
                <a:cubicBezTo>
                  <a:pt x="1360" y="548"/>
                  <a:pt x="1360" y="548"/>
                  <a:pt x="1360" y="548"/>
                </a:cubicBezTo>
                <a:cubicBezTo>
                  <a:pt x="1360" y="548"/>
                  <a:pt x="1340" y="544"/>
                  <a:pt x="1339" y="539"/>
                </a:cubicBezTo>
                <a:cubicBezTo>
                  <a:pt x="1338" y="533"/>
                  <a:pt x="1341" y="524"/>
                  <a:pt x="1336" y="528"/>
                </a:cubicBezTo>
                <a:cubicBezTo>
                  <a:pt x="1330" y="531"/>
                  <a:pt x="1322" y="520"/>
                  <a:pt x="1322" y="520"/>
                </a:cubicBezTo>
                <a:cubicBezTo>
                  <a:pt x="1315" y="519"/>
                  <a:pt x="1315" y="519"/>
                  <a:pt x="1315" y="519"/>
                </a:cubicBezTo>
                <a:cubicBezTo>
                  <a:pt x="1303" y="506"/>
                  <a:pt x="1303" y="506"/>
                  <a:pt x="1303" y="506"/>
                </a:cubicBezTo>
                <a:cubicBezTo>
                  <a:pt x="1303" y="506"/>
                  <a:pt x="1298" y="506"/>
                  <a:pt x="1295" y="509"/>
                </a:cubicBezTo>
                <a:cubicBezTo>
                  <a:pt x="1292" y="512"/>
                  <a:pt x="1294" y="514"/>
                  <a:pt x="1287" y="515"/>
                </a:cubicBezTo>
                <a:cubicBezTo>
                  <a:pt x="1279" y="517"/>
                  <a:pt x="1275" y="514"/>
                  <a:pt x="1275" y="514"/>
                </a:cubicBezTo>
                <a:cubicBezTo>
                  <a:pt x="1275" y="514"/>
                  <a:pt x="1263" y="511"/>
                  <a:pt x="1253" y="510"/>
                </a:cubicBezTo>
                <a:cubicBezTo>
                  <a:pt x="1242" y="510"/>
                  <a:pt x="1228" y="492"/>
                  <a:pt x="1222" y="503"/>
                </a:cubicBezTo>
                <a:cubicBezTo>
                  <a:pt x="1215" y="515"/>
                  <a:pt x="1211" y="524"/>
                  <a:pt x="1220" y="530"/>
                </a:cubicBezTo>
                <a:cubicBezTo>
                  <a:pt x="1229" y="537"/>
                  <a:pt x="1235" y="544"/>
                  <a:pt x="1231" y="549"/>
                </a:cubicBezTo>
                <a:cubicBezTo>
                  <a:pt x="1227" y="555"/>
                  <a:pt x="1225" y="569"/>
                  <a:pt x="1225" y="569"/>
                </a:cubicBezTo>
                <a:cubicBezTo>
                  <a:pt x="1225" y="569"/>
                  <a:pt x="1230" y="591"/>
                  <a:pt x="1229" y="593"/>
                </a:cubicBezTo>
                <a:cubicBezTo>
                  <a:pt x="1228" y="596"/>
                  <a:pt x="1231" y="601"/>
                  <a:pt x="1231" y="601"/>
                </a:cubicBezTo>
                <a:cubicBezTo>
                  <a:pt x="1231" y="601"/>
                  <a:pt x="1230" y="601"/>
                  <a:pt x="1219" y="614"/>
                </a:cubicBezTo>
                <a:cubicBezTo>
                  <a:pt x="1208" y="627"/>
                  <a:pt x="1215" y="632"/>
                  <a:pt x="1211" y="636"/>
                </a:cubicBezTo>
                <a:cubicBezTo>
                  <a:pt x="1208" y="640"/>
                  <a:pt x="1190" y="636"/>
                  <a:pt x="1206" y="642"/>
                </a:cubicBezTo>
                <a:cubicBezTo>
                  <a:pt x="1222" y="649"/>
                  <a:pt x="1303" y="750"/>
                  <a:pt x="1187" y="782"/>
                </a:cubicBezTo>
                <a:cubicBezTo>
                  <a:pt x="1187" y="782"/>
                  <a:pt x="1177" y="783"/>
                  <a:pt x="1182" y="789"/>
                </a:cubicBezTo>
                <a:cubicBezTo>
                  <a:pt x="1187" y="795"/>
                  <a:pt x="1190" y="807"/>
                  <a:pt x="1192" y="810"/>
                </a:cubicBezTo>
                <a:cubicBezTo>
                  <a:pt x="1194" y="813"/>
                  <a:pt x="1197" y="824"/>
                  <a:pt x="1197" y="824"/>
                </a:cubicBezTo>
                <a:cubicBezTo>
                  <a:pt x="1197" y="824"/>
                  <a:pt x="1202" y="857"/>
                  <a:pt x="1206" y="861"/>
                </a:cubicBezTo>
                <a:cubicBezTo>
                  <a:pt x="1209" y="865"/>
                  <a:pt x="1212" y="870"/>
                  <a:pt x="1204" y="875"/>
                </a:cubicBezTo>
                <a:cubicBezTo>
                  <a:pt x="1197" y="880"/>
                  <a:pt x="1194" y="876"/>
                  <a:pt x="1196" y="887"/>
                </a:cubicBezTo>
                <a:cubicBezTo>
                  <a:pt x="1198" y="898"/>
                  <a:pt x="1202" y="902"/>
                  <a:pt x="1202" y="902"/>
                </a:cubicBezTo>
                <a:cubicBezTo>
                  <a:pt x="1202" y="902"/>
                  <a:pt x="1186" y="910"/>
                  <a:pt x="1186" y="903"/>
                </a:cubicBezTo>
                <a:cubicBezTo>
                  <a:pt x="1186" y="896"/>
                  <a:pt x="1190" y="882"/>
                  <a:pt x="1183" y="892"/>
                </a:cubicBezTo>
                <a:cubicBezTo>
                  <a:pt x="1175" y="903"/>
                  <a:pt x="1177" y="914"/>
                  <a:pt x="1177" y="914"/>
                </a:cubicBezTo>
                <a:cubicBezTo>
                  <a:pt x="1177" y="914"/>
                  <a:pt x="1172" y="912"/>
                  <a:pt x="1168" y="910"/>
                </a:cubicBezTo>
                <a:cubicBezTo>
                  <a:pt x="1165" y="908"/>
                  <a:pt x="1161" y="905"/>
                  <a:pt x="1161" y="905"/>
                </a:cubicBezTo>
                <a:cubicBezTo>
                  <a:pt x="1161" y="905"/>
                  <a:pt x="1150" y="911"/>
                  <a:pt x="1149" y="905"/>
                </a:cubicBezTo>
                <a:cubicBezTo>
                  <a:pt x="1148" y="898"/>
                  <a:pt x="1145" y="882"/>
                  <a:pt x="1145" y="882"/>
                </a:cubicBezTo>
                <a:cubicBezTo>
                  <a:pt x="1145" y="882"/>
                  <a:pt x="1141" y="869"/>
                  <a:pt x="1133" y="871"/>
                </a:cubicBezTo>
                <a:cubicBezTo>
                  <a:pt x="1125" y="874"/>
                  <a:pt x="1126" y="873"/>
                  <a:pt x="1127" y="867"/>
                </a:cubicBezTo>
                <a:cubicBezTo>
                  <a:pt x="1129" y="861"/>
                  <a:pt x="1117" y="847"/>
                  <a:pt x="1117" y="847"/>
                </a:cubicBezTo>
                <a:cubicBezTo>
                  <a:pt x="1117" y="847"/>
                  <a:pt x="1105" y="838"/>
                  <a:pt x="1112" y="829"/>
                </a:cubicBezTo>
                <a:cubicBezTo>
                  <a:pt x="1118" y="821"/>
                  <a:pt x="1116" y="804"/>
                  <a:pt x="1116" y="804"/>
                </a:cubicBezTo>
                <a:cubicBezTo>
                  <a:pt x="1116" y="804"/>
                  <a:pt x="1102" y="794"/>
                  <a:pt x="1109" y="783"/>
                </a:cubicBezTo>
                <a:cubicBezTo>
                  <a:pt x="1117" y="772"/>
                  <a:pt x="1117" y="766"/>
                  <a:pt x="1117" y="766"/>
                </a:cubicBezTo>
                <a:cubicBezTo>
                  <a:pt x="1117" y="766"/>
                  <a:pt x="1095" y="761"/>
                  <a:pt x="1084" y="760"/>
                </a:cubicBezTo>
                <a:cubicBezTo>
                  <a:pt x="1073" y="759"/>
                  <a:pt x="1065" y="755"/>
                  <a:pt x="1058" y="759"/>
                </a:cubicBezTo>
                <a:cubicBezTo>
                  <a:pt x="1052" y="764"/>
                  <a:pt x="1048" y="762"/>
                  <a:pt x="1048" y="762"/>
                </a:cubicBezTo>
                <a:cubicBezTo>
                  <a:pt x="1048" y="762"/>
                  <a:pt x="1046" y="743"/>
                  <a:pt x="1039" y="741"/>
                </a:cubicBezTo>
                <a:cubicBezTo>
                  <a:pt x="1032" y="739"/>
                  <a:pt x="1053" y="750"/>
                  <a:pt x="1019" y="732"/>
                </a:cubicBezTo>
                <a:cubicBezTo>
                  <a:pt x="985" y="714"/>
                  <a:pt x="983" y="691"/>
                  <a:pt x="950" y="687"/>
                </a:cubicBezTo>
                <a:cubicBezTo>
                  <a:pt x="918" y="684"/>
                  <a:pt x="922" y="676"/>
                  <a:pt x="901" y="683"/>
                </a:cubicBezTo>
                <a:cubicBezTo>
                  <a:pt x="881" y="689"/>
                  <a:pt x="910" y="670"/>
                  <a:pt x="896" y="643"/>
                </a:cubicBezTo>
                <a:cubicBezTo>
                  <a:pt x="885" y="621"/>
                  <a:pt x="872" y="617"/>
                  <a:pt x="868" y="621"/>
                </a:cubicBezTo>
                <a:cubicBezTo>
                  <a:pt x="869" y="616"/>
                  <a:pt x="871" y="606"/>
                  <a:pt x="870" y="594"/>
                </a:cubicBezTo>
                <a:cubicBezTo>
                  <a:pt x="869" y="571"/>
                  <a:pt x="864" y="571"/>
                  <a:pt x="882" y="549"/>
                </a:cubicBezTo>
                <a:cubicBezTo>
                  <a:pt x="900" y="528"/>
                  <a:pt x="917" y="499"/>
                  <a:pt x="941" y="488"/>
                </a:cubicBezTo>
                <a:cubicBezTo>
                  <a:pt x="966" y="477"/>
                  <a:pt x="982" y="476"/>
                  <a:pt x="975" y="463"/>
                </a:cubicBezTo>
                <a:cubicBezTo>
                  <a:pt x="975" y="463"/>
                  <a:pt x="979" y="459"/>
                  <a:pt x="994" y="452"/>
                </a:cubicBezTo>
                <a:cubicBezTo>
                  <a:pt x="1009" y="445"/>
                  <a:pt x="1012" y="438"/>
                  <a:pt x="1015" y="437"/>
                </a:cubicBezTo>
                <a:cubicBezTo>
                  <a:pt x="1017" y="436"/>
                  <a:pt x="1031" y="437"/>
                  <a:pt x="1031" y="437"/>
                </a:cubicBezTo>
                <a:cubicBezTo>
                  <a:pt x="1031" y="437"/>
                  <a:pt x="1055" y="418"/>
                  <a:pt x="1059" y="412"/>
                </a:cubicBezTo>
                <a:cubicBezTo>
                  <a:pt x="1063" y="406"/>
                  <a:pt x="1067" y="407"/>
                  <a:pt x="1058" y="404"/>
                </a:cubicBezTo>
                <a:cubicBezTo>
                  <a:pt x="1054" y="403"/>
                  <a:pt x="1051" y="402"/>
                  <a:pt x="1048" y="402"/>
                </a:cubicBezTo>
                <a:cubicBezTo>
                  <a:pt x="1050" y="402"/>
                  <a:pt x="1052" y="401"/>
                  <a:pt x="1055" y="400"/>
                </a:cubicBezTo>
                <a:cubicBezTo>
                  <a:pt x="1062" y="396"/>
                  <a:pt x="1076" y="387"/>
                  <a:pt x="1078" y="380"/>
                </a:cubicBezTo>
                <a:cubicBezTo>
                  <a:pt x="1080" y="374"/>
                  <a:pt x="1074" y="369"/>
                  <a:pt x="1075" y="362"/>
                </a:cubicBezTo>
                <a:cubicBezTo>
                  <a:pt x="1076" y="355"/>
                  <a:pt x="1085" y="348"/>
                  <a:pt x="1096" y="355"/>
                </a:cubicBezTo>
                <a:cubicBezTo>
                  <a:pt x="1106" y="362"/>
                  <a:pt x="1121" y="358"/>
                  <a:pt x="1125" y="360"/>
                </a:cubicBezTo>
                <a:cubicBezTo>
                  <a:pt x="1130" y="363"/>
                  <a:pt x="1137" y="364"/>
                  <a:pt x="1143" y="359"/>
                </a:cubicBezTo>
                <a:cubicBezTo>
                  <a:pt x="1148" y="353"/>
                  <a:pt x="1157" y="352"/>
                  <a:pt x="1159" y="340"/>
                </a:cubicBezTo>
                <a:cubicBezTo>
                  <a:pt x="1162" y="327"/>
                  <a:pt x="1160" y="320"/>
                  <a:pt x="1160" y="320"/>
                </a:cubicBezTo>
                <a:cubicBezTo>
                  <a:pt x="1160" y="320"/>
                  <a:pt x="1157" y="323"/>
                  <a:pt x="1152" y="315"/>
                </a:cubicBezTo>
                <a:cubicBezTo>
                  <a:pt x="1147" y="306"/>
                  <a:pt x="1144" y="296"/>
                  <a:pt x="1152" y="297"/>
                </a:cubicBezTo>
                <a:cubicBezTo>
                  <a:pt x="1161" y="299"/>
                  <a:pt x="1167" y="293"/>
                  <a:pt x="1167" y="293"/>
                </a:cubicBezTo>
                <a:cubicBezTo>
                  <a:pt x="1163" y="275"/>
                  <a:pt x="1163" y="275"/>
                  <a:pt x="1163" y="275"/>
                </a:cubicBezTo>
                <a:cubicBezTo>
                  <a:pt x="1163" y="275"/>
                  <a:pt x="1155" y="267"/>
                  <a:pt x="1150" y="267"/>
                </a:cubicBezTo>
                <a:cubicBezTo>
                  <a:pt x="1145" y="267"/>
                  <a:pt x="1133" y="258"/>
                  <a:pt x="1127" y="255"/>
                </a:cubicBezTo>
                <a:cubicBezTo>
                  <a:pt x="1122" y="252"/>
                  <a:pt x="1113" y="255"/>
                  <a:pt x="1113" y="255"/>
                </a:cubicBezTo>
                <a:cubicBezTo>
                  <a:pt x="1109" y="266"/>
                  <a:pt x="1109" y="266"/>
                  <a:pt x="1109" y="266"/>
                </a:cubicBezTo>
                <a:cubicBezTo>
                  <a:pt x="1112" y="275"/>
                  <a:pt x="1112" y="275"/>
                  <a:pt x="1112" y="275"/>
                </a:cubicBezTo>
                <a:cubicBezTo>
                  <a:pt x="1112" y="275"/>
                  <a:pt x="1120" y="281"/>
                  <a:pt x="1115" y="284"/>
                </a:cubicBezTo>
                <a:cubicBezTo>
                  <a:pt x="1110" y="288"/>
                  <a:pt x="1108" y="290"/>
                  <a:pt x="1103" y="293"/>
                </a:cubicBezTo>
                <a:cubicBezTo>
                  <a:pt x="1097" y="295"/>
                  <a:pt x="1093" y="304"/>
                  <a:pt x="1093" y="304"/>
                </a:cubicBezTo>
                <a:cubicBezTo>
                  <a:pt x="1085" y="313"/>
                  <a:pt x="1085" y="313"/>
                  <a:pt x="1085" y="313"/>
                </a:cubicBezTo>
                <a:cubicBezTo>
                  <a:pt x="1085" y="313"/>
                  <a:pt x="1076" y="317"/>
                  <a:pt x="1076" y="324"/>
                </a:cubicBezTo>
                <a:cubicBezTo>
                  <a:pt x="1076" y="331"/>
                  <a:pt x="1074" y="337"/>
                  <a:pt x="1067" y="331"/>
                </a:cubicBezTo>
                <a:cubicBezTo>
                  <a:pt x="1061" y="324"/>
                  <a:pt x="1054" y="321"/>
                  <a:pt x="1055" y="312"/>
                </a:cubicBezTo>
                <a:cubicBezTo>
                  <a:pt x="1056" y="303"/>
                  <a:pt x="1062" y="297"/>
                  <a:pt x="1062" y="297"/>
                </a:cubicBezTo>
                <a:cubicBezTo>
                  <a:pt x="1060" y="271"/>
                  <a:pt x="1060" y="271"/>
                  <a:pt x="1060" y="271"/>
                </a:cubicBezTo>
                <a:cubicBezTo>
                  <a:pt x="1060" y="271"/>
                  <a:pt x="1054" y="250"/>
                  <a:pt x="1046" y="263"/>
                </a:cubicBezTo>
                <a:cubicBezTo>
                  <a:pt x="1038" y="275"/>
                  <a:pt x="1035" y="282"/>
                  <a:pt x="1032" y="290"/>
                </a:cubicBezTo>
                <a:cubicBezTo>
                  <a:pt x="1029" y="299"/>
                  <a:pt x="1021" y="296"/>
                  <a:pt x="1021" y="296"/>
                </a:cubicBezTo>
                <a:cubicBezTo>
                  <a:pt x="1023" y="267"/>
                  <a:pt x="1023" y="267"/>
                  <a:pt x="1023" y="267"/>
                </a:cubicBezTo>
                <a:cubicBezTo>
                  <a:pt x="1023" y="267"/>
                  <a:pt x="1028" y="253"/>
                  <a:pt x="1021" y="250"/>
                </a:cubicBezTo>
                <a:cubicBezTo>
                  <a:pt x="1014" y="248"/>
                  <a:pt x="1005" y="244"/>
                  <a:pt x="1005" y="244"/>
                </a:cubicBezTo>
                <a:cubicBezTo>
                  <a:pt x="1005" y="244"/>
                  <a:pt x="1006" y="237"/>
                  <a:pt x="1013" y="230"/>
                </a:cubicBezTo>
                <a:cubicBezTo>
                  <a:pt x="1019" y="222"/>
                  <a:pt x="1022" y="203"/>
                  <a:pt x="1017" y="198"/>
                </a:cubicBezTo>
                <a:cubicBezTo>
                  <a:pt x="1013" y="194"/>
                  <a:pt x="1008" y="178"/>
                  <a:pt x="1008" y="178"/>
                </a:cubicBezTo>
                <a:cubicBezTo>
                  <a:pt x="1008" y="178"/>
                  <a:pt x="1015" y="160"/>
                  <a:pt x="1008" y="162"/>
                </a:cubicBezTo>
                <a:cubicBezTo>
                  <a:pt x="1001" y="164"/>
                  <a:pt x="994" y="167"/>
                  <a:pt x="998" y="163"/>
                </a:cubicBezTo>
                <a:cubicBezTo>
                  <a:pt x="1002" y="159"/>
                  <a:pt x="1012" y="156"/>
                  <a:pt x="1013" y="153"/>
                </a:cubicBezTo>
                <a:cubicBezTo>
                  <a:pt x="1015" y="150"/>
                  <a:pt x="997" y="142"/>
                  <a:pt x="1016" y="142"/>
                </a:cubicBezTo>
                <a:cubicBezTo>
                  <a:pt x="1035" y="142"/>
                  <a:pt x="1042" y="138"/>
                  <a:pt x="1042" y="138"/>
                </a:cubicBezTo>
                <a:cubicBezTo>
                  <a:pt x="1042" y="138"/>
                  <a:pt x="1054" y="131"/>
                  <a:pt x="1056" y="124"/>
                </a:cubicBezTo>
                <a:cubicBezTo>
                  <a:pt x="1057" y="118"/>
                  <a:pt x="1064" y="111"/>
                  <a:pt x="1064" y="111"/>
                </a:cubicBezTo>
                <a:cubicBezTo>
                  <a:pt x="1064" y="111"/>
                  <a:pt x="1071" y="104"/>
                  <a:pt x="1062" y="102"/>
                </a:cubicBezTo>
                <a:cubicBezTo>
                  <a:pt x="1052" y="101"/>
                  <a:pt x="1053" y="92"/>
                  <a:pt x="1044" y="100"/>
                </a:cubicBezTo>
                <a:cubicBezTo>
                  <a:pt x="1035" y="109"/>
                  <a:pt x="1024" y="99"/>
                  <a:pt x="1024" y="99"/>
                </a:cubicBezTo>
                <a:cubicBezTo>
                  <a:pt x="998" y="118"/>
                  <a:pt x="998" y="118"/>
                  <a:pt x="998" y="118"/>
                </a:cubicBezTo>
                <a:cubicBezTo>
                  <a:pt x="998" y="118"/>
                  <a:pt x="998" y="127"/>
                  <a:pt x="997" y="135"/>
                </a:cubicBezTo>
                <a:cubicBezTo>
                  <a:pt x="995" y="143"/>
                  <a:pt x="997" y="154"/>
                  <a:pt x="997" y="154"/>
                </a:cubicBezTo>
                <a:cubicBezTo>
                  <a:pt x="997" y="154"/>
                  <a:pt x="1000" y="156"/>
                  <a:pt x="993" y="160"/>
                </a:cubicBezTo>
                <a:cubicBezTo>
                  <a:pt x="987" y="165"/>
                  <a:pt x="973" y="177"/>
                  <a:pt x="973" y="177"/>
                </a:cubicBezTo>
                <a:cubicBezTo>
                  <a:pt x="961" y="198"/>
                  <a:pt x="961" y="198"/>
                  <a:pt x="961" y="198"/>
                </a:cubicBezTo>
                <a:cubicBezTo>
                  <a:pt x="968" y="203"/>
                  <a:pt x="968" y="203"/>
                  <a:pt x="968" y="203"/>
                </a:cubicBezTo>
                <a:cubicBezTo>
                  <a:pt x="952" y="212"/>
                  <a:pt x="952" y="212"/>
                  <a:pt x="952" y="212"/>
                </a:cubicBezTo>
                <a:cubicBezTo>
                  <a:pt x="952" y="212"/>
                  <a:pt x="948" y="218"/>
                  <a:pt x="952" y="224"/>
                </a:cubicBezTo>
                <a:cubicBezTo>
                  <a:pt x="957" y="230"/>
                  <a:pt x="962" y="222"/>
                  <a:pt x="967" y="233"/>
                </a:cubicBezTo>
                <a:cubicBezTo>
                  <a:pt x="972" y="244"/>
                  <a:pt x="978" y="246"/>
                  <a:pt x="980" y="248"/>
                </a:cubicBezTo>
                <a:cubicBezTo>
                  <a:pt x="982" y="250"/>
                  <a:pt x="968" y="255"/>
                  <a:pt x="969" y="263"/>
                </a:cubicBezTo>
                <a:cubicBezTo>
                  <a:pt x="970" y="272"/>
                  <a:pt x="976" y="275"/>
                  <a:pt x="976" y="275"/>
                </a:cubicBezTo>
                <a:cubicBezTo>
                  <a:pt x="976" y="275"/>
                  <a:pt x="954" y="283"/>
                  <a:pt x="951" y="287"/>
                </a:cubicBezTo>
                <a:cubicBezTo>
                  <a:pt x="948" y="291"/>
                  <a:pt x="943" y="293"/>
                  <a:pt x="943" y="293"/>
                </a:cubicBezTo>
                <a:cubicBezTo>
                  <a:pt x="943" y="293"/>
                  <a:pt x="939" y="302"/>
                  <a:pt x="935" y="311"/>
                </a:cubicBezTo>
                <a:cubicBezTo>
                  <a:pt x="932" y="321"/>
                  <a:pt x="923" y="322"/>
                  <a:pt x="923" y="322"/>
                </a:cubicBezTo>
                <a:cubicBezTo>
                  <a:pt x="923" y="322"/>
                  <a:pt x="915" y="306"/>
                  <a:pt x="921" y="304"/>
                </a:cubicBezTo>
                <a:cubicBezTo>
                  <a:pt x="926" y="301"/>
                  <a:pt x="932" y="292"/>
                  <a:pt x="932" y="292"/>
                </a:cubicBezTo>
                <a:cubicBezTo>
                  <a:pt x="932" y="292"/>
                  <a:pt x="929" y="279"/>
                  <a:pt x="921" y="279"/>
                </a:cubicBezTo>
                <a:cubicBezTo>
                  <a:pt x="912" y="278"/>
                  <a:pt x="907" y="272"/>
                  <a:pt x="907" y="272"/>
                </a:cubicBezTo>
                <a:cubicBezTo>
                  <a:pt x="894" y="282"/>
                  <a:pt x="894" y="282"/>
                  <a:pt x="894" y="282"/>
                </a:cubicBezTo>
                <a:cubicBezTo>
                  <a:pt x="894" y="282"/>
                  <a:pt x="912" y="296"/>
                  <a:pt x="903" y="296"/>
                </a:cubicBezTo>
                <a:cubicBezTo>
                  <a:pt x="895" y="296"/>
                  <a:pt x="877" y="290"/>
                  <a:pt x="877" y="290"/>
                </a:cubicBezTo>
                <a:cubicBezTo>
                  <a:pt x="863" y="288"/>
                  <a:pt x="863" y="288"/>
                  <a:pt x="863" y="288"/>
                </a:cubicBezTo>
                <a:cubicBezTo>
                  <a:pt x="863" y="288"/>
                  <a:pt x="842" y="281"/>
                  <a:pt x="838" y="284"/>
                </a:cubicBezTo>
                <a:cubicBezTo>
                  <a:pt x="834" y="286"/>
                  <a:pt x="813" y="274"/>
                  <a:pt x="812" y="270"/>
                </a:cubicBezTo>
                <a:cubicBezTo>
                  <a:pt x="811" y="267"/>
                  <a:pt x="791" y="252"/>
                  <a:pt x="795" y="246"/>
                </a:cubicBezTo>
                <a:cubicBezTo>
                  <a:pt x="800" y="239"/>
                  <a:pt x="813" y="225"/>
                  <a:pt x="790" y="231"/>
                </a:cubicBezTo>
                <a:cubicBezTo>
                  <a:pt x="767" y="237"/>
                  <a:pt x="764" y="238"/>
                  <a:pt x="764" y="238"/>
                </a:cubicBezTo>
                <a:cubicBezTo>
                  <a:pt x="764" y="238"/>
                  <a:pt x="749" y="235"/>
                  <a:pt x="753" y="239"/>
                </a:cubicBezTo>
                <a:cubicBezTo>
                  <a:pt x="756" y="243"/>
                  <a:pt x="762" y="241"/>
                  <a:pt x="764" y="245"/>
                </a:cubicBezTo>
                <a:cubicBezTo>
                  <a:pt x="766" y="248"/>
                  <a:pt x="758" y="256"/>
                  <a:pt x="753" y="255"/>
                </a:cubicBezTo>
                <a:cubicBezTo>
                  <a:pt x="747" y="255"/>
                  <a:pt x="744" y="250"/>
                  <a:pt x="742" y="257"/>
                </a:cubicBezTo>
                <a:cubicBezTo>
                  <a:pt x="741" y="264"/>
                  <a:pt x="745" y="272"/>
                  <a:pt x="745" y="272"/>
                </a:cubicBezTo>
                <a:cubicBezTo>
                  <a:pt x="744" y="288"/>
                  <a:pt x="744" y="288"/>
                  <a:pt x="744" y="288"/>
                </a:cubicBezTo>
                <a:cubicBezTo>
                  <a:pt x="744" y="288"/>
                  <a:pt x="733" y="291"/>
                  <a:pt x="730" y="292"/>
                </a:cubicBezTo>
                <a:cubicBezTo>
                  <a:pt x="728" y="293"/>
                  <a:pt x="733" y="268"/>
                  <a:pt x="733" y="268"/>
                </a:cubicBezTo>
                <a:cubicBezTo>
                  <a:pt x="724" y="255"/>
                  <a:pt x="724" y="255"/>
                  <a:pt x="724" y="255"/>
                </a:cubicBezTo>
                <a:cubicBezTo>
                  <a:pt x="724" y="255"/>
                  <a:pt x="731" y="248"/>
                  <a:pt x="719" y="247"/>
                </a:cubicBezTo>
                <a:cubicBezTo>
                  <a:pt x="706" y="246"/>
                  <a:pt x="695" y="243"/>
                  <a:pt x="694" y="246"/>
                </a:cubicBezTo>
                <a:cubicBezTo>
                  <a:pt x="692" y="249"/>
                  <a:pt x="695" y="243"/>
                  <a:pt x="682" y="243"/>
                </a:cubicBezTo>
                <a:cubicBezTo>
                  <a:pt x="670" y="244"/>
                  <a:pt x="637" y="239"/>
                  <a:pt x="645" y="229"/>
                </a:cubicBezTo>
                <a:cubicBezTo>
                  <a:pt x="654" y="219"/>
                  <a:pt x="651" y="216"/>
                  <a:pt x="660" y="219"/>
                </a:cubicBezTo>
                <a:cubicBezTo>
                  <a:pt x="669" y="221"/>
                  <a:pt x="672" y="219"/>
                  <a:pt x="672" y="212"/>
                </a:cubicBezTo>
                <a:cubicBezTo>
                  <a:pt x="673" y="204"/>
                  <a:pt x="668" y="191"/>
                  <a:pt x="668" y="191"/>
                </a:cubicBezTo>
                <a:cubicBezTo>
                  <a:pt x="668" y="191"/>
                  <a:pt x="663" y="189"/>
                  <a:pt x="656" y="187"/>
                </a:cubicBezTo>
                <a:cubicBezTo>
                  <a:pt x="650" y="186"/>
                  <a:pt x="640" y="180"/>
                  <a:pt x="640" y="180"/>
                </a:cubicBezTo>
                <a:cubicBezTo>
                  <a:pt x="628" y="165"/>
                  <a:pt x="628" y="165"/>
                  <a:pt x="628" y="165"/>
                </a:cubicBezTo>
                <a:cubicBezTo>
                  <a:pt x="628" y="165"/>
                  <a:pt x="624" y="163"/>
                  <a:pt x="619" y="150"/>
                </a:cubicBezTo>
                <a:cubicBezTo>
                  <a:pt x="614" y="138"/>
                  <a:pt x="613" y="131"/>
                  <a:pt x="605" y="129"/>
                </a:cubicBezTo>
                <a:cubicBezTo>
                  <a:pt x="596" y="126"/>
                  <a:pt x="599" y="120"/>
                  <a:pt x="589" y="123"/>
                </a:cubicBezTo>
                <a:cubicBezTo>
                  <a:pt x="580" y="126"/>
                  <a:pt x="568" y="136"/>
                  <a:pt x="567" y="128"/>
                </a:cubicBezTo>
                <a:cubicBezTo>
                  <a:pt x="567" y="120"/>
                  <a:pt x="587" y="104"/>
                  <a:pt x="587" y="104"/>
                </a:cubicBezTo>
                <a:cubicBezTo>
                  <a:pt x="587" y="104"/>
                  <a:pt x="589" y="93"/>
                  <a:pt x="586" y="97"/>
                </a:cubicBezTo>
                <a:cubicBezTo>
                  <a:pt x="583" y="100"/>
                  <a:pt x="569" y="104"/>
                  <a:pt x="569" y="104"/>
                </a:cubicBezTo>
                <a:cubicBezTo>
                  <a:pt x="569" y="104"/>
                  <a:pt x="561" y="112"/>
                  <a:pt x="556" y="115"/>
                </a:cubicBezTo>
                <a:cubicBezTo>
                  <a:pt x="550" y="119"/>
                  <a:pt x="547" y="110"/>
                  <a:pt x="547" y="110"/>
                </a:cubicBezTo>
                <a:cubicBezTo>
                  <a:pt x="556" y="89"/>
                  <a:pt x="556" y="89"/>
                  <a:pt x="556" y="89"/>
                </a:cubicBezTo>
                <a:cubicBezTo>
                  <a:pt x="556" y="89"/>
                  <a:pt x="571" y="80"/>
                  <a:pt x="568" y="73"/>
                </a:cubicBezTo>
                <a:cubicBezTo>
                  <a:pt x="565" y="66"/>
                  <a:pt x="560" y="62"/>
                  <a:pt x="560" y="62"/>
                </a:cubicBezTo>
                <a:cubicBezTo>
                  <a:pt x="560" y="62"/>
                  <a:pt x="554" y="66"/>
                  <a:pt x="550" y="72"/>
                </a:cubicBezTo>
                <a:cubicBezTo>
                  <a:pt x="546" y="77"/>
                  <a:pt x="541" y="80"/>
                  <a:pt x="541" y="80"/>
                </a:cubicBezTo>
                <a:cubicBezTo>
                  <a:pt x="541" y="80"/>
                  <a:pt x="527" y="98"/>
                  <a:pt x="525" y="87"/>
                </a:cubicBezTo>
                <a:cubicBezTo>
                  <a:pt x="523" y="76"/>
                  <a:pt x="543" y="63"/>
                  <a:pt x="524" y="66"/>
                </a:cubicBezTo>
                <a:cubicBezTo>
                  <a:pt x="506" y="68"/>
                  <a:pt x="506" y="61"/>
                  <a:pt x="502" y="65"/>
                </a:cubicBezTo>
                <a:cubicBezTo>
                  <a:pt x="499" y="69"/>
                  <a:pt x="502" y="75"/>
                  <a:pt x="494" y="79"/>
                </a:cubicBezTo>
                <a:cubicBezTo>
                  <a:pt x="486" y="82"/>
                  <a:pt x="482" y="79"/>
                  <a:pt x="476" y="77"/>
                </a:cubicBezTo>
                <a:cubicBezTo>
                  <a:pt x="470" y="75"/>
                  <a:pt x="466" y="53"/>
                  <a:pt x="463" y="68"/>
                </a:cubicBezTo>
                <a:cubicBezTo>
                  <a:pt x="459" y="82"/>
                  <a:pt x="459" y="88"/>
                  <a:pt x="452" y="80"/>
                </a:cubicBezTo>
                <a:cubicBezTo>
                  <a:pt x="444" y="71"/>
                  <a:pt x="444" y="64"/>
                  <a:pt x="444" y="64"/>
                </a:cubicBezTo>
                <a:cubicBezTo>
                  <a:pt x="444" y="64"/>
                  <a:pt x="425" y="83"/>
                  <a:pt x="431" y="75"/>
                </a:cubicBezTo>
                <a:cubicBezTo>
                  <a:pt x="437" y="66"/>
                  <a:pt x="431" y="63"/>
                  <a:pt x="431" y="63"/>
                </a:cubicBezTo>
                <a:cubicBezTo>
                  <a:pt x="418" y="56"/>
                  <a:pt x="418" y="56"/>
                  <a:pt x="418" y="56"/>
                </a:cubicBezTo>
                <a:cubicBezTo>
                  <a:pt x="418" y="56"/>
                  <a:pt x="418" y="46"/>
                  <a:pt x="415" y="44"/>
                </a:cubicBezTo>
                <a:cubicBezTo>
                  <a:pt x="412" y="43"/>
                  <a:pt x="408" y="34"/>
                  <a:pt x="408" y="34"/>
                </a:cubicBezTo>
                <a:cubicBezTo>
                  <a:pt x="410" y="17"/>
                  <a:pt x="410" y="17"/>
                  <a:pt x="410" y="17"/>
                </a:cubicBezTo>
                <a:cubicBezTo>
                  <a:pt x="410" y="17"/>
                  <a:pt x="403" y="0"/>
                  <a:pt x="401" y="1"/>
                </a:cubicBezTo>
                <a:cubicBezTo>
                  <a:pt x="376" y="14"/>
                  <a:pt x="95" y="232"/>
                  <a:pt x="90" y="240"/>
                </a:cubicBezTo>
                <a:cubicBezTo>
                  <a:pt x="85" y="249"/>
                  <a:pt x="93" y="249"/>
                  <a:pt x="98" y="254"/>
                </a:cubicBezTo>
                <a:cubicBezTo>
                  <a:pt x="104" y="259"/>
                  <a:pt x="107" y="266"/>
                  <a:pt x="114" y="273"/>
                </a:cubicBezTo>
                <a:cubicBezTo>
                  <a:pt x="121" y="279"/>
                  <a:pt x="114" y="290"/>
                  <a:pt x="109" y="298"/>
                </a:cubicBezTo>
                <a:cubicBezTo>
                  <a:pt x="104" y="307"/>
                  <a:pt x="92" y="312"/>
                  <a:pt x="95" y="324"/>
                </a:cubicBezTo>
                <a:cubicBezTo>
                  <a:pt x="98" y="336"/>
                  <a:pt x="110" y="329"/>
                  <a:pt x="117" y="319"/>
                </a:cubicBezTo>
                <a:cubicBezTo>
                  <a:pt x="124" y="309"/>
                  <a:pt x="139" y="327"/>
                  <a:pt x="136" y="341"/>
                </a:cubicBezTo>
                <a:cubicBezTo>
                  <a:pt x="133" y="355"/>
                  <a:pt x="129" y="396"/>
                  <a:pt x="124" y="413"/>
                </a:cubicBezTo>
                <a:cubicBezTo>
                  <a:pt x="119" y="430"/>
                  <a:pt x="121" y="430"/>
                  <a:pt x="114" y="444"/>
                </a:cubicBezTo>
                <a:cubicBezTo>
                  <a:pt x="107" y="457"/>
                  <a:pt x="110" y="457"/>
                  <a:pt x="117" y="468"/>
                </a:cubicBezTo>
                <a:cubicBezTo>
                  <a:pt x="124" y="478"/>
                  <a:pt x="126" y="493"/>
                  <a:pt x="122" y="500"/>
                </a:cubicBezTo>
                <a:cubicBezTo>
                  <a:pt x="119" y="507"/>
                  <a:pt x="109" y="515"/>
                  <a:pt x="100" y="529"/>
                </a:cubicBezTo>
                <a:cubicBezTo>
                  <a:pt x="92" y="543"/>
                  <a:pt x="71" y="529"/>
                  <a:pt x="71" y="529"/>
                </a:cubicBezTo>
                <a:cubicBezTo>
                  <a:pt x="69" y="528"/>
                  <a:pt x="69" y="528"/>
                  <a:pt x="69" y="528"/>
                </a:cubicBezTo>
                <a:cubicBezTo>
                  <a:pt x="68" y="530"/>
                  <a:pt x="68" y="530"/>
                  <a:pt x="68" y="530"/>
                </a:cubicBezTo>
                <a:cubicBezTo>
                  <a:pt x="67" y="532"/>
                  <a:pt x="66" y="535"/>
                  <a:pt x="67" y="539"/>
                </a:cubicBezTo>
                <a:cubicBezTo>
                  <a:pt x="69" y="548"/>
                  <a:pt x="73" y="562"/>
                  <a:pt x="65" y="562"/>
                </a:cubicBezTo>
                <a:cubicBezTo>
                  <a:pt x="58" y="562"/>
                  <a:pt x="58" y="558"/>
                  <a:pt x="51" y="564"/>
                </a:cubicBezTo>
                <a:cubicBezTo>
                  <a:pt x="45" y="570"/>
                  <a:pt x="36" y="567"/>
                  <a:pt x="42" y="576"/>
                </a:cubicBezTo>
                <a:cubicBezTo>
                  <a:pt x="48" y="586"/>
                  <a:pt x="56" y="584"/>
                  <a:pt x="56" y="584"/>
                </a:cubicBezTo>
                <a:cubicBezTo>
                  <a:pt x="56" y="584"/>
                  <a:pt x="64" y="572"/>
                  <a:pt x="67" y="581"/>
                </a:cubicBezTo>
                <a:cubicBezTo>
                  <a:pt x="70" y="590"/>
                  <a:pt x="75" y="590"/>
                  <a:pt x="70" y="596"/>
                </a:cubicBezTo>
                <a:cubicBezTo>
                  <a:pt x="65" y="603"/>
                  <a:pt x="64" y="604"/>
                  <a:pt x="58" y="607"/>
                </a:cubicBezTo>
                <a:cubicBezTo>
                  <a:pt x="51" y="610"/>
                  <a:pt x="53" y="598"/>
                  <a:pt x="51" y="610"/>
                </a:cubicBezTo>
                <a:cubicBezTo>
                  <a:pt x="50" y="623"/>
                  <a:pt x="58" y="617"/>
                  <a:pt x="58" y="621"/>
                </a:cubicBezTo>
                <a:cubicBezTo>
                  <a:pt x="58" y="626"/>
                  <a:pt x="48" y="634"/>
                  <a:pt x="48" y="634"/>
                </a:cubicBezTo>
                <a:cubicBezTo>
                  <a:pt x="48" y="634"/>
                  <a:pt x="67" y="634"/>
                  <a:pt x="69" y="637"/>
                </a:cubicBezTo>
                <a:cubicBezTo>
                  <a:pt x="70" y="640"/>
                  <a:pt x="78" y="627"/>
                  <a:pt x="79" y="638"/>
                </a:cubicBezTo>
                <a:cubicBezTo>
                  <a:pt x="81" y="649"/>
                  <a:pt x="76" y="654"/>
                  <a:pt x="69" y="657"/>
                </a:cubicBezTo>
                <a:cubicBezTo>
                  <a:pt x="61" y="660"/>
                  <a:pt x="53" y="660"/>
                  <a:pt x="53" y="660"/>
                </a:cubicBezTo>
                <a:cubicBezTo>
                  <a:pt x="53" y="660"/>
                  <a:pt x="47" y="655"/>
                  <a:pt x="45" y="663"/>
                </a:cubicBezTo>
                <a:cubicBezTo>
                  <a:pt x="44" y="671"/>
                  <a:pt x="47" y="674"/>
                  <a:pt x="51" y="677"/>
                </a:cubicBezTo>
                <a:cubicBezTo>
                  <a:pt x="56" y="680"/>
                  <a:pt x="41" y="688"/>
                  <a:pt x="47" y="696"/>
                </a:cubicBezTo>
                <a:cubicBezTo>
                  <a:pt x="53" y="703"/>
                  <a:pt x="65" y="699"/>
                  <a:pt x="65" y="699"/>
                </a:cubicBezTo>
                <a:cubicBezTo>
                  <a:pt x="65" y="699"/>
                  <a:pt x="76" y="683"/>
                  <a:pt x="75" y="696"/>
                </a:cubicBezTo>
                <a:cubicBezTo>
                  <a:pt x="73" y="708"/>
                  <a:pt x="58" y="706"/>
                  <a:pt x="64" y="714"/>
                </a:cubicBezTo>
                <a:cubicBezTo>
                  <a:pt x="70" y="722"/>
                  <a:pt x="73" y="711"/>
                  <a:pt x="79" y="720"/>
                </a:cubicBezTo>
                <a:cubicBezTo>
                  <a:pt x="86" y="730"/>
                  <a:pt x="78" y="733"/>
                  <a:pt x="78" y="741"/>
                </a:cubicBezTo>
                <a:cubicBezTo>
                  <a:pt x="78" y="748"/>
                  <a:pt x="87" y="753"/>
                  <a:pt x="89" y="758"/>
                </a:cubicBezTo>
                <a:cubicBezTo>
                  <a:pt x="90" y="762"/>
                  <a:pt x="93" y="776"/>
                  <a:pt x="89" y="781"/>
                </a:cubicBezTo>
                <a:cubicBezTo>
                  <a:pt x="84" y="785"/>
                  <a:pt x="79" y="784"/>
                  <a:pt x="81" y="793"/>
                </a:cubicBezTo>
                <a:cubicBezTo>
                  <a:pt x="82" y="803"/>
                  <a:pt x="84" y="804"/>
                  <a:pt x="76" y="809"/>
                </a:cubicBezTo>
                <a:cubicBezTo>
                  <a:pt x="69" y="813"/>
                  <a:pt x="64" y="815"/>
                  <a:pt x="64" y="807"/>
                </a:cubicBezTo>
                <a:cubicBezTo>
                  <a:pt x="64" y="799"/>
                  <a:pt x="69" y="787"/>
                  <a:pt x="67" y="781"/>
                </a:cubicBezTo>
                <a:cubicBezTo>
                  <a:pt x="65" y="775"/>
                  <a:pt x="70" y="751"/>
                  <a:pt x="64" y="751"/>
                </a:cubicBezTo>
                <a:cubicBezTo>
                  <a:pt x="58" y="751"/>
                  <a:pt x="58" y="737"/>
                  <a:pt x="58" y="733"/>
                </a:cubicBezTo>
                <a:cubicBezTo>
                  <a:pt x="58" y="728"/>
                  <a:pt x="48" y="716"/>
                  <a:pt x="45" y="722"/>
                </a:cubicBezTo>
                <a:cubicBezTo>
                  <a:pt x="42" y="728"/>
                  <a:pt x="36" y="720"/>
                  <a:pt x="36" y="720"/>
                </a:cubicBezTo>
                <a:cubicBezTo>
                  <a:pt x="36" y="720"/>
                  <a:pt x="38" y="693"/>
                  <a:pt x="31" y="697"/>
                </a:cubicBezTo>
                <a:cubicBezTo>
                  <a:pt x="25" y="702"/>
                  <a:pt x="19" y="680"/>
                  <a:pt x="13" y="689"/>
                </a:cubicBezTo>
                <a:cubicBezTo>
                  <a:pt x="7" y="699"/>
                  <a:pt x="0" y="689"/>
                  <a:pt x="8" y="705"/>
                </a:cubicBezTo>
                <a:cubicBezTo>
                  <a:pt x="16" y="720"/>
                  <a:pt x="18" y="733"/>
                  <a:pt x="22" y="736"/>
                </a:cubicBezTo>
                <a:cubicBezTo>
                  <a:pt x="31" y="744"/>
                  <a:pt x="41" y="747"/>
                  <a:pt x="36" y="753"/>
                </a:cubicBezTo>
                <a:cubicBezTo>
                  <a:pt x="31" y="759"/>
                  <a:pt x="28" y="756"/>
                  <a:pt x="28" y="765"/>
                </a:cubicBezTo>
                <a:cubicBezTo>
                  <a:pt x="28" y="775"/>
                  <a:pt x="39" y="776"/>
                  <a:pt x="39" y="776"/>
                </a:cubicBezTo>
                <a:cubicBezTo>
                  <a:pt x="39" y="776"/>
                  <a:pt x="41" y="775"/>
                  <a:pt x="36" y="793"/>
                </a:cubicBezTo>
                <a:cubicBezTo>
                  <a:pt x="31" y="812"/>
                  <a:pt x="44" y="809"/>
                  <a:pt x="42" y="818"/>
                </a:cubicBezTo>
                <a:cubicBezTo>
                  <a:pt x="42" y="818"/>
                  <a:pt x="56" y="844"/>
                  <a:pt x="68" y="837"/>
                </a:cubicBezTo>
                <a:cubicBezTo>
                  <a:pt x="80" y="830"/>
                  <a:pt x="80" y="803"/>
                  <a:pt x="109" y="808"/>
                </a:cubicBezTo>
                <a:cubicBezTo>
                  <a:pt x="138" y="813"/>
                  <a:pt x="562" y="943"/>
                  <a:pt x="743" y="963"/>
                </a:cubicBezTo>
                <a:cubicBezTo>
                  <a:pt x="743" y="963"/>
                  <a:pt x="769" y="970"/>
                  <a:pt x="769" y="963"/>
                </a:cubicBezTo>
                <a:cubicBezTo>
                  <a:pt x="769" y="957"/>
                  <a:pt x="775" y="948"/>
                  <a:pt x="781" y="951"/>
                </a:cubicBezTo>
                <a:cubicBezTo>
                  <a:pt x="786" y="955"/>
                  <a:pt x="772" y="968"/>
                  <a:pt x="784" y="972"/>
                </a:cubicBezTo>
                <a:cubicBezTo>
                  <a:pt x="796" y="975"/>
                  <a:pt x="811" y="987"/>
                  <a:pt x="820" y="987"/>
                </a:cubicBezTo>
                <a:cubicBezTo>
                  <a:pt x="828" y="987"/>
                  <a:pt x="835" y="991"/>
                  <a:pt x="840" y="996"/>
                </a:cubicBezTo>
                <a:cubicBezTo>
                  <a:pt x="846" y="1001"/>
                  <a:pt x="852" y="999"/>
                  <a:pt x="858" y="999"/>
                </a:cubicBezTo>
                <a:cubicBezTo>
                  <a:pt x="863" y="999"/>
                  <a:pt x="873" y="994"/>
                  <a:pt x="876" y="1003"/>
                </a:cubicBezTo>
                <a:cubicBezTo>
                  <a:pt x="880" y="1011"/>
                  <a:pt x="881" y="1010"/>
                  <a:pt x="890" y="1010"/>
                </a:cubicBezTo>
                <a:cubicBezTo>
                  <a:pt x="899" y="1010"/>
                  <a:pt x="914" y="1011"/>
                  <a:pt x="914" y="1011"/>
                </a:cubicBezTo>
                <a:cubicBezTo>
                  <a:pt x="915" y="1014"/>
                  <a:pt x="915" y="1014"/>
                  <a:pt x="915" y="1014"/>
                </a:cubicBezTo>
                <a:cubicBezTo>
                  <a:pt x="919" y="1011"/>
                  <a:pt x="923" y="1008"/>
                  <a:pt x="926" y="1002"/>
                </a:cubicBezTo>
                <a:cubicBezTo>
                  <a:pt x="937" y="986"/>
                  <a:pt x="940" y="986"/>
                  <a:pt x="952" y="987"/>
                </a:cubicBezTo>
                <a:cubicBezTo>
                  <a:pt x="952" y="987"/>
                  <a:pt x="968" y="980"/>
                  <a:pt x="978" y="981"/>
                </a:cubicBezTo>
                <a:cubicBezTo>
                  <a:pt x="987" y="982"/>
                  <a:pt x="987" y="990"/>
                  <a:pt x="989" y="998"/>
                </a:cubicBezTo>
                <a:cubicBezTo>
                  <a:pt x="991" y="1007"/>
                  <a:pt x="1002" y="1018"/>
                  <a:pt x="1005" y="1012"/>
                </a:cubicBezTo>
                <a:cubicBezTo>
                  <a:pt x="1008" y="1006"/>
                  <a:pt x="1023" y="1022"/>
                  <a:pt x="1028" y="1022"/>
                </a:cubicBezTo>
                <a:cubicBezTo>
                  <a:pt x="1032" y="1022"/>
                  <a:pt x="1033" y="1030"/>
                  <a:pt x="1043" y="1060"/>
                </a:cubicBezTo>
                <a:cubicBezTo>
                  <a:pt x="1052" y="1090"/>
                  <a:pt x="1062" y="1075"/>
                  <a:pt x="1065" y="1080"/>
                </a:cubicBezTo>
                <a:cubicBezTo>
                  <a:pt x="1068" y="1086"/>
                  <a:pt x="1073" y="1083"/>
                  <a:pt x="1078" y="1086"/>
                </a:cubicBezTo>
                <a:cubicBezTo>
                  <a:pt x="1082" y="1088"/>
                  <a:pt x="1104" y="1091"/>
                  <a:pt x="1113" y="1091"/>
                </a:cubicBezTo>
                <a:cubicBezTo>
                  <a:pt x="1121" y="1091"/>
                  <a:pt x="1131" y="1098"/>
                  <a:pt x="1140" y="1102"/>
                </a:cubicBezTo>
                <a:cubicBezTo>
                  <a:pt x="1148" y="1105"/>
                  <a:pt x="1158" y="1122"/>
                  <a:pt x="1163" y="1127"/>
                </a:cubicBezTo>
                <a:cubicBezTo>
                  <a:pt x="1168" y="1132"/>
                  <a:pt x="1166" y="1145"/>
                  <a:pt x="1156" y="1147"/>
                </a:cubicBezTo>
                <a:cubicBezTo>
                  <a:pt x="1151" y="1148"/>
                  <a:pt x="1149" y="1149"/>
                  <a:pt x="1147" y="1149"/>
                </a:cubicBezTo>
                <a:cubicBezTo>
                  <a:pt x="1146" y="1150"/>
                  <a:pt x="1146" y="1150"/>
                  <a:pt x="1146" y="1150"/>
                </a:cubicBezTo>
                <a:cubicBezTo>
                  <a:pt x="1155" y="1164"/>
                  <a:pt x="1167" y="1172"/>
                  <a:pt x="1177" y="1187"/>
                </a:cubicBezTo>
                <a:cubicBezTo>
                  <a:pt x="1178" y="1186"/>
                  <a:pt x="1178" y="1186"/>
                  <a:pt x="1178" y="1186"/>
                </a:cubicBezTo>
                <a:cubicBezTo>
                  <a:pt x="1196" y="1175"/>
                  <a:pt x="1196" y="1175"/>
                  <a:pt x="1196" y="1175"/>
                </a:cubicBezTo>
                <a:cubicBezTo>
                  <a:pt x="1196" y="1175"/>
                  <a:pt x="1227" y="1177"/>
                  <a:pt x="1231" y="1177"/>
                </a:cubicBezTo>
                <a:cubicBezTo>
                  <a:pt x="1236" y="1177"/>
                  <a:pt x="1263" y="1168"/>
                  <a:pt x="1268" y="1162"/>
                </a:cubicBezTo>
                <a:cubicBezTo>
                  <a:pt x="1269" y="1161"/>
                  <a:pt x="1270" y="1161"/>
                  <a:pt x="1271" y="1162"/>
                </a:cubicBezTo>
                <a:cubicBezTo>
                  <a:pt x="1273" y="1162"/>
                  <a:pt x="1273" y="1162"/>
                  <a:pt x="1273" y="1162"/>
                </a:cubicBezTo>
                <a:cubicBezTo>
                  <a:pt x="1273" y="1162"/>
                  <a:pt x="1287" y="1153"/>
                  <a:pt x="1294" y="1146"/>
                </a:cubicBezTo>
                <a:cubicBezTo>
                  <a:pt x="1300" y="1139"/>
                  <a:pt x="1302" y="1134"/>
                  <a:pt x="1326" y="1138"/>
                </a:cubicBezTo>
                <a:cubicBezTo>
                  <a:pt x="1350" y="1141"/>
                  <a:pt x="1374" y="1139"/>
                  <a:pt x="1388" y="1134"/>
                </a:cubicBezTo>
                <a:cubicBezTo>
                  <a:pt x="1401" y="1129"/>
                  <a:pt x="1423" y="1129"/>
                  <a:pt x="1429" y="1105"/>
                </a:cubicBezTo>
                <a:cubicBezTo>
                  <a:pt x="1434" y="1081"/>
                  <a:pt x="1442" y="1066"/>
                  <a:pt x="1447" y="1054"/>
                </a:cubicBezTo>
                <a:cubicBezTo>
                  <a:pt x="1453" y="1042"/>
                  <a:pt x="1459" y="1032"/>
                  <a:pt x="1470" y="1042"/>
                </a:cubicBezTo>
                <a:cubicBezTo>
                  <a:pt x="1480" y="1052"/>
                  <a:pt x="1485" y="1039"/>
                  <a:pt x="1495" y="1047"/>
                </a:cubicBezTo>
                <a:cubicBezTo>
                  <a:pt x="1506" y="1056"/>
                  <a:pt x="1495" y="1071"/>
                  <a:pt x="1502" y="1086"/>
                </a:cubicBezTo>
                <a:cubicBezTo>
                  <a:pt x="1509" y="1102"/>
                  <a:pt x="1523" y="1122"/>
                  <a:pt x="1529" y="1131"/>
                </a:cubicBezTo>
                <a:cubicBezTo>
                  <a:pt x="1531" y="1133"/>
                  <a:pt x="1531" y="1133"/>
                  <a:pt x="1531" y="1133"/>
                </a:cubicBezTo>
                <a:cubicBezTo>
                  <a:pt x="1535" y="1128"/>
                  <a:pt x="1537" y="1125"/>
                  <a:pt x="1537" y="1125"/>
                </a:cubicBezTo>
                <a:cubicBezTo>
                  <a:pt x="1537" y="1125"/>
                  <a:pt x="1557" y="1116"/>
                  <a:pt x="1565" y="1112"/>
                </a:cubicBezTo>
                <a:cubicBezTo>
                  <a:pt x="1574" y="1109"/>
                  <a:pt x="1583" y="1099"/>
                  <a:pt x="1583" y="1099"/>
                </a:cubicBezTo>
                <a:cubicBezTo>
                  <a:pt x="1589" y="1093"/>
                  <a:pt x="1589" y="1093"/>
                  <a:pt x="1589" y="1093"/>
                </a:cubicBezTo>
                <a:cubicBezTo>
                  <a:pt x="1589" y="1093"/>
                  <a:pt x="1583" y="1099"/>
                  <a:pt x="1596" y="1102"/>
                </a:cubicBezTo>
                <a:cubicBezTo>
                  <a:pt x="1608" y="1106"/>
                  <a:pt x="1618" y="1096"/>
                  <a:pt x="1618" y="1102"/>
                </a:cubicBezTo>
                <a:cubicBezTo>
                  <a:pt x="1617" y="1109"/>
                  <a:pt x="1601" y="1116"/>
                  <a:pt x="1601" y="1116"/>
                </a:cubicBezTo>
                <a:cubicBezTo>
                  <a:pt x="1601" y="1116"/>
                  <a:pt x="1598" y="1116"/>
                  <a:pt x="1591" y="1117"/>
                </a:cubicBezTo>
                <a:cubicBezTo>
                  <a:pt x="1584" y="1118"/>
                  <a:pt x="1573" y="1132"/>
                  <a:pt x="1573" y="1132"/>
                </a:cubicBezTo>
                <a:cubicBezTo>
                  <a:pt x="1573" y="1132"/>
                  <a:pt x="1568" y="1135"/>
                  <a:pt x="1565" y="1140"/>
                </a:cubicBezTo>
                <a:cubicBezTo>
                  <a:pt x="1561" y="1146"/>
                  <a:pt x="1558" y="1152"/>
                  <a:pt x="1559" y="1158"/>
                </a:cubicBezTo>
                <a:cubicBezTo>
                  <a:pt x="1560" y="1165"/>
                  <a:pt x="1559" y="1169"/>
                  <a:pt x="1567" y="1172"/>
                </a:cubicBezTo>
                <a:cubicBezTo>
                  <a:pt x="1574" y="1174"/>
                  <a:pt x="1584" y="1169"/>
                  <a:pt x="1584" y="1169"/>
                </a:cubicBezTo>
                <a:cubicBezTo>
                  <a:pt x="1584" y="1169"/>
                  <a:pt x="1601" y="1156"/>
                  <a:pt x="1603" y="1152"/>
                </a:cubicBezTo>
                <a:cubicBezTo>
                  <a:pt x="1604" y="1149"/>
                  <a:pt x="1609" y="1138"/>
                  <a:pt x="1609" y="1138"/>
                </a:cubicBezTo>
                <a:cubicBezTo>
                  <a:pt x="1625" y="1129"/>
                  <a:pt x="1625" y="1129"/>
                  <a:pt x="1625" y="1129"/>
                </a:cubicBezTo>
                <a:cubicBezTo>
                  <a:pt x="1625" y="1129"/>
                  <a:pt x="1634" y="1129"/>
                  <a:pt x="1643" y="1127"/>
                </a:cubicBezTo>
                <a:cubicBezTo>
                  <a:pt x="1653" y="1125"/>
                  <a:pt x="1666" y="1118"/>
                  <a:pt x="1666" y="1118"/>
                </a:cubicBezTo>
                <a:cubicBezTo>
                  <a:pt x="1666" y="1118"/>
                  <a:pt x="1677" y="1113"/>
                  <a:pt x="1681" y="1109"/>
                </a:cubicBezTo>
                <a:cubicBezTo>
                  <a:pt x="1684" y="1104"/>
                  <a:pt x="1685" y="1102"/>
                  <a:pt x="1685" y="1102"/>
                </a:cubicBezTo>
                <a:cubicBezTo>
                  <a:pt x="1685" y="1102"/>
                  <a:pt x="1684" y="1093"/>
                  <a:pt x="1681" y="1093"/>
                </a:cubicBezTo>
                <a:cubicBezTo>
                  <a:pt x="1677" y="1092"/>
                  <a:pt x="1673" y="1095"/>
                  <a:pt x="1681" y="1088"/>
                </a:cubicBezTo>
                <a:cubicBezTo>
                  <a:pt x="1690" y="1081"/>
                  <a:pt x="1683" y="1085"/>
                  <a:pt x="1691" y="1079"/>
                </a:cubicBezTo>
                <a:cubicBezTo>
                  <a:pt x="1699" y="1073"/>
                  <a:pt x="1702" y="1063"/>
                  <a:pt x="1702" y="1063"/>
                </a:cubicBezTo>
                <a:cubicBezTo>
                  <a:pt x="1698" y="1045"/>
                  <a:pt x="1698" y="1045"/>
                  <a:pt x="1698" y="1045"/>
                </a:cubicBezTo>
                <a:cubicBezTo>
                  <a:pt x="1698" y="1045"/>
                  <a:pt x="1690" y="1035"/>
                  <a:pt x="1686" y="1044"/>
                </a:cubicBezTo>
                <a:cubicBezTo>
                  <a:pt x="1682" y="1053"/>
                  <a:pt x="1680" y="1065"/>
                  <a:pt x="1677" y="1075"/>
                </a:cubicBezTo>
                <a:cubicBezTo>
                  <a:pt x="1673" y="1086"/>
                  <a:pt x="1664" y="1087"/>
                  <a:pt x="1664" y="1087"/>
                </a:cubicBezTo>
                <a:cubicBezTo>
                  <a:pt x="1664" y="1087"/>
                  <a:pt x="1657" y="1084"/>
                  <a:pt x="1649" y="1086"/>
                </a:cubicBezTo>
                <a:cubicBezTo>
                  <a:pt x="1641" y="1087"/>
                  <a:pt x="1611" y="1093"/>
                  <a:pt x="1607" y="1082"/>
                </a:cubicBezTo>
                <a:cubicBezTo>
                  <a:pt x="1604" y="1072"/>
                  <a:pt x="1594" y="1062"/>
                  <a:pt x="1587" y="1064"/>
                </a:cubicBezTo>
                <a:cubicBezTo>
                  <a:pt x="1579" y="1066"/>
                  <a:pt x="1574" y="1056"/>
                  <a:pt x="1575" y="1046"/>
                </a:cubicBezTo>
                <a:cubicBezTo>
                  <a:pt x="1576" y="1037"/>
                  <a:pt x="1569" y="1021"/>
                  <a:pt x="1569" y="1021"/>
                </a:cubicBezTo>
                <a:cubicBezTo>
                  <a:pt x="1569" y="1021"/>
                  <a:pt x="1590" y="1017"/>
                  <a:pt x="1567" y="1017"/>
                </a:cubicBezTo>
                <a:cubicBezTo>
                  <a:pt x="1543" y="1018"/>
                  <a:pt x="1535" y="1016"/>
                  <a:pt x="1535" y="1016"/>
                </a:cubicBezTo>
                <a:cubicBezTo>
                  <a:pt x="1560" y="997"/>
                  <a:pt x="1560" y="997"/>
                  <a:pt x="1560" y="997"/>
                </a:cubicBezTo>
                <a:cubicBezTo>
                  <a:pt x="1560" y="997"/>
                  <a:pt x="1575" y="1001"/>
                  <a:pt x="1578" y="996"/>
                </a:cubicBezTo>
                <a:cubicBezTo>
                  <a:pt x="1580" y="990"/>
                  <a:pt x="1579" y="983"/>
                  <a:pt x="1579" y="983"/>
                </a:cubicBezTo>
                <a:cubicBezTo>
                  <a:pt x="1579" y="983"/>
                  <a:pt x="1580" y="968"/>
                  <a:pt x="1549" y="972"/>
                </a:cubicBezTo>
                <a:cubicBezTo>
                  <a:pt x="1519" y="975"/>
                  <a:pt x="1486" y="989"/>
                  <a:pt x="1479" y="995"/>
                </a:cubicBezTo>
                <a:cubicBezTo>
                  <a:pt x="1472" y="1000"/>
                  <a:pt x="1433" y="1053"/>
                  <a:pt x="1414" y="1061"/>
                </a:cubicBezTo>
                <a:cubicBezTo>
                  <a:pt x="1414" y="1061"/>
                  <a:pt x="1444" y="1026"/>
                  <a:pt x="1438" y="1018"/>
                </a:cubicBezTo>
                <a:cubicBezTo>
                  <a:pt x="1432" y="1010"/>
                  <a:pt x="1452" y="983"/>
                  <a:pt x="1472" y="976"/>
                </a:cubicBezTo>
                <a:cubicBezTo>
                  <a:pt x="1491" y="968"/>
                  <a:pt x="1497" y="971"/>
                  <a:pt x="1504" y="953"/>
                </a:cubicBezTo>
                <a:cubicBezTo>
                  <a:pt x="1512" y="935"/>
                  <a:pt x="1522" y="927"/>
                  <a:pt x="1531" y="927"/>
                </a:cubicBezTo>
                <a:cubicBezTo>
                  <a:pt x="1539" y="927"/>
                  <a:pt x="1538" y="927"/>
                  <a:pt x="1558" y="926"/>
                </a:cubicBezTo>
                <a:cubicBezTo>
                  <a:pt x="1577" y="925"/>
                  <a:pt x="1592" y="920"/>
                  <a:pt x="1592" y="920"/>
                </a:cubicBezTo>
                <a:cubicBezTo>
                  <a:pt x="1592" y="920"/>
                  <a:pt x="1627" y="921"/>
                  <a:pt x="1638" y="923"/>
                </a:cubicBezTo>
                <a:cubicBezTo>
                  <a:pt x="1648" y="925"/>
                  <a:pt x="1665" y="917"/>
                  <a:pt x="1673" y="914"/>
                </a:cubicBezTo>
                <a:cubicBezTo>
                  <a:pt x="1681" y="912"/>
                  <a:pt x="1694" y="904"/>
                  <a:pt x="1699" y="899"/>
                </a:cubicBezTo>
                <a:cubicBezTo>
                  <a:pt x="1704" y="894"/>
                  <a:pt x="1710" y="878"/>
                  <a:pt x="1710" y="878"/>
                </a:cubicBezTo>
                <a:cubicBezTo>
                  <a:pt x="1710" y="878"/>
                  <a:pt x="1722" y="862"/>
                  <a:pt x="1731" y="860"/>
                </a:cubicBezTo>
                <a:cubicBezTo>
                  <a:pt x="1739" y="859"/>
                  <a:pt x="1745" y="858"/>
                  <a:pt x="1751" y="852"/>
                </a:cubicBezTo>
                <a:cubicBezTo>
                  <a:pt x="1756" y="847"/>
                  <a:pt x="1772" y="831"/>
                  <a:pt x="1762" y="825"/>
                </a:cubicBezTo>
                <a:close/>
                <a:moveTo>
                  <a:pt x="1038" y="389"/>
                </a:moveTo>
                <a:cubicBezTo>
                  <a:pt x="1042" y="397"/>
                  <a:pt x="1044" y="400"/>
                  <a:pt x="1047" y="401"/>
                </a:cubicBezTo>
                <a:cubicBezTo>
                  <a:pt x="1043" y="401"/>
                  <a:pt x="1041" y="400"/>
                  <a:pt x="1041" y="400"/>
                </a:cubicBezTo>
                <a:cubicBezTo>
                  <a:pt x="1041" y="400"/>
                  <a:pt x="1029" y="389"/>
                  <a:pt x="1011" y="384"/>
                </a:cubicBezTo>
                <a:cubicBezTo>
                  <a:pt x="1011" y="384"/>
                  <a:pt x="1032" y="374"/>
                  <a:pt x="1038" y="389"/>
                </a:cubicBezTo>
                <a:close/>
                <a:moveTo>
                  <a:pt x="512" y="251"/>
                </a:moveTo>
                <a:cubicBezTo>
                  <a:pt x="521" y="243"/>
                  <a:pt x="481" y="235"/>
                  <a:pt x="476" y="227"/>
                </a:cubicBezTo>
                <a:cubicBezTo>
                  <a:pt x="471" y="219"/>
                  <a:pt x="497" y="220"/>
                  <a:pt x="508" y="219"/>
                </a:cubicBezTo>
                <a:cubicBezTo>
                  <a:pt x="555" y="222"/>
                  <a:pt x="555" y="222"/>
                  <a:pt x="555" y="222"/>
                </a:cubicBezTo>
                <a:cubicBezTo>
                  <a:pt x="555" y="222"/>
                  <a:pt x="538" y="240"/>
                  <a:pt x="542" y="242"/>
                </a:cubicBezTo>
                <a:cubicBezTo>
                  <a:pt x="545" y="242"/>
                  <a:pt x="554" y="247"/>
                  <a:pt x="562" y="249"/>
                </a:cubicBezTo>
                <a:cubicBezTo>
                  <a:pt x="567" y="247"/>
                  <a:pt x="571" y="246"/>
                  <a:pt x="572" y="248"/>
                </a:cubicBezTo>
                <a:cubicBezTo>
                  <a:pt x="573" y="252"/>
                  <a:pt x="568" y="251"/>
                  <a:pt x="562" y="249"/>
                </a:cubicBezTo>
                <a:cubicBezTo>
                  <a:pt x="549" y="255"/>
                  <a:pt x="526" y="270"/>
                  <a:pt x="513" y="269"/>
                </a:cubicBezTo>
                <a:cubicBezTo>
                  <a:pt x="495" y="268"/>
                  <a:pt x="471" y="274"/>
                  <a:pt x="468" y="268"/>
                </a:cubicBezTo>
                <a:cubicBezTo>
                  <a:pt x="465" y="261"/>
                  <a:pt x="502" y="259"/>
                  <a:pt x="512" y="251"/>
                </a:cubicBezTo>
                <a:close/>
                <a:moveTo>
                  <a:pt x="602" y="414"/>
                </a:moveTo>
                <a:cubicBezTo>
                  <a:pt x="591" y="412"/>
                  <a:pt x="577" y="441"/>
                  <a:pt x="572" y="441"/>
                </a:cubicBezTo>
                <a:cubicBezTo>
                  <a:pt x="567" y="441"/>
                  <a:pt x="538" y="453"/>
                  <a:pt x="523" y="449"/>
                </a:cubicBezTo>
                <a:cubicBezTo>
                  <a:pt x="508" y="446"/>
                  <a:pt x="476" y="436"/>
                  <a:pt x="466" y="427"/>
                </a:cubicBezTo>
                <a:cubicBezTo>
                  <a:pt x="456" y="417"/>
                  <a:pt x="481" y="430"/>
                  <a:pt x="489" y="430"/>
                </a:cubicBezTo>
                <a:cubicBezTo>
                  <a:pt x="497" y="430"/>
                  <a:pt x="507" y="410"/>
                  <a:pt x="508" y="381"/>
                </a:cubicBezTo>
                <a:cubicBezTo>
                  <a:pt x="510" y="352"/>
                  <a:pt x="521" y="391"/>
                  <a:pt x="534" y="402"/>
                </a:cubicBezTo>
                <a:cubicBezTo>
                  <a:pt x="534" y="402"/>
                  <a:pt x="614" y="396"/>
                  <a:pt x="620" y="401"/>
                </a:cubicBezTo>
                <a:cubicBezTo>
                  <a:pt x="627" y="405"/>
                  <a:pt x="614" y="415"/>
                  <a:pt x="602" y="414"/>
                </a:cubicBezTo>
                <a:close/>
                <a:moveTo>
                  <a:pt x="752" y="898"/>
                </a:moveTo>
                <a:cubicBezTo>
                  <a:pt x="752" y="898"/>
                  <a:pt x="752" y="898"/>
                  <a:pt x="752" y="886"/>
                </a:cubicBezTo>
                <a:cubicBezTo>
                  <a:pt x="752" y="875"/>
                  <a:pt x="738" y="864"/>
                  <a:pt x="731" y="853"/>
                </a:cubicBezTo>
                <a:cubicBezTo>
                  <a:pt x="725" y="841"/>
                  <a:pt x="729" y="830"/>
                  <a:pt x="713" y="819"/>
                </a:cubicBezTo>
                <a:cubicBezTo>
                  <a:pt x="698" y="808"/>
                  <a:pt x="718" y="787"/>
                  <a:pt x="731" y="778"/>
                </a:cubicBezTo>
                <a:cubicBezTo>
                  <a:pt x="731" y="771"/>
                  <a:pt x="731" y="771"/>
                  <a:pt x="731" y="771"/>
                </a:cubicBezTo>
                <a:cubicBezTo>
                  <a:pt x="743" y="794"/>
                  <a:pt x="743" y="794"/>
                  <a:pt x="743" y="794"/>
                </a:cubicBezTo>
                <a:cubicBezTo>
                  <a:pt x="743" y="794"/>
                  <a:pt x="740" y="814"/>
                  <a:pt x="745" y="823"/>
                </a:cubicBezTo>
                <a:cubicBezTo>
                  <a:pt x="750" y="832"/>
                  <a:pt x="759" y="859"/>
                  <a:pt x="759" y="859"/>
                </a:cubicBezTo>
                <a:lnTo>
                  <a:pt x="752" y="8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00" name="Freeform 433"/>
          <p:cNvSpPr>
            <a:spLocks/>
          </p:cNvSpPr>
          <p:nvPr userDrawn="1"/>
        </p:nvSpPr>
        <p:spPr bwMode="auto">
          <a:xfrm>
            <a:off x="4939551" y="2892355"/>
            <a:ext cx="201011" cy="162484"/>
          </a:xfrm>
          <a:custGeom>
            <a:avLst/>
            <a:gdLst>
              <a:gd name="T0" fmla="*/ 2147483646 w 217"/>
              <a:gd name="T1" fmla="*/ 2147483646 h 174"/>
              <a:gd name="T2" fmla="*/ 2147483646 w 217"/>
              <a:gd name="T3" fmla="*/ 2147483646 h 174"/>
              <a:gd name="T4" fmla="*/ 2147483646 w 217"/>
              <a:gd name="T5" fmla="*/ 2147483646 h 174"/>
              <a:gd name="T6" fmla="*/ 2147483646 w 217"/>
              <a:gd name="T7" fmla="*/ 2147483646 h 174"/>
              <a:gd name="T8" fmla="*/ 2147483646 w 217"/>
              <a:gd name="T9" fmla="*/ 2147483646 h 174"/>
              <a:gd name="T10" fmla="*/ 2147483646 w 217"/>
              <a:gd name="T11" fmla="*/ 2147483646 h 174"/>
              <a:gd name="T12" fmla="*/ 2147483646 w 217"/>
              <a:gd name="T13" fmla="*/ 2147483646 h 174"/>
              <a:gd name="T14" fmla="*/ 2147483646 w 217"/>
              <a:gd name="T15" fmla="*/ 2147483646 h 174"/>
              <a:gd name="T16" fmla="*/ 2147483646 w 217"/>
              <a:gd name="T17" fmla="*/ 2147483646 h 174"/>
              <a:gd name="T18" fmla="*/ 2147483646 w 217"/>
              <a:gd name="T19" fmla="*/ 2147483646 h 174"/>
              <a:gd name="T20" fmla="*/ 2147483646 w 217"/>
              <a:gd name="T21" fmla="*/ 2147483646 h 174"/>
              <a:gd name="T22" fmla="*/ 2147483646 w 217"/>
              <a:gd name="T23" fmla="*/ 2147483646 h 174"/>
              <a:gd name="T24" fmla="*/ 2147483646 w 217"/>
              <a:gd name="T25" fmla="*/ 2147483646 h 174"/>
              <a:gd name="T26" fmla="*/ 2147483646 w 217"/>
              <a:gd name="T27" fmla="*/ 2147483646 h 174"/>
              <a:gd name="T28" fmla="*/ 2147483646 w 217"/>
              <a:gd name="T29" fmla="*/ 2147483646 h 174"/>
              <a:gd name="T30" fmla="*/ 2147483646 w 217"/>
              <a:gd name="T31" fmla="*/ 2147483646 h 174"/>
              <a:gd name="T32" fmla="*/ 2147483646 w 217"/>
              <a:gd name="T33" fmla="*/ 2147483646 h 174"/>
              <a:gd name="T34" fmla="*/ 2147483646 w 217"/>
              <a:gd name="T35" fmla="*/ 2147483646 h 174"/>
              <a:gd name="T36" fmla="*/ 2147483646 w 217"/>
              <a:gd name="T37" fmla="*/ 2147483646 h 174"/>
              <a:gd name="T38" fmla="*/ 2147483646 w 217"/>
              <a:gd name="T39" fmla="*/ 2147483646 h 174"/>
              <a:gd name="T40" fmla="*/ 2147483646 w 217"/>
              <a:gd name="T41" fmla="*/ 2147483646 h 174"/>
              <a:gd name="T42" fmla="*/ 2147483646 w 217"/>
              <a:gd name="T43" fmla="*/ 2147483646 h 174"/>
              <a:gd name="T44" fmla="*/ 2147483646 w 217"/>
              <a:gd name="T45" fmla="*/ 2147483646 h 174"/>
              <a:gd name="T46" fmla="*/ 2147483646 w 217"/>
              <a:gd name="T47" fmla="*/ 2147483646 h 174"/>
              <a:gd name="T48" fmla="*/ 2147483646 w 217"/>
              <a:gd name="T49" fmla="*/ 2147483646 h 174"/>
              <a:gd name="T50" fmla="*/ 2147483646 w 217"/>
              <a:gd name="T51" fmla="*/ 2147483646 h 174"/>
              <a:gd name="T52" fmla="*/ 2147483646 w 217"/>
              <a:gd name="T53" fmla="*/ 2147483646 h 17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17"/>
              <a:gd name="T82" fmla="*/ 0 h 174"/>
              <a:gd name="T83" fmla="*/ 217 w 217"/>
              <a:gd name="T84" fmla="*/ 174 h 17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17" h="174">
                <a:moveTo>
                  <a:pt x="148" y="8"/>
                </a:moveTo>
                <a:cubicBezTo>
                  <a:pt x="140" y="10"/>
                  <a:pt x="124" y="0"/>
                  <a:pt x="118" y="10"/>
                </a:cubicBezTo>
                <a:cubicBezTo>
                  <a:pt x="111" y="20"/>
                  <a:pt x="111" y="26"/>
                  <a:pt x="114" y="32"/>
                </a:cubicBezTo>
                <a:cubicBezTo>
                  <a:pt x="116" y="38"/>
                  <a:pt x="107" y="50"/>
                  <a:pt x="97" y="46"/>
                </a:cubicBezTo>
                <a:cubicBezTo>
                  <a:pt x="87" y="42"/>
                  <a:pt x="79" y="40"/>
                  <a:pt x="83" y="46"/>
                </a:cubicBezTo>
                <a:cubicBezTo>
                  <a:pt x="87" y="52"/>
                  <a:pt x="99" y="64"/>
                  <a:pt x="93" y="71"/>
                </a:cubicBezTo>
                <a:cubicBezTo>
                  <a:pt x="87" y="77"/>
                  <a:pt x="73" y="60"/>
                  <a:pt x="73" y="66"/>
                </a:cubicBezTo>
                <a:cubicBezTo>
                  <a:pt x="73" y="85"/>
                  <a:pt x="91" y="85"/>
                  <a:pt x="87" y="93"/>
                </a:cubicBezTo>
                <a:cubicBezTo>
                  <a:pt x="83" y="101"/>
                  <a:pt x="77" y="97"/>
                  <a:pt x="69" y="95"/>
                </a:cubicBezTo>
                <a:cubicBezTo>
                  <a:pt x="61" y="93"/>
                  <a:pt x="59" y="83"/>
                  <a:pt x="53" y="77"/>
                </a:cubicBezTo>
                <a:cubicBezTo>
                  <a:pt x="47" y="71"/>
                  <a:pt x="28" y="60"/>
                  <a:pt x="28" y="75"/>
                </a:cubicBezTo>
                <a:cubicBezTo>
                  <a:pt x="28" y="89"/>
                  <a:pt x="0" y="101"/>
                  <a:pt x="14" y="103"/>
                </a:cubicBezTo>
                <a:cubicBezTo>
                  <a:pt x="28" y="105"/>
                  <a:pt x="59" y="93"/>
                  <a:pt x="49" y="105"/>
                </a:cubicBezTo>
                <a:cubicBezTo>
                  <a:pt x="38" y="117"/>
                  <a:pt x="26" y="127"/>
                  <a:pt x="36" y="125"/>
                </a:cubicBezTo>
                <a:cubicBezTo>
                  <a:pt x="47" y="123"/>
                  <a:pt x="53" y="109"/>
                  <a:pt x="61" y="111"/>
                </a:cubicBezTo>
                <a:cubicBezTo>
                  <a:pt x="69" y="113"/>
                  <a:pt x="69" y="117"/>
                  <a:pt x="69" y="125"/>
                </a:cubicBezTo>
                <a:cubicBezTo>
                  <a:pt x="69" y="133"/>
                  <a:pt x="87" y="142"/>
                  <a:pt x="83" y="148"/>
                </a:cubicBezTo>
                <a:cubicBezTo>
                  <a:pt x="79" y="154"/>
                  <a:pt x="97" y="138"/>
                  <a:pt x="105" y="140"/>
                </a:cubicBezTo>
                <a:cubicBezTo>
                  <a:pt x="114" y="142"/>
                  <a:pt x="128" y="131"/>
                  <a:pt x="124" y="150"/>
                </a:cubicBezTo>
                <a:cubicBezTo>
                  <a:pt x="120" y="168"/>
                  <a:pt x="124" y="174"/>
                  <a:pt x="130" y="172"/>
                </a:cubicBezTo>
                <a:cubicBezTo>
                  <a:pt x="136" y="170"/>
                  <a:pt x="140" y="119"/>
                  <a:pt x="158" y="140"/>
                </a:cubicBezTo>
                <a:cubicBezTo>
                  <a:pt x="176" y="160"/>
                  <a:pt x="176" y="156"/>
                  <a:pt x="187" y="148"/>
                </a:cubicBezTo>
                <a:cubicBezTo>
                  <a:pt x="197" y="140"/>
                  <a:pt x="199" y="121"/>
                  <a:pt x="205" y="117"/>
                </a:cubicBezTo>
                <a:cubicBezTo>
                  <a:pt x="211" y="113"/>
                  <a:pt x="211" y="83"/>
                  <a:pt x="211" y="83"/>
                </a:cubicBezTo>
                <a:cubicBezTo>
                  <a:pt x="211" y="83"/>
                  <a:pt x="217" y="60"/>
                  <a:pt x="207" y="54"/>
                </a:cubicBezTo>
                <a:cubicBezTo>
                  <a:pt x="197" y="48"/>
                  <a:pt x="199" y="12"/>
                  <a:pt x="180" y="14"/>
                </a:cubicBezTo>
                <a:cubicBezTo>
                  <a:pt x="162" y="16"/>
                  <a:pt x="148" y="8"/>
                  <a:pt x="148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01" name="Freeform 434"/>
          <p:cNvSpPr>
            <a:spLocks/>
          </p:cNvSpPr>
          <p:nvPr userDrawn="1"/>
        </p:nvSpPr>
        <p:spPr bwMode="auto">
          <a:xfrm>
            <a:off x="5370049" y="3224023"/>
            <a:ext cx="190960" cy="373547"/>
          </a:xfrm>
          <a:custGeom>
            <a:avLst/>
            <a:gdLst>
              <a:gd name="T0" fmla="*/ 2147483646 w 205"/>
              <a:gd name="T1" fmla="*/ 2147483646 h 400"/>
              <a:gd name="T2" fmla="*/ 2147483646 w 205"/>
              <a:gd name="T3" fmla="*/ 2147483646 h 400"/>
              <a:gd name="T4" fmla="*/ 2147483646 w 205"/>
              <a:gd name="T5" fmla="*/ 2147483646 h 400"/>
              <a:gd name="T6" fmla="*/ 2147483646 w 205"/>
              <a:gd name="T7" fmla="*/ 2147483646 h 400"/>
              <a:gd name="T8" fmla="*/ 2147483646 w 205"/>
              <a:gd name="T9" fmla="*/ 2147483646 h 400"/>
              <a:gd name="T10" fmla="*/ 2147483646 w 205"/>
              <a:gd name="T11" fmla="*/ 2147483646 h 400"/>
              <a:gd name="T12" fmla="*/ 2147483646 w 205"/>
              <a:gd name="T13" fmla="*/ 2147483646 h 400"/>
              <a:gd name="T14" fmla="*/ 2147483646 w 205"/>
              <a:gd name="T15" fmla="*/ 2147483646 h 400"/>
              <a:gd name="T16" fmla="*/ 2147483646 w 205"/>
              <a:gd name="T17" fmla="*/ 2147483646 h 400"/>
              <a:gd name="T18" fmla="*/ 2147483646 w 205"/>
              <a:gd name="T19" fmla="*/ 2147483646 h 400"/>
              <a:gd name="T20" fmla="*/ 2147483646 w 205"/>
              <a:gd name="T21" fmla="*/ 2147483646 h 400"/>
              <a:gd name="T22" fmla="*/ 2147483646 w 205"/>
              <a:gd name="T23" fmla="*/ 2147483646 h 400"/>
              <a:gd name="T24" fmla="*/ 2147483646 w 205"/>
              <a:gd name="T25" fmla="*/ 2147483646 h 400"/>
              <a:gd name="T26" fmla="*/ 2147483646 w 205"/>
              <a:gd name="T27" fmla="*/ 2147483646 h 400"/>
              <a:gd name="T28" fmla="*/ 2147483646 w 205"/>
              <a:gd name="T29" fmla="*/ 2147483646 h 400"/>
              <a:gd name="T30" fmla="*/ 2147483646 w 205"/>
              <a:gd name="T31" fmla="*/ 2147483646 h 400"/>
              <a:gd name="T32" fmla="*/ 2147483646 w 205"/>
              <a:gd name="T33" fmla="*/ 2147483646 h 400"/>
              <a:gd name="T34" fmla="*/ 2147483646 w 205"/>
              <a:gd name="T35" fmla="*/ 2147483646 h 400"/>
              <a:gd name="T36" fmla="*/ 2147483646 w 205"/>
              <a:gd name="T37" fmla="*/ 2147483646 h 400"/>
              <a:gd name="T38" fmla="*/ 2147483646 w 205"/>
              <a:gd name="T39" fmla="*/ 2147483646 h 400"/>
              <a:gd name="T40" fmla="*/ 2147483646 w 205"/>
              <a:gd name="T41" fmla="*/ 2147483646 h 400"/>
              <a:gd name="T42" fmla="*/ 2147483646 w 205"/>
              <a:gd name="T43" fmla="*/ 2147483646 h 400"/>
              <a:gd name="T44" fmla="*/ 2147483646 w 205"/>
              <a:gd name="T45" fmla="*/ 2147483646 h 400"/>
              <a:gd name="T46" fmla="*/ 2147483646 w 205"/>
              <a:gd name="T47" fmla="*/ 2147483646 h 400"/>
              <a:gd name="T48" fmla="*/ 2147483646 w 205"/>
              <a:gd name="T49" fmla="*/ 2147483646 h 400"/>
              <a:gd name="T50" fmla="*/ 2147483646 w 205"/>
              <a:gd name="T51" fmla="*/ 2147483646 h 400"/>
              <a:gd name="T52" fmla="*/ 2147483646 w 205"/>
              <a:gd name="T53" fmla="*/ 2147483646 h 400"/>
              <a:gd name="T54" fmla="*/ 2147483646 w 205"/>
              <a:gd name="T55" fmla="*/ 2147483646 h 400"/>
              <a:gd name="T56" fmla="*/ 2147483646 w 205"/>
              <a:gd name="T57" fmla="*/ 2147483646 h 400"/>
              <a:gd name="T58" fmla="*/ 2147483646 w 205"/>
              <a:gd name="T59" fmla="*/ 2147483646 h 400"/>
              <a:gd name="T60" fmla="*/ 2147483646 w 205"/>
              <a:gd name="T61" fmla="*/ 2147483646 h 400"/>
              <a:gd name="T62" fmla="*/ 2147483646 w 205"/>
              <a:gd name="T63" fmla="*/ 2147483646 h 400"/>
              <a:gd name="T64" fmla="*/ 2147483646 w 205"/>
              <a:gd name="T65" fmla="*/ 2147483646 h 400"/>
              <a:gd name="T66" fmla="*/ 2147483646 w 205"/>
              <a:gd name="T67" fmla="*/ 2147483646 h 400"/>
              <a:gd name="T68" fmla="*/ 2147483646 w 205"/>
              <a:gd name="T69" fmla="*/ 2147483646 h 400"/>
              <a:gd name="T70" fmla="*/ 2147483646 w 205"/>
              <a:gd name="T71" fmla="*/ 2147483646 h 400"/>
              <a:gd name="T72" fmla="*/ 2147483646 w 205"/>
              <a:gd name="T73" fmla="*/ 2147483646 h 400"/>
              <a:gd name="T74" fmla="*/ 2147483646 w 205"/>
              <a:gd name="T75" fmla="*/ 2147483646 h 400"/>
              <a:gd name="T76" fmla="*/ 2147483646 w 205"/>
              <a:gd name="T77" fmla="*/ 2147483646 h 400"/>
              <a:gd name="T78" fmla="*/ 2147483646 w 205"/>
              <a:gd name="T79" fmla="*/ 2147483646 h 400"/>
              <a:gd name="T80" fmla="*/ 2147483646 w 205"/>
              <a:gd name="T81" fmla="*/ 2147483646 h 400"/>
              <a:gd name="T82" fmla="*/ 2147483646 w 205"/>
              <a:gd name="T83" fmla="*/ 2147483646 h 400"/>
              <a:gd name="T84" fmla="*/ 2147483646 w 205"/>
              <a:gd name="T85" fmla="*/ 2147483646 h 400"/>
              <a:gd name="T86" fmla="*/ 2147483646 w 205"/>
              <a:gd name="T87" fmla="*/ 2147483646 h 400"/>
              <a:gd name="T88" fmla="*/ 2147483646 w 205"/>
              <a:gd name="T89" fmla="*/ 2147483646 h 400"/>
              <a:gd name="T90" fmla="*/ 2147483646 w 205"/>
              <a:gd name="T91" fmla="*/ 2147483646 h 400"/>
              <a:gd name="T92" fmla="*/ 2147483646 w 205"/>
              <a:gd name="T93" fmla="*/ 2147483646 h 400"/>
              <a:gd name="T94" fmla="*/ 2147483646 w 205"/>
              <a:gd name="T95" fmla="*/ 2147483646 h 400"/>
              <a:gd name="T96" fmla="*/ 2147483646 w 205"/>
              <a:gd name="T97" fmla="*/ 2147483646 h 400"/>
              <a:gd name="T98" fmla="*/ 2147483646 w 205"/>
              <a:gd name="T99" fmla="*/ 2147483646 h 400"/>
              <a:gd name="T100" fmla="*/ 2147483646 w 205"/>
              <a:gd name="T101" fmla="*/ 2147483646 h 400"/>
              <a:gd name="T102" fmla="*/ 2147483646 w 205"/>
              <a:gd name="T103" fmla="*/ 2147483646 h 400"/>
              <a:gd name="T104" fmla="*/ 2147483646 w 205"/>
              <a:gd name="T105" fmla="*/ 2147483646 h 400"/>
              <a:gd name="T106" fmla="*/ 2147483646 w 205"/>
              <a:gd name="T107" fmla="*/ 2147483646 h 400"/>
              <a:gd name="T108" fmla="*/ 2147483646 w 205"/>
              <a:gd name="T109" fmla="*/ 2147483646 h 400"/>
              <a:gd name="T110" fmla="*/ 2147483646 w 205"/>
              <a:gd name="T111" fmla="*/ 2147483646 h 400"/>
              <a:gd name="T112" fmla="*/ 2147483646 w 205"/>
              <a:gd name="T113" fmla="*/ 2147483646 h 400"/>
              <a:gd name="T114" fmla="*/ 2147483646 w 205"/>
              <a:gd name="T115" fmla="*/ 2147483646 h 400"/>
              <a:gd name="T116" fmla="*/ 2147483646 w 205"/>
              <a:gd name="T117" fmla="*/ 2147483646 h 400"/>
              <a:gd name="T118" fmla="*/ 2147483646 w 205"/>
              <a:gd name="T119" fmla="*/ 2147483646 h 400"/>
              <a:gd name="T120" fmla="*/ 2147483646 w 205"/>
              <a:gd name="T121" fmla="*/ 2147483646 h 40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05"/>
              <a:gd name="T184" fmla="*/ 0 h 400"/>
              <a:gd name="T185" fmla="*/ 205 w 205"/>
              <a:gd name="T186" fmla="*/ 400 h 40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05" h="400">
                <a:moveTo>
                  <a:pt x="31" y="6"/>
                </a:moveTo>
                <a:cubicBezTo>
                  <a:pt x="31" y="6"/>
                  <a:pt x="25" y="6"/>
                  <a:pt x="25" y="8"/>
                </a:cubicBezTo>
                <a:cubicBezTo>
                  <a:pt x="25" y="11"/>
                  <a:pt x="21" y="17"/>
                  <a:pt x="23" y="18"/>
                </a:cubicBezTo>
                <a:cubicBezTo>
                  <a:pt x="25" y="20"/>
                  <a:pt x="29" y="25"/>
                  <a:pt x="27" y="25"/>
                </a:cubicBezTo>
                <a:cubicBezTo>
                  <a:pt x="25" y="25"/>
                  <a:pt x="23" y="25"/>
                  <a:pt x="21" y="25"/>
                </a:cubicBezTo>
                <a:cubicBezTo>
                  <a:pt x="19" y="25"/>
                  <a:pt x="17" y="26"/>
                  <a:pt x="17" y="29"/>
                </a:cubicBezTo>
                <a:cubicBezTo>
                  <a:pt x="17" y="32"/>
                  <a:pt x="19" y="33"/>
                  <a:pt x="16" y="34"/>
                </a:cubicBezTo>
                <a:cubicBezTo>
                  <a:pt x="14" y="35"/>
                  <a:pt x="12" y="32"/>
                  <a:pt x="14" y="35"/>
                </a:cubicBezTo>
                <a:cubicBezTo>
                  <a:pt x="16" y="37"/>
                  <a:pt x="17" y="35"/>
                  <a:pt x="19" y="38"/>
                </a:cubicBezTo>
                <a:cubicBezTo>
                  <a:pt x="20" y="41"/>
                  <a:pt x="19" y="41"/>
                  <a:pt x="17" y="41"/>
                </a:cubicBezTo>
                <a:cubicBezTo>
                  <a:pt x="16" y="42"/>
                  <a:pt x="15" y="42"/>
                  <a:pt x="12" y="41"/>
                </a:cubicBezTo>
                <a:cubicBezTo>
                  <a:pt x="9" y="41"/>
                  <a:pt x="5" y="40"/>
                  <a:pt x="5" y="42"/>
                </a:cubicBezTo>
                <a:cubicBezTo>
                  <a:pt x="5" y="45"/>
                  <a:pt x="5" y="47"/>
                  <a:pt x="6" y="50"/>
                </a:cubicBezTo>
                <a:cubicBezTo>
                  <a:pt x="7" y="52"/>
                  <a:pt x="2" y="53"/>
                  <a:pt x="5" y="54"/>
                </a:cubicBezTo>
                <a:cubicBezTo>
                  <a:pt x="7" y="55"/>
                  <a:pt x="9" y="58"/>
                  <a:pt x="9" y="58"/>
                </a:cubicBezTo>
                <a:cubicBezTo>
                  <a:pt x="9" y="58"/>
                  <a:pt x="15" y="61"/>
                  <a:pt x="10" y="61"/>
                </a:cubicBezTo>
                <a:cubicBezTo>
                  <a:pt x="5" y="60"/>
                  <a:pt x="2" y="55"/>
                  <a:pt x="4" y="60"/>
                </a:cubicBezTo>
                <a:cubicBezTo>
                  <a:pt x="5" y="65"/>
                  <a:pt x="5" y="68"/>
                  <a:pt x="7" y="68"/>
                </a:cubicBezTo>
                <a:cubicBezTo>
                  <a:pt x="8" y="68"/>
                  <a:pt x="9" y="71"/>
                  <a:pt x="11" y="70"/>
                </a:cubicBezTo>
                <a:cubicBezTo>
                  <a:pt x="12" y="69"/>
                  <a:pt x="12" y="65"/>
                  <a:pt x="14" y="67"/>
                </a:cubicBezTo>
                <a:cubicBezTo>
                  <a:pt x="16" y="69"/>
                  <a:pt x="19" y="73"/>
                  <a:pt x="15" y="74"/>
                </a:cubicBezTo>
                <a:cubicBezTo>
                  <a:pt x="12" y="75"/>
                  <a:pt x="10" y="73"/>
                  <a:pt x="11" y="75"/>
                </a:cubicBezTo>
                <a:cubicBezTo>
                  <a:pt x="12" y="77"/>
                  <a:pt x="14" y="81"/>
                  <a:pt x="10" y="81"/>
                </a:cubicBezTo>
                <a:cubicBezTo>
                  <a:pt x="7" y="81"/>
                  <a:pt x="5" y="80"/>
                  <a:pt x="6" y="84"/>
                </a:cubicBezTo>
                <a:cubicBezTo>
                  <a:pt x="7" y="87"/>
                  <a:pt x="8" y="89"/>
                  <a:pt x="6" y="89"/>
                </a:cubicBezTo>
                <a:cubicBezTo>
                  <a:pt x="4" y="90"/>
                  <a:pt x="3" y="89"/>
                  <a:pt x="4" y="91"/>
                </a:cubicBezTo>
                <a:cubicBezTo>
                  <a:pt x="6" y="93"/>
                  <a:pt x="4" y="95"/>
                  <a:pt x="3" y="96"/>
                </a:cubicBezTo>
                <a:cubicBezTo>
                  <a:pt x="2" y="96"/>
                  <a:pt x="0" y="101"/>
                  <a:pt x="2" y="101"/>
                </a:cubicBezTo>
                <a:cubicBezTo>
                  <a:pt x="5" y="101"/>
                  <a:pt x="7" y="102"/>
                  <a:pt x="7" y="102"/>
                </a:cubicBezTo>
                <a:cubicBezTo>
                  <a:pt x="7" y="102"/>
                  <a:pt x="5" y="103"/>
                  <a:pt x="4" y="105"/>
                </a:cubicBezTo>
                <a:cubicBezTo>
                  <a:pt x="4" y="106"/>
                  <a:pt x="2" y="107"/>
                  <a:pt x="5" y="108"/>
                </a:cubicBezTo>
                <a:cubicBezTo>
                  <a:pt x="8" y="109"/>
                  <a:pt x="9" y="108"/>
                  <a:pt x="9" y="108"/>
                </a:cubicBezTo>
                <a:cubicBezTo>
                  <a:pt x="9" y="108"/>
                  <a:pt x="11" y="107"/>
                  <a:pt x="12" y="107"/>
                </a:cubicBezTo>
                <a:cubicBezTo>
                  <a:pt x="13" y="107"/>
                  <a:pt x="16" y="105"/>
                  <a:pt x="17" y="103"/>
                </a:cubicBezTo>
                <a:cubicBezTo>
                  <a:pt x="19" y="101"/>
                  <a:pt x="27" y="88"/>
                  <a:pt x="29" y="88"/>
                </a:cubicBezTo>
                <a:cubicBezTo>
                  <a:pt x="31" y="88"/>
                  <a:pt x="21" y="102"/>
                  <a:pt x="21" y="105"/>
                </a:cubicBezTo>
                <a:cubicBezTo>
                  <a:pt x="21" y="107"/>
                  <a:pt x="17" y="110"/>
                  <a:pt x="17" y="111"/>
                </a:cubicBezTo>
                <a:cubicBezTo>
                  <a:pt x="16" y="113"/>
                  <a:pt x="12" y="116"/>
                  <a:pt x="11" y="117"/>
                </a:cubicBezTo>
                <a:cubicBezTo>
                  <a:pt x="10" y="118"/>
                  <a:pt x="9" y="122"/>
                  <a:pt x="12" y="123"/>
                </a:cubicBezTo>
                <a:cubicBezTo>
                  <a:pt x="14" y="124"/>
                  <a:pt x="17" y="124"/>
                  <a:pt x="15" y="126"/>
                </a:cubicBezTo>
                <a:cubicBezTo>
                  <a:pt x="13" y="129"/>
                  <a:pt x="12" y="127"/>
                  <a:pt x="11" y="131"/>
                </a:cubicBezTo>
                <a:cubicBezTo>
                  <a:pt x="11" y="134"/>
                  <a:pt x="13" y="136"/>
                  <a:pt x="11" y="136"/>
                </a:cubicBezTo>
                <a:cubicBezTo>
                  <a:pt x="10" y="137"/>
                  <a:pt x="6" y="142"/>
                  <a:pt x="9" y="142"/>
                </a:cubicBezTo>
                <a:cubicBezTo>
                  <a:pt x="11" y="143"/>
                  <a:pt x="15" y="141"/>
                  <a:pt x="12" y="146"/>
                </a:cubicBezTo>
                <a:cubicBezTo>
                  <a:pt x="9" y="150"/>
                  <a:pt x="0" y="162"/>
                  <a:pt x="7" y="166"/>
                </a:cubicBezTo>
                <a:cubicBezTo>
                  <a:pt x="13" y="169"/>
                  <a:pt x="12" y="161"/>
                  <a:pt x="13" y="158"/>
                </a:cubicBezTo>
                <a:cubicBezTo>
                  <a:pt x="15" y="155"/>
                  <a:pt x="16" y="150"/>
                  <a:pt x="17" y="148"/>
                </a:cubicBezTo>
                <a:cubicBezTo>
                  <a:pt x="18" y="147"/>
                  <a:pt x="19" y="146"/>
                  <a:pt x="19" y="143"/>
                </a:cubicBezTo>
                <a:cubicBezTo>
                  <a:pt x="20" y="141"/>
                  <a:pt x="20" y="138"/>
                  <a:pt x="19" y="137"/>
                </a:cubicBezTo>
                <a:cubicBezTo>
                  <a:pt x="18" y="136"/>
                  <a:pt x="16" y="135"/>
                  <a:pt x="17" y="133"/>
                </a:cubicBezTo>
                <a:cubicBezTo>
                  <a:pt x="18" y="131"/>
                  <a:pt x="18" y="130"/>
                  <a:pt x="20" y="129"/>
                </a:cubicBezTo>
                <a:cubicBezTo>
                  <a:pt x="21" y="127"/>
                  <a:pt x="20" y="133"/>
                  <a:pt x="23" y="135"/>
                </a:cubicBezTo>
                <a:cubicBezTo>
                  <a:pt x="26" y="136"/>
                  <a:pt x="29" y="134"/>
                  <a:pt x="29" y="134"/>
                </a:cubicBezTo>
                <a:cubicBezTo>
                  <a:pt x="29" y="134"/>
                  <a:pt x="29" y="131"/>
                  <a:pt x="30" y="130"/>
                </a:cubicBezTo>
                <a:cubicBezTo>
                  <a:pt x="31" y="129"/>
                  <a:pt x="31" y="133"/>
                  <a:pt x="34" y="134"/>
                </a:cubicBezTo>
                <a:cubicBezTo>
                  <a:pt x="36" y="136"/>
                  <a:pt x="40" y="132"/>
                  <a:pt x="35" y="138"/>
                </a:cubicBezTo>
                <a:cubicBezTo>
                  <a:pt x="31" y="144"/>
                  <a:pt x="29" y="146"/>
                  <a:pt x="31" y="148"/>
                </a:cubicBezTo>
                <a:cubicBezTo>
                  <a:pt x="33" y="151"/>
                  <a:pt x="34" y="150"/>
                  <a:pt x="34" y="154"/>
                </a:cubicBezTo>
                <a:cubicBezTo>
                  <a:pt x="34" y="158"/>
                  <a:pt x="35" y="156"/>
                  <a:pt x="32" y="160"/>
                </a:cubicBezTo>
                <a:cubicBezTo>
                  <a:pt x="29" y="164"/>
                  <a:pt x="26" y="168"/>
                  <a:pt x="28" y="170"/>
                </a:cubicBezTo>
                <a:cubicBezTo>
                  <a:pt x="29" y="173"/>
                  <a:pt x="30" y="170"/>
                  <a:pt x="28" y="175"/>
                </a:cubicBezTo>
                <a:cubicBezTo>
                  <a:pt x="26" y="179"/>
                  <a:pt x="26" y="179"/>
                  <a:pt x="25" y="181"/>
                </a:cubicBezTo>
                <a:cubicBezTo>
                  <a:pt x="24" y="183"/>
                  <a:pt x="19" y="182"/>
                  <a:pt x="22" y="184"/>
                </a:cubicBezTo>
                <a:cubicBezTo>
                  <a:pt x="24" y="185"/>
                  <a:pt x="21" y="184"/>
                  <a:pt x="24" y="186"/>
                </a:cubicBezTo>
                <a:cubicBezTo>
                  <a:pt x="27" y="188"/>
                  <a:pt x="29" y="183"/>
                  <a:pt x="30" y="186"/>
                </a:cubicBezTo>
                <a:cubicBezTo>
                  <a:pt x="31" y="189"/>
                  <a:pt x="26" y="197"/>
                  <a:pt x="30" y="195"/>
                </a:cubicBezTo>
                <a:cubicBezTo>
                  <a:pt x="34" y="193"/>
                  <a:pt x="29" y="186"/>
                  <a:pt x="33" y="187"/>
                </a:cubicBezTo>
                <a:cubicBezTo>
                  <a:pt x="37" y="188"/>
                  <a:pt x="36" y="195"/>
                  <a:pt x="40" y="194"/>
                </a:cubicBezTo>
                <a:cubicBezTo>
                  <a:pt x="43" y="194"/>
                  <a:pt x="40" y="186"/>
                  <a:pt x="45" y="190"/>
                </a:cubicBezTo>
                <a:cubicBezTo>
                  <a:pt x="50" y="194"/>
                  <a:pt x="47" y="191"/>
                  <a:pt x="49" y="188"/>
                </a:cubicBezTo>
                <a:cubicBezTo>
                  <a:pt x="51" y="186"/>
                  <a:pt x="53" y="187"/>
                  <a:pt x="55" y="188"/>
                </a:cubicBezTo>
                <a:cubicBezTo>
                  <a:pt x="57" y="188"/>
                  <a:pt x="61" y="183"/>
                  <a:pt x="63" y="183"/>
                </a:cubicBezTo>
                <a:cubicBezTo>
                  <a:pt x="66" y="183"/>
                  <a:pt x="64" y="179"/>
                  <a:pt x="66" y="178"/>
                </a:cubicBezTo>
                <a:cubicBezTo>
                  <a:pt x="68" y="176"/>
                  <a:pt x="67" y="185"/>
                  <a:pt x="71" y="184"/>
                </a:cubicBezTo>
                <a:cubicBezTo>
                  <a:pt x="76" y="183"/>
                  <a:pt x="84" y="182"/>
                  <a:pt x="79" y="185"/>
                </a:cubicBezTo>
                <a:cubicBezTo>
                  <a:pt x="73" y="188"/>
                  <a:pt x="66" y="184"/>
                  <a:pt x="68" y="189"/>
                </a:cubicBezTo>
                <a:cubicBezTo>
                  <a:pt x="70" y="194"/>
                  <a:pt x="65" y="196"/>
                  <a:pt x="65" y="200"/>
                </a:cubicBezTo>
                <a:cubicBezTo>
                  <a:pt x="64" y="204"/>
                  <a:pt x="63" y="204"/>
                  <a:pt x="66" y="206"/>
                </a:cubicBezTo>
                <a:cubicBezTo>
                  <a:pt x="68" y="209"/>
                  <a:pt x="69" y="209"/>
                  <a:pt x="71" y="211"/>
                </a:cubicBezTo>
                <a:cubicBezTo>
                  <a:pt x="71" y="211"/>
                  <a:pt x="71" y="213"/>
                  <a:pt x="71" y="215"/>
                </a:cubicBezTo>
                <a:cubicBezTo>
                  <a:pt x="72" y="218"/>
                  <a:pt x="73" y="218"/>
                  <a:pt x="75" y="219"/>
                </a:cubicBezTo>
                <a:cubicBezTo>
                  <a:pt x="77" y="219"/>
                  <a:pt x="79" y="219"/>
                  <a:pt x="79" y="219"/>
                </a:cubicBezTo>
                <a:cubicBezTo>
                  <a:pt x="79" y="219"/>
                  <a:pt x="81" y="215"/>
                  <a:pt x="82" y="217"/>
                </a:cubicBezTo>
                <a:cubicBezTo>
                  <a:pt x="84" y="219"/>
                  <a:pt x="80" y="223"/>
                  <a:pt x="82" y="225"/>
                </a:cubicBezTo>
                <a:cubicBezTo>
                  <a:pt x="84" y="227"/>
                  <a:pt x="83" y="224"/>
                  <a:pt x="81" y="230"/>
                </a:cubicBezTo>
                <a:cubicBezTo>
                  <a:pt x="79" y="236"/>
                  <a:pt x="81" y="236"/>
                  <a:pt x="80" y="238"/>
                </a:cubicBezTo>
                <a:cubicBezTo>
                  <a:pt x="79" y="240"/>
                  <a:pt x="76" y="238"/>
                  <a:pt x="78" y="241"/>
                </a:cubicBezTo>
                <a:cubicBezTo>
                  <a:pt x="79" y="245"/>
                  <a:pt x="81" y="245"/>
                  <a:pt x="80" y="247"/>
                </a:cubicBezTo>
                <a:cubicBezTo>
                  <a:pt x="79" y="249"/>
                  <a:pt x="76" y="249"/>
                  <a:pt x="78" y="251"/>
                </a:cubicBezTo>
                <a:cubicBezTo>
                  <a:pt x="81" y="253"/>
                  <a:pt x="87" y="253"/>
                  <a:pt x="84" y="255"/>
                </a:cubicBezTo>
                <a:cubicBezTo>
                  <a:pt x="81" y="257"/>
                  <a:pt x="77" y="255"/>
                  <a:pt x="76" y="254"/>
                </a:cubicBezTo>
                <a:cubicBezTo>
                  <a:pt x="75" y="253"/>
                  <a:pt x="73" y="248"/>
                  <a:pt x="74" y="252"/>
                </a:cubicBezTo>
                <a:cubicBezTo>
                  <a:pt x="75" y="256"/>
                  <a:pt x="78" y="258"/>
                  <a:pt x="75" y="258"/>
                </a:cubicBezTo>
                <a:cubicBezTo>
                  <a:pt x="72" y="259"/>
                  <a:pt x="68" y="253"/>
                  <a:pt x="68" y="255"/>
                </a:cubicBezTo>
                <a:cubicBezTo>
                  <a:pt x="67" y="258"/>
                  <a:pt x="65" y="260"/>
                  <a:pt x="63" y="258"/>
                </a:cubicBezTo>
                <a:cubicBezTo>
                  <a:pt x="61" y="257"/>
                  <a:pt x="60" y="252"/>
                  <a:pt x="59" y="255"/>
                </a:cubicBezTo>
                <a:cubicBezTo>
                  <a:pt x="57" y="257"/>
                  <a:pt x="56" y="255"/>
                  <a:pt x="54" y="255"/>
                </a:cubicBezTo>
                <a:cubicBezTo>
                  <a:pt x="53" y="256"/>
                  <a:pt x="52" y="260"/>
                  <a:pt x="51" y="258"/>
                </a:cubicBezTo>
                <a:cubicBezTo>
                  <a:pt x="50" y="256"/>
                  <a:pt x="47" y="258"/>
                  <a:pt x="47" y="261"/>
                </a:cubicBezTo>
                <a:cubicBezTo>
                  <a:pt x="47" y="263"/>
                  <a:pt x="48" y="267"/>
                  <a:pt x="46" y="269"/>
                </a:cubicBezTo>
                <a:cubicBezTo>
                  <a:pt x="43" y="271"/>
                  <a:pt x="42" y="269"/>
                  <a:pt x="39" y="272"/>
                </a:cubicBezTo>
                <a:cubicBezTo>
                  <a:pt x="37" y="274"/>
                  <a:pt x="34" y="272"/>
                  <a:pt x="35" y="276"/>
                </a:cubicBezTo>
                <a:cubicBezTo>
                  <a:pt x="36" y="279"/>
                  <a:pt x="36" y="277"/>
                  <a:pt x="34" y="279"/>
                </a:cubicBezTo>
                <a:cubicBezTo>
                  <a:pt x="32" y="282"/>
                  <a:pt x="32" y="283"/>
                  <a:pt x="35" y="282"/>
                </a:cubicBezTo>
                <a:cubicBezTo>
                  <a:pt x="38" y="282"/>
                  <a:pt x="38" y="281"/>
                  <a:pt x="41" y="279"/>
                </a:cubicBezTo>
                <a:cubicBezTo>
                  <a:pt x="43" y="276"/>
                  <a:pt x="49" y="274"/>
                  <a:pt x="49" y="275"/>
                </a:cubicBezTo>
                <a:cubicBezTo>
                  <a:pt x="50" y="276"/>
                  <a:pt x="49" y="273"/>
                  <a:pt x="51" y="278"/>
                </a:cubicBezTo>
                <a:cubicBezTo>
                  <a:pt x="52" y="282"/>
                  <a:pt x="51" y="287"/>
                  <a:pt x="52" y="291"/>
                </a:cubicBezTo>
                <a:cubicBezTo>
                  <a:pt x="53" y="295"/>
                  <a:pt x="53" y="301"/>
                  <a:pt x="49" y="303"/>
                </a:cubicBezTo>
                <a:cubicBezTo>
                  <a:pt x="45" y="305"/>
                  <a:pt x="42" y="304"/>
                  <a:pt x="41" y="307"/>
                </a:cubicBezTo>
                <a:cubicBezTo>
                  <a:pt x="40" y="310"/>
                  <a:pt x="43" y="305"/>
                  <a:pt x="37" y="310"/>
                </a:cubicBezTo>
                <a:cubicBezTo>
                  <a:pt x="32" y="315"/>
                  <a:pt x="32" y="315"/>
                  <a:pt x="29" y="316"/>
                </a:cubicBezTo>
                <a:cubicBezTo>
                  <a:pt x="25" y="317"/>
                  <a:pt x="20" y="310"/>
                  <a:pt x="23" y="317"/>
                </a:cubicBezTo>
                <a:cubicBezTo>
                  <a:pt x="25" y="323"/>
                  <a:pt x="25" y="322"/>
                  <a:pt x="24" y="325"/>
                </a:cubicBezTo>
                <a:cubicBezTo>
                  <a:pt x="23" y="328"/>
                  <a:pt x="24" y="327"/>
                  <a:pt x="27" y="329"/>
                </a:cubicBezTo>
                <a:cubicBezTo>
                  <a:pt x="31" y="331"/>
                  <a:pt x="30" y="330"/>
                  <a:pt x="33" y="330"/>
                </a:cubicBezTo>
                <a:cubicBezTo>
                  <a:pt x="35" y="331"/>
                  <a:pt x="35" y="324"/>
                  <a:pt x="38" y="324"/>
                </a:cubicBezTo>
                <a:cubicBezTo>
                  <a:pt x="41" y="324"/>
                  <a:pt x="41" y="320"/>
                  <a:pt x="43" y="322"/>
                </a:cubicBezTo>
                <a:cubicBezTo>
                  <a:pt x="46" y="323"/>
                  <a:pt x="44" y="324"/>
                  <a:pt x="47" y="324"/>
                </a:cubicBezTo>
                <a:cubicBezTo>
                  <a:pt x="49" y="324"/>
                  <a:pt x="50" y="321"/>
                  <a:pt x="49" y="324"/>
                </a:cubicBezTo>
                <a:cubicBezTo>
                  <a:pt x="49" y="328"/>
                  <a:pt x="41" y="329"/>
                  <a:pt x="44" y="331"/>
                </a:cubicBezTo>
                <a:cubicBezTo>
                  <a:pt x="47" y="332"/>
                  <a:pt x="48" y="330"/>
                  <a:pt x="51" y="330"/>
                </a:cubicBezTo>
                <a:cubicBezTo>
                  <a:pt x="53" y="331"/>
                  <a:pt x="51" y="329"/>
                  <a:pt x="54" y="329"/>
                </a:cubicBezTo>
                <a:cubicBezTo>
                  <a:pt x="58" y="330"/>
                  <a:pt x="58" y="327"/>
                  <a:pt x="59" y="330"/>
                </a:cubicBezTo>
                <a:cubicBezTo>
                  <a:pt x="60" y="333"/>
                  <a:pt x="65" y="338"/>
                  <a:pt x="69" y="338"/>
                </a:cubicBezTo>
                <a:cubicBezTo>
                  <a:pt x="72" y="338"/>
                  <a:pt x="70" y="334"/>
                  <a:pt x="74" y="335"/>
                </a:cubicBezTo>
                <a:cubicBezTo>
                  <a:pt x="78" y="336"/>
                  <a:pt x="77" y="333"/>
                  <a:pt x="79" y="333"/>
                </a:cubicBezTo>
                <a:cubicBezTo>
                  <a:pt x="82" y="332"/>
                  <a:pt x="80" y="328"/>
                  <a:pt x="84" y="329"/>
                </a:cubicBezTo>
                <a:cubicBezTo>
                  <a:pt x="87" y="330"/>
                  <a:pt x="84" y="330"/>
                  <a:pt x="89" y="327"/>
                </a:cubicBezTo>
                <a:cubicBezTo>
                  <a:pt x="93" y="323"/>
                  <a:pt x="92" y="321"/>
                  <a:pt x="94" y="322"/>
                </a:cubicBezTo>
                <a:cubicBezTo>
                  <a:pt x="96" y="323"/>
                  <a:pt x="97" y="321"/>
                  <a:pt x="97" y="321"/>
                </a:cubicBezTo>
                <a:cubicBezTo>
                  <a:pt x="97" y="321"/>
                  <a:pt x="91" y="333"/>
                  <a:pt x="87" y="335"/>
                </a:cubicBezTo>
                <a:cubicBezTo>
                  <a:pt x="83" y="337"/>
                  <a:pt x="82" y="336"/>
                  <a:pt x="79" y="341"/>
                </a:cubicBezTo>
                <a:cubicBezTo>
                  <a:pt x="77" y="347"/>
                  <a:pt x="74" y="350"/>
                  <a:pt x="69" y="349"/>
                </a:cubicBezTo>
                <a:cubicBezTo>
                  <a:pt x="65" y="347"/>
                  <a:pt x="64" y="345"/>
                  <a:pt x="61" y="346"/>
                </a:cubicBezTo>
                <a:cubicBezTo>
                  <a:pt x="57" y="347"/>
                  <a:pt x="57" y="345"/>
                  <a:pt x="54" y="348"/>
                </a:cubicBezTo>
                <a:cubicBezTo>
                  <a:pt x="51" y="350"/>
                  <a:pt x="46" y="349"/>
                  <a:pt x="48" y="351"/>
                </a:cubicBezTo>
                <a:cubicBezTo>
                  <a:pt x="51" y="354"/>
                  <a:pt x="56" y="358"/>
                  <a:pt x="49" y="357"/>
                </a:cubicBezTo>
                <a:cubicBezTo>
                  <a:pt x="43" y="355"/>
                  <a:pt x="42" y="351"/>
                  <a:pt x="41" y="356"/>
                </a:cubicBezTo>
                <a:cubicBezTo>
                  <a:pt x="41" y="361"/>
                  <a:pt x="44" y="359"/>
                  <a:pt x="42" y="364"/>
                </a:cubicBezTo>
                <a:cubicBezTo>
                  <a:pt x="40" y="368"/>
                  <a:pt x="42" y="365"/>
                  <a:pt x="38" y="368"/>
                </a:cubicBezTo>
                <a:cubicBezTo>
                  <a:pt x="33" y="370"/>
                  <a:pt x="33" y="365"/>
                  <a:pt x="31" y="370"/>
                </a:cubicBezTo>
                <a:cubicBezTo>
                  <a:pt x="29" y="376"/>
                  <a:pt x="30" y="374"/>
                  <a:pt x="28" y="378"/>
                </a:cubicBezTo>
                <a:cubicBezTo>
                  <a:pt x="26" y="382"/>
                  <a:pt x="16" y="389"/>
                  <a:pt x="13" y="390"/>
                </a:cubicBezTo>
                <a:cubicBezTo>
                  <a:pt x="10" y="390"/>
                  <a:pt x="8" y="390"/>
                  <a:pt x="10" y="395"/>
                </a:cubicBezTo>
                <a:cubicBezTo>
                  <a:pt x="12" y="399"/>
                  <a:pt x="14" y="399"/>
                  <a:pt x="15" y="399"/>
                </a:cubicBezTo>
                <a:cubicBezTo>
                  <a:pt x="16" y="399"/>
                  <a:pt x="17" y="392"/>
                  <a:pt x="19" y="395"/>
                </a:cubicBezTo>
                <a:cubicBezTo>
                  <a:pt x="21" y="398"/>
                  <a:pt x="29" y="400"/>
                  <a:pt x="29" y="395"/>
                </a:cubicBezTo>
                <a:cubicBezTo>
                  <a:pt x="28" y="390"/>
                  <a:pt x="29" y="388"/>
                  <a:pt x="33" y="387"/>
                </a:cubicBezTo>
                <a:cubicBezTo>
                  <a:pt x="36" y="385"/>
                  <a:pt x="38" y="383"/>
                  <a:pt x="40" y="382"/>
                </a:cubicBezTo>
                <a:cubicBezTo>
                  <a:pt x="42" y="381"/>
                  <a:pt x="38" y="377"/>
                  <a:pt x="43" y="379"/>
                </a:cubicBezTo>
                <a:cubicBezTo>
                  <a:pt x="47" y="381"/>
                  <a:pt x="58" y="386"/>
                  <a:pt x="62" y="386"/>
                </a:cubicBezTo>
                <a:cubicBezTo>
                  <a:pt x="66" y="386"/>
                  <a:pt x="67" y="384"/>
                  <a:pt x="66" y="380"/>
                </a:cubicBezTo>
                <a:cubicBezTo>
                  <a:pt x="66" y="376"/>
                  <a:pt x="65" y="374"/>
                  <a:pt x="67" y="372"/>
                </a:cubicBezTo>
                <a:cubicBezTo>
                  <a:pt x="70" y="370"/>
                  <a:pt x="68" y="366"/>
                  <a:pt x="72" y="369"/>
                </a:cubicBezTo>
                <a:cubicBezTo>
                  <a:pt x="76" y="371"/>
                  <a:pt x="76" y="371"/>
                  <a:pt x="80" y="369"/>
                </a:cubicBezTo>
                <a:cubicBezTo>
                  <a:pt x="83" y="366"/>
                  <a:pt x="84" y="362"/>
                  <a:pt x="88" y="366"/>
                </a:cubicBezTo>
                <a:cubicBezTo>
                  <a:pt x="91" y="370"/>
                  <a:pt x="92" y="367"/>
                  <a:pt x="93" y="371"/>
                </a:cubicBezTo>
                <a:cubicBezTo>
                  <a:pt x="94" y="375"/>
                  <a:pt x="98" y="374"/>
                  <a:pt x="102" y="374"/>
                </a:cubicBezTo>
                <a:cubicBezTo>
                  <a:pt x="106" y="373"/>
                  <a:pt x="107" y="370"/>
                  <a:pt x="107" y="368"/>
                </a:cubicBezTo>
                <a:cubicBezTo>
                  <a:pt x="107" y="366"/>
                  <a:pt x="109" y="366"/>
                  <a:pt x="112" y="367"/>
                </a:cubicBezTo>
                <a:cubicBezTo>
                  <a:pt x="114" y="368"/>
                  <a:pt x="115" y="372"/>
                  <a:pt x="118" y="371"/>
                </a:cubicBezTo>
                <a:cubicBezTo>
                  <a:pt x="120" y="369"/>
                  <a:pt x="118" y="354"/>
                  <a:pt x="122" y="358"/>
                </a:cubicBezTo>
                <a:cubicBezTo>
                  <a:pt x="125" y="362"/>
                  <a:pt x="126" y="363"/>
                  <a:pt x="130" y="362"/>
                </a:cubicBezTo>
                <a:cubicBezTo>
                  <a:pt x="133" y="362"/>
                  <a:pt x="136" y="355"/>
                  <a:pt x="137" y="361"/>
                </a:cubicBezTo>
                <a:cubicBezTo>
                  <a:pt x="138" y="367"/>
                  <a:pt x="140" y="366"/>
                  <a:pt x="142" y="366"/>
                </a:cubicBezTo>
                <a:cubicBezTo>
                  <a:pt x="144" y="365"/>
                  <a:pt x="144" y="361"/>
                  <a:pt x="147" y="362"/>
                </a:cubicBezTo>
                <a:cubicBezTo>
                  <a:pt x="150" y="363"/>
                  <a:pt x="150" y="362"/>
                  <a:pt x="154" y="364"/>
                </a:cubicBezTo>
                <a:cubicBezTo>
                  <a:pt x="157" y="365"/>
                  <a:pt x="165" y="364"/>
                  <a:pt x="169" y="362"/>
                </a:cubicBezTo>
                <a:cubicBezTo>
                  <a:pt x="172" y="361"/>
                  <a:pt x="175" y="358"/>
                  <a:pt x="177" y="358"/>
                </a:cubicBezTo>
                <a:cubicBezTo>
                  <a:pt x="179" y="357"/>
                  <a:pt x="180" y="355"/>
                  <a:pt x="182" y="356"/>
                </a:cubicBezTo>
                <a:cubicBezTo>
                  <a:pt x="184" y="357"/>
                  <a:pt x="184" y="355"/>
                  <a:pt x="187" y="353"/>
                </a:cubicBezTo>
                <a:cubicBezTo>
                  <a:pt x="191" y="351"/>
                  <a:pt x="194" y="342"/>
                  <a:pt x="194" y="340"/>
                </a:cubicBezTo>
                <a:cubicBezTo>
                  <a:pt x="194" y="338"/>
                  <a:pt x="192" y="340"/>
                  <a:pt x="186" y="340"/>
                </a:cubicBezTo>
                <a:cubicBezTo>
                  <a:pt x="181" y="341"/>
                  <a:pt x="181" y="341"/>
                  <a:pt x="176" y="341"/>
                </a:cubicBezTo>
                <a:cubicBezTo>
                  <a:pt x="172" y="340"/>
                  <a:pt x="168" y="341"/>
                  <a:pt x="171" y="338"/>
                </a:cubicBezTo>
                <a:cubicBezTo>
                  <a:pt x="175" y="336"/>
                  <a:pt x="176" y="335"/>
                  <a:pt x="177" y="333"/>
                </a:cubicBezTo>
                <a:cubicBezTo>
                  <a:pt x="178" y="331"/>
                  <a:pt x="182" y="329"/>
                  <a:pt x="182" y="327"/>
                </a:cubicBezTo>
                <a:cubicBezTo>
                  <a:pt x="182" y="324"/>
                  <a:pt x="182" y="324"/>
                  <a:pt x="181" y="323"/>
                </a:cubicBezTo>
                <a:cubicBezTo>
                  <a:pt x="180" y="322"/>
                  <a:pt x="180" y="322"/>
                  <a:pt x="179" y="322"/>
                </a:cubicBezTo>
                <a:cubicBezTo>
                  <a:pt x="178" y="321"/>
                  <a:pt x="181" y="321"/>
                  <a:pt x="184" y="322"/>
                </a:cubicBezTo>
                <a:cubicBezTo>
                  <a:pt x="186" y="323"/>
                  <a:pt x="186" y="322"/>
                  <a:pt x="188" y="322"/>
                </a:cubicBezTo>
                <a:cubicBezTo>
                  <a:pt x="191" y="323"/>
                  <a:pt x="192" y="323"/>
                  <a:pt x="193" y="320"/>
                </a:cubicBezTo>
                <a:cubicBezTo>
                  <a:pt x="194" y="318"/>
                  <a:pt x="193" y="320"/>
                  <a:pt x="191" y="317"/>
                </a:cubicBezTo>
                <a:cubicBezTo>
                  <a:pt x="190" y="313"/>
                  <a:pt x="190" y="310"/>
                  <a:pt x="193" y="310"/>
                </a:cubicBezTo>
                <a:cubicBezTo>
                  <a:pt x="197" y="310"/>
                  <a:pt x="197" y="313"/>
                  <a:pt x="199" y="308"/>
                </a:cubicBezTo>
                <a:cubicBezTo>
                  <a:pt x="202" y="303"/>
                  <a:pt x="203" y="306"/>
                  <a:pt x="203" y="300"/>
                </a:cubicBezTo>
                <a:cubicBezTo>
                  <a:pt x="203" y="295"/>
                  <a:pt x="205" y="296"/>
                  <a:pt x="202" y="291"/>
                </a:cubicBezTo>
                <a:cubicBezTo>
                  <a:pt x="200" y="286"/>
                  <a:pt x="189" y="269"/>
                  <a:pt x="181" y="271"/>
                </a:cubicBezTo>
                <a:cubicBezTo>
                  <a:pt x="172" y="272"/>
                  <a:pt x="164" y="269"/>
                  <a:pt x="165" y="273"/>
                </a:cubicBezTo>
                <a:cubicBezTo>
                  <a:pt x="166" y="276"/>
                  <a:pt x="168" y="283"/>
                  <a:pt x="164" y="281"/>
                </a:cubicBezTo>
                <a:cubicBezTo>
                  <a:pt x="160" y="279"/>
                  <a:pt x="155" y="279"/>
                  <a:pt x="157" y="274"/>
                </a:cubicBezTo>
                <a:cubicBezTo>
                  <a:pt x="158" y="269"/>
                  <a:pt x="160" y="265"/>
                  <a:pt x="162" y="264"/>
                </a:cubicBezTo>
                <a:cubicBezTo>
                  <a:pt x="164" y="262"/>
                  <a:pt x="164" y="260"/>
                  <a:pt x="164" y="258"/>
                </a:cubicBezTo>
                <a:cubicBezTo>
                  <a:pt x="164" y="257"/>
                  <a:pt x="163" y="249"/>
                  <a:pt x="158" y="246"/>
                </a:cubicBezTo>
                <a:cubicBezTo>
                  <a:pt x="154" y="244"/>
                  <a:pt x="160" y="244"/>
                  <a:pt x="150" y="242"/>
                </a:cubicBezTo>
                <a:cubicBezTo>
                  <a:pt x="141" y="240"/>
                  <a:pt x="136" y="238"/>
                  <a:pt x="135" y="237"/>
                </a:cubicBezTo>
                <a:cubicBezTo>
                  <a:pt x="134" y="236"/>
                  <a:pt x="154" y="239"/>
                  <a:pt x="157" y="240"/>
                </a:cubicBezTo>
                <a:cubicBezTo>
                  <a:pt x="159" y="241"/>
                  <a:pt x="163" y="240"/>
                  <a:pt x="161" y="237"/>
                </a:cubicBezTo>
                <a:cubicBezTo>
                  <a:pt x="159" y="234"/>
                  <a:pt x="157" y="232"/>
                  <a:pt x="154" y="231"/>
                </a:cubicBezTo>
                <a:cubicBezTo>
                  <a:pt x="151" y="229"/>
                  <a:pt x="149" y="228"/>
                  <a:pt x="149" y="226"/>
                </a:cubicBezTo>
                <a:cubicBezTo>
                  <a:pt x="150" y="223"/>
                  <a:pt x="149" y="221"/>
                  <a:pt x="150" y="220"/>
                </a:cubicBezTo>
                <a:cubicBezTo>
                  <a:pt x="151" y="218"/>
                  <a:pt x="152" y="218"/>
                  <a:pt x="149" y="216"/>
                </a:cubicBezTo>
                <a:cubicBezTo>
                  <a:pt x="146" y="214"/>
                  <a:pt x="143" y="213"/>
                  <a:pt x="142" y="212"/>
                </a:cubicBezTo>
                <a:cubicBezTo>
                  <a:pt x="141" y="211"/>
                  <a:pt x="133" y="195"/>
                  <a:pt x="127" y="198"/>
                </a:cubicBezTo>
                <a:cubicBezTo>
                  <a:pt x="121" y="201"/>
                  <a:pt x="127" y="195"/>
                  <a:pt x="123" y="188"/>
                </a:cubicBezTo>
                <a:cubicBezTo>
                  <a:pt x="118" y="181"/>
                  <a:pt x="118" y="177"/>
                  <a:pt x="118" y="173"/>
                </a:cubicBezTo>
                <a:cubicBezTo>
                  <a:pt x="118" y="169"/>
                  <a:pt x="114" y="170"/>
                  <a:pt x="115" y="163"/>
                </a:cubicBezTo>
                <a:cubicBezTo>
                  <a:pt x="117" y="156"/>
                  <a:pt x="119" y="157"/>
                  <a:pt x="114" y="153"/>
                </a:cubicBezTo>
                <a:cubicBezTo>
                  <a:pt x="108" y="148"/>
                  <a:pt x="108" y="146"/>
                  <a:pt x="106" y="145"/>
                </a:cubicBezTo>
                <a:cubicBezTo>
                  <a:pt x="104" y="144"/>
                  <a:pt x="100" y="139"/>
                  <a:pt x="95" y="136"/>
                </a:cubicBezTo>
                <a:cubicBezTo>
                  <a:pt x="89" y="133"/>
                  <a:pt x="88" y="132"/>
                  <a:pt x="85" y="131"/>
                </a:cubicBezTo>
                <a:cubicBezTo>
                  <a:pt x="82" y="131"/>
                  <a:pt x="84" y="130"/>
                  <a:pt x="78" y="132"/>
                </a:cubicBezTo>
                <a:cubicBezTo>
                  <a:pt x="72" y="134"/>
                  <a:pt x="66" y="132"/>
                  <a:pt x="60" y="131"/>
                </a:cubicBezTo>
                <a:cubicBezTo>
                  <a:pt x="55" y="130"/>
                  <a:pt x="74" y="130"/>
                  <a:pt x="77" y="127"/>
                </a:cubicBezTo>
                <a:cubicBezTo>
                  <a:pt x="80" y="123"/>
                  <a:pt x="79" y="121"/>
                  <a:pt x="84" y="122"/>
                </a:cubicBezTo>
                <a:cubicBezTo>
                  <a:pt x="89" y="123"/>
                  <a:pt x="92" y="121"/>
                  <a:pt x="90" y="118"/>
                </a:cubicBezTo>
                <a:cubicBezTo>
                  <a:pt x="87" y="116"/>
                  <a:pt x="87" y="114"/>
                  <a:pt x="83" y="115"/>
                </a:cubicBezTo>
                <a:cubicBezTo>
                  <a:pt x="79" y="115"/>
                  <a:pt x="79" y="114"/>
                  <a:pt x="77" y="113"/>
                </a:cubicBezTo>
                <a:cubicBezTo>
                  <a:pt x="75" y="112"/>
                  <a:pt x="87" y="108"/>
                  <a:pt x="89" y="105"/>
                </a:cubicBezTo>
                <a:cubicBezTo>
                  <a:pt x="91" y="103"/>
                  <a:pt x="91" y="99"/>
                  <a:pt x="93" y="96"/>
                </a:cubicBezTo>
                <a:cubicBezTo>
                  <a:pt x="96" y="92"/>
                  <a:pt x="101" y="85"/>
                  <a:pt x="100" y="82"/>
                </a:cubicBezTo>
                <a:cubicBezTo>
                  <a:pt x="100" y="78"/>
                  <a:pt x="99" y="75"/>
                  <a:pt x="102" y="73"/>
                </a:cubicBezTo>
                <a:cubicBezTo>
                  <a:pt x="105" y="71"/>
                  <a:pt x="107" y="70"/>
                  <a:pt x="107" y="67"/>
                </a:cubicBezTo>
                <a:cubicBezTo>
                  <a:pt x="107" y="64"/>
                  <a:pt x="108" y="58"/>
                  <a:pt x="106" y="55"/>
                </a:cubicBezTo>
                <a:cubicBezTo>
                  <a:pt x="105" y="52"/>
                  <a:pt x="105" y="50"/>
                  <a:pt x="99" y="51"/>
                </a:cubicBezTo>
                <a:cubicBezTo>
                  <a:pt x="93" y="52"/>
                  <a:pt x="97" y="51"/>
                  <a:pt x="89" y="51"/>
                </a:cubicBezTo>
                <a:cubicBezTo>
                  <a:pt x="81" y="50"/>
                  <a:pt x="84" y="49"/>
                  <a:pt x="80" y="50"/>
                </a:cubicBezTo>
                <a:cubicBezTo>
                  <a:pt x="75" y="51"/>
                  <a:pt x="76" y="53"/>
                  <a:pt x="71" y="53"/>
                </a:cubicBezTo>
                <a:cubicBezTo>
                  <a:pt x="66" y="53"/>
                  <a:pt x="68" y="51"/>
                  <a:pt x="63" y="53"/>
                </a:cubicBezTo>
                <a:cubicBezTo>
                  <a:pt x="58" y="55"/>
                  <a:pt x="59" y="48"/>
                  <a:pt x="54" y="55"/>
                </a:cubicBezTo>
                <a:cubicBezTo>
                  <a:pt x="48" y="63"/>
                  <a:pt x="39" y="65"/>
                  <a:pt x="41" y="61"/>
                </a:cubicBezTo>
                <a:cubicBezTo>
                  <a:pt x="43" y="57"/>
                  <a:pt x="50" y="54"/>
                  <a:pt x="48" y="53"/>
                </a:cubicBezTo>
                <a:cubicBezTo>
                  <a:pt x="45" y="52"/>
                  <a:pt x="44" y="46"/>
                  <a:pt x="48" y="49"/>
                </a:cubicBezTo>
                <a:cubicBezTo>
                  <a:pt x="52" y="51"/>
                  <a:pt x="55" y="47"/>
                  <a:pt x="55" y="45"/>
                </a:cubicBezTo>
                <a:cubicBezTo>
                  <a:pt x="55" y="42"/>
                  <a:pt x="55" y="43"/>
                  <a:pt x="53" y="40"/>
                </a:cubicBezTo>
                <a:cubicBezTo>
                  <a:pt x="51" y="38"/>
                  <a:pt x="49" y="38"/>
                  <a:pt x="54" y="36"/>
                </a:cubicBezTo>
                <a:cubicBezTo>
                  <a:pt x="58" y="34"/>
                  <a:pt x="59" y="30"/>
                  <a:pt x="62" y="27"/>
                </a:cubicBezTo>
                <a:cubicBezTo>
                  <a:pt x="65" y="25"/>
                  <a:pt x="80" y="14"/>
                  <a:pt x="76" y="11"/>
                </a:cubicBezTo>
                <a:cubicBezTo>
                  <a:pt x="73" y="8"/>
                  <a:pt x="78" y="0"/>
                  <a:pt x="71" y="3"/>
                </a:cubicBezTo>
                <a:cubicBezTo>
                  <a:pt x="64" y="7"/>
                  <a:pt x="62" y="1"/>
                  <a:pt x="59" y="6"/>
                </a:cubicBezTo>
                <a:cubicBezTo>
                  <a:pt x="56" y="10"/>
                  <a:pt x="55" y="3"/>
                  <a:pt x="50" y="6"/>
                </a:cubicBezTo>
                <a:cubicBezTo>
                  <a:pt x="46" y="10"/>
                  <a:pt x="42" y="9"/>
                  <a:pt x="39" y="8"/>
                </a:cubicBezTo>
                <a:cubicBezTo>
                  <a:pt x="35" y="7"/>
                  <a:pt x="33" y="6"/>
                  <a:pt x="33" y="5"/>
                </a:cubicBezTo>
                <a:cubicBezTo>
                  <a:pt x="33" y="4"/>
                  <a:pt x="31" y="6"/>
                  <a:pt x="31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02" name="Freeform 436"/>
          <p:cNvSpPr>
            <a:spLocks/>
          </p:cNvSpPr>
          <p:nvPr userDrawn="1"/>
        </p:nvSpPr>
        <p:spPr bwMode="auto">
          <a:xfrm>
            <a:off x="5338223" y="3229050"/>
            <a:ext cx="31827" cy="38527"/>
          </a:xfrm>
          <a:custGeom>
            <a:avLst/>
            <a:gdLst>
              <a:gd name="T0" fmla="*/ 2147483646 w 33"/>
              <a:gd name="T1" fmla="*/ 2147483646 h 42"/>
              <a:gd name="T2" fmla="*/ 2147483646 w 33"/>
              <a:gd name="T3" fmla="*/ 2147483646 h 42"/>
              <a:gd name="T4" fmla="*/ 2147483646 w 33"/>
              <a:gd name="T5" fmla="*/ 2147483646 h 42"/>
              <a:gd name="T6" fmla="*/ 2147483646 w 33"/>
              <a:gd name="T7" fmla="*/ 2147483646 h 42"/>
              <a:gd name="T8" fmla="*/ 2147483646 w 33"/>
              <a:gd name="T9" fmla="*/ 2147483646 h 42"/>
              <a:gd name="T10" fmla="*/ 2147483646 w 33"/>
              <a:gd name="T11" fmla="*/ 2147483646 h 42"/>
              <a:gd name="T12" fmla="*/ 2147483646 w 33"/>
              <a:gd name="T13" fmla="*/ 2147483646 h 42"/>
              <a:gd name="T14" fmla="*/ 2147483646 w 33"/>
              <a:gd name="T15" fmla="*/ 2147483646 h 42"/>
              <a:gd name="T16" fmla="*/ 2147483646 w 33"/>
              <a:gd name="T17" fmla="*/ 2147483646 h 42"/>
              <a:gd name="T18" fmla="*/ 2147483646 w 33"/>
              <a:gd name="T19" fmla="*/ 2147483646 h 42"/>
              <a:gd name="T20" fmla="*/ 2147483646 w 33"/>
              <a:gd name="T21" fmla="*/ 2147483646 h 4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42"/>
              <a:gd name="T35" fmla="*/ 33 w 33"/>
              <a:gd name="T36" fmla="*/ 42 h 4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42">
                <a:moveTo>
                  <a:pt x="30" y="10"/>
                </a:moveTo>
                <a:cubicBezTo>
                  <a:pt x="26" y="7"/>
                  <a:pt x="26" y="0"/>
                  <a:pt x="23" y="8"/>
                </a:cubicBezTo>
                <a:cubicBezTo>
                  <a:pt x="20" y="16"/>
                  <a:pt x="20" y="12"/>
                  <a:pt x="16" y="16"/>
                </a:cubicBezTo>
                <a:cubicBezTo>
                  <a:pt x="13" y="19"/>
                  <a:pt x="11" y="20"/>
                  <a:pt x="8" y="20"/>
                </a:cubicBezTo>
                <a:cubicBezTo>
                  <a:pt x="6" y="21"/>
                  <a:pt x="0" y="15"/>
                  <a:pt x="3" y="22"/>
                </a:cubicBezTo>
                <a:cubicBezTo>
                  <a:pt x="5" y="30"/>
                  <a:pt x="11" y="28"/>
                  <a:pt x="11" y="33"/>
                </a:cubicBezTo>
                <a:cubicBezTo>
                  <a:pt x="10" y="38"/>
                  <a:pt x="7" y="41"/>
                  <a:pt x="10" y="42"/>
                </a:cubicBezTo>
                <a:cubicBezTo>
                  <a:pt x="12" y="42"/>
                  <a:pt x="17" y="41"/>
                  <a:pt x="19" y="35"/>
                </a:cubicBezTo>
                <a:cubicBezTo>
                  <a:pt x="21" y="29"/>
                  <a:pt x="20" y="19"/>
                  <a:pt x="24" y="22"/>
                </a:cubicBezTo>
                <a:cubicBezTo>
                  <a:pt x="28" y="26"/>
                  <a:pt x="25" y="23"/>
                  <a:pt x="29" y="19"/>
                </a:cubicBezTo>
                <a:cubicBezTo>
                  <a:pt x="33" y="15"/>
                  <a:pt x="30" y="10"/>
                  <a:pt x="30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03" name="Freeform 437"/>
          <p:cNvSpPr>
            <a:spLocks/>
          </p:cNvSpPr>
          <p:nvPr userDrawn="1"/>
        </p:nvSpPr>
        <p:spPr bwMode="auto">
          <a:xfrm>
            <a:off x="5326497" y="3274276"/>
            <a:ext cx="18427" cy="33501"/>
          </a:xfrm>
          <a:custGeom>
            <a:avLst/>
            <a:gdLst>
              <a:gd name="T0" fmla="*/ 2147483646 w 20"/>
              <a:gd name="T1" fmla="*/ 2147483646 h 37"/>
              <a:gd name="T2" fmla="*/ 2147483646 w 20"/>
              <a:gd name="T3" fmla="*/ 2147483646 h 37"/>
              <a:gd name="T4" fmla="*/ 2147483646 w 20"/>
              <a:gd name="T5" fmla="*/ 2147483646 h 37"/>
              <a:gd name="T6" fmla="*/ 2147483646 w 20"/>
              <a:gd name="T7" fmla="*/ 2147483646 h 37"/>
              <a:gd name="T8" fmla="*/ 2147483646 w 20"/>
              <a:gd name="T9" fmla="*/ 2147483646 h 37"/>
              <a:gd name="T10" fmla="*/ 2147483646 w 20"/>
              <a:gd name="T11" fmla="*/ 2147483646 h 37"/>
              <a:gd name="T12" fmla="*/ 2147483646 w 20"/>
              <a:gd name="T13" fmla="*/ 2147483646 h 37"/>
              <a:gd name="T14" fmla="*/ 2147483646 w 20"/>
              <a:gd name="T15" fmla="*/ 2147483646 h 37"/>
              <a:gd name="T16" fmla="*/ 2147483646 w 20"/>
              <a:gd name="T17" fmla="*/ 2147483646 h 3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37"/>
              <a:gd name="T29" fmla="*/ 20 w 20"/>
              <a:gd name="T30" fmla="*/ 37 h 3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37">
                <a:moveTo>
                  <a:pt x="12" y="1"/>
                </a:moveTo>
                <a:cubicBezTo>
                  <a:pt x="7" y="2"/>
                  <a:pt x="0" y="1"/>
                  <a:pt x="6" y="6"/>
                </a:cubicBezTo>
                <a:cubicBezTo>
                  <a:pt x="13" y="11"/>
                  <a:pt x="16" y="11"/>
                  <a:pt x="12" y="15"/>
                </a:cubicBezTo>
                <a:cubicBezTo>
                  <a:pt x="9" y="19"/>
                  <a:pt x="9" y="18"/>
                  <a:pt x="11" y="25"/>
                </a:cubicBezTo>
                <a:cubicBezTo>
                  <a:pt x="13" y="31"/>
                  <a:pt x="10" y="32"/>
                  <a:pt x="12" y="34"/>
                </a:cubicBezTo>
                <a:cubicBezTo>
                  <a:pt x="14" y="36"/>
                  <a:pt x="14" y="37"/>
                  <a:pt x="17" y="24"/>
                </a:cubicBezTo>
                <a:cubicBezTo>
                  <a:pt x="20" y="11"/>
                  <a:pt x="18" y="10"/>
                  <a:pt x="17" y="6"/>
                </a:cubicBezTo>
                <a:cubicBezTo>
                  <a:pt x="16" y="3"/>
                  <a:pt x="16" y="1"/>
                  <a:pt x="15" y="1"/>
                </a:cubicBezTo>
                <a:cubicBezTo>
                  <a:pt x="13" y="0"/>
                  <a:pt x="12" y="1"/>
                  <a:pt x="1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04" name="Freeform 438"/>
          <p:cNvSpPr>
            <a:spLocks/>
          </p:cNvSpPr>
          <p:nvPr userDrawn="1"/>
        </p:nvSpPr>
        <p:spPr bwMode="auto">
          <a:xfrm>
            <a:off x="5344924" y="3274276"/>
            <a:ext cx="30152" cy="28477"/>
          </a:xfrm>
          <a:custGeom>
            <a:avLst/>
            <a:gdLst>
              <a:gd name="T0" fmla="*/ 2147483646 w 32"/>
              <a:gd name="T1" fmla="*/ 2147483646 h 31"/>
              <a:gd name="T2" fmla="*/ 2147483646 w 32"/>
              <a:gd name="T3" fmla="*/ 2147483646 h 31"/>
              <a:gd name="T4" fmla="*/ 2147483646 w 32"/>
              <a:gd name="T5" fmla="*/ 2147483646 h 31"/>
              <a:gd name="T6" fmla="*/ 2147483646 w 32"/>
              <a:gd name="T7" fmla="*/ 2147483646 h 31"/>
              <a:gd name="T8" fmla="*/ 2147483646 w 32"/>
              <a:gd name="T9" fmla="*/ 2147483646 h 31"/>
              <a:gd name="T10" fmla="*/ 2147483646 w 32"/>
              <a:gd name="T11" fmla="*/ 2147483646 h 31"/>
              <a:gd name="T12" fmla="*/ 2147483646 w 32"/>
              <a:gd name="T13" fmla="*/ 2147483646 h 31"/>
              <a:gd name="T14" fmla="*/ 2147483646 w 32"/>
              <a:gd name="T15" fmla="*/ 2147483646 h 31"/>
              <a:gd name="T16" fmla="*/ 2147483646 w 32"/>
              <a:gd name="T17" fmla="*/ 2147483646 h 31"/>
              <a:gd name="T18" fmla="*/ 2147483646 w 32"/>
              <a:gd name="T19" fmla="*/ 2147483646 h 31"/>
              <a:gd name="T20" fmla="*/ 2147483646 w 32"/>
              <a:gd name="T21" fmla="*/ 2147483646 h 31"/>
              <a:gd name="T22" fmla="*/ 2147483646 w 32"/>
              <a:gd name="T23" fmla="*/ 2147483646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31"/>
              <a:gd name="T38" fmla="*/ 32 w 32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31">
                <a:moveTo>
                  <a:pt x="13" y="2"/>
                </a:moveTo>
                <a:cubicBezTo>
                  <a:pt x="15" y="8"/>
                  <a:pt x="12" y="3"/>
                  <a:pt x="11" y="6"/>
                </a:cubicBezTo>
                <a:cubicBezTo>
                  <a:pt x="10" y="11"/>
                  <a:pt x="10" y="12"/>
                  <a:pt x="7" y="12"/>
                </a:cubicBezTo>
                <a:cubicBezTo>
                  <a:pt x="5" y="12"/>
                  <a:pt x="0" y="8"/>
                  <a:pt x="5" y="12"/>
                </a:cubicBezTo>
                <a:cubicBezTo>
                  <a:pt x="10" y="16"/>
                  <a:pt x="9" y="8"/>
                  <a:pt x="14" y="17"/>
                </a:cubicBezTo>
                <a:cubicBezTo>
                  <a:pt x="19" y="27"/>
                  <a:pt x="20" y="20"/>
                  <a:pt x="24" y="25"/>
                </a:cubicBezTo>
                <a:cubicBezTo>
                  <a:pt x="29" y="31"/>
                  <a:pt x="31" y="28"/>
                  <a:pt x="30" y="25"/>
                </a:cubicBezTo>
                <a:cubicBezTo>
                  <a:pt x="29" y="21"/>
                  <a:pt x="32" y="15"/>
                  <a:pt x="27" y="15"/>
                </a:cubicBezTo>
                <a:cubicBezTo>
                  <a:pt x="23" y="15"/>
                  <a:pt x="18" y="13"/>
                  <a:pt x="19" y="10"/>
                </a:cubicBezTo>
                <a:cubicBezTo>
                  <a:pt x="21" y="7"/>
                  <a:pt x="23" y="7"/>
                  <a:pt x="21" y="5"/>
                </a:cubicBezTo>
                <a:cubicBezTo>
                  <a:pt x="19" y="2"/>
                  <a:pt x="21" y="2"/>
                  <a:pt x="19" y="1"/>
                </a:cubicBezTo>
                <a:cubicBezTo>
                  <a:pt x="17" y="0"/>
                  <a:pt x="13" y="2"/>
                  <a:pt x="1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05" name="Freeform 439"/>
          <p:cNvSpPr>
            <a:spLocks/>
          </p:cNvSpPr>
          <p:nvPr userDrawn="1"/>
        </p:nvSpPr>
        <p:spPr bwMode="auto">
          <a:xfrm>
            <a:off x="5358325" y="3301077"/>
            <a:ext cx="8375" cy="10051"/>
          </a:xfrm>
          <a:custGeom>
            <a:avLst/>
            <a:gdLst>
              <a:gd name="T0" fmla="*/ 2147483646 w 9"/>
              <a:gd name="T1" fmla="*/ 2147483646 h 11"/>
              <a:gd name="T2" fmla="*/ 2147483646 w 9"/>
              <a:gd name="T3" fmla="*/ 2147483646 h 11"/>
              <a:gd name="T4" fmla="*/ 2147483646 w 9"/>
              <a:gd name="T5" fmla="*/ 2147483646 h 11"/>
              <a:gd name="T6" fmla="*/ 2147483646 w 9"/>
              <a:gd name="T7" fmla="*/ 2147483646 h 11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11"/>
              <a:gd name="T14" fmla="*/ 9 w 9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11">
                <a:moveTo>
                  <a:pt x="2" y="3"/>
                </a:moveTo>
                <a:cubicBezTo>
                  <a:pt x="0" y="6"/>
                  <a:pt x="4" y="4"/>
                  <a:pt x="5" y="7"/>
                </a:cubicBezTo>
                <a:cubicBezTo>
                  <a:pt x="7" y="11"/>
                  <a:pt x="7" y="9"/>
                  <a:pt x="8" y="7"/>
                </a:cubicBezTo>
                <a:cubicBezTo>
                  <a:pt x="9" y="6"/>
                  <a:pt x="3" y="0"/>
                  <a:pt x="2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06" name="Freeform 440"/>
          <p:cNvSpPr>
            <a:spLocks/>
          </p:cNvSpPr>
          <p:nvPr userDrawn="1"/>
        </p:nvSpPr>
        <p:spPr bwMode="auto">
          <a:xfrm>
            <a:off x="5359999" y="3316153"/>
            <a:ext cx="8376" cy="10051"/>
          </a:xfrm>
          <a:custGeom>
            <a:avLst/>
            <a:gdLst>
              <a:gd name="T0" fmla="*/ 2147483646 w 8"/>
              <a:gd name="T1" fmla="*/ 0 h 11"/>
              <a:gd name="T2" fmla="*/ 2147483646 w 8"/>
              <a:gd name="T3" fmla="*/ 2147483646 h 11"/>
              <a:gd name="T4" fmla="*/ 2147483646 w 8"/>
              <a:gd name="T5" fmla="*/ 2147483646 h 11"/>
              <a:gd name="T6" fmla="*/ 2147483646 w 8"/>
              <a:gd name="T7" fmla="*/ 2147483646 h 11"/>
              <a:gd name="T8" fmla="*/ 2147483646 w 8"/>
              <a:gd name="T9" fmla="*/ 0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11"/>
              <a:gd name="T17" fmla="*/ 8 w 8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11">
                <a:moveTo>
                  <a:pt x="5" y="0"/>
                </a:moveTo>
                <a:cubicBezTo>
                  <a:pt x="3" y="0"/>
                  <a:pt x="0" y="3"/>
                  <a:pt x="2" y="5"/>
                </a:cubicBezTo>
                <a:cubicBezTo>
                  <a:pt x="4" y="7"/>
                  <a:pt x="5" y="4"/>
                  <a:pt x="5" y="7"/>
                </a:cubicBezTo>
                <a:cubicBezTo>
                  <a:pt x="6" y="11"/>
                  <a:pt x="8" y="5"/>
                  <a:pt x="8" y="5"/>
                </a:cubicBezTo>
                <a:lnTo>
                  <a:pt x="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07" name="Freeform 441"/>
          <p:cNvSpPr>
            <a:spLocks/>
          </p:cNvSpPr>
          <p:nvPr userDrawn="1"/>
        </p:nvSpPr>
        <p:spPr bwMode="auto">
          <a:xfrm>
            <a:off x="5359999" y="3327879"/>
            <a:ext cx="16751" cy="10051"/>
          </a:xfrm>
          <a:custGeom>
            <a:avLst/>
            <a:gdLst>
              <a:gd name="T0" fmla="*/ 2147483646 w 17"/>
              <a:gd name="T1" fmla="*/ 2147483646 h 10"/>
              <a:gd name="T2" fmla="*/ 2147483646 w 17"/>
              <a:gd name="T3" fmla="*/ 2147483646 h 10"/>
              <a:gd name="T4" fmla="*/ 2147483646 w 17"/>
              <a:gd name="T5" fmla="*/ 2147483646 h 10"/>
              <a:gd name="T6" fmla="*/ 2147483646 w 17"/>
              <a:gd name="T7" fmla="*/ 2147483646 h 10"/>
              <a:gd name="T8" fmla="*/ 2147483646 w 17"/>
              <a:gd name="T9" fmla="*/ 2147483646 h 10"/>
              <a:gd name="T10" fmla="*/ 2147483646 w 17"/>
              <a:gd name="T11" fmla="*/ 2147483646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10"/>
              <a:gd name="T20" fmla="*/ 17 w 17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10">
                <a:moveTo>
                  <a:pt x="8" y="2"/>
                </a:moveTo>
                <a:cubicBezTo>
                  <a:pt x="6" y="4"/>
                  <a:pt x="0" y="1"/>
                  <a:pt x="4" y="6"/>
                </a:cubicBezTo>
                <a:cubicBezTo>
                  <a:pt x="8" y="10"/>
                  <a:pt x="10" y="8"/>
                  <a:pt x="12" y="8"/>
                </a:cubicBezTo>
                <a:cubicBezTo>
                  <a:pt x="14" y="8"/>
                  <a:pt x="13" y="7"/>
                  <a:pt x="14" y="6"/>
                </a:cubicBezTo>
                <a:cubicBezTo>
                  <a:pt x="16" y="5"/>
                  <a:pt x="17" y="4"/>
                  <a:pt x="15" y="2"/>
                </a:cubicBezTo>
                <a:cubicBezTo>
                  <a:pt x="13" y="0"/>
                  <a:pt x="11" y="0"/>
                  <a:pt x="8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08" name="Freeform 442"/>
          <p:cNvSpPr>
            <a:spLocks/>
          </p:cNvSpPr>
          <p:nvPr userDrawn="1"/>
        </p:nvSpPr>
        <p:spPr bwMode="auto">
          <a:xfrm>
            <a:off x="5351625" y="3319505"/>
            <a:ext cx="6700" cy="8375"/>
          </a:xfrm>
          <a:custGeom>
            <a:avLst/>
            <a:gdLst>
              <a:gd name="T0" fmla="*/ 2147483646 w 6"/>
              <a:gd name="T1" fmla="*/ 0 h 9"/>
              <a:gd name="T2" fmla="*/ 2147483646 w 6"/>
              <a:gd name="T3" fmla="*/ 2147483646 h 9"/>
              <a:gd name="T4" fmla="*/ 2147483646 w 6"/>
              <a:gd name="T5" fmla="*/ 2147483646 h 9"/>
              <a:gd name="T6" fmla="*/ 2147483646 w 6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6" y="0"/>
                </a:moveTo>
                <a:cubicBezTo>
                  <a:pt x="6" y="4"/>
                  <a:pt x="3" y="9"/>
                  <a:pt x="2" y="8"/>
                </a:cubicBezTo>
                <a:cubicBezTo>
                  <a:pt x="0" y="6"/>
                  <a:pt x="2" y="1"/>
                  <a:pt x="2" y="1"/>
                </a:cubicBezTo>
                <a:lnTo>
                  <a:pt x="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09" name="Freeform 443"/>
          <p:cNvSpPr>
            <a:spLocks/>
          </p:cNvSpPr>
          <p:nvPr userDrawn="1"/>
        </p:nvSpPr>
        <p:spPr bwMode="auto">
          <a:xfrm>
            <a:off x="5358324" y="3346306"/>
            <a:ext cx="15075" cy="18425"/>
          </a:xfrm>
          <a:custGeom>
            <a:avLst/>
            <a:gdLst>
              <a:gd name="T0" fmla="*/ 2147483646 w 17"/>
              <a:gd name="T1" fmla="*/ 0 h 19"/>
              <a:gd name="T2" fmla="*/ 2147483646 w 17"/>
              <a:gd name="T3" fmla="*/ 2147483646 h 19"/>
              <a:gd name="T4" fmla="*/ 2147483646 w 17"/>
              <a:gd name="T5" fmla="*/ 2147483646 h 19"/>
              <a:gd name="T6" fmla="*/ 2147483646 w 17"/>
              <a:gd name="T7" fmla="*/ 2147483646 h 19"/>
              <a:gd name="T8" fmla="*/ 2147483646 w 17"/>
              <a:gd name="T9" fmla="*/ 2147483646 h 19"/>
              <a:gd name="T10" fmla="*/ 2147483646 w 17"/>
              <a:gd name="T11" fmla="*/ 2147483646 h 19"/>
              <a:gd name="T12" fmla="*/ 2147483646 w 1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7"/>
              <a:gd name="T22" fmla="*/ 0 h 19"/>
              <a:gd name="T23" fmla="*/ 17 w 17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7" h="19">
                <a:moveTo>
                  <a:pt x="16" y="0"/>
                </a:moveTo>
                <a:cubicBezTo>
                  <a:pt x="12" y="3"/>
                  <a:pt x="11" y="6"/>
                  <a:pt x="7" y="8"/>
                </a:cubicBezTo>
                <a:cubicBezTo>
                  <a:pt x="4" y="9"/>
                  <a:pt x="0" y="5"/>
                  <a:pt x="3" y="11"/>
                </a:cubicBezTo>
                <a:cubicBezTo>
                  <a:pt x="6" y="16"/>
                  <a:pt x="7" y="11"/>
                  <a:pt x="10" y="15"/>
                </a:cubicBezTo>
                <a:cubicBezTo>
                  <a:pt x="12" y="19"/>
                  <a:pt x="13" y="14"/>
                  <a:pt x="14" y="10"/>
                </a:cubicBezTo>
                <a:cubicBezTo>
                  <a:pt x="15" y="7"/>
                  <a:pt x="17" y="4"/>
                  <a:pt x="17" y="4"/>
                </a:cubicBezTo>
                <a:lnTo>
                  <a:pt x="1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10" name="Freeform 444"/>
          <p:cNvSpPr>
            <a:spLocks/>
          </p:cNvSpPr>
          <p:nvPr userDrawn="1"/>
        </p:nvSpPr>
        <p:spPr bwMode="auto">
          <a:xfrm>
            <a:off x="5395176" y="3414985"/>
            <a:ext cx="15075" cy="16751"/>
          </a:xfrm>
          <a:custGeom>
            <a:avLst/>
            <a:gdLst>
              <a:gd name="T0" fmla="*/ 2147483646 w 17"/>
              <a:gd name="T1" fmla="*/ 2147483646 h 18"/>
              <a:gd name="T2" fmla="*/ 2147483646 w 17"/>
              <a:gd name="T3" fmla="*/ 2147483646 h 18"/>
              <a:gd name="T4" fmla="*/ 2147483646 w 17"/>
              <a:gd name="T5" fmla="*/ 2147483646 h 18"/>
              <a:gd name="T6" fmla="*/ 2147483646 w 17"/>
              <a:gd name="T7" fmla="*/ 2147483646 h 18"/>
              <a:gd name="T8" fmla="*/ 2147483646 w 17"/>
              <a:gd name="T9" fmla="*/ 2147483646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8"/>
              <a:gd name="T17" fmla="*/ 17 w 17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8">
                <a:moveTo>
                  <a:pt x="16" y="4"/>
                </a:moveTo>
                <a:cubicBezTo>
                  <a:pt x="12" y="4"/>
                  <a:pt x="11" y="0"/>
                  <a:pt x="10" y="7"/>
                </a:cubicBezTo>
                <a:cubicBezTo>
                  <a:pt x="9" y="14"/>
                  <a:pt x="0" y="15"/>
                  <a:pt x="6" y="17"/>
                </a:cubicBezTo>
                <a:cubicBezTo>
                  <a:pt x="11" y="18"/>
                  <a:pt x="16" y="15"/>
                  <a:pt x="16" y="13"/>
                </a:cubicBezTo>
                <a:cubicBezTo>
                  <a:pt x="17" y="10"/>
                  <a:pt x="16" y="4"/>
                  <a:pt x="16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11" name="Freeform 445"/>
          <p:cNvSpPr>
            <a:spLocks/>
          </p:cNvSpPr>
          <p:nvPr userDrawn="1"/>
        </p:nvSpPr>
        <p:spPr bwMode="auto">
          <a:xfrm>
            <a:off x="5400202" y="3456862"/>
            <a:ext cx="15076" cy="13401"/>
          </a:xfrm>
          <a:custGeom>
            <a:avLst/>
            <a:gdLst>
              <a:gd name="T0" fmla="*/ 2147483646 w 17"/>
              <a:gd name="T1" fmla="*/ 0 h 13"/>
              <a:gd name="T2" fmla="*/ 2147483646 w 17"/>
              <a:gd name="T3" fmla="*/ 2147483646 h 13"/>
              <a:gd name="T4" fmla="*/ 2147483646 w 17"/>
              <a:gd name="T5" fmla="*/ 2147483646 h 13"/>
              <a:gd name="T6" fmla="*/ 2147483646 w 17"/>
              <a:gd name="T7" fmla="*/ 2147483646 h 13"/>
              <a:gd name="T8" fmla="*/ 2147483646 w 17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3"/>
              <a:gd name="T17" fmla="*/ 17 w 17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3">
                <a:moveTo>
                  <a:pt x="7" y="0"/>
                </a:moveTo>
                <a:cubicBezTo>
                  <a:pt x="4" y="3"/>
                  <a:pt x="0" y="9"/>
                  <a:pt x="6" y="11"/>
                </a:cubicBezTo>
                <a:cubicBezTo>
                  <a:pt x="11" y="13"/>
                  <a:pt x="12" y="11"/>
                  <a:pt x="12" y="11"/>
                </a:cubicBezTo>
                <a:cubicBezTo>
                  <a:pt x="17" y="5"/>
                  <a:pt x="17" y="5"/>
                  <a:pt x="17" y="5"/>
                </a:cubicBezTo>
                <a:lnTo>
                  <a:pt x="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12" name="Freeform 446"/>
          <p:cNvSpPr>
            <a:spLocks/>
          </p:cNvSpPr>
          <p:nvPr userDrawn="1"/>
        </p:nvSpPr>
        <p:spPr bwMode="auto">
          <a:xfrm>
            <a:off x="5430354" y="3203921"/>
            <a:ext cx="11727" cy="8376"/>
          </a:xfrm>
          <a:custGeom>
            <a:avLst/>
            <a:gdLst>
              <a:gd name="T0" fmla="*/ 2147483646 w 13"/>
              <a:gd name="T1" fmla="*/ 2147483646 h 10"/>
              <a:gd name="T2" fmla="*/ 2147483646 w 13"/>
              <a:gd name="T3" fmla="*/ 2147483646 h 10"/>
              <a:gd name="T4" fmla="*/ 2147483646 w 13"/>
              <a:gd name="T5" fmla="*/ 2147483646 h 10"/>
              <a:gd name="T6" fmla="*/ 2147483646 w 13"/>
              <a:gd name="T7" fmla="*/ 2147483646 h 10"/>
              <a:gd name="T8" fmla="*/ 2147483646 w 13"/>
              <a:gd name="T9" fmla="*/ 2147483646 h 10"/>
              <a:gd name="T10" fmla="*/ 2147483646 w 13"/>
              <a:gd name="T11" fmla="*/ 0 h 10"/>
              <a:gd name="T12" fmla="*/ 2147483646 w 13"/>
              <a:gd name="T13" fmla="*/ 2147483646 h 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3"/>
              <a:gd name="T22" fmla="*/ 0 h 10"/>
              <a:gd name="T23" fmla="*/ 13 w 13"/>
              <a:gd name="T24" fmla="*/ 10 h 1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3" h="10">
                <a:moveTo>
                  <a:pt x="6" y="1"/>
                </a:moveTo>
                <a:cubicBezTo>
                  <a:pt x="5" y="2"/>
                  <a:pt x="0" y="4"/>
                  <a:pt x="3" y="7"/>
                </a:cubicBezTo>
                <a:cubicBezTo>
                  <a:pt x="6" y="10"/>
                  <a:pt x="7" y="8"/>
                  <a:pt x="9" y="9"/>
                </a:cubicBezTo>
                <a:cubicBezTo>
                  <a:pt x="10" y="9"/>
                  <a:pt x="12" y="7"/>
                  <a:pt x="12" y="7"/>
                </a:cubicBezTo>
                <a:cubicBezTo>
                  <a:pt x="12" y="7"/>
                  <a:pt x="13" y="5"/>
                  <a:pt x="11" y="3"/>
                </a:cubicBezTo>
                <a:cubicBezTo>
                  <a:pt x="10" y="2"/>
                  <a:pt x="10" y="0"/>
                  <a:pt x="9" y="0"/>
                </a:cubicBezTo>
                <a:cubicBezTo>
                  <a:pt x="7" y="1"/>
                  <a:pt x="6" y="1"/>
                  <a:pt x="6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13" name="Freeform 447"/>
          <p:cNvSpPr>
            <a:spLocks/>
          </p:cNvSpPr>
          <p:nvPr userDrawn="1"/>
        </p:nvSpPr>
        <p:spPr bwMode="auto">
          <a:xfrm>
            <a:off x="5437054" y="3193871"/>
            <a:ext cx="6700" cy="8376"/>
          </a:xfrm>
          <a:custGeom>
            <a:avLst/>
            <a:gdLst>
              <a:gd name="T0" fmla="*/ 2147483646 w 8"/>
              <a:gd name="T1" fmla="*/ 0 h 9"/>
              <a:gd name="T2" fmla="*/ 2147483646 w 8"/>
              <a:gd name="T3" fmla="*/ 2147483646 h 9"/>
              <a:gd name="T4" fmla="*/ 2147483646 w 8"/>
              <a:gd name="T5" fmla="*/ 2147483646 h 9"/>
              <a:gd name="T6" fmla="*/ 2147483646 w 8"/>
              <a:gd name="T7" fmla="*/ 2147483646 h 9"/>
              <a:gd name="T8" fmla="*/ 2147483646 w 8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9"/>
              <a:gd name="T17" fmla="*/ 8 w 8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9">
                <a:moveTo>
                  <a:pt x="5" y="0"/>
                </a:moveTo>
                <a:cubicBezTo>
                  <a:pt x="4" y="2"/>
                  <a:pt x="0" y="2"/>
                  <a:pt x="3" y="5"/>
                </a:cubicBezTo>
                <a:cubicBezTo>
                  <a:pt x="6" y="9"/>
                  <a:pt x="7" y="5"/>
                  <a:pt x="8" y="6"/>
                </a:cubicBezTo>
                <a:cubicBezTo>
                  <a:pt x="8" y="6"/>
                  <a:pt x="6" y="3"/>
                  <a:pt x="6" y="2"/>
                </a:cubicBezTo>
                <a:cubicBezTo>
                  <a:pt x="7" y="2"/>
                  <a:pt x="5" y="0"/>
                  <a:pt x="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14" name="Freeform 448"/>
          <p:cNvSpPr>
            <a:spLocks/>
          </p:cNvSpPr>
          <p:nvPr userDrawn="1"/>
        </p:nvSpPr>
        <p:spPr bwMode="auto">
          <a:xfrm>
            <a:off x="5433703" y="3210623"/>
            <a:ext cx="6700" cy="8376"/>
          </a:xfrm>
          <a:custGeom>
            <a:avLst/>
            <a:gdLst>
              <a:gd name="T0" fmla="*/ 2147483646 w 7"/>
              <a:gd name="T1" fmla="*/ 2147483646 h 10"/>
              <a:gd name="T2" fmla="*/ 0 w 7"/>
              <a:gd name="T3" fmla="*/ 2147483646 h 10"/>
              <a:gd name="T4" fmla="*/ 2147483646 w 7"/>
              <a:gd name="T5" fmla="*/ 2147483646 h 10"/>
              <a:gd name="T6" fmla="*/ 2147483646 w 7"/>
              <a:gd name="T7" fmla="*/ 2147483646 h 10"/>
              <a:gd name="T8" fmla="*/ 2147483646 w 7"/>
              <a:gd name="T9" fmla="*/ 2147483646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10"/>
              <a:gd name="T17" fmla="*/ 7 w 7"/>
              <a:gd name="T18" fmla="*/ 10 h 1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10">
                <a:moveTo>
                  <a:pt x="4" y="3"/>
                </a:moveTo>
                <a:cubicBezTo>
                  <a:pt x="3" y="3"/>
                  <a:pt x="0" y="0"/>
                  <a:pt x="0" y="4"/>
                </a:cubicBezTo>
                <a:cubicBezTo>
                  <a:pt x="0" y="8"/>
                  <a:pt x="1" y="10"/>
                  <a:pt x="2" y="10"/>
                </a:cubicBezTo>
                <a:cubicBezTo>
                  <a:pt x="3" y="10"/>
                  <a:pt x="2" y="7"/>
                  <a:pt x="4" y="7"/>
                </a:cubicBezTo>
                <a:cubicBezTo>
                  <a:pt x="7" y="7"/>
                  <a:pt x="4" y="3"/>
                  <a:pt x="4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15" name="Freeform 449"/>
          <p:cNvSpPr>
            <a:spLocks/>
          </p:cNvSpPr>
          <p:nvPr userDrawn="1"/>
        </p:nvSpPr>
        <p:spPr bwMode="auto">
          <a:xfrm>
            <a:off x="5438730" y="3213973"/>
            <a:ext cx="8375" cy="6700"/>
          </a:xfrm>
          <a:custGeom>
            <a:avLst/>
            <a:gdLst>
              <a:gd name="T0" fmla="*/ 2147483646 w 10"/>
              <a:gd name="T1" fmla="*/ 0 h 7"/>
              <a:gd name="T2" fmla="*/ 2147483646 w 10"/>
              <a:gd name="T3" fmla="*/ 2147483646 h 7"/>
              <a:gd name="T4" fmla="*/ 2147483646 w 10"/>
              <a:gd name="T5" fmla="*/ 2147483646 h 7"/>
              <a:gd name="T6" fmla="*/ 2147483646 w 10"/>
              <a:gd name="T7" fmla="*/ 2147483646 h 7"/>
              <a:gd name="T8" fmla="*/ 2147483646 w 10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"/>
              <a:gd name="T16" fmla="*/ 0 h 7"/>
              <a:gd name="T17" fmla="*/ 10 w 10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" h="7">
                <a:moveTo>
                  <a:pt x="7" y="0"/>
                </a:moveTo>
                <a:cubicBezTo>
                  <a:pt x="4" y="3"/>
                  <a:pt x="0" y="4"/>
                  <a:pt x="4" y="5"/>
                </a:cubicBezTo>
                <a:cubicBezTo>
                  <a:pt x="8" y="7"/>
                  <a:pt x="7" y="6"/>
                  <a:pt x="8" y="5"/>
                </a:cubicBezTo>
                <a:cubicBezTo>
                  <a:pt x="10" y="4"/>
                  <a:pt x="10" y="1"/>
                  <a:pt x="10" y="1"/>
                </a:cubicBezTo>
                <a:lnTo>
                  <a:pt x="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16" name="Freeform 450"/>
          <p:cNvSpPr>
            <a:spLocks/>
          </p:cNvSpPr>
          <p:nvPr userDrawn="1"/>
        </p:nvSpPr>
        <p:spPr bwMode="auto">
          <a:xfrm>
            <a:off x="5440404" y="3200573"/>
            <a:ext cx="10051" cy="11727"/>
          </a:xfrm>
          <a:custGeom>
            <a:avLst/>
            <a:gdLst>
              <a:gd name="T0" fmla="*/ 2147483646 w 10"/>
              <a:gd name="T1" fmla="*/ 2147483646 h 12"/>
              <a:gd name="T2" fmla="*/ 2147483646 w 10"/>
              <a:gd name="T3" fmla="*/ 2147483646 h 12"/>
              <a:gd name="T4" fmla="*/ 2147483646 w 10"/>
              <a:gd name="T5" fmla="*/ 2147483646 h 12"/>
              <a:gd name="T6" fmla="*/ 2147483646 w 10"/>
              <a:gd name="T7" fmla="*/ 2147483646 h 12"/>
              <a:gd name="T8" fmla="*/ 2147483646 w 10"/>
              <a:gd name="T9" fmla="*/ 2147483646 h 12"/>
              <a:gd name="T10" fmla="*/ 2147483646 w 10"/>
              <a:gd name="T11" fmla="*/ 2147483646 h 12"/>
              <a:gd name="T12" fmla="*/ 2147483646 w 10"/>
              <a:gd name="T13" fmla="*/ 2147483646 h 12"/>
              <a:gd name="T14" fmla="*/ 2147483646 w 10"/>
              <a:gd name="T15" fmla="*/ 2147483646 h 12"/>
              <a:gd name="T16" fmla="*/ 2147483646 w 10"/>
              <a:gd name="T17" fmla="*/ 2147483646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"/>
              <a:gd name="T28" fmla="*/ 0 h 12"/>
              <a:gd name="T29" fmla="*/ 10 w 10"/>
              <a:gd name="T30" fmla="*/ 12 h 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" h="12">
                <a:moveTo>
                  <a:pt x="3" y="5"/>
                </a:moveTo>
                <a:cubicBezTo>
                  <a:pt x="2" y="7"/>
                  <a:pt x="0" y="9"/>
                  <a:pt x="3" y="11"/>
                </a:cubicBezTo>
                <a:cubicBezTo>
                  <a:pt x="5" y="12"/>
                  <a:pt x="4" y="11"/>
                  <a:pt x="6" y="11"/>
                </a:cubicBezTo>
                <a:cubicBezTo>
                  <a:pt x="8" y="11"/>
                  <a:pt x="8" y="8"/>
                  <a:pt x="8" y="8"/>
                </a:cubicBezTo>
                <a:cubicBezTo>
                  <a:pt x="10" y="5"/>
                  <a:pt x="10" y="5"/>
                  <a:pt x="10" y="5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2"/>
                  <a:pt x="9" y="0"/>
                  <a:pt x="8" y="1"/>
                </a:cubicBezTo>
                <a:cubicBezTo>
                  <a:pt x="6" y="2"/>
                  <a:pt x="5" y="1"/>
                  <a:pt x="5" y="3"/>
                </a:cubicBezTo>
                <a:cubicBezTo>
                  <a:pt x="5" y="4"/>
                  <a:pt x="3" y="5"/>
                  <a:pt x="3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17" name="Freeform 451"/>
          <p:cNvSpPr>
            <a:spLocks/>
          </p:cNvSpPr>
          <p:nvPr userDrawn="1"/>
        </p:nvSpPr>
        <p:spPr bwMode="auto">
          <a:xfrm>
            <a:off x="5448781" y="3188847"/>
            <a:ext cx="8375" cy="10051"/>
          </a:xfrm>
          <a:custGeom>
            <a:avLst/>
            <a:gdLst>
              <a:gd name="T0" fmla="*/ 2147483646 w 8"/>
              <a:gd name="T1" fmla="*/ 2147483646 h 11"/>
              <a:gd name="T2" fmla="*/ 2147483646 w 8"/>
              <a:gd name="T3" fmla="*/ 2147483646 h 11"/>
              <a:gd name="T4" fmla="*/ 2147483646 w 8"/>
              <a:gd name="T5" fmla="*/ 2147483646 h 11"/>
              <a:gd name="T6" fmla="*/ 2147483646 w 8"/>
              <a:gd name="T7" fmla="*/ 2147483646 h 11"/>
              <a:gd name="T8" fmla="*/ 2147483646 w 8"/>
              <a:gd name="T9" fmla="*/ 2147483646 h 11"/>
              <a:gd name="T10" fmla="*/ 0 w 8"/>
              <a:gd name="T11" fmla="*/ 2147483646 h 11"/>
              <a:gd name="T12" fmla="*/ 2147483646 w 8"/>
              <a:gd name="T13" fmla="*/ 2147483646 h 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"/>
              <a:gd name="T22" fmla="*/ 0 h 11"/>
              <a:gd name="T23" fmla="*/ 8 w 8"/>
              <a:gd name="T24" fmla="*/ 11 h 1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" h="11">
                <a:moveTo>
                  <a:pt x="1" y="8"/>
                </a:moveTo>
                <a:cubicBezTo>
                  <a:pt x="2" y="11"/>
                  <a:pt x="3" y="11"/>
                  <a:pt x="4" y="10"/>
                </a:cubicBezTo>
                <a:cubicBezTo>
                  <a:pt x="6" y="9"/>
                  <a:pt x="6" y="8"/>
                  <a:pt x="7" y="7"/>
                </a:cubicBezTo>
                <a:cubicBezTo>
                  <a:pt x="8" y="6"/>
                  <a:pt x="8" y="3"/>
                  <a:pt x="7" y="3"/>
                </a:cubicBezTo>
                <a:cubicBezTo>
                  <a:pt x="5" y="3"/>
                  <a:pt x="3" y="0"/>
                  <a:pt x="3" y="2"/>
                </a:cubicBezTo>
                <a:cubicBezTo>
                  <a:pt x="3" y="5"/>
                  <a:pt x="0" y="7"/>
                  <a:pt x="0" y="7"/>
                </a:cubicBezTo>
                <a:lnTo>
                  <a:pt x="1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18" name="Freeform 452"/>
          <p:cNvSpPr>
            <a:spLocks/>
          </p:cNvSpPr>
          <p:nvPr userDrawn="1"/>
        </p:nvSpPr>
        <p:spPr bwMode="auto">
          <a:xfrm>
            <a:off x="5445430" y="3210623"/>
            <a:ext cx="8375" cy="3351"/>
          </a:xfrm>
          <a:custGeom>
            <a:avLst/>
            <a:gdLst>
              <a:gd name="T0" fmla="*/ 2147483646 w 9"/>
              <a:gd name="T1" fmla="*/ 0 h 4"/>
              <a:gd name="T2" fmla="*/ 2147483646 w 9"/>
              <a:gd name="T3" fmla="*/ 2147483646 h 4"/>
              <a:gd name="T4" fmla="*/ 2147483646 w 9"/>
              <a:gd name="T5" fmla="*/ 2147483646 h 4"/>
              <a:gd name="T6" fmla="*/ 2147483646 w 9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4"/>
              <a:gd name="T14" fmla="*/ 9 w 9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4">
                <a:moveTo>
                  <a:pt x="6" y="0"/>
                </a:moveTo>
                <a:cubicBezTo>
                  <a:pt x="4" y="1"/>
                  <a:pt x="0" y="4"/>
                  <a:pt x="3" y="4"/>
                </a:cubicBezTo>
                <a:cubicBezTo>
                  <a:pt x="7" y="4"/>
                  <a:pt x="6" y="4"/>
                  <a:pt x="7" y="3"/>
                </a:cubicBezTo>
                <a:cubicBezTo>
                  <a:pt x="9" y="2"/>
                  <a:pt x="6" y="0"/>
                  <a:pt x="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19" name="Freeform 453"/>
          <p:cNvSpPr>
            <a:spLocks/>
          </p:cNvSpPr>
          <p:nvPr userDrawn="1"/>
        </p:nvSpPr>
        <p:spPr bwMode="auto">
          <a:xfrm>
            <a:off x="6293025" y="3738278"/>
            <a:ext cx="107205" cy="58628"/>
          </a:xfrm>
          <a:custGeom>
            <a:avLst/>
            <a:gdLst>
              <a:gd name="T0" fmla="*/ 2147483646 w 114"/>
              <a:gd name="T1" fmla="*/ 2147483646 h 62"/>
              <a:gd name="T2" fmla="*/ 2147483646 w 114"/>
              <a:gd name="T3" fmla="*/ 2147483646 h 62"/>
              <a:gd name="T4" fmla="*/ 2147483646 w 114"/>
              <a:gd name="T5" fmla="*/ 2147483646 h 62"/>
              <a:gd name="T6" fmla="*/ 2147483646 w 114"/>
              <a:gd name="T7" fmla="*/ 2147483646 h 62"/>
              <a:gd name="T8" fmla="*/ 2147483646 w 114"/>
              <a:gd name="T9" fmla="*/ 2147483646 h 62"/>
              <a:gd name="T10" fmla="*/ 2147483646 w 114"/>
              <a:gd name="T11" fmla="*/ 2147483646 h 62"/>
              <a:gd name="T12" fmla="*/ 2147483646 w 114"/>
              <a:gd name="T13" fmla="*/ 2147483646 h 62"/>
              <a:gd name="T14" fmla="*/ 2147483646 w 114"/>
              <a:gd name="T15" fmla="*/ 2147483646 h 62"/>
              <a:gd name="T16" fmla="*/ 2147483646 w 114"/>
              <a:gd name="T17" fmla="*/ 2147483646 h 62"/>
              <a:gd name="T18" fmla="*/ 2147483646 w 114"/>
              <a:gd name="T19" fmla="*/ 2147483646 h 62"/>
              <a:gd name="T20" fmla="*/ 2147483646 w 114"/>
              <a:gd name="T21" fmla="*/ 2147483646 h 62"/>
              <a:gd name="T22" fmla="*/ 2147483646 w 114"/>
              <a:gd name="T23" fmla="*/ 2147483646 h 62"/>
              <a:gd name="T24" fmla="*/ 2147483646 w 114"/>
              <a:gd name="T25" fmla="*/ 2147483646 h 62"/>
              <a:gd name="T26" fmla="*/ 2147483646 w 114"/>
              <a:gd name="T27" fmla="*/ 2147483646 h 62"/>
              <a:gd name="T28" fmla="*/ 2147483646 w 114"/>
              <a:gd name="T29" fmla="*/ 2147483646 h 62"/>
              <a:gd name="T30" fmla="*/ 2147483646 w 114"/>
              <a:gd name="T31" fmla="*/ 2147483646 h 62"/>
              <a:gd name="T32" fmla="*/ 2147483646 w 114"/>
              <a:gd name="T33" fmla="*/ 2147483646 h 62"/>
              <a:gd name="T34" fmla="*/ 2147483646 w 114"/>
              <a:gd name="T35" fmla="*/ 2147483646 h 62"/>
              <a:gd name="T36" fmla="*/ 2147483646 w 114"/>
              <a:gd name="T37" fmla="*/ 2147483646 h 62"/>
              <a:gd name="T38" fmla="*/ 2147483646 w 114"/>
              <a:gd name="T39" fmla="*/ 2147483646 h 62"/>
              <a:gd name="T40" fmla="*/ 2147483646 w 114"/>
              <a:gd name="T41" fmla="*/ 2147483646 h 62"/>
              <a:gd name="T42" fmla="*/ 2147483646 w 114"/>
              <a:gd name="T43" fmla="*/ 2147483646 h 62"/>
              <a:gd name="T44" fmla="*/ 2147483646 w 114"/>
              <a:gd name="T45" fmla="*/ 2147483646 h 62"/>
              <a:gd name="T46" fmla="*/ 2147483646 w 114"/>
              <a:gd name="T47" fmla="*/ 2147483646 h 62"/>
              <a:gd name="T48" fmla="*/ 2147483646 w 114"/>
              <a:gd name="T49" fmla="*/ 2147483646 h 62"/>
              <a:gd name="T50" fmla="*/ 2147483646 w 114"/>
              <a:gd name="T51" fmla="*/ 2147483646 h 62"/>
              <a:gd name="T52" fmla="*/ 2147483646 w 114"/>
              <a:gd name="T53" fmla="*/ 2147483646 h 62"/>
              <a:gd name="T54" fmla="*/ 2147483646 w 114"/>
              <a:gd name="T55" fmla="*/ 2147483646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14"/>
              <a:gd name="T85" fmla="*/ 0 h 62"/>
              <a:gd name="T86" fmla="*/ 114 w 114"/>
              <a:gd name="T87" fmla="*/ 62 h 62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14" h="62">
                <a:moveTo>
                  <a:pt x="111" y="20"/>
                </a:moveTo>
                <a:cubicBezTo>
                  <a:pt x="110" y="17"/>
                  <a:pt x="105" y="14"/>
                  <a:pt x="101" y="18"/>
                </a:cubicBezTo>
                <a:cubicBezTo>
                  <a:pt x="97" y="22"/>
                  <a:pt x="97" y="25"/>
                  <a:pt x="94" y="24"/>
                </a:cubicBezTo>
                <a:cubicBezTo>
                  <a:pt x="90" y="23"/>
                  <a:pt x="88" y="18"/>
                  <a:pt x="86" y="21"/>
                </a:cubicBezTo>
                <a:cubicBezTo>
                  <a:pt x="84" y="23"/>
                  <a:pt x="75" y="26"/>
                  <a:pt x="75" y="26"/>
                </a:cubicBezTo>
                <a:cubicBezTo>
                  <a:pt x="67" y="21"/>
                  <a:pt x="67" y="21"/>
                  <a:pt x="67" y="21"/>
                </a:cubicBezTo>
                <a:cubicBezTo>
                  <a:pt x="67" y="15"/>
                  <a:pt x="67" y="15"/>
                  <a:pt x="67" y="15"/>
                </a:cubicBezTo>
                <a:cubicBezTo>
                  <a:pt x="67" y="15"/>
                  <a:pt x="69" y="10"/>
                  <a:pt x="64" y="9"/>
                </a:cubicBezTo>
                <a:cubicBezTo>
                  <a:pt x="60" y="9"/>
                  <a:pt x="55" y="4"/>
                  <a:pt x="55" y="7"/>
                </a:cubicBezTo>
                <a:cubicBezTo>
                  <a:pt x="54" y="9"/>
                  <a:pt x="53" y="4"/>
                  <a:pt x="49" y="4"/>
                </a:cubicBezTo>
                <a:cubicBezTo>
                  <a:pt x="46" y="4"/>
                  <a:pt x="43" y="0"/>
                  <a:pt x="42" y="2"/>
                </a:cubicBezTo>
                <a:cubicBezTo>
                  <a:pt x="42" y="5"/>
                  <a:pt x="41" y="8"/>
                  <a:pt x="41" y="8"/>
                </a:cubicBezTo>
                <a:cubicBezTo>
                  <a:pt x="41" y="8"/>
                  <a:pt x="41" y="6"/>
                  <a:pt x="33" y="9"/>
                </a:cubicBezTo>
                <a:cubicBezTo>
                  <a:pt x="25" y="12"/>
                  <a:pt x="24" y="12"/>
                  <a:pt x="20" y="14"/>
                </a:cubicBezTo>
                <a:cubicBezTo>
                  <a:pt x="17" y="15"/>
                  <a:pt x="0" y="18"/>
                  <a:pt x="9" y="24"/>
                </a:cubicBezTo>
                <a:cubicBezTo>
                  <a:pt x="18" y="30"/>
                  <a:pt x="19" y="30"/>
                  <a:pt x="23" y="31"/>
                </a:cubicBezTo>
                <a:cubicBezTo>
                  <a:pt x="27" y="32"/>
                  <a:pt x="30" y="31"/>
                  <a:pt x="30" y="35"/>
                </a:cubicBezTo>
                <a:cubicBezTo>
                  <a:pt x="30" y="38"/>
                  <a:pt x="34" y="35"/>
                  <a:pt x="36" y="37"/>
                </a:cubicBezTo>
                <a:cubicBezTo>
                  <a:pt x="37" y="40"/>
                  <a:pt x="37" y="46"/>
                  <a:pt x="34" y="50"/>
                </a:cubicBezTo>
                <a:cubicBezTo>
                  <a:pt x="32" y="53"/>
                  <a:pt x="27" y="57"/>
                  <a:pt x="27" y="57"/>
                </a:cubicBezTo>
                <a:cubicBezTo>
                  <a:pt x="27" y="57"/>
                  <a:pt x="41" y="56"/>
                  <a:pt x="45" y="59"/>
                </a:cubicBezTo>
                <a:cubicBezTo>
                  <a:pt x="48" y="62"/>
                  <a:pt x="50" y="60"/>
                  <a:pt x="53" y="57"/>
                </a:cubicBezTo>
                <a:cubicBezTo>
                  <a:pt x="56" y="54"/>
                  <a:pt x="66" y="38"/>
                  <a:pt x="69" y="40"/>
                </a:cubicBezTo>
                <a:cubicBezTo>
                  <a:pt x="72" y="43"/>
                  <a:pt x="73" y="42"/>
                  <a:pt x="76" y="42"/>
                </a:cubicBezTo>
                <a:cubicBezTo>
                  <a:pt x="79" y="43"/>
                  <a:pt x="76" y="39"/>
                  <a:pt x="82" y="37"/>
                </a:cubicBezTo>
                <a:cubicBezTo>
                  <a:pt x="88" y="36"/>
                  <a:pt x="88" y="29"/>
                  <a:pt x="93" y="33"/>
                </a:cubicBezTo>
                <a:cubicBezTo>
                  <a:pt x="98" y="36"/>
                  <a:pt x="100" y="35"/>
                  <a:pt x="103" y="35"/>
                </a:cubicBezTo>
                <a:cubicBezTo>
                  <a:pt x="107" y="35"/>
                  <a:pt x="114" y="25"/>
                  <a:pt x="111" y="2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20" name="Freeform 454"/>
          <p:cNvSpPr>
            <a:spLocks/>
          </p:cNvSpPr>
          <p:nvPr userDrawn="1"/>
        </p:nvSpPr>
        <p:spPr bwMode="auto">
          <a:xfrm>
            <a:off x="5748620" y="3364731"/>
            <a:ext cx="28477" cy="25127"/>
          </a:xfrm>
          <a:custGeom>
            <a:avLst/>
            <a:gdLst>
              <a:gd name="T0" fmla="*/ 2147483646 w 30"/>
              <a:gd name="T1" fmla="*/ 0 h 27"/>
              <a:gd name="T2" fmla="*/ 2147483646 w 30"/>
              <a:gd name="T3" fmla="*/ 2147483646 h 27"/>
              <a:gd name="T4" fmla="*/ 2147483646 w 30"/>
              <a:gd name="T5" fmla="*/ 2147483646 h 27"/>
              <a:gd name="T6" fmla="*/ 2147483646 w 30"/>
              <a:gd name="T7" fmla="*/ 2147483646 h 27"/>
              <a:gd name="T8" fmla="*/ 2147483646 w 30"/>
              <a:gd name="T9" fmla="*/ 2147483646 h 27"/>
              <a:gd name="T10" fmla="*/ 2147483646 w 30"/>
              <a:gd name="T11" fmla="*/ 2147483646 h 27"/>
              <a:gd name="T12" fmla="*/ 2147483646 w 30"/>
              <a:gd name="T13" fmla="*/ 2147483646 h 27"/>
              <a:gd name="T14" fmla="*/ 2147483646 w 30"/>
              <a:gd name="T15" fmla="*/ 2147483646 h 27"/>
              <a:gd name="T16" fmla="*/ 2147483646 w 30"/>
              <a:gd name="T17" fmla="*/ 2147483646 h 27"/>
              <a:gd name="T18" fmla="*/ 2147483646 w 30"/>
              <a:gd name="T19" fmla="*/ 0 h 27"/>
              <a:gd name="T20" fmla="*/ 2147483646 w 30"/>
              <a:gd name="T21" fmla="*/ 0 h 2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0"/>
              <a:gd name="T34" fmla="*/ 0 h 27"/>
              <a:gd name="T35" fmla="*/ 30 w 30"/>
              <a:gd name="T36" fmla="*/ 27 h 2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0" h="27">
                <a:moveTo>
                  <a:pt x="9" y="0"/>
                </a:moveTo>
                <a:cubicBezTo>
                  <a:pt x="7" y="2"/>
                  <a:pt x="2" y="4"/>
                  <a:pt x="1" y="5"/>
                </a:cubicBezTo>
                <a:cubicBezTo>
                  <a:pt x="0" y="7"/>
                  <a:pt x="1" y="10"/>
                  <a:pt x="3" y="11"/>
                </a:cubicBezTo>
                <a:cubicBezTo>
                  <a:pt x="5" y="13"/>
                  <a:pt x="7" y="14"/>
                  <a:pt x="8" y="17"/>
                </a:cubicBezTo>
                <a:cubicBezTo>
                  <a:pt x="8" y="19"/>
                  <a:pt x="10" y="21"/>
                  <a:pt x="12" y="23"/>
                </a:cubicBezTo>
                <a:cubicBezTo>
                  <a:pt x="13" y="25"/>
                  <a:pt x="18" y="27"/>
                  <a:pt x="21" y="26"/>
                </a:cubicBezTo>
                <a:cubicBezTo>
                  <a:pt x="24" y="25"/>
                  <a:pt x="29" y="19"/>
                  <a:pt x="30" y="18"/>
                </a:cubicBezTo>
                <a:cubicBezTo>
                  <a:pt x="30" y="16"/>
                  <a:pt x="27" y="10"/>
                  <a:pt x="26" y="10"/>
                </a:cubicBezTo>
                <a:cubicBezTo>
                  <a:pt x="25" y="9"/>
                  <a:pt x="20" y="7"/>
                  <a:pt x="20" y="5"/>
                </a:cubicBezTo>
                <a:cubicBezTo>
                  <a:pt x="19" y="4"/>
                  <a:pt x="18" y="0"/>
                  <a:pt x="17" y="0"/>
                </a:cubicBezTo>
                <a:cubicBezTo>
                  <a:pt x="15" y="0"/>
                  <a:pt x="9" y="0"/>
                  <a:pt x="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21" name="Freeform 455"/>
          <p:cNvSpPr>
            <a:spLocks/>
          </p:cNvSpPr>
          <p:nvPr userDrawn="1"/>
        </p:nvSpPr>
        <p:spPr bwMode="auto">
          <a:xfrm>
            <a:off x="5710094" y="3267575"/>
            <a:ext cx="60303" cy="55279"/>
          </a:xfrm>
          <a:custGeom>
            <a:avLst/>
            <a:gdLst>
              <a:gd name="T0" fmla="*/ 2147483646 w 65"/>
              <a:gd name="T1" fmla="*/ 0 h 60"/>
              <a:gd name="T2" fmla="*/ 2147483646 w 65"/>
              <a:gd name="T3" fmla="*/ 2147483646 h 60"/>
              <a:gd name="T4" fmla="*/ 2147483646 w 65"/>
              <a:gd name="T5" fmla="*/ 2147483646 h 60"/>
              <a:gd name="T6" fmla="*/ 2147483646 w 65"/>
              <a:gd name="T7" fmla="*/ 2147483646 h 60"/>
              <a:gd name="T8" fmla="*/ 2147483646 w 65"/>
              <a:gd name="T9" fmla="*/ 2147483646 h 60"/>
              <a:gd name="T10" fmla="*/ 2147483646 w 65"/>
              <a:gd name="T11" fmla="*/ 2147483646 h 60"/>
              <a:gd name="T12" fmla="*/ 2147483646 w 65"/>
              <a:gd name="T13" fmla="*/ 2147483646 h 60"/>
              <a:gd name="T14" fmla="*/ 2147483646 w 65"/>
              <a:gd name="T15" fmla="*/ 2147483646 h 60"/>
              <a:gd name="T16" fmla="*/ 2147483646 w 65"/>
              <a:gd name="T17" fmla="*/ 2147483646 h 60"/>
              <a:gd name="T18" fmla="*/ 2147483646 w 65"/>
              <a:gd name="T19" fmla="*/ 2147483646 h 60"/>
              <a:gd name="T20" fmla="*/ 2147483646 w 65"/>
              <a:gd name="T21" fmla="*/ 2147483646 h 60"/>
              <a:gd name="T22" fmla="*/ 2147483646 w 65"/>
              <a:gd name="T23" fmla="*/ 2147483646 h 60"/>
              <a:gd name="T24" fmla="*/ 2147483646 w 65"/>
              <a:gd name="T25" fmla="*/ 2147483646 h 60"/>
              <a:gd name="T26" fmla="*/ 2147483646 w 65"/>
              <a:gd name="T27" fmla="*/ 2147483646 h 60"/>
              <a:gd name="T28" fmla="*/ 2147483646 w 65"/>
              <a:gd name="T29" fmla="*/ 2147483646 h 60"/>
              <a:gd name="T30" fmla="*/ 2147483646 w 65"/>
              <a:gd name="T31" fmla="*/ 2147483646 h 60"/>
              <a:gd name="T32" fmla="*/ 2147483646 w 65"/>
              <a:gd name="T33" fmla="*/ 2147483646 h 60"/>
              <a:gd name="T34" fmla="*/ 2147483646 w 65"/>
              <a:gd name="T35" fmla="*/ 2147483646 h 60"/>
              <a:gd name="T36" fmla="*/ 2147483646 w 65"/>
              <a:gd name="T37" fmla="*/ 2147483646 h 60"/>
              <a:gd name="T38" fmla="*/ 2147483646 w 65"/>
              <a:gd name="T39" fmla="*/ 2147483646 h 60"/>
              <a:gd name="T40" fmla="*/ 2147483646 w 65"/>
              <a:gd name="T41" fmla="*/ 2147483646 h 60"/>
              <a:gd name="T42" fmla="*/ 2147483646 w 65"/>
              <a:gd name="T43" fmla="*/ 2147483646 h 60"/>
              <a:gd name="T44" fmla="*/ 2147483646 w 65"/>
              <a:gd name="T45" fmla="*/ 2147483646 h 60"/>
              <a:gd name="T46" fmla="*/ 2147483646 w 65"/>
              <a:gd name="T47" fmla="*/ 0 h 6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5"/>
              <a:gd name="T73" fmla="*/ 0 h 60"/>
              <a:gd name="T74" fmla="*/ 65 w 65"/>
              <a:gd name="T75" fmla="*/ 60 h 6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5" h="60">
                <a:moveTo>
                  <a:pt x="60" y="0"/>
                </a:moveTo>
                <a:cubicBezTo>
                  <a:pt x="58" y="3"/>
                  <a:pt x="55" y="8"/>
                  <a:pt x="50" y="8"/>
                </a:cubicBezTo>
                <a:cubicBezTo>
                  <a:pt x="45" y="7"/>
                  <a:pt x="44" y="11"/>
                  <a:pt x="40" y="16"/>
                </a:cubicBezTo>
                <a:cubicBezTo>
                  <a:pt x="36" y="21"/>
                  <a:pt x="31" y="24"/>
                  <a:pt x="28" y="25"/>
                </a:cubicBezTo>
                <a:cubicBezTo>
                  <a:pt x="24" y="25"/>
                  <a:pt x="22" y="26"/>
                  <a:pt x="20" y="27"/>
                </a:cubicBezTo>
                <a:cubicBezTo>
                  <a:pt x="18" y="28"/>
                  <a:pt x="14" y="27"/>
                  <a:pt x="10" y="32"/>
                </a:cubicBezTo>
                <a:cubicBezTo>
                  <a:pt x="5" y="36"/>
                  <a:pt x="0" y="38"/>
                  <a:pt x="3" y="44"/>
                </a:cubicBezTo>
                <a:cubicBezTo>
                  <a:pt x="7" y="51"/>
                  <a:pt x="8" y="52"/>
                  <a:pt x="11" y="54"/>
                </a:cubicBezTo>
                <a:cubicBezTo>
                  <a:pt x="14" y="56"/>
                  <a:pt x="13" y="60"/>
                  <a:pt x="16" y="57"/>
                </a:cubicBezTo>
                <a:cubicBezTo>
                  <a:pt x="19" y="53"/>
                  <a:pt x="19" y="50"/>
                  <a:pt x="20" y="46"/>
                </a:cubicBezTo>
                <a:cubicBezTo>
                  <a:pt x="21" y="43"/>
                  <a:pt x="19" y="45"/>
                  <a:pt x="15" y="46"/>
                </a:cubicBezTo>
                <a:cubicBezTo>
                  <a:pt x="11" y="46"/>
                  <a:pt x="7" y="44"/>
                  <a:pt x="10" y="41"/>
                </a:cubicBezTo>
                <a:cubicBezTo>
                  <a:pt x="13" y="38"/>
                  <a:pt x="11" y="38"/>
                  <a:pt x="15" y="37"/>
                </a:cubicBezTo>
                <a:cubicBezTo>
                  <a:pt x="19" y="37"/>
                  <a:pt x="20" y="35"/>
                  <a:pt x="21" y="35"/>
                </a:cubicBezTo>
                <a:cubicBezTo>
                  <a:pt x="23" y="35"/>
                  <a:pt x="25" y="31"/>
                  <a:pt x="26" y="35"/>
                </a:cubicBezTo>
                <a:cubicBezTo>
                  <a:pt x="26" y="38"/>
                  <a:pt x="25" y="40"/>
                  <a:pt x="27" y="40"/>
                </a:cubicBezTo>
                <a:cubicBezTo>
                  <a:pt x="28" y="39"/>
                  <a:pt x="34" y="36"/>
                  <a:pt x="37" y="34"/>
                </a:cubicBezTo>
                <a:cubicBezTo>
                  <a:pt x="41" y="31"/>
                  <a:pt x="41" y="29"/>
                  <a:pt x="45" y="30"/>
                </a:cubicBezTo>
                <a:cubicBezTo>
                  <a:pt x="49" y="32"/>
                  <a:pt x="49" y="33"/>
                  <a:pt x="52" y="35"/>
                </a:cubicBezTo>
                <a:cubicBezTo>
                  <a:pt x="54" y="36"/>
                  <a:pt x="53" y="39"/>
                  <a:pt x="56" y="37"/>
                </a:cubicBezTo>
                <a:cubicBezTo>
                  <a:pt x="59" y="35"/>
                  <a:pt x="59" y="33"/>
                  <a:pt x="61" y="30"/>
                </a:cubicBezTo>
                <a:cubicBezTo>
                  <a:pt x="62" y="26"/>
                  <a:pt x="63" y="23"/>
                  <a:pt x="64" y="21"/>
                </a:cubicBezTo>
                <a:cubicBezTo>
                  <a:pt x="65" y="19"/>
                  <a:pt x="61" y="12"/>
                  <a:pt x="60" y="11"/>
                </a:cubicBezTo>
                <a:cubicBezTo>
                  <a:pt x="58" y="10"/>
                  <a:pt x="60" y="0"/>
                  <a:pt x="6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22" name="Freeform 456"/>
          <p:cNvSpPr>
            <a:spLocks/>
          </p:cNvSpPr>
          <p:nvPr userDrawn="1"/>
        </p:nvSpPr>
        <p:spPr bwMode="auto">
          <a:xfrm>
            <a:off x="5775421" y="3344630"/>
            <a:ext cx="38528" cy="45228"/>
          </a:xfrm>
          <a:custGeom>
            <a:avLst/>
            <a:gdLst>
              <a:gd name="T0" fmla="*/ 2147483646 w 41"/>
              <a:gd name="T1" fmla="*/ 2147483646 h 48"/>
              <a:gd name="T2" fmla="*/ 2147483646 w 41"/>
              <a:gd name="T3" fmla="*/ 2147483646 h 48"/>
              <a:gd name="T4" fmla="*/ 2147483646 w 41"/>
              <a:gd name="T5" fmla="*/ 2147483646 h 48"/>
              <a:gd name="T6" fmla="*/ 2147483646 w 41"/>
              <a:gd name="T7" fmla="*/ 2147483646 h 48"/>
              <a:gd name="T8" fmla="*/ 2147483646 w 41"/>
              <a:gd name="T9" fmla="*/ 2147483646 h 48"/>
              <a:gd name="T10" fmla="*/ 2147483646 w 41"/>
              <a:gd name="T11" fmla="*/ 2147483646 h 48"/>
              <a:gd name="T12" fmla="*/ 2147483646 w 41"/>
              <a:gd name="T13" fmla="*/ 2147483646 h 48"/>
              <a:gd name="T14" fmla="*/ 2147483646 w 41"/>
              <a:gd name="T15" fmla="*/ 2147483646 h 48"/>
              <a:gd name="T16" fmla="*/ 2147483646 w 41"/>
              <a:gd name="T17" fmla="*/ 2147483646 h 48"/>
              <a:gd name="T18" fmla="*/ 2147483646 w 41"/>
              <a:gd name="T19" fmla="*/ 2147483646 h 48"/>
              <a:gd name="T20" fmla="*/ 2147483646 w 41"/>
              <a:gd name="T21" fmla="*/ 2147483646 h 48"/>
              <a:gd name="T22" fmla="*/ 2147483646 w 41"/>
              <a:gd name="T23" fmla="*/ 2147483646 h 48"/>
              <a:gd name="T24" fmla="*/ 2147483646 w 41"/>
              <a:gd name="T25" fmla="*/ 2147483646 h 48"/>
              <a:gd name="T26" fmla="*/ 2147483646 w 41"/>
              <a:gd name="T27" fmla="*/ 2147483646 h 48"/>
              <a:gd name="T28" fmla="*/ 2147483646 w 41"/>
              <a:gd name="T29" fmla="*/ 2147483646 h 48"/>
              <a:gd name="T30" fmla="*/ 2147483646 w 41"/>
              <a:gd name="T31" fmla="*/ 2147483646 h 4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1"/>
              <a:gd name="T49" fmla="*/ 0 h 48"/>
              <a:gd name="T50" fmla="*/ 41 w 41"/>
              <a:gd name="T51" fmla="*/ 48 h 4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1" h="48">
                <a:moveTo>
                  <a:pt x="21" y="9"/>
                </a:moveTo>
                <a:cubicBezTo>
                  <a:pt x="22" y="7"/>
                  <a:pt x="25" y="6"/>
                  <a:pt x="23" y="5"/>
                </a:cubicBezTo>
                <a:cubicBezTo>
                  <a:pt x="22" y="3"/>
                  <a:pt x="15" y="0"/>
                  <a:pt x="14" y="2"/>
                </a:cubicBezTo>
                <a:cubicBezTo>
                  <a:pt x="14" y="5"/>
                  <a:pt x="11" y="3"/>
                  <a:pt x="11" y="3"/>
                </a:cubicBezTo>
                <a:cubicBezTo>
                  <a:pt x="10" y="13"/>
                  <a:pt x="10" y="13"/>
                  <a:pt x="10" y="13"/>
                </a:cubicBezTo>
                <a:cubicBezTo>
                  <a:pt x="10" y="13"/>
                  <a:pt x="4" y="11"/>
                  <a:pt x="2" y="11"/>
                </a:cubicBezTo>
                <a:cubicBezTo>
                  <a:pt x="0" y="11"/>
                  <a:pt x="0" y="15"/>
                  <a:pt x="3" y="17"/>
                </a:cubicBezTo>
                <a:cubicBezTo>
                  <a:pt x="5" y="19"/>
                  <a:pt x="9" y="25"/>
                  <a:pt x="9" y="27"/>
                </a:cubicBezTo>
                <a:cubicBezTo>
                  <a:pt x="9" y="30"/>
                  <a:pt x="8" y="39"/>
                  <a:pt x="12" y="39"/>
                </a:cubicBezTo>
                <a:cubicBezTo>
                  <a:pt x="15" y="39"/>
                  <a:pt x="22" y="34"/>
                  <a:pt x="23" y="37"/>
                </a:cubicBezTo>
                <a:cubicBezTo>
                  <a:pt x="25" y="40"/>
                  <a:pt x="22" y="43"/>
                  <a:pt x="26" y="45"/>
                </a:cubicBezTo>
                <a:cubicBezTo>
                  <a:pt x="29" y="47"/>
                  <a:pt x="33" y="48"/>
                  <a:pt x="33" y="46"/>
                </a:cubicBezTo>
                <a:cubicBezTo>
                  <a:pt x="33" y="44"/>
                  <a:pt x="30" y="39"/>
                  <a:pt x="32" y="38"/>
                </a:cubicBezTo>
                <a:cubicBezTo>
                  <a:pt x="35" y="37"/>
                  <a:pt x="41" y="26"/>
                  <a:pt x="40" y="24"/>
                </a:cubicBezTo>
                <a:cubicBezTo>
                  <a:pt x="39" y="22"/>
                  <a:pt x="41" y="20"/>
                  <a:pt x="34" y="17"/>
                </a:cubicBezTo>
                <a:cubicBezTo>
                  <a:pt x="27" y="15"/>
                  <a:pt x="21" y="9"/>
                  <a:pt x="21" y="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23" name="Freeform 457"/>
          <p:cNvSpPr>
            <a:spLocks/>
          </p:cNvSpPr>
          <p:nvPr userDrawn="1"/>
        </p:nvSpPr>
        <p:spPr bwMode="auto">
          <a:xfrm>
            <a:off x="5778772" y="3389857"/>
            <a:ext cx="23451" cy="15075"/>
          </a:xfrm>
          <a:custGeom>
            <a:avLst/>
            <a:gdLst>
              <a:gd name="T0" fmla="*/ 2147483646 w 24"/>
              <a:gd name="T1" fmla="*/ 2147483646 h 16"/>
              <a:gd name="T2" fmla="*/ 2147483646 w 24"/>
              <a:gd name="T3" fmla="*/ 2147483646 h 16"/>
              <a:gd name="T4" fmla="*/ 2147483646 w 24"/>
              <a:gd name="T5" fmla="*/ 2147483646 h 16"/>
              <a:gd name="T6" fmla="*/ 2147483646 w 24"/>
              <a:gd name="T7" fmla="*/ 2147483646 h 16"/>
              <a:gd name="T8" fmla="*/ 2147483646 w 24"/>
              <a:gd name="T9" fmla="*/ 2147483646 h 16"/>
              <a:gd name="T10" fmla="*/ 2147483646 w 24"/>
              <a:gd name="T11" fmla="*/ 2147483646 h 16"/>
              <a:gd name="T12" fmla="*/ 2147483646 w 24"/>
              <a:gd name="T13" fmla="*/ 2147483646 h 16"/>
              <a:gd name="T14" fmla="*/ 2147483646 w 24"/>
              <a:gd name="T15" fmla="*/ 2147483646 h 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4"/>
              <a:gd name="T25" fmla="*/ 0 h 16"/>
              <a:gd name="T26" fmla="*/ 24 w 24"/>
              <a:gd name="T27" fmla="*/ 16 h 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4" h="16">
                <a:moveTo>
                  <a:pt x="9" y="3"/>
                </a:moveTo>
                <a:cubicBezTo>
                  <a:pt x="8" y="3"/>
                  <a:pt x="2" y="0"/>
                  <a:pt x="1" y="2"/>
                </a:cubicBezTo>
                <a:cubicBezTo>
                  <a:pt x="0" y="3"/>
                  <a:pt x="0" y="9"/>
                  <a:pt x="3" y="10"/>
                </a:cubicBezTo>
                <a:cubicBezTo>
                  <a:pt x="7" y="11"/>
                  <a:pt x="13" y="15"/>
                  <a:pt x="15" y="16"/>
                </a:cubicBezTo>
                <a:cubicBezTo>
                  <a:pt x="17" y="16"/>
                  <a:pt x="21" y="15"/>
                  <a:pt x="22" y="13"/>
                </a:cubicBezTo>
                <a:cubicBezTo>
                  <a:pt x="22" y="12"/>
                  <a:pt x="24" y="5"/>
                  <a:pt x="23" y="4"/>
                </a:cubicBezTo>
                <a:cubicBezTo>
                  <a:pt x="22" y="3"/>
                  <a:pt x="16" y="2"/>
                  <a:pt x="16" y="2"/>
                </a:cubicBezTo>
                <a:lnTo>
                  <a:pt x="9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24" name="Freeform 458"/>
          <p:cNvSpPr>
            <a:spLocks/>
          </p:cNvSpPr>
          <p:nvPr userDrawn="1"/>
        </p:nvSpPr>
        <p:spPr bwMode="auto">
          <a:xfrm>
            <a:off x="5880954" y="2612615"/>
            <a:ext cx="18425" cy="28476"/>
          </a:xfrm>
          <a:custGeom>
            <a:avLst/>
            <a:gdLst>
              <a:gd name="T0" fmla="*/ 2147483646 w 20"/>
              <a:gd name="T1" fmla="*/ 2147483646 h 31"/>
              <a:gd name="T2" fmla="*/ 2147483646 w 20"/>
              <a:gd name="T3" fmla="*/ 2147483646 h 31"/>
              <a:gd name="T4" fmla="*/ 2147483646 w 20"/>
              <a:gd name="T5" fmla="*/ 2147483646 h 31"/>
              <a:gd name="T6" fmla="*/ 0 w 20"/>
              <a:gd name="T7" fmla="*/ 2147483646 h 31"/>
              <a:gd name="T8" fmla="*/ 2147483646 w 20"/>
              <a:gd name="T9" fmla="*/ 2147483646 h 31"/>
              <a:gd name="T10" fmla="*/ 2147483646 w 20"/>
              <a:gd name="T11" fmla="*/ 2147483646 h 31"/>
              <a:gd name="T12" fmla="*/ 2147483646 w 20"/>
              <a:gd name="T13" fmla="*/ 2147483646 h 31"/>
              <a:gd name="T14" fmla="*/ 2147483646 w 20"/>
              <a:gd name="T15" fmla="*/ 2147483646 h 3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"/>
              <a:gd name="T25" fmla="*/ 0 h 31"/>
              <a:gd name="T26" fmla="*/ 20 w 20"/>
              <a:gd name="T27" fmla="*/ 31 h 3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" h="31">
                <a:moveTo>
                  <a:pt x="17" y="4"/>
                </a:moveTo>
                <a:cubicBezTo>
                  <a:pt x="13" y="2"/>
                  <a:pt x="8" y="0"/>
                  <a:pt x="10" y="5"/>
                </a:cubicBezTo>
                <a:cubicBezTo>
                  <a:pt x="11" y="10"/>
                  <a:pt x="12" y="11"/>
                  <a:pt x="8" y="16"/>
                </a:cubicBezTo>
                <a:cubicBezTo>
                  <a:pt x="5" y="22"/>
                  <a:pt x="0" y="31"/>
                  <a:pt x="0" y="31"/>
                </a:cubicBezTo>
                <a:cubicBezTo>
                  <a:pt x="0" y="31"/>
                  <a:pt x="5" y="28"/>
                  <a:pt x="9" y="27"/>
                </a:cubicBezTo>
                <a:cubicBezTo>
                  <a:pt x="13" y="26"/>
                  <a:pt x="16" y="21"/>
                  <a:pt x="18" y="20"/>
                </a:cubicBezTo>
                <a:cubicBezTo>
                  <a:pt x="20" y="19"/>
                  <a:pt x="20" y="14"/>
                  <a:pt x="20" y="11"/>
                </a:cubicBezTo>
                <a:cubicBezTo>
                  <a:pt x="20" y="9"/>
                  <a:pt x="17" y="4"/>
                  <a:pt x="17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25" name="Freeform 459"/>
          <p:cNvSpPr>
            <a:spLocks/>
          </p:cNvSpPr>
          <p:nvPr userDrawn="1"/>
        </p:nvSpPr>
        <p:spPr bwMode="auto">
          <a:xfrm>
            <a:off x="5852477" y="2641091"/>
            <a:ext cx="25127" cy="30152"/>
          </a:xfrm>
          <a:custGeom>
            <a:avLst/>
            <a:gdLst>
              <a:gd name="T0" fmla="*/ 2147483646 w 28"/>
              <a:gd name="T1" fmla="*/ 0 h 31"/>
              <a:gd name="T2" fmla="*/ 2147483646 w 28"/>
              <a:gd name="T3" fmla="*/ 2147483646 h 31"/>
              <a:gd name="T4" fmla="*/ 2147483646 w 28"/>
              <a:gd name="T5" fmla="*/ 2147483646 h 31"/>
              <a:gd name="T6" fmla="*/ 2147483646 w 28"/>
              <a:gd name="T7" fmla="*/ 2147483646 h 31"/>
              <a:gd name="T8" fmla="*/ 2147483646 w 28"/>
              <a:gd name="T9" fmla="*/ 2147483646 h 31"/>
              <a:gd name="T10" fmla="*/ 2147483646 w 28"/>
              <a:gd name="T11" fmla="*/ 2147483646 h 31"/>
              <a:gd name="T12" fmla="*/ 2147483646 w 28"/>
              <a:gd name="T13" fmla="*/ 2147483646 h 31"/>
              <a:gd name="T14" fmla="*/ 2147483646 w 28"/>
              <a:gd name="T15" fmla="*/ 2147483646 h 31"/>
              <a:gd name="T16" fmla="*/ 2147483646 w 28"/>
              <a:gd name="T17" fmla="*/ 0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"/>
              <a:gd name="T28" fmla="*/ 0 h 31"/>
              <a:gd name="T29" fmla="*/ 28 w 28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" h="31">
                <a:moveTo>
                  <a:pt x="19" y="0"/>
                </a:moveTo>
                <a:cubicBezTo>
                  <a:pt x="17" y="0"/>
                  <a:pt x="16" y="6"/>
                  <a:pt x="15" y="9"/>
                </a:cubicBezTo>
                <a:cubicBezTo>
                  <a:pt x="15" y="12"/>
                  <a:pt x="10" y="13"/>
                  <a:pt x="9" y="16"/>
                </a:cubicBezTo>
                <a:cubicBezTo>
                  <a:pt x="8" y="19"/>
                  <a:pt x="0" y="22"/>
                  <a:pt x="6" y="22"/>
                </a:cubicBezTo>
                <a:cubicBezTo>
                  <a:pt x="11" y="23"/>
                  <a:pt x="17" y="16"/>
                  <a:pt x="17" y="22"/>
                </a:cubicBezTo>
                <a:cubicBezTo>
                  <a:pt x="17" y="27"/>
                  <a:pt x="16" y="31"/>
                  <a:pt x="20" y="27"/>
                </a:cubicBezTo>
                <a:cubicBezTo>
                  <a:pt x="24" y="24"/>
                  <a:pt x="28" y="20"/>
                  <a:pt x="28" y="17"/>
                </a:cubicBezTo>
                <a:cubicBezTo>
                  <a:pt x="28" y="15"/>
                  <a:pt x="24" y="10"/>
                  <a:pt x="24" y="8"/>
                </a:cubicBezTo>
                <a:cubicBezTo>
                  <a:pt x="25" y="6"/>
                  <a:pt x="19" y="0"/>
                  <a:pt x="1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26" name="Freeform 460"/>
          <p:cNvSpPr>
            <a:spLocks/>
          </p:cNvSpPr>
          <p:nvPr userDrawn="1"/>
        </p:nvSpPr>
        <p:spPr bwMode="auto">
          <a:xfrm>
            <a:off x="5834051" y="2682968"/>
            <a:ext cx="15075" cy="15075"/>
          </a:xfrm>
          <a:custGeom>
            <a:avLst/>
            <a:gdLst>
              <a:gd name="T0" fmla="*/ 2147483646 w 16"/>
              <a:gd name="T1" fmla="*/ 2147483646 h 15"/>
              <a:gd name="T2" fmla="*/ 2147483646 w 16"/>
              <a:gd name="T3" fmla="*/ 2147483646 h 15"/>
              <a:gd name="T4" fmla="*/ 2147483646 w 16"/>
              <a:gd name="T5" fmla="*/ 2147483646 h 15"/>
              <a:gd name="T6" fmla="*/ 2147483646 w 16"/>
              <a:gd name="T7" fmla="*/ 0 h 15"/>
              <a:gd name="T8" fmla="*/ 2147483646 w 16"/>
              <a:gd name="T9" fmla="*/ 2147483646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5"/>
              <a:gd name="T17" fmla="*/ 16 w 16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5">
                <a:moveTo>
                  <a:pt x="7" y="2"/>
                </a:moveTo>
                <a:cubicBezTo>
                  <a:pt x="5" y="5"/>
                  <a:pt x="0" y="15"/>
                  <a:pt x="3" y="15"/>
                </a:cubicBezTo>
                <a:cubicBezTo>
                  <a:pt x="8" y="15"/>
                  <a:pt x="9" y="6"/>
                  <a:pt x="12" y="5"/>
                </a:cubicBezTo>
                <a:cubicBezTo>
                  <a:pt x="14" y="5"/>
                  <a:pt x="16" y="0"/>
                  <a:pt x="16" y="0"/>
                </a:cubicBezTo>
                <a:lnTo>
                  <a:pt x="7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27" name="Freeform 461"/>
          <p:cNvSpPr>
            <a:spLocks/>
          </p:cNvSpPr>
          <p:nvPr userDrawn="1"/>
        </p:nvSpPr>
        <p:spPr bwMode="auto">
          <a:xfrm>
            <a:off x="5857502" y="2679619"/>
            <a:ext cx="16751" cy="16751"/>
          </a:xfrm>
          <a:custGeom>
            <a:avLst/>
            <a:gdLst>
              <a:gd name="T0" fmla="*/ 2147483646 w 18"/>
              <a:gd name="T1" fmla="*/ 0 h 18"/>
              <a:gd name="T2" fmla="*/ 2147483646 w 18"/>
              <a:gd name="T3" fmla="*/ 2147483646 h 18"/>
              <a:gd name="T4" fmla="*/ 2147483646 w 18"/>
              <a:gd name="T5" fmla="*/ 2147483646 h 18"/>
              <a:gd name="T6" fmla="*/ 2147483646 w 18"/>
              <a:gd name="T7" fmla="*/ 2147483646 h 18"/>
              <a:gd name="T8" fmla="*/ 2147483646 w 18"/>
              <a:gd name="T9" fmla="*/ 0 h 18"/>
              <a:gd name="T10" fmla="*/ 2147483646 w 18"/>
              <a:gd name="T11" fmla="*/ 0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8"/>
              <a:gd name="T20" fmla="*/ 18 w 18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8">
                <a:moveTo>
                  <a:pt x="8" y="0"/>
                </a:moveTo>
                <a:cubicBezTo>
                  <a:pt x="5" y="2"/>
                  <a:pt x="0" y="7"/>
                  <a:pt x="3" y="9"/>
                </a:cubicBezTo>
                <a:cubicBezTo>
                  <a:pt x="5" y="11"/>
                  <a:pt x="8" y="0"/>
                  <a:pt x="10" y="5"/>
                </a:cubicBezTo>
                <a:cubicBezTo>
                  <a:pt x="12" y="9"/>
                  <a:pt x="10" y="18"/>
                  <a:pt x="13" y="14"/>
                </a:cubicBezTo>
                <a:cubicBezTo>
                  <a:pt x="17" y="10"/>
                  <a:pt x="18" y="0"/>
                  <a:pt x="18" y="0"/>
                </a:cubicBezTo>
                <a:lnTo>
                  <a:pt x="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28" name="Freeform 462"/>
          <p:cNvSpPr>
            <a:spLocks/>
          </p:cNvSpPr>
          <p:nvPr userDrawn="1"/>
        </p:nvSpPr>
        <p:spPr bwMode="auto">
          <a:xfrm>
            <a:off x="5875928" y="2641091"/>
            <a:ext cx="30152" cy="41877"/>
          </a:xfrm>
          <a:custGeom>
            <a:avLst/>
            <a:gdLst>
              <a:gd name="T0" fmla="*/ 2147483646 w 32"/>
              <a:gd name="T1" fmla="*/ 2147483646 h 44"/>
              <a:gd name="T2" fmla="*/ 2147483646 w 32"/>
              <a:gd name="T3" fmla="*/ 2147483646 h 44"/>
              <a:gd name="T4" fmla="*/ 2147483646 w 32"/>
              <a:gd name="T5" fmla="*/ 2147483646 h 44"/>
              <a:gd name="T6" fmla="*/ 2147483646 w 32"/>
              <a:gd name="T7" fmla="*/ 2147483646 h 44"/>
              <a:gd name="T8" fmla="*/ 2147483646 w 32"/>
              <a:gd name="T9" fmla="*/ 2147483646 h 44"/>
              <a:gd name="T10" fmla="*/ 2147483646 w 32"/>
              <a:gd name="T11" fmla="*/ 2147483646 h 44"/>
              <a:gd name="T12" fmla="*/ 2147483646 w 32"/>
              <a:gd name="T13" fmla="*/ 2147483646 h 44"/>
              <a:gd name="T14" fmla="*/ 2147483646 w 32"/>
              <a:gd name="T15" fmla="*/ 2147483646 h 44"/>
              <a:gd name="T16" fmla="*/ 2147483646 w 32"/>
              <a:gd name="T17" fmla="*/ 2147483646 h 44"/>
              <a:gd name="T18" fmla="*/ 2147483646 w 32"/>
              <a:gd name="T19" fmla="*/ 2147483646 h 44"/>
              <a:gd name="T20" fmla="*/ 2147483646 w 32"/>
              <a:gd name="T21" fmla="*/ 2147483646 h 44"/>
              <a:gd name="T22" fmla="*/ 2147483646 w 32"/>
              <a:gd name="T23" fmla="*/ 2147483646 h 44"/>
              <a:gd name="T24" fmla="*/ 2147483646 w 32"/>
              <a:gd name="T25" fmla="*/ 2147483646 h 44"/>
              <a:gd name="T26" fmla="*/ 2147483646 w 32"/>
              <a:gd name="T27" fmla="*/ 2147483646 h 4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2"/>
              <a:gd name="T43" fmla="*/ 0 h 44"/>
              <a:gd name="T44" fmla="*/ 32 w 32"/>
              <a:gd name="T45" fmla="*/ 44 h 4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2" h="44">
                <a:moveTo>
                  <a:pt x="9" y="12"/>
                </a:moveTo>
                <a:cubicBezTo>
                  <a:pt x="9" y="15"/>
                  <a:pt x="11" y="24"/>
                  <a:pt x="8" y="27"/>
                </a:cubicBezTo>
                <a:cubicBezTo>
                  <a:pt x="5" y="31"/>
                  <a:pt x="0" y="35"/>
                  <a:pt x="5" y="35"/>
                </a:cubicBezTo>
                <a:cubicBezTo>
                  <a:pt x="10" y="36"/>
                  <a:pt x="11" y="44"/>
                  <a:pt x="13" y="42"/>
                </a:cubicBezTo>
                <a:cubicBezTo>
                  <a:pt x="16" y="40"/>
                  <a:pt x="16" y="29"/>
                  <a:pt x="19" y="32"/>
                </a:cubicBezTo>
                <a:cubicBezTo>
                  <a:pt x="22" y="35"/>
                  <a:pt x="24" y="32"/>
                  <a:pt x="24" y="30"/>
                </a:cubicBezTo>
                <a:cubicBezTo>
                  <a:pt x="24" y="28"/>
                  <a:pt x="18" y="22"/>
                  <a:pt x="22" y="22"/>
                </a:cubicBezTo>
                <a:cubicBezTo>
                  <a:pt x="27" y="22"/>
                  <a:pt x="27" y="21"/>
                  <a:pt x="28" y="17"/>
                </a:cubicBezTo>
                <a:cubicBezTo>
                  <a:pt x="29" y="12"/>
                  <a:pt x="24" y="12"/>
                  <a:pt x="28" y="9"/>
                </a:cubicBezTo>
                <a:cubicBezTo>
                  <a:pt x="32" y="6"/>
                  <a:pt x="27" y="0"/>
                  <a:pt x="25" y="5"/>
                </a:cubicBezTo>
                <a:cubicBezTo>
                  <a:pt x="24" y="10"/>
                  <a:pt x="24" y="12"/>
                  <a:pt x="22" y="13"/>
                </a:cubicBezTo>
                <a:cubicBezTo>
                  <a:pt x="20" y="14"/>
                  <a:pt x="16" y="11"/>
                  <a:pt x="16" y="8"/>
                </a:cubicBezTo>
                <a:cubicBezTo>
                  <a:pt x="17" y="5"/>
                  <a:pt x="15" y="2"/>
                  <a:pt x="15" y="2"/>
                </a:cubicBezTo>
                <a:lnTo>
                  <a:pt x="9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29" name="Freeform 463"/>
          <p:cNvSpPr>
            <a:spLocks/>
          </p:cNvSpPr>
          <p:nvPr userDrawn="1"/>
        </p:nvSpPr>
        <p:spPr bwMode="auto">
          <a:xfrm>
            <a:off x="5914456" y="2590838"/>
            <a:ext cx="26801" cy="41877"/>
          </a:xfrm>
          <a:custGeom>
            <a:avLst/>
            <a:gdLst>
              <a:gd name="T0" fmla="*/ 2147483646 w 28"/>
              <a:gd name="T1" fmla="*/ 2147483646 h 44"/>
              <a:gd name="T2" fmla="*/ 2147483646 w 28"/>
              <a:gd name="T3" fmla="*/ 2147483646 h 44"/>
              <a:gd name="T4" fmla="*/ 2147483646 w 28"/>
              <a:gd name="T5" fmla="*/ 2147483646 h 44"/>
              <a:gd name="T6" fmla="*/ 2147483646 w 28"/>
              <a:gd name="T7" fmla="*/ 2147483646 h 44"/>
              <a:gd name="T8" fmla="*/ 2147483646 w 28"/>
              <a:gd name="T9" fmla="*/ 2147483646 h 44"/>
              <a:gd name="T10" fmla="*/ 2147483646 w 28"/>
              <a:gd name="T11" fmla="*/ 2147483646 h 44"/>
              <a:gd name="T12" fmla="*/ 2147483646 w 28"/>
              <a:gd name="T13" fmla="*/ 2147483646 h 44"/>
              <a:gd name="T14" fmla="*/ 2147483646 w 28"/>
              <a:gd name="T15" fmla="*/ 2147483646 h 44"/>
              <a:gd name="T16" fmla="*/ 2147483646 w 28"/>
              <a:gd name="T17" fmla="*/ 2147483646 h 44"/>
              <a:gd name="T18" fmla="*/ 2147483646 w 28"/>
              <a:gd name="T19" fmla="*/ 2147483646 h 44"/>
              <a:gd name="T20" fmla="*/ 2147483646 w 28"/>
              <a:gd name="T21" fmla="*/ 2147483646 h 44"/>
              <a:gd name="T22" fmla="*/ 2147483646 w 28"/>
              <a:gd name="T23" fmla="*/ 2147483646 h 4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8"/>
              <a:gd name="T37" fmla="*/ 0 h 44"/>
              <a:gd name="T38" fmla="*/ 28 w 28"/>
              <a:gd name="T39" fmla="*/ 44 h 4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8" h="44">
                <a:moveTo>
                  <a:pt x="4" y="20"/>
                </a:moveTo>
                <a:cubicBezTo>
                  <a:pt x="2" y="22"/>
                  <a:pt x="0" y="28"/>
                  <a:pt x="2" y="29"/>
                </a:cubicBezTo>
                <a:cubicBezTo>
                  <a:pt x="4" y="31"/>
                  <a:pt x="6" y="36"/>
                  <a:pt x="6" y="36"/>
                </a:cubicBezTo>
                <a:cubicBezTo>
                  <a:pt x="6" y="36"/>
                  <a:pt x="2" y="44"/>
                  <a:pt x="7" y="41"/>
                </a:cubicBezTo>
                <a:cubicBezTo>
                  <a:pt x="12" y="37"/>
                  <a:pt x="13" y="35"/>
                  <a:pt x="15" y="34"/>
                </a:cubicBezTo>
                <a:cubicBezTo>
                  <a:pt x="17" y="32"/>
                  <a:pt x="17" y="28"/>
                  <a:pt x="22" y="29"/>
                </a:cubicBezTo>
                <a:cubicBezTo>
                  <a:pt x="26" y="31"/>
                  <a:pt x="22" y="27"/>
                  <a:pt x="25" y="22"/>
                </a:cubicBezTo>
                <a:cubicBezTo>
                  <a:pt x="28" y="16"/>
                  <a:pt x="27" y="12"/>
                  <a:pt x="23" y="9"/>
                </a:cubicBezTo>
                <a:cubicBezTo>
                  <a:pt x="19" y="7"/>
                  <a:pt x="19" y="0"/>
                  <a:pt x="17" y="4"/>
                </a:cubicBezTo>
                <a:cubicBezTo>
                  <a:pt x="15" y="9"/>
                  <a:pt x="11" y="12"/>
                  <a:pt x="11" y="14"/>
                </a:cubicBezTo>
                <a:cubicBezTo>
                  <a:pt x="11" y="17"/>
                  <a:pt x="7" y="17"/>
                  <a:pt x="7" y="17"/>
                </a:cubicBezTo>
                <a:lnTo>
                  <a:pt x="4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30" name="Freeform 464"/>
          <p:cNvSpPr>
            <a:spLocks/>
          </p:cNvSpPr>
          <p:nvPr userDrawn="1"/>
        </p:nvSpPr>
        <p:spPr bwMode="auto">
          <a:xfrm>
            <a:off x="5947958" y="2574087"/>
            <a:ext cx="18425" cy="18427"/>
          </a:xfrm>
          <a:custGeom>
            <a:avLst/>
            <a:gdLst>
              <a:gd name="T0" fmla="*/ 2147483646 w 20"/>
              <a:gd name="T1" fmla="*/ 2147483646 h 21"/>
              <a:gd name="T2" fmla="*/ 2147483646 w 20"/>
              <a:gd name="T3" fmla="*/ 2147483646 h 21"/>
              <a:gd name="T4" fmla="*/ 2147483646 w 20"/>
              <a:gd name="T5" fmla="*/ 2147483646 h 21"/>
              <a:gd name="T6" fmla="*/ 2147483646 w 20"/>
              <a:gd name="T7" fmla="*/ 2147483646 h 21"/>
              <a:gd name="T8" fmla="*/ 2147483646 w 20"/>
              <a:gd name="T9" fmla="*/ 2147483646 h 21"/>
              <a:gd name="T10" fmla="*/ 2147483646 w 20"/>
              <a:gd name="T11" fmla="*/ 2147483646 h 21"/>
              <a:gd name="T12" fmla="*/ 2147483646 w 20"/>
              <a:gd name="T13" fmla="*/ 2147483646 h 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21"/>
              <a:gd name="T23" fmla="*/ 20 w 20"/>
              <a:gd name="T24" fmla="*/ 21 h 2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21">
                <a:moveTo>
                  <a:pt x="9" y="8"/>
                </a:moveTo>
                <a:cubicBezTo>
                  <a:pt x="6" y="9"/>
                  <a:pt x="0" y="6"/>
                  <a:pt x="4" y="13"/>
                </a:cubicBezTo>
                <a:cubicBezTo>
                  <a:pt x="7" y="21"/>
                  <a:pt x="7" y="19"/>
                  <a:pt x="10" y="16"/>
                </a:cubicBezTo>
                <a:cubicBezTo>
                  <a:pt x="13" y="13"/>
                  <a:pt x="13" y="12"/>
                  <a:pt x="16" y="11"/>
                </a:cubicBezTo>
                <a:cubicBezTo>
                  <a:pt x="18" y="11"/>
                  <a:pt x="20" y="7"/>
                  <a:pt x="20" y="7"/>
                </a:cubicBezTo>
                <a:cubicBezTo>
                  <a:pt x="20" y="7"/>
                  <a:pt x="20" y="0"/>
                  <a:pt x="18" y="1"/>
                </a:cubicBezTo>
                <a:cubicBezTo>
                  <a:pt x="16" y="3"/>
                  <a:pt x="9" y="8"/>
                  <a:pt x="9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31" name="Freeform 465"/>
          <p:cNvSpPr>
            <a:spLocks/>
          </p:cNvSpPr>
          <p:nvPr userDrawn="1"/>
        </p:nvSpPr>
        <p:spPr bwMode="auto">
          <a:xfrm>
            <a:off x="5968059" y="2555662"/>
            <a:ext cx="16751" cy="16751"/>
          </a:xfrm>
          <a:custGeom>
            <a:avLst/>
            <a:gdLst>
              <a:gd name="T0" fmla="*/ 2147483646 w 18"/>
              <a:gd name="T1" fmla="*/ 0 h 18"/>
              <a:gd name="T2" fmla="*/ 2147483646 w 18"/>
              <a:gd name="T3" fmla="*/ 2147483646 h 18"/>
              <a:gd name="T4" fmla="*/ 2147483646 w 18"/>
              <a:gd name="T5" fmla="*/ 2147483646 h 18"/>
              <a:gd name="T6" fmla="*/ 2147483646 w 18"/>
              <a:gd name="T7" fmla="*/ 2147483646 h 18"/>
              <a:gd name="T8" fmla="*/ 2147483646 w 18"/>
              <a:gd name="T9" fmla="*/ 2147483646 h 18"/>
              <a:gd name="T10" fmla="*/ 2147483646 w 18"/>
              <a:gd name="T11" fmla="*/ 2147483646 h 18"/>
              <a:gd name="T12" fmla="*/ 2147483646 w 18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8"/>
              <a:gd name="T22" fmla="*/ 0 h 18"/>
              <a:gd name="T23" fmla="*/ 18 w 18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8" h="18">
                <a:moveTo>
                  <a:pt x="2" y="0"/>
                </a:moveTo>
                <a:cubicBezTo>
                  <a:pt x="0" y="5"/>
                  <a:pt x="3" y="15"/>
                  <a:pt x="5" y="15"/>
                </a:cubicBezTo>
                <a:cubicBezTo>
                  <a:pt x="7" y="15"/>
                  <a:pt x="6" y="18"/>
                  <a:pt x="9" y="18"/>
                </a:cubicBezTo>
                <a:cubicBezTo>
                  <a:pt x="11" y="18"/>
                  <a:pt x="13" y="17"/>
                  <a:pt x="14" y="12"/>
                </a:cubicBezTo>
                <a:cubicBezTo>
                  <a:pt x="16" y="7"/>
                  <a:pt x="18" y="0"/>
                  <a:pt x="16" y="1"/>
                </a:cubicBezTo>
                <a:cubicBezTo>
                  <a:pt x="13" y="2"/>
                  <a:pt x="9" y="7"/>
                  <a:pt x="9" y="7"/>
                </a:cubicBez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32" name="Freeform 466"/>
          <p:cNvSpPr>
            <a:spLocks/>
          </p:cNvSpPr>
          <p:nvPr userDrawn="1"/>
        </p:nvSpPr>
        <p:spPr bwMode="auto">
          <a:xfrm>
            <a:off x="5998209" y="2550637"/>
            <a:ext cx="15075" cy="15076"/>
          </a:xfrm>
          <a:custGeom>
            <a:avLst/>
            <a:gdLst>
              <a:gd name="T0" fmla="*/ 2147483646 w 16"/>
              <a:gd name="T1" fmla="*/ 0 h 16"/>
              <a:gd name="T2" fmla="*/ 2147483646 w 16"/>
              <a:gd name="T3" fmla="*/ 2147483646 h 16"/>
              <a:gd name="T4" fmla="*/ 2147483646 w 16"/>
              <a:gd name="T5" fmla="*/ 2147483646 h 16"/>
              <a:gd name="T6" fmla="*/ 2147483646 w 16"/>
              <a:gd name="T7" fmla="*/ 2147483646 h 16"/>
              <a:gd name="T8" fmla="*/ 2147483646 w 16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6"/>
              <a:gd name="T17" fmla="*/ 16 w 16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6">
                <a:moveTo>
                  <a:pt x="8" y="0"/>
                </a:moveTo>
                <a:cubicBezTo>
                  <a:pt x="6" y="2"/>
                  <a:pt x="0" y="8"/>
                  <a:pt x="5" y="12"/>
                </a:cubicBezTo>
                <a:cubicBezTo>
                  <a:pt x="10" y="16"/>
                  <a:pt x="12" y="13"/>
                  <a:pt x="13" y="11"/>
                </a:cubicBezTo>
                <a:cubicBezTo>
                  <a:pt x="14" y="8"/>
                  <a:pt x="12" y="3"/>
                  <a:pt x="14" y="1"/>
                </a:cubicBezTo>
                <a:cubicBezTo>
                  <a:pt x="16" y="0"/>
                  <a:pt x="8" y="0"/>
                  <a:pt x="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33" name="Freeform 467"/>
          <p:cNvSpPr>
            <a:spLocks/>
          </p:cNvSpPr>
          <p:nvPr userDrawn="1"/>
        </p:nvSpPr>
        <p:spPr bwMode="auto">
          <a:xfrm>
            <a:off x="6041763" y="2508759"/>
            <a:ext cx="31827" cy="23451"/>
          </a:xfrm>
          <a:custGeom>
            <a:avLst/>
            <a:gdLst>
              <a:gd name="T0" fmla="*/ 2147483646 w 34"/>
              <a:gd name="T1" fmla="*/ 2147483646 h 26"/>
              <a:gd name="T2" fmla="*/ 2147483646 w 34"/>
              <a:gd name="T3" fmla="*/ 2147483646 h 26"/>
              <a:gd name="T4" fmla="*/ 2147483646 w 34"/>
              <a:gd name="T5" fmla="*/ 2147483646 h 26"/>
              <a:gd name="T6" fmla="*/ 2147483646 w 34"/>
              <a:gd name="T7" fmla="*/ 2147483646 h 26"/>
              <a:gd name="T8" fmla="*/ 2147483646 w 34"/>
              <a:gd name="T9" fmla="*/ 2147483646 h 26"/>
              <a:gd name="T10" fmla="*/ 2147483646 w 34"/>
              <a:gd name="T11" fmla="*/ 0 h 26"/>
              <a:gd name="T12" fmla="*/ 2147483646 w 34"/>
              <a:gd name="T13" fmla="*/ 2147483646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26"/>
              <a:gd name="T23" fmla="*/ 34 w 34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26">
                <a:moveTo>
                  <a:pt x="6" y="11"/>
                </a:moveTo>
                <a:cubicBezTo>
                  <a:pt x="2" y="12"/>
                  <a:pt x="0" y="13"/>
                  <a:pt x="1" y="17"/>
                </a:cubicBezTo>
                <a:cubicBezTo>
                  <a:pt x="2" y="21"/>
                  <a:pt x="6" y="26"/>
                  <a:pt x="8" y="26"/>
                </a:cubicBezTo>
                <a:cubicBezTo>
                  <a:pt x="10" y="26"/>
                  <a:pt x="12" y="21"/>
                  <a:pt x="16" y="22"/>
                </a:cubicBezTo>
                <a:cubicBezTo>
                  <a:pt x="20" y="23"/>
                  <a:pt x="26" y="13"/>
                  <a:pt x="28" y="10"/>
                </a:cubicBezTo>
                <a:cubicBezTo>
                  <a:pt x="31" y="7"/>
                  <a:pt x="28" y="0"/>
                  <a:pt x="31" y="0"/>
                </a:cubicBezTo>
                <a:cubicBezTo>
                  <a:pt x="34" y="0"/>
                  <a:pt x="6" y="11"/>
                  <a:pt x="6" y="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34" name="Freeform 468"/>
          <p:cNvSpPr>
            <a:spLocks/>
          </p:cNvSpPr>
          <p:nvPr userDrawn="1"/>
        </p:nvSpPr>
        <p:spPr bwMode="auto">
          <a:xfrm>
            <a:off x="5817301" y="2698044"/>
            <a:ext cx="16751" cy="18427"/>
          </a:xfrm>
          <a:custGeom>
            <a:avLst/>
            <a:gdLst>
              <a:gd name="T0" fmla="*/ 2147483646 w 18"/>
              <a:gd name="T1" fmla="*/ 0 h 20"/>
              <a:gd name="T2" fmla="*/ 2147483646 w 18"/>
              <a:gd name="T3" fmla="*/ 2147483646 h 20"/>
              <a:gd name="T4" fmla="*/ 2147483646 w 18"/>
              <a:gd name="T5" fmla="*/ 2147483646 h 20"/>
              <a:gd name="T6" fmla="*/ 2147483646 w 18"/>
              <a:gd name="T7" fmla="*/ 2147483646 h 20"/>
              <a:gd name="T8" fmla="*/ 2147483646 w 18"/>
              <a:gd name="T9" fmla="*/ 2147483646 h 20"/>
              <a:gd name="T10" fmla="*/ 2147483646 w 18"/>
              <a:gd name="T11" fmla="*/ 0 h 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20"/>
              <a:gd name="T20" fmla="*/ 18 w 18"/>
              <a:gd name="T21" fmla="*/ 20 h 2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20">
                <a:moveTo>
                  <a:pt x="17" y="0"/>
                </a:moveTo>
                <a:cubicBezTo>
                  <a:pt x="10" y="5"/>
                  <a:pt x="10" y="5"/>
                  <a:pt x="10" y="5"/>
                </a:cubicBezTo>
                <a:cubicBezTo>
                  <a:pt x="10" y="5"/>
                  <a:pt x="0" y="14"/>
                  <a:pt x="5" y="17"/>
                </a:cubicBezTo>
                <a:cubicBezTo>
                  <a:pt x="10" y="20"/>
                  <a:pt x="15" y="15"/>
                  <a:pt x="16" y="12"/>
                </a:cubicBezTo>
                <a:cubicBezTo>
                  <a:pt x="17" y="10"/>
                  <a:pt x="18" y="5"/>
                  <a:pt x="18" y="5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35" name="Freeform 469"/>
          <p:cNvSpPr>
            <a:spLocks/>
          </p:cNvSpPr>
          <p:nvPr userDrawn="1"/>
        </p:nvSpPr>
        <p:spPr bwMode="auto">
          <a:xfrm>
            <a:off x="5720144" y="2962708"/>
            <a:ext cx="10051" cy="10051"/>
          </a:xfrm>
          <a:custGeom>
            <a:avLst/>
            <a:gdLst>
              <a:gd name="T0" fmla="*/ 2147483646 w 12"/>
              <a:gd name="T1" fmla="*/ 0 h 11"/>
              <a:gd name="T2" fmla="*/ 0 w 12"/>
              <a:gd name="T3" fmla="*/ 2147483646 h 11"/>
              <a:gd name="T4" fmla="*/ 2147483646 w 12"/>
              <a:gd name="T5" fmla="*/ 2147483646 h 11"/>
              <a:gd name="T6" fmla="*/ 2147483646 w 12"/>
              <a:gd name="T7" fmla="*/ 2147483646 h 11"/>
              <a:gd name="T8" fmla="*/ 2147483646 w 12"/>
              <a:gd name="T9" fmla="*/ 2147483646 h 11"/>
              <a:gd name="T10" fmla="*/ 2147483646 w 12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11"/>
              <a:gd name="T20" fmla="*/ 12 w 12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11">
                <a:moveTo>
                  <a:pt x="3" y="0"/>
                </a:move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3" y="11"/>
                  <a:pt x="5" y="11"/>
                </a:cubicBezTo>
                <a:cubicBezTo>
                  <a:pt x="7" y="11"/>
                  <a:pt x="12" y="10"/>
                  <a:pt x="12" y="10"/>
                </a:cubicBezTo>
                <a:cubicBezTo>
                  <a:pt x="12" y="4"/>
                  <a:pt x="12" y="4"/>
                  <a:pt x="12" y="4"/>
                </a:cubicBezTo>
                <a:cubicBezTo>
                  <a:pt x="7" y="1"/>
                  <a:pt x="3" y="0"/>
                  <a:pt x="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36" name="Freeform 470"/>
          <p:cNvSpPr>
            <a:spLocks/>
          </p:cNvSpPr>
          <p:nvPr userDrawn="1"/>
        </p:nvSpPr>
        <p:spPr bwMode="auto">
          <a:xfrm>
            <a:off x="5622990" y="3103416"/>
            <a:ext cx="8375" cy="8376"/>
          </a:xfrm>
          <a:custGeom>
            <a:avLst/>
            <a:gdLst>
              <a:gd name="T0" fmla="*/ 2147483646 w 9"/>
              <a:gd name="T1" fmla="*/ 0 h 10"/>
              <a:gd name="T2" fmla="*/ 2147483646 w 9"/>
              <a:gd name="T3" fmla="*/ 2147483646 h 10"/>
              <a:gd name="T4" fmla="*/ 2147483646 w 9"/>
              <a:gd name="T5" fmla="*/ 2147483646 h 10"/>
              <a:gd name="T6" fmla="*/ 2147483646 w 9"/>
              <a:gd name="T7" fmla="*/ 0 h 10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10"/>
              <a:gd name="T14" fmla="*/ 9 w 9"/>
              <a:gd name="T15" fmla="*/ 10 h 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10">
                <a:moveTo>
                  <a:pt x="7" y="0"/>
                </a:moveTo>
                <a:cubicBezTo>
                  <a:pt x="5" y="0"/>
                  <a:pt x="0" y="6"/>
                  <a:pt x="3" y="8"/>
                </a:cubicBezTo>
                <a:cubicBezTo>
                  <a:pt x="6" y="10"/>
                  <a:pt x="9" y="6"/>
                  <a:pt x="9" y="6"/>
                </a:cubicBezTo>
                <a:lnTo>
                  <a:pt x="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37" name="Freeform 471"/>
          <p:cNvSpPr>
            <a:spLocks/>
          </p:cNvSpPr>
          <p:nvPr userDrawn="1"/>
        </p:nvSpPr>
        <p:spPr bwMode="auto">
          <a:xfrm>
            <a:off x="5626339" y="3123517"/>
            <a:ext cx="8375" cy="8376"/>
          </a:xfrm>
          <a:custGeom>
            <a:avLst/>
            <a:gdLst>
              <a:gd name="T0" fmla="*/ 2147483646 w 9"/>
              <a:gd name="T1" fmla="*/ 0 h 8"/>
              <a:gd name="T2" fmla="*/ 2147483646 w 9"/>
              <a:gd name="T3" fmla="*/ 2147483646 h 8"/>
              <a:gd name="T4" fmla="*/ 2147483646 w 9"/>
              <a:gd name="T5" fmla="*/ 2147483646 h 8"/>
              <a:gd name="T6" fmla="*/ 2147483646 w 9"/>
              <a:gd name="T7" fmla="*/ 0 h 8"/>
              <a:gd name="T8" fmla="*/ 2147483646 w 9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8"/>
              <a:gd name="T17" fmla="*/ 9 w 9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8">
                <a:moveTo>
                  <a:pt x="3" y="0"/>
                </a:moveTo>
                <a:cubicBezTo>
                  <a:pt x="3" y="0"/>
                  <a:pt x="0" y="7"/>
                  <a:pt x="2" y="8"/>
                </a:cubicBezTo>
                <a:cubicBezTo>
                  <a:pt x="4" y="8"/>
                  <a:pt x="7" y="7"/>
                  <a:pt x="7" y="7"/>
                </a:cubicBezTo>
                <a:cubicBezTo>
                  <a:pt x="9" y="0"/>
                  <a:pt x="9" y="0"/>
                  <a:pt x="9" y="0"/>
                </a:cubicBezTo>
                <a:lnTo>
                  <a:pt x="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38" name="Freeform 472"/>
          <p:cNvSpPr>
            <a:spLocks/>
          </p:cNvSpPr>
          <p:nvPr userDrawn="1"/>
        </p:nvSpPr>
        <p:spPr bwMode="auto">
          <a:xfrm>
            <a:off x="5629690" y="3146969"/>
            <a:ext cx="3351" cy="6700"/>
          </a:xfrm>
          <a:custGeom>
            <a:avLst/>
            <a:gdLst>
              <a:gd name="T0" fmla="*/ 0 w 2"/>
              <a:gd name="T1" fmla="*/ 0 h 4"/>
              <a:gd name="T2" fmla="*/ 2147483646 w 2"/>
              <a:gd name="T3" fmla="*/ 2147483646 h 4"/>
              <a:gd name="T4" fmla="*/ 2147483646 w 2"/>
              <a:gd name="T5" fmla="*/ 0 h 4"/>
              <a:gd name="T6" fmla="*/ 0 w 2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4"/>
              <a:gd name="T14" fmla="*/ 2 w 2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4">
                <a:moveTo>
                  <a:pt x="0" y="0"/>
                </a:moveTo>
                <a:lnTo>
                  <a:pt x="1" y="4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39" name="Freeform 473"/>
          <p:cNvSpPr>
            <a:spLocks/>
          </p:cNvSpPr>
          <p:nvPr userDrawn="1"/>
        </p:nvSpPr>
        <p:spPr bwMode="auto">
          <a:xfrm>
            <a:off x="5639741" y="3157019"/>
            <a:ext cx="6700" cy="10051"/>
          </a:xfrm>
          <a:custGeom>
            <a:avLst/>
            <a:gdLst>
              <a:gd name="T0" fmla="*/ 0 w 4"/>
              <a:gd name="T1" fmla="*/ 2147483646 h 6"/>
              <a:gd name="T2" fmla="*/ 2147483646 w 4"/>
              <a:gd name="T3" fmla="*/ 2147483646 h 6"/>
              <a:gd name="T4" fmla="*/ 2147483646 w 4"/>
              <a:gd name="T5" fmla="*/ 2147483646 h 6"/>
              <a:gd name="T6" fmla="*/ 0 w 4"/>
              <a:gd name="T7" fmla="*/ 0 h 6"/>
              <a:gd name="T8" fmla="*/ 0 w 4"/>
              <a:gd name="T9" fmla="*/ 2147483646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"/>
              <a:gd name="T16" fmla="*/ 0 h 6"/>
              <a:gd name="T17" fmla="*/ 4 w 4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" h="6">
                <a:moveTo>
                  <a:pt x="0" y="4"/>
                </a:moveTo>
                <a:lnTo>
                  <a:pt x="2" y="6"/>
                </a:lnTo>
                <a:lnTo>
                  <a:pt x="4" y="1"/>
                </a:lnTo>
                <a:lnTo>
                  <a:pt x="0" y="0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40" name="Freeform 474"/>
          <p:cNvSpPr>
            <a:spLocks/>
          </p:cNvSpPr>
          <p:nvPr userDrawn="1"/>
        </p:nvSpPr>
        <p:spPr bwMode="auto">
          <a:xfrm>
            <a:off x="5644765" y="3162046"/>
            <a:ext cx="8376" cy="6700"/>
          </a:xfrm>
          <a:custGeom>
            <a:avLst/>
            <a:gdLst>
              <a:gd name="T0" fmla="*/ 2147483646 w 9"/>
              <a:gd name="T1" fmla="*/ 0 h 7"/>
              <a:gd name="T2" fmla="*/ 2147483646 w 9"/>
              <a:gd name="T3" fmla="*/ 2147483646 h 7"/>
              <a:gd name="T4" fmla="*/ 2147483646 w 9"/>
              <a:gd name="T5" fmla="*/ 0 h 7"/>
              <a:gd name="T6" fmla="*/ 2147483646 w 9"/>
              <a:gd name="T7" fmla="*/ 0 h 7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7"/>
              <a:gd name="T14" fmla="*/ 9 w 9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7">
                <a:moveTo>
                  <a:pt x="6" y="0"/>
                </a:moveTo>
                <a:cubicBezTo>
                  <a:pt x="4" y="2"/>
                  <a:pt x="0" y="5"/>
                  <a:pt x="4" y="6"/>
                </a:cubicBezTo>
                <a:cubicBezTo>
                  <a:pt x="7" y="7"/>
                  <a:pt x="9" y="0"/>
                  <a:pt x="9" y="0"/>
                </a:cubicBezTo>
                <a:lnTo>
                  <a:pt x="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41" name="Freeform 475"/>
          <p:cNvSpPr>
            <a:spLocks/>
          </p:cNvSpPr>
          <p:nvPr userDrawn="1"/>
        </p:nvSpPr>
        <p:spPr bwMode="auto">
          <a:xfrm>
            <a:off x="5947958" y="3254175"/>
            <a:ext cx="28476" cy="48579"/>
          </a:xfrm>
          <a:custGeom>
            <a:avLst/>
            <a:gdLst>
              <a:gd name="T0" fmla="*/ 2147483646 w 31"/>
              <a:gd name="T1" fmla="*/ 0 h 53"/>
              <a:gd name="T2" fmla="*/ 2147483646 w 31"/>
              <a:gd name="T3" fmla="*/ 2147483646 h 53"/>
              <a:gd name="T4" fmla="*/ 2147483646 w 31"/>
              <a:gd name="T5" fmla="*/ 2147483646 h 53"/>
              <a:gd name="T6" fmla="*/ 2147483646 w 31"/>
              <a:gd name="T7" fmla="*/ 2147483646 h 53"/>
              <a:gd name="T8" fmla="*/ 2147483646 w 31"/>
              <a:gd name="T9" fmla="*/ 2147483646 h 53"/>
              <a:gd name="T10" fmla="*/ 2147483646 w 31"/>
              <a:gd name="T11" fmla="*/ 2147483646 h 53"/>
              <a:gd name="T12" fmla="*/ 2147483646 w 31"/>
              <a:gd name="T13" fmla="*/ 2147483646 h 53"/>
              <a:gd name="T14" fmla="*/ 2147483646 w 31"/>
              <a:gd name="T15" fmla="*/ 2147483646 h 53"/>
              <a:gd name="T16" fmla="*/ 2147483646 w 31"/>
              <a:gd name="T17" fmla="*/ 0 h 5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1"/>
              <a:gd name="T28" fmla="*/ 0 h 53"/>
              <a:gd name="T29" fmla="*/ 31 w 31"/>
              <a:gd name="T30" fmla="*/ 53 h 5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1" h="53">
                <a:moveTo>
                  <a:pt x="21" y="0"/>
                </a:moveTo>
                <a:cubicBezTo>
                  <a:pt x="12" y="3"/>
                  <a:pt x="8" y="5"/>
                  <a:pt x="6" y="14"/>
                </a:cubicBezTo>
                <a:cubicBezTo>
                  <a:pt x="4" y="23"/>
                  <a:pt x="0" y="23"/>
                  <a:pt x="3" y="31"/>
                </a:cubicBezTo>
                <a:cubicBezTo>
                  <a:pt x="7" y="39"/>
                  <a:pt x="5" y="36"/>
                  <a:pt x="3" y="44"/>
                </a:cubicBezTo>
                <a:cubicBezTo>
                  <a:pt x="2" y="53"/>
                  <a:pt x="14" y="53"/>
                  <a:pt x="16" y="44"/>
                </a:cubicBezTo>
                <a:cubicBezTo>
                  <a:pt x="19" y="36"/>
                  <a:pt x="16" y="28"/>
                  <a:pt x="19" y="23"/>
                </a:cubicBezTo>
                <a:cubicBezTo>
                  <a:pt x="21" y="18"/>
                  <a:pt x="22" y="11"/>
                  <a:pt x="25" y="11"/>
                </a:cubicBezTo>
                <a:cubicBezTo>
                  <a:pt x="28" y="11"/>
                  <a:pt x="31" y="2"/>
                  <a:pt x="31" y="2"/>
                </a:cubicBezTo>
                <a:lnTo>
                  <a:pt x="2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42" name="Freeform 476"/>
          <p:cNvSpPr>
            <a:spLocks/>
          </p:cNvSpPr>
          <p:nvPr userDrawn="1"/>
        </p:nvSpPr>
        <p:spPr bwMode="auto">
          <a:xfrm>
            <a:off x="5907755" y="3291027"/>
            <a:ext cx="11725" cy="43552"/>
          </a:xfrm>
          <a:custGeom>
            <a:avLst/>
            <a:gdLst>
              <a:gd name="T0" fmla="*/ 2147483646 w 13"/>
              <a:gd name="T1" fmla="*/ 0 h 48"/>
              <a:gd name="T2" fmla="*/ 2147483646 w 13"/>
              <a:gd name="T3" fmla="*/ 2147483646 h 48"/>
              <a:gd name="T4" fmla="*/ 2147483646 w 13"/>
              <a:gd name="T5" fmla="*/ 2147483646 h 48"/>
              <a:gd name="T6" fmla="*/ 2147483646 w 13"/>
              <a:gd name="T7" fmla="*/ 2147483646 h 48"/>
              <a:gd name="T8" fmla="*/ 2147483646 w 13"/>
              <a:gd name="T9" fmla="*/ 0 h 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48"/>
              <a:gd name="T17" fmla="*/ 13 w 13"/>
              <a:gd name="T18" fmla="*/ 48 h 4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48">
                <a:moveTo>
                  <a:pt x="12" y="0"/>
                </a:moveTo>
                <a:cubicBezTo>
                  <a:pt x="12" y="5"/>
                  <a:pt x="12" y="17"/>
                  <a:pt x="8" y="21"/>
                </a:cubicBezTo>
                <a:cubicBezTo>
                  <a:pt x="4" y="25"/>
                  <a:pt x="0" y="41"/>
                  <a:pt x="2" y="45"/>
                </a:cubicBezTo>
                <a:cubicBezTo>
                  <a:pt x="3" y="48"/>
                  <a:pt x="10" y="35"/>
                  <a:pt x="12" y="27"/>
                </a:cubicBezTo>
                <a:cubicBezTo>
                  <a:pt x="13" y="20"/>
                  <a:pt x="12" y="0"/>
                  <a:pt x="1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43" name="Freeform 477"/>
          <p:cNvSpPr>
            <a:spLocks/>
          </p:cNvSpPr>
          <p:nvPr userDrawn="1"/>
        </p:nvSpPr>
        <p:spPr bwMode="auto">
          <a:xfrm>
            <a:off x="6026686" y="3218999"/>
            <a:ext cx="45228" cy="35176"/>
          </a:xfrm>
          <a:custGeom>
            <a:avLst/>
            <a:gdLst>
              <a:gd name="T0" fmla="*/ 2147483646 w 49"/>
              <a:gd name="T1" fmla="*/ 2147483646 h 37"/>
              <a:gd name="T2" fmla="*/ 2147483646 w 49"/>
              <a:gd name="T3" fmla="*/ 2147483646 h 37"/>
              <a:gd name="T4" fmla="*/ 2147483646 w 49"/>
              <a:gd name="T5" fmla="*/ 2147483646 h 37"/>
              <a:gd name="T6" fmla="*/ 2147483646 w 49"/>
              <a:gd name="T7" fmla="*/ 2147483646 h 37"/>
              <a:gd name="T8" fmla="*/ 2147483646 w 49"/>
              <a:gd name="T9" fmla="*/ 2147483646 h 37"/>
              <a:gd name="T10" fmla="*/ 2147483646 w 49"/>
              <a:gd name="T11" fmla="*/ 2147483646 h 37"/>
              <a:gd name="T12" fmla="*/ 2147483646 w 49"/>
              <a:gd name="T13" fmla="*/ 2147483646 h 37"/>
              <a:gd name="T14" fmla="*/ 2147483646 w 49"/>
              <a:gd name="T15" fmla="*/ 2147483646 h 37"/>
              <a:gd name="T16" fmla="*/ 2147483646 w 49"/>
              <a:gd name="T17" fmla="*/ 2147483646 h 3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9"/>
              <a:gd name="T28" fmla="*/ 0 h 37"/>
              <a:gd name="T29" fmla="*/ 49 w 49"/>
              <a:gd name="T30" fmla="*/ 37 h 3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9" h="37">
                <a:moveTo>
                  <a:pt x="35" y="3"/>
                </a:moveTo>
                <a:cubicBezTo>
                  <a:pt x="28" y="1"/>
                  <a:pt x="26" y="0"/>
                  <a:pt x="23" y="10"/>
                </a:cubicBezTo>
                <a:cubicBezTo>
                  <a:pt x="19" y="19"/>
                  <a:pt x="20" y="15"/>
                  <a:pt x="15" y="19"/>
                </a:cubicBezTo>
                <a:cubicBezTo>
                  <a:pt x="10" y="22"/>
                  <a:pt x="0" y="19"/>
                  <a:pt x="7" y="26"/>
                </a:cubicBezTo>
                <a:cubicBezTo>
                  <a:pt x="14" y="33"/>
                  <a:pt x="15" y="37"/>
                  <a:pt x="21" y="35"/>
                </a:cubicBezTo>
                <a:cubicBezTo>
                  <a:pt x="26" y="34"/>
                  <a:pt x="24" y="27"/>
                  <a:pt x="28" y="31"/>
                </a:cubicBezTo>
                <a:cubicBezTo>
                  <a:pt x="32" y="35"/>
                  <a:pt x="32" y="28"/>
                  <a:pt x="36" y="24"/>
                </a:cubicBezTo>
                <a:cubicBezTo>
                  <a:pt x="39" y="20"/>
                  <a:pt x="41" y="15"/>
                  <a:pt x="45" y="14"/>
                </a:cubicBezTo>
                <a:cubicBezTo>
                  <a:pt x="49" y="13"/>
                  <a:pt x="38" y="4"/>
                  <a:pt x="35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44" name="Freeform 478"/>
          <p:cNvSpPr>
            <a:spLocks/>
          </p:cNvSpPr>
          <p:nvPr userDrawn="1"/>
        </p:nvSpPr>
        <p:spPr bwMode="auto">
          <a:xfrm>
            <a:off x="6046787" y="3198897"/>
            <a:ext cx="20101" cy="15075"/>
          </a:xfrm>
          <a:custGeom>
            <a:avLst/>
            <a:gdLst>
              <a:gd name="T0" fmla="*/ 2147483646 w 22"/>
              <a:gd name="T1" fmla="*/ 2147483646 h 17"/>
              <a:gd name="T2" fmla="*/ 2147483646 w 22"/>
              <a:gd name="T3" fmla="*/ 2147483646 h 17"/>
              <a:gd name="T4" fmla="*/ 2147483646 w 22"/>
              <a:gd name="T5" fmla="*/ 2147483646 h 17"/>
              <a:gd name="T6" fmla="*/ 2147483646 w 22"/>
              <a:gd name="T7" fmla="*/ 2147483646 h 17"/>
              <a:gd name="T8" fmla="*/ 2147483646 w 22"/>
              <a:gd name="T9" fmla="*/ 2147483646 h 17"/>
              <a:gd name="T10" fmla="*/ 2147483646 w 22"/>
              <a:gd name="T11" fmla="*/ 0 h 17"/>
              <a:gd name="T12" fmla="*/ 2147483646 w 22"/>
              <a:gd name="T13" fmla="*/ 2147483646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2"/>
              <a:gd name="T22" fmla="*/ 0 h 17"/>
              <a:gd name="T23" fmla="*/ 22 w 22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2" h="17">
                <a:moveTo>
                  <a:pt x="7" y="2"/>
                </a:moveTo>
                <a:cubicBezTo>
                  <a:pt x="4" y="5"/>
                  <a:pt x="0" y="7"/>
                  <a:pt x="2" y="11"/>
                </a:cubicBezTo>
                <a:cubicBezTo>
                  <a:pt x="5" y="16"/>
                  <a:pt x="9" y="16"/>
                  <a:pt x="11" y="16"/>
                </a:cubicBezTo>
                <a:cubicBezTo>
                  <a:pt x="14" y="17"/>
                  <a:pt x="15" y="16"/>
                  <a:pt x="18" y="14"/>
                </a:cubicBezTo>
                <a:cubicBezTo>
                  <a:pt x="20" y="13"/>
                  <a:pt x="22" y="6"/>
                  <a:pt x="22" y="6"/>
                </a:cubicBezTo>
                <a:cubicBezTo>
                  <a:pt x="22" y="6"/>
                  <a:pt x="19" y="0"/>
                  <a:pt x="15" y="0"/>
                </a:cubicBezTo>
                <a:cubicBezTo>
                  <a:pt x="11" y="0"/>
                  <a:pt x="7" y="2"/>
                  <a:pt x="7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45" name="Freeform 479"/>
          <p:cNvSpPr>
            <a:spLocks/>
          </p:cNvSpPr>
          <p:nvPr userDrawn="1"/>
        </p:nvSpPr>
        <p:spPr bwMode="auto">
          <a:xfrm>
            <a:off x="5979784" y="3136920"/>
            <a:ext cx="26801" cy="26801"/>
          </a:xfrm>
          <a:custGeom>
            <a:avLst/>
            <a:gdLst>
              <a:gd name="T0" fmla="*/ 2147483646 w 30"/>
              <a:gd name="T1" fmla="*/ 2147483646 h 29"/>
              <a:gd name="T2" fmla="*/ 2147483646 w 30"/>
              <a:gd name="T3" fmla="*/ 2147483646 h 29"/>
              <a:gd name="T4" fmla="*/ 2147483646 w 30"/>
              <a:gd name="T5" fmla="*/ 2147483646 h 29"/>
              <a:gd name="T6" fmla="*/ 2147483646 w 30"/>
              <a:gd name="T7" fmla="*/ 2147483646 h 29"/>
              <a:gd name="T8" fmla="*/ 2147483646 w 30"/>
              <a:gd name="T9" fmla="*/ 2147483646 h 29"/>
              <a:gd name="T10" fmla="*/ 2147483646 w 30"/>
              <a:gd name="T11" fmla="*/ 2147483646 h 2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"/>
              <a:gd name="T19" fmla="*/ 0 h 29"/>
              <a:gd name="T20" fmla="*/ 30 w 30"/>
              <a:gd name="T21" fmla="*/ 29 h 2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" h="29">
                <a:moveTo>
                  <a:pt x="14" y="1"/>
                </a:moveTo>
                <a:cubicBezTo>
                  <a:pt x="10" y="1"/>
                  <a:pt x="9" y="0"/>
                  <a:pt x="6" y="6"/>
                </a:cubicBezTo>
                <a:cubicBezTo>
                  <a:pt x="2" y="13"/>
                  <a:pt x="0" y="14"/>
                  <a:pt x="5" y="20"/>
                </a:cubicBezTo>
                <a:cubicBezTo>
                  <a:pt x="10" y="26"/>
                  <a:pt x="17" y="29"/>
                  <a:pt x="19" y="22"/>
                </a:cubicBezTo>
                <a:cubicBezTo>
                  <a:pt x="21" y="16"/>
                  <a:pt x="19" y="11"/>
                  <a:pt x="24" y="13"/>
                </a:cubicBezTo>
                <a:cubicBezTo>
                  <a:pt x="30" y="14"/>
                  <a:pt x="14" y="1"/>
                  <a:pt x="14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46" name="Freeform 480"/>
          <p:cNvSpPr>
            <a:spLocks/>
          </p:cNvSpPr>
          <p:nvPr userDrawn="1"/>
        </p:nvSpPr>
        <p:spPr bwMode="auto">
          <a:xfrm>
            <a:off x="5395176" y="3552342"/>
            <a:ext cx="314917" cy="311567"/>
          </a:xfrm>
          <a:custGeom>
            <a:avLst/>
            <a:gdLst>
              <a:gd name="T0" fmla="*/ 2147483646 w 336"/>
              <a:gd name="T1" fmla="*/ 2147483646 h 335"/>
              <a:gd name="T2" fmla="*/ 2147483646 w 336"/>
              <a:gd name="T3" fmla="*/ 2147483646 h 335"/>
              <a:gd name="T4" fmla="*/ 2147483646 w 336"/>
              <a:gd name="T5" fmla="*/ 2147483646 h 335"/>
              <a:gd name="T6" fmla="*/ 2147483646 w 336"/>
              <a:gd name="T7" fmla="*/ 2147483646 h 335"/>
              <a:gd name="T8" fmla="*/ 2147483646 w 336"/>
              <a:gd name="T9" fmla="*/ 2147483646 h 335"/>
              <a:gd name="T10" fmla="*/ 2147483646 w 336"/>
              <a:gd name="T11" fmla="*/ 2147483646 h 335"/>
              <a:gd name="T12" fmla="*/ 2147483646 w 336"/>
              <a:gd name="T13" fmla="*/ 2147483646 h 335"/>
              <a:gd name="T14" fmla="*/ 2147483646 w 336"/>
              <a:gd name="T15" fmla="*/ 2147483646 h 335"/>
              <a:gd name="T16" fmla="*/ 2147483646 w 336"/>
              <a:gd name="T17" fmla="*/ 2147483646 h 335"/>
              <a:gd name="T18" fmla="*/ 2147483646 w 336"/>
              <a:gd name="T19" fmla="*/ 2147483646 h 335"/>
              <a:gd name="T20" fmla="*/ 2147483646 w 336"/>
              <a:gd name="T21" fmla="*/ 2147483646 h 335"/>
              <a:gd name="T22" fmla="*/ 2147483646 w 336"/>
              <a:gd name="T23" fmla="*/ 2147483646 h 335"/>
              <a:gd name="T24" fmla="*/ 2147483646 w 336"/>
              <a:gd name="T25" fmla="*/ 2147483646 h 335"/>
              <a:gd name="T26" fmla="*/ 2147483646 w 336"/>
              <a:gd name="T27" fmla="*/ 2147483646 h 335"/>
              <a:gd name="T28" fmla="*/ 2147483646 w 336"/>
              <a:gd name="T29" fmla="*/ 2147483646 h 335"/>
              <a:gd name="T30" fmla="*/ 2147483646 w 336"/>
              <a:gd name="T31" fmla="*/ 2147483646 h 335"/>
              <a:gd name="T32" fmla="*/ 2147483646 w 336"/>
              <a:gd name="T33" fmla="*/ 0 h 335"/>
              <a:gd name="T34" fmla="*/ 2147483646 w 336"/>
              <a:gd name="T35" fmla="*/ 2147483646 h 335"/>
              <a:gd name="T36" fmla="*/ 2147483646 w 336"/>
              <a:gd name="T37" fmla="*/ 2147483646 h 335"/>
              <a:gd name="T38" fmla="*/ 2147483646 w 336"/>
              <a:gd name="T39" fmla="*/ 2147483646 h 335"/>
              <a:gd name="T40" fmla="*/ 2147483646 w 336"/>
              <a:gd name="T41" fmla="*/ 2147483646 h 335"/>
              <a:gd name="T42" fmla="*/ 2147483646 w 336"/>
              <a:gd name="T43" fmla="*/ 2147483646 h 335"/>
              <a:gd name="T44" fmla="*/ 2147483646 w 336"/>
              <a:gd name="T45" fmla="*/ 2147483646 h 335"/>
              <a:gd name="T46" fmla="*/ 2147483646 w 336"/>
              <a:gd name="T47" fmla="*/ 2147483646 h 335"/>
              <a:gd name="T48" fmla="*/ 2147483646 w 336"/>
              <a:gd name="T49" fmla="*/ 2147483646 h 335"/>
              <a:gd name="T50" fmla="*/ 2147483646 w 336"/>
              <a:gd name="T51" fmla="*/ 2147483646 h 335"/>
              <a:gd name="T52" fmla="*/ 2147483646 w 336"/>
              <a:gd name="T53" fmla="*/ 2147483646 h 335"/>
              <a:gd name="T54" fmla="*/ 2147483646 w 336"/>
              <a:gd name="T55" fmla="*/ 2147483646 h 335"/>
              <a:gd name="T56" fmla="*/ 2147483646 w 336"/>
              <a:gd name="T57" fmla="*/ 2147483646 h 335"/>
              <a:gd name="T58" fmla="*/ 2147483646 w 336"/>
              <a:gd name="T59" fmla="*/ 2147483646 h 335"/>
              <a:gd name="T60" fmla="*/ 2147483646 w 336"/>
              <a:gd name="T61" fmla="*/ 2147483646 h 335"/>
              <a:gd name="T62" fmla="*/ 2147483646 w 336"/>
              <a:gd name="T63" fmla="*/ 2147483646 h 335"/>
              <a:gd name="T64" fmla="*/ 2147483646 w 336"/>
              <a:gd name="T65" fmla="*/ 2147483646 h 335"/>
              <a:gd name="T66" fmla="*/ 2147483646 w 336"/>
              <a:gd name="T67" fmla="*/ 2147483646 h 335"/>
              <a:gd name="T68" fmla="*/ 2147483646 w 336"/>
              <a:gd name="T69" fmla="*/ 2147483646 h 335"/>
              <a:gd name="T70" fmla="*/ 2147483646 w 336"/>
              <a:gd name="T71" fmla="*/ 2147483646 h 335"/>
              <a:gd name="T72" fmla="*/ 2147483646 w 336"/>
              <a:gd name="T73" fmla="*/ 2147483646 h 335"/>
              <a:gd name="T74" fmla="*/ 2147483646 w 336"/>
              <a:gd name="T75" fmla="*/ 2147483646 h 335"/>
              <a:gd name="T76" fmla="*/ 2147483646 w 336"/>
              <a:gd name="T77" fmla="*/ 2147483646 h 335"/>
              <a:gd name="T78" fmla="*/ 2147483646 w 336"/>
              <a:gd name="T79" fmla="*/ 2147483646 h 335"/>
              <a:gd name="T80" fmla="*/ 2147483646 w 336"/>
              <a:gd name="T81" fmla="*/ 2147483646 h 335"/>
              <a:gd name="T82" fmla="*/ 2147483646 w 336"/>
              <a:gd name="T83" fmla="*/ 2147483646 h 335"/>
              <a:gd name="T84" fmla="*/ 2147483646 w 336"/>
              <a:gd name="T85" fmla="*/ 2147483646 h 335"/>
              <a:gd name="T86" fmla="*/ 2147483646 w 336"/>
              <a:gd name="T87" fmla="*/ 2147483646 h 335"/>
              <a:gd name="T88" fmla="*/ 2147483646 w 336"/>
              <a:gd name="T89" fmla="*/ 2147483646 h 335"/>
              <a:gd name="T90" fmla="*/ 2147483646 w 336"/>
              <a:gd name="T91" fmla="*/ 2147483646 h 335"/>
              <a:gd name="T92" fmla="*/ 2147483646 w 336"/>
              <a:gd name="T93" fmla="*/ 2147483646 h 335"/>
              <a:gd name="T94" fmla="*/ 2147483646 w 336"/>
              <a:gd name="T95" fmla="*/ 2147483646 h 335"/>
              <a:gd name="T96" fmla="*/ 2147483646 w 336"/>
              <a:gd name="T97" fmla="*/ 2147483646 h 335"/>
              <a:gd name="T98" fmla="*/ 2147483646 w 336"/>
              <a:gd name="T99" fmla="*/ 2147483646 h 335"/>
              <a:gd name="T100" fmla="*/ 2147483646 w 336"/>
              <a:gd name="T101" fmla="*/ 2147483646 h 335"/>
              <a:gd name="T102" fmla="*/ 2147483646 w 336"/>
              <a:gd name="T103" fmla="*/ 2147483646 h 33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336"/>
              <a:gd name="T157" fmla="*/ 0 h 335"/>
              <a:gd name="T158" fmla="*/ 336 w 336"/>
              <a:gd name="T159" fmla="*/ 335 h 33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336" h="335">
                <a:moveTo>
                  <a:pt x="327" y="286"/>
                </a:moveTo>
                <a:cubicBezTo>
                  <a:pt x="330" y="280"/>
                  <a:pt x="332" y="271"/>
                  <a:pt x="325" y="267"/>
                </a:cubicBezTo>
                <a:cubicBezTo>
                  <a:pt x="322" y="265"/>
                  <a:pt x="316" y="267"/>
                  <a:pt x="314" y="264"/>
                </a:cubicBezTo>
                <a:cubicBezTo>
                  <a:pt x="313" y="263"/>
                  <a:pt x="316" y="260"/>
                  <a:pt x="315" y="258"/>
                </a:cubicBezTo>
                <a:cubicBezTo>
                  <a:pt x="314" y="255"/>
                  <a:pt x="312" y="255"/>
                  <a:pt x="311" y="254"/>
                </a:cubicBezTo>
                <a:cubicBezTo>
                  <a:pt x="304" y="244"/>
                  <a:pt x="310" y="237"/>
                  <a:pt x="313" y="227"/>
                </a:cubicBezTo>
                <a:cubicBezTo>
                  <a:pt x="316" y="220"/>
                  <a:pt x="316" y="217"/>
                  <a:pt x="314" y="210"/>
                </a:cubicBezTo>
                <a:cubicBezTo>
                  <a:pt x="312" y="205"/>
                  <a:pt x="314" y="195"/>
                  <a:pt x="311" y="191"/>
                </a:cubicBezTo>
                <a:cubicBezTo>
                  <a:pt x="306" y="184"/>
                  <a:pt x="297" y="195"/>
                  <a:pt x="291" y="194"/>
                </a:cubicBezTo>
                <a:cubicBezTo>
                  <a:pt x="282" y="192"/>
                  <a:pt x="286" y="185"/>
                  <a:pt x="290" y="180"/>
                </a:cubicBezTo>
                <a:cubicBezTo>
                  <a:pt x="294" y="174"/>
                  <a:pt x="299" y="167"/>
                  <a:pt x="302" y="160"/>
                </a:cubicBezTo>
                <a:cubicBezTo>
                  <a:pt x="304" y="156"/>
                  <a:pt x="303" y="150"/>
                  <a:pt x="306" y="147"/>
                </a:cubicBezTo>
                <a:cubicBezTo>
                  <a:pt x="309" y="144"/>
                  <a:pt x="313" y="145"/>
                  <a:pt x="315" y="143"/>
                </a:cubicBezTo>
                <a:cubicBezTo>
                  <a:pt x="323" y="139"/>
                  <a:pt x="321" y="132"/>
                  <a:pt x="321" y="123"/>
                </a:cubicBezTo>
                <a:cubicBezTo>
                  <a:pt x="321" y="118"/>
                  <a:pt x="321" y="112"/>
                  <a:pt x="323" y="107"/>
                </a:cubicBezTo>
                <a:cubicBezTo>
                  <a:pt x="325" y="100"/>
                  <a:pt x="329" y="96"/>
                  <a:pt x="332" y="91"/>
                </a:cubicBezTo>
                <a:cubicBezTo>
                  <a:pt x="334" y="87"/>
                  <a:pt x="336" y="81"/>
                  <a:pt x="334" y="79"/>
                </a:cubicBezTo>
                <a:cubicBezTo>
                  <a:pt x="334" y="79"/>
                  <a:pt x="327" y="79"/>
                  <a:pt x="326" y="78"/>
                </a:cubicBezTo>
                <a:cubicBezTo>
                  <a:pt x="320" y="77"/>
                  <a:pt x="315" y="74"/>
                  <a:pt x="309" y="73"/>
                </a:cubicBezTo>
                <a:cubicBezTo>
                  <a:pt x="305" y="73"/>
                  <a:pt x="302" y="73"/>
                  <a:pt x="299" y="71"/>
                </a:cubicBezTo>
                <a:cubicBezTo>
                  <a:pt x="296" y="69"/>
                  <a:pt x="296" y="66"/>
                  <a:pt x="292" y="65"/>
                </a:cubicBezTo>
                <a:cubicBezTo>
                  <a:pt x="285" y="64"/>
                  <a:pt x="279" y="68"/>
                  <a:pt x="271" y="65"/>
                </a:cubicBezTo>
                <a:cubicBezTo>
                  <a:pt x="267" y="62"/>
                  <a:pt x="263" y="59"/>
                  <a:pt x="261" y="55"/>
                </a:cubicBezTo>
                <a:cubicBezTo>
                  <a:pt x="259" y="52"/>
                  <a:pt x="258" y="46"/>
                  <a:pt x="257" y="45"/>
                </a:cubicBezTo>
                <a:cubicBezTo>
                  <a:pt x="252" y="41"/>
                  <a:pt x="247" y="51"/>
                  <a:pt x="242" y="44"/>
                </a:cubicBezTo>
                <a:cubicBezTo>
                  <a:pt x="237" y="38"/>
                  <a:pt x="237" y="33"/>
                  <a:pt x="230" y="30"/>
                </a:cubicBezTo>
                <a:cubicBezTo>
                  <a:pt x="227" y="28"/>
                  <a:pt x="226" y="29"/>
                  <a:pt x="223" y="28"/>
                </a:cubicBezTo>
                <a:cubicBezTo>
                  <a:pt x="220" y="27"/>
                  <a:pt x="220" y="28"/>
                  <a:pt x="217" y="25"/>
                </a:cubicBezTo>
                <a:cubicBezTo>
                  <a:pt x="212" y="19"/>
                  <a:pt x="215" y="15"/>
                  <a:pt x="206" y="14"/>
                </a:cubicBezTo>
                <a:cubicBezTo>
                  <a:pt x="201" y="14"/>
                  <a:pt x="203" y="17"/>
                  <a:pt x="199" y="12"/>
                </a:cubicBezTo>
                <a:cubicBezTo>
                  <a:pt x="197" y="9"/>
                  <a:pt x="196" y="5"/>
                  <a:pt x="195" y="2"/>
                </a:cubicBezTo>
                <a:cubicBezTo>
                  <a:pt x="195" y="2"/>
                  <a:pt x="195" y="2"/>
                  <a:pt x="195" y="2"/>
                </a:cubicBezTo>
                <a:cubicBezTo>
                  <a:pt x="194" y="1"/>
                  <a:pt x="194" y="1"/>
                  <a:pt x="194" y="1"/>
                </a:cubicBezTo>
                <a:cubicBezTo>
                  <a:pt x="193" y="1"/>
                  <a:pt x="193" y="0"/>
                  <a:pt x="193" y="0"/>
                </a:cubicBezTo>
                <a:cubicBezTo>
                  <a:pt x="190" y="0"/>
                  <a:pt x="183" y="5"/>
                  <a:pt x="178" y="5"/>
                </a:cubicBezTo>
                <a:cubicBezTo>
                  <a:pt x="173" y="6"/>
                  <a:pt x="169" y="8"/>
                  <a:pt x="170" y="16"/>
                </a:cubicBezTo>
                <a:cubicBezTo>
                  <a:pt x="171" y="24"/>
                  <a:pt x="180" y="28"/>
                  <a:pt x="171" y="34"/>
                </a:cubicBezTo>
                <a:cubicBezTo>
                  <a:pt x="161" y="39"/>
                  <a:pt x="164" y="44"/>
                  <a:pt x="156" y="47"/>
                </a:cubicBezTo>
                <a:cubicBezTo>
                  <a:pt x="148" y="50"/>
                  <a:pt x="135" y="49"/>
                  <a:pt x="135" y="57"/>
                </a:cubicBezTo>
                <a:cubicBezTo>
                  <a:pt x="136" y="66"/>
                  <a:pt x="137" y="65"/>
                  <a:pt x="139" y="68"/>
                </a:cubicBezTo>
                <a:cubicBezTo>
                  <a:pt x="142" y="70"/>
                  <a:pt x="139" y="68"/>
                  <a:pt x="131" y="70"/>
                </a:cubicBezTo>
                <a:cubicBezTo>
                  <a:pt x="123" y="72"/>
                  <a:pt x="113" y="74"/>
                  <a:pt x="108" y="72"/>
                </a:cubicBezTo>
                <a:cubicBezTo>
                  <a:pt x="103" y="71"/>
                  <a:pt x="97" y="76"/>
                  <a:pt x="97" y="69"/>
                </a:cubicBezTo>
                <a:cubicBezTo>
                  <a:pt x="98" y="62"/>
                  <a:pt x="102" y="54"/>
                  <a:pt x="95" y="59"/>
                </a:cubicBezTo>
                <a:cubicBezTo>
                  <a:pt x="88" y="64"/>
                  <a:pt x="87" y="69"/>
                  <a:pt x="84" y="64"/>
                </a:cubicBezTo>
                <a:cubicBezTo>
                  <a:pt x="82" y="58"/>
                  <a:pt x="81" y="49"/>
                  <a:pt x="78" y="54"/>
                </a:cubicBezTo>
                <a:cubicBezTo>
                  <a:pt x="76" y="60"/>
                  <a:pt x="74" y="61"/>
                  <a:pt x="80" y="68"/>
                </a:cubicBezTo>
                <a:cubicBezTo>
                  <a:pt x="86" y="75"/>
                  <a:pt x="89" y="76"/>
                  <a:pt x="90" y="83"/>
                </a:cubicBezTo>
                <a:cubicBezTo>
                  <a:pt x="91" y="90"/>
                  <a:pt x="92" y="99"/>
                  <a:pt x="94" y="101"/>
                </a:cubicBezTo>
                <a:cubicBezTo>
                  <a:pt x="97" y="102"/>
                  <a:pt x="90" y="107"/>
                  <a:pt x="85" y="103"/>
                </a:cubicBezTo>
                <a:cubicBezTo>
                  <a:pt x="81" y="99"/>
                  <a:pt x="81" y="91"/>
                  <a:pt x="75" y="98"/>
                </a:cubicBezTo>
                <a:cubicBezTo>
                  <a:pt x="70" y="105"/>
                  <a:pt x="68" y="98"/>
                  <a:pt x="64" y="102"/>
                </a:cubicBezTo>
                <a:cubicBezTo>
                  <a:pt x="59" y="106"/>
                  <a:pt x="60" y="97"/>
                  <a:pt x="56" y="101"/>
                </a:cubicBezTo>
                <a:cubicBezTo>
                  <a:pt x="52" y="105"/>
                  <a:pt x="52" y="99"/>
                  <a:pt x="48" y="97"/>
                </a:cubicBezTo>
                <a:cubicBezTo>
                  <a:pt x="44" y="94"/>
                  <a:pt x="43" y="90"/>
                  <a:pt x="39" y="94"/>
                </a:cubicBezTo>
                <a:cubicBezTo>
                  <a:pt x="36" y="99"/>
                  <a:pt x="34" y="98"/>
                  <a:pt x="30" y="101"/>
                </a:cubicBezTo>
                <a:cubicBezTo>
                  <a:pt x="27" y="104"/>
                  <a:pt x="34" y="104"/>
                  <a:pt x="21" y="104"/>
                </a:cubicBezTo>
                <a:cubicBezTo>
                  <a:pt x="8" y="104"/>
                  <a:pt x="0" y="104"/>
                  <a:pt x="7" y="108"/>
                </a:cubicBezTo>
                <a:cubicBezTo>
                  <a:pt x="14" y="112"/>
                  <a:pt x="22" y="112"/>
                  <a:pt x="20" y="113"/>
                </a:cubicBezTo>
                <a:cubicBezTo>
                  <a:pt x="14" y="118"/>
                  <a:pt x="11" y="112"/>
                  <a:pt x="11" y="117"/>
                </a:cubicBezTo>
                <a:cubicBezTo>
                  <a:pt x="11" y="122"/>
                  <a:pt x="17" y="123"/>
                  <a:pt x="17" y="123"/>
                </a:cubicBezTo>
                <a:cubicBezTo>
                  <a:pt x="17" y="123"/>
                  <a:pt x="7" y="120"/>
                  <a:pt x="10" y="126"/>
                </a:cubicBezTo>
                <a:cubicBezTo>
                  <a:pt x="12" y="131"/>
                  <a:pt x="14" y="130"/>
                  <a:pt x="21" y="132"/>
                </a:cubicBezTo>
                <a:cubicBezTo>
                  <a:pt x="29" y="135"/>
                  <a:pt x="29" y="132"/>
                  <a:pt x="33" y="132"/>
                </a:cubicBezTo>
                <a:cubicBezTo>
                  <a:pt x="36" y="132"/>
                  <a:pt x="38" y="127"/>
                  <a:pt x="41" y="135"/>
                </a:cubicBezTo>
                <a:cubicBezTo>
                  <a:pt x="44" y="142"/>
                  <a:pt x="49" y="147"/>
                  <a:pt x="53" y="143"/>
                </a:cubicBezTo>
                <a:cubicBezTo>
                  <a:pt x="58" y="139"/>
                  <a:pt x="62" y="129"/>
                  <a:pt x="64" y="138"/>
                </a:cubicBezTo>
                <a:cubicBezTo>
                  <a:pt x="66" y="148"/>
                  <a:pt x="62" y="153"/>
                  <a:pt x="67" y="151"/>
                </a:cubicBezTo>
                <a:cubicBezTo>
                  <a:pt x="72" y="149"/>
                  <a:pt x="68" y="147"/>
                  <a:pt x="71" y="157"/>
                </a:cubicBezTo>
                <a:cubicBezTo>
                  <a:pt x="75" y="168"/>
                  <a:pt x="67" y="160"/>
                  <a:pt x="75" y="168"/>
                </a:cubicBezTo>
                <a:cubicBezTo>
                  <a:pt x="82" y="175"/>
                  <a:pt x="78" y="174"/>
                  <a:pt x="86" y="179"/>
                </a:cubicBezTo>
                <a:cubicBezTo>
                  <a:pt x="94" y="185"/>
                  <a:pt x="104" y="200"/>
                  <a:pt x="106" y="205"/>
                </a:cubicBezTo>
                <a:cubicBezTo>
                  <a:pt x="107" y="209"/>
                  <a:pt x="97" y="208"/>
                  <a:pt x="105" y="216"/>
                </a:cubicBezTo>
                <a:cubicBezTo>
                  <a:pt x="113" y="224"/>
                  <a:pt x="113" y="231"/>
                  <a:pt x="116" y="242"/>
                </a:cubicBezTo>
                <a:cubicBezTo>
                  <a:pt x="118" y="252"/>
                  <a:pt x="104" y="216"/>
                  <a:pt x="103" y="224"/>
                </a:cubicBezTo>
                <a:cubicBezTo>
                  <a:pt x="101" y="232"/>
                  <a:pt x="97" y="241"/>
                  <a:pt x="100" y="250"/>
                </a:cubicBezTo>
                <a:cubicBezTo>
                  <a:pt x="103" y="260"/>
                  <a:pt x="100" y="260"/>
                  <a:pt x="98" y="266"/>
                </a:cubicBezTo>
                <a:cubicBezTo>
                  <a:pt x="96" y="272"/>
                  <a:pt x="100" y="297"/>
                  <a:pt x="87" y="298"/>
                </a:cubicBezTo>
                <a:cubicBezTo>
                  <a:pt x="87" y="298"/>
                  <a:pt x="86" y="298"/>
                  <a:pt x="85" y="299"/>
                </a:cubicBezTo>
                <a:cubicBezTo>
                  <a:pt x="86" y="299"/>
                  <a:pt x="86" y="299"/>
                  <a:pt x="86" y="299"/>
                </a:cubicBezTo>
                <a:cubicBezTo>
                  <a:pt x="88" y="301"/>
                  <a:pt x="90" y="301"/>
                  <a:pt x="92" y="303"/>
                </a:cubicBezTo>
                <a:cubicBezTo>
                  <a:pt x="94" y="305"/>
                  <a:pt x="95" y="307"/>
                  <a:pt x="98" y="309"/>
                </a:cubicBezTo>
                <a:cubicBezTo>
                  <a:pt x="101" y="312"/>
                  <a:pt x="105" y="312"/>
                  <a:pt x="109" y="314"/>
                </a:cubicBezTo>
                <a:cubicBezTo>
                  <a:pt x="113" y="316"/>
                  <a:pt x="115" y="319"/>
                  <a:pt x="120" y="320"/>
                </a:cubicBezTo>
                <a:cubicBezTo>
                  <a:pt x="123" y="320"/>
                  <a:pt x="127" y="320"/>
                  <a:pt x="130" y="321"/>
                </a:cubicBezTo>
                <a:cubicBezTo>
                  <a:pt x="132" y="321"/>
                  <a:pt x="133" y="323"/>
                  <a:pt x="135" y="323"/>
                </a:cubicBezTo>
                <a:cubicBezTo>
                  <a:pt x="137" y="324"/>
                  <a:pt x="139" y="324"/>
                  <a:pt x="142" y="324"/>
                </a:cubicBezTo>
                <a:cubicBezTo>
                  <a:pt x="143" y="324"/>
                  <a:pt x="146" y="325"/>
                  <a:pt x="148" y="324"/>
                </a:cubicBezTo>
                <a:cubicBezTo>
                  <a:pt x="149" y="324"/>
                  <a:pt x="151" y="322"/>
                  <a:pt x="153" y="321"/>
                </a:cubicBezTo>
                <a:cubicBezTo>
                  <a:pt x="162" y="317"/>
                  <a:pt x="164" y="327"/>
                  <a:pt x="171" y="330"/>
                </a:cubicBezTo>
                <a:cubicBezTo>
                  <a:pt x="175" y="331"/>
                  <a:pt x="179" y="330"/>
                  <a:pt x="182" y="331"/>
                </a:cubicBezTo>
                <a:cubicBezTo>
                  <a:pt x="186" y="332"/>
                  <a:pt x="190" y="335"/>
                  <a:pt x="194" y="335"/>
                </a:cubicBezTo>
                <a:cubicBezTo>
                  <a:pt x="196" y="334"/>
                  <a:pt x="197" y="332"/>
                  <a:pt x="200" y="332"/>
                </a:cubicBezTo>
                <a:cubicBezTo>
                  <a:pt x="201" y="331"/>
                  <a:pt x="203" y="332"/>
                  <a:pt x="205" y="332"/>
                </a:cubicBezTo>
                <a:cubicBezTo>
                  <a:pt x="207" y="332"/>
                  <a:pt x="211" y="330"/>
                  <a:pt x="212" y="331"/>
                </a:cubicBezTo>
                <a:cubicBezTo>
                  <a:pt x="213" y="331"/>
                  <a:pt x="213" y="331"/>
                  <a:pt x="213" y="331"/>
                </a:cubicBezTo>
                <a:cubicBezTo>
                  <a:pt x="210" y="326"/>
                  <a:pt x="207" y="319"/>
                  <a:pt x="208" y="315"/>
                </a:cubicBezTo>
                <a:cubicBezTo>
                  <a:pt x="210" y="310"/>
                  <a:pt x="206" y="305"/>
                  <a:pt x="214" y="304"/>
                </a:cubicBezTo>
                <a:cubicBezTo>
                  <a:pt x="222" y="303"/>
                  <a:pt x="227" y="288"/>
                  <a:pt x="237" y="294"/>
                </a:cubicBezTo>
                <a:cubicBezTo>
                  <a:pt x="247" y="300"/>
                  <a:pt x="250" y="307"/>
                  <a:pt x="254" y="301"/>
                </a:cubicBezTo>
                <a:cubicBezTo>
                  <a:pt x="258" y="295"/>
                  <a:pt x="261" y="297"/>
                  <a:pt x="267" y="303"/>
                </a:cubicBezTo>
                <a:cubicBezTo>
                  <a:pt x="274" y="309"/>
                  <a:pt x="281" y="313"/>
                  <a:pt x="289" y="311"/>
                </a:cubicBezTo>
                <a:cubicBezTo>
                  <a:pt x="296" y="309"/>
                  <a:pt x="305" y="303"/>
                  <a:pt x="309" y="297"/>
                </a:cubicBezTo>
                <a:cubicBezTo>
                  <a:pt x="312" y="293"/>
                  <a:pt x="320" y="288"/>
                  <a:pt x="326" y="286"/>
                </a:cubicBezTo>
                <a:cubicBezTo>
                  <a:pt x="327" y="286"/>
                  <a:pt x="327" y="286"/>
                  <a:pt x="327" y="28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47" name="Freeform 481"/>
          <p:cNvSpPr>
            <a:spLocks/>
          </p:cNvSpPr>
          <p:nvPr userDrawn="1"/>
        </p:nvSpPr>
        <p:spPr bwMode="auto">
          <a:xfrm>
            <a:off x="5282945" y="3872284"/>
            <a:ext cx="83755" cy="169184"/>
          </a:xfrm>
          <a:custGeom>
            <a:avLst/>
            <a:gdLst>
              <a:gd name="T0" fmla="*/ 2147483646 w 90"/>
              <a:gd name="T1" fmla="*/ 2147483646 h 181"/>
              <a:gd name="T2" fmla="*/ 2147483646 w 90"/>
              <a:gd name="T3" fmla="*/ 2147483646 h 181"/>
              <a:gd name="T4" fmla="*/ 2147483646 w 90"/>
              <a:gd name="T5" fmla="*/ 2147483646 h 181"/>
              <a:gd name="T6" fmla="*/ 2147483646 w 90"/>
              <a:gd name="T7" fmla="*/ 2147483646 h 181"/>
              <a:gd name="T8" fmla="*/ 2147483646 w 90"/>
              <a:gd name="T9" fmla="*/ 2147483646 h 181"/>
              <a:gd name="T10" fmla="*/ 2147483646 w 90"/>
              <a:gd name="T11" fmla="*/ 2147483646 h 181"/>
              <a:gd name="T12" fmla="*/ 2147483646 w 90"/>
              <a:gd name="T13" fmla="*/ 2147483646 h 181"/>
              <a:gd name="T14" fmla="*/ 2147483646 w 90"/>
              <a:gd name="T15" fmla="*/ 2147483646 h 181"/>
              <a:gd name="T16" fmla="*/ 2147483646 w 90"/>
              <a:gd name="T17" fmla="*/ 2147483646 h 181"/>
              <a:gd name="T18" fmla="*/ 2147483646 w 90"/>
              <a:gd name="T19" fmla="*/ 2147483646 h 181"/>
              <a:gd name="T20" fmla="*/ 2147483646 w 90"/>
              <a:gd name="T21" fmla="*/ 2147483646 h 181"/>
              <a:gd name="T22" fmla="*/ 2147483646 w 90"/>
              <a:gd name="T23" fmla="*/ 2147483646 h 181"/>
              <a:gd name="T24" fmla="*/ 2147483646 w 90"/>
              <a:gd name="T25" fmla="*/ 2147483646 h 181"/>
              <a:gd name="T26" fmla="*/ 2147483646 w 90"/>
              <a:gd name="T27" fmla="*/ 2147483646 h 181"/>
              <a:gd name="T28" fmla="*/ 2147483646 w 90"/>
              <a:gd name="T29" fmla="*/ 2147483646 h 181"/>
              <a:gd name="T30" fmla="*/ 2147483646 w 90"/>
              <a:gd name="T31" fmla="*/ 2147483646 h 181"/>
              <a:gd name="T32" fmla="*/ 2147483646 w 90"/>
              <a:gd name="T33" fmla="*/ 2147483646 h 181"/>
              <a:gd name="T34" fmla="*/ 2147483646 w 90"/>
              <a:gd name="T35" fmla="*/ 2147483646 h 181"/>
              <a:gd name="T36" fmla="*/ 2147483646 w 90"/>
              <a:gd name="T37" fmla="*/ 2147483646 h 181"/>
              <a:gd name="T38" fmla="*/ 2147483646 w 90"/>
              <a:gd name="T39" fmla="*/ 2147483646 h 181"/>
              <a:gd name="T40" fmla="*/ 2147483646 w 90"/>
              <a:gd name="T41" fmla="*/ 2147483646 h 181"/>
              <a:gd name="T42" fmla="*/ 2147483646 w 90"/>
              <a:gd name="T43" fmla="*/ 2147483646 h 181"/>
              <a:gd name="T44" fmla="*/ 2147483646 w 90"/>
              <a:gd name="T45" fmla="*/ 2147483646 h 181"/>
              <a:gd name="T46" fmla="*/ 2147483646 w 90"/>
              <a:gd name="T47" fmla="*/ 2147483646 h 181"/>
              <a:gd name="T48" fmla="*/ 2147483646 w 90"/>
              <a:gd name="T49" fmla="*/ 2147483646 h 181"/>
              <a:gd name="T50" fmla="*/ 2147483646 w 90"/>
              <a:gd name="T51" fmla="*/ 2147483646 h 181"/>
              <a:gd name="T52" fmla="*/ 2147483646 w 90"/>
              <a:gd name="T53" fmla="*/ 2147483646 h 181"/>
              <a:gd name="T54" fmla="*/ 2147483646 w 90"/>
              <a:gd name="T55" fmla="*/ 2147483646 h 181"/>
              <a:gd name="T56" fmla="*/ 2147483646 w 90"/>
              <a:gd name="T57" fmla="*/ 2147483646 h 181"/>
              <a:gd name="T58" fmla="*/ 2147483646 w 90"/>
              <a:gd name="T59" fmla="*/ 2147483646 h 181"/>
              <a:gd name="T60" fmla="*/ 2147483646 w 90"/>
              <a:gd name="T61" fmla="*/ 2147483646 h 181"/>
              <a:gd name="T62" fmla="*/ 2147483646 w 90"/>
              <a:gd name="T63" fmla="*/ 2147483646 h 181"/>
              <a:gd name="T64" fmla="*/ 2147483646 w 90"/>
              <a:gd name="T65" fmla="*/ 2147483646 h 181"/>
              <a:gd name="T66" fmla="*/ 2147483646 w 90"/>
              <a:gd name="T67" fmla="*/ 2147483646 h 181"/>
              <a:gd name="T68" fmla="*/ 2147483646 w 90"/>
              <a:gd name="T69" fmla="*/ 2147483646 h 181"/>
              <a:gd name="T70" fmla="*/ 2147483646 w 90"/>
              <a:gd name="T71" fmla="*/ 2147483646 h 181"/>
              <a:gd name="T72" fmla="*/ 2147483646 w 90"/>
              <a:gd name="T73" fmla="*/ 2147483646 h 18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90"/>
              <a:gd name="T112" fmla="*/ 0 h 181"/>
              <a:gd name="T113" fmla="*/ 90 w 90"/>
              <a:gd name="T114" fmla="*/ 181 h 181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90" h="181">
                <a:moveTo>
                  <a:pt x="62" y="172"/>
                </a:moveTo>
                <a:cubicBezTo>
                  <a:pt x="62" y="173"/>
                  <a:pt x="61" y="174"/>
                  <a:pt x="60" y="175"/>
                </a:cubicBezTo>
                <a:cubicBezTo>
                  <a:pt x="55" y="180"/>
                  <a:pt x="57" y="179"/>
                  <a:pt x="48" y="174"/>
                </a:cubicBezTo>
                <a:cubicBezTo>
                  <a:pt x="40" y="168"/>
                  <a:pt x="40" y="170"/>
                  <a:pt x="27" y="175"/>
                </a:cubicBezTo>
                <a:cubicBezTo>
                  <a:pt x="14" y="181"/>
                  <a:pt x="24" y="164"/>
                  <a:pt x="24" y="164"/>
                </a:cubicBezTo>
                <a:cubicBezTo>
                  <a:pt x="24" y="164"/>
                  <a:pt x="26" y="155"/>
                  <a:pt x="26" y="150"/>
                </a:cubicBezTo>
                <a:cubicBezTo>
                  <a:pt x="26" y="144"/>
                  <a:pt x="26" y="143"/>
                  <a:pt x="24" y="139"/>
                </a:cubicBezTo>
                <a:cubicBezTo>
                  <a:pt x="22" y="135"/>
                  <a:pt x="25" y="132"/>
                  <a:pt x="23" y="124"/>
                </a:cubicBezTo>
                <a:cubicBezTo>
                  <a:pt x="20" y="115"/>
                  <a:pt x="19" y="130"/>
                  <a:pt x="17" y="119"/>
                </a:cubicBezTo>
                <a:cubicBezTo>
                  <a:pt x="16" y="108"/>
                  <a:pt x="14" y="120"/>
                  <a:pt x="7" y="119"/>
                </a:cubicBezTo>
                <a:cubicBezTo>
                  <a:pt x="0" y="117"/>
                  <a:pt x="7" y="113"/>
                  <a:pt x="12" y="104"/>
                </a:cubicBezTo>
                <a:cubicBezTo>
                  <a:pt x="16" y="94"/>
                  <a:pt x="20" y="79"/>
                  <a:pt x="24" y="64"/>
                </a:cubicBezTo>
                <a:cubicBezTo>
                  <a:pt x="28" y="48"/>
                  <a:pt x="31" y="39"/>
                  <a:pt x="28" y="24"/>
                </a:cubicBezTo>
                <a:cubicBezTo>
                  <a:pt x="25" y="8"/>
                  <a:pt x="27" y="13"/>
                  <a:pt x="29" y="8"/>
                </a:cubicBezTo>
                <a:cubicBezTo>
                  <a:pt x="29" y="7"/>
                  <a:pt x="29" y="6"/>
                  <a:pt x="29" y="6"/>
                </a:cubicBezTo>
                <a:cubicBezTo>
                  <a:pt x="30" y="5"/>
                  <a:pt x="30" y="5"/>
                  <a:pt x="30" y="5"/>
                </a:cubicBezTo>
                <a:cubicBezTo>
                  <a:pt x="33" y="4"/>
                  <a:pt x="35" y="0"/>
                  <a:pt x="37" y="1"/>
                </a:cubicBezTo>
                <a:cubicBezTo>
                  <a:pt x="39" y="1"/>
                  <a:pt x="39" y="3"/>
                  <a:pt x="40" y="4"/>
                </a:cubicBezTo>
                <a:cubicBezTo>
                  <a:pt x="41" y="5"/>
                  <a:pt x="42" y="6"/>
                  <a:pt x="43" y="7"/>
                </a:cubicBezTo>
                <a:cubicBezTo>
                  <a:pt x="44" y="9"/>
                  <a:pt x="43" y="13"/>
                  <a:pt x="43" y="15"/>
                </a:cubicBezTo>
                <a:cubicBezTo>
                  <a:pt x="45" y="15"/>
                  <a:pt x="46" y="14"/>
                  <a:pt x="48" y="14"/>
                </a:cubicBezTo>
                <a:cubicBezTo>
                  <a:pt x="51" y="13"/>
                  <a:pt x="52" y="15"/>
                  <a:pt x="55" y="15"/>
                </a:cubicBezTo>
                <a:cubicBezTo>
                  <a:pt x="60" y="16"/>
                  <a:pt x="63" y="10"/>
                  <a:pt x="69" y="10"/>
                </a:cubicBezTo>
                <a:cubicBezTo>
                  <a:pt x="71" y="10"/>
                  <a:pt x="72" y="11"/>
                  <a:pt x="74" y="10"/>
                </a:cubicBezTo>
                <a:cubicBezTo>
                  <a:pt x="77" y="10"/>
                  <a:pt x="79" y="8"/>
                  <a:pt x="81" y="9"/>
                </a:cubicBezTo>
                <a:cubicBezTo>
                  <a:pt x="83" y="10"/>
                  <a:pt x="90" y="18"/>
                  <a:pt x="90" y="21"/>
                </a:cubicBezTo>
                <a:cubicBezTo>
                  <a:pt x="90" y="24"/>
                  <a:pt x="83" y="28"/>
                  <a:pt x="81" y="31"/>
                </a:cubicBezTo>
                <a:cubicBezTo>
                  <a:pt x="79" y="34"/>
                  <a:pt x="77" y="37"/>
                  <a:pt x="75" y="41"/>
                </a:cubicBezTo>
                <a:cubicBezTo>
                  <a:pt x="74" y="44"/>
                  <a:pt x="72" y="48"/>
                  <a:pt x="73" y="51"/>
                </a:cubicBezTo>
                <a:cubicBezTo>
                  <a:pt x="73" y="54"/>
                  <a:pt x="74" y="54"/>
                  <a:pt x="75" y="56"/>
                </a:cubicBezTo>
                <a:cubicBezTo>
                  <a:pt x="76" y="59"/>
                  <a:pt x="71" y="65"/>
                  <a:pt x="75" y="66"/>
                </a:cubicBezTo>
                <a:cubicBezTo>
                  <a:pt x="76" y="72"/>
                  <a:pt x="69" y="78"/>
                  <a:pt x="72" y="83"/>
                </a:cubicBezTo>
                <a:cubicBezTo>
                  <a:pt x="68" y="85"/>
                  <a:pt x="64" y="91"/>
                  <a:pt x="63" y="95"/>
                </a:cubicBezTo>
                <a:cubicBezTo>
                  <a:pt x="63" y="100"/>
                  <a:pt x="69" y="104"/>
                  <a:pt x="71" y="110"/>
                </a:cubicBezTo>
                <a:cubicBezTo>
                  <a:pt x="72" y="114"/>
                  <a:pt x="67" y="119"/>
                  <a:pt x="68" y="125"/>
                </a:cubicBezTo>
                <a:cubicBezTo>
                  <a:pt x="68" y="129"/>
                  <a:pt x="71" y="131"/>
                  <a:pt x="71" y="135"/>
                </a:cubicBezTo>
                <a:cubicBezTo>
                  <a:pt x="70" y="146"/>
                  <a:pt x="52" y="161"/>
                  <a:pt x="62" y="17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48" name="Freeform 482"/>
          <p:cNvSpPr>
            <a:spLocks/>
          </p:cNvSpPr>
          <p:nvPr userDrawn="1"/>
        </p:nvSpPr>
        <p:spPr bwMode="auto">
          <a:xfrm>
            <a:off x="6199221" y="2582463"/>
            <a:ext cx="53603" cy="51928"/>
          </a:xfrm>
          <a:custGeom>
            <a:avLst/>
            <a:gdLst>
              <a:gd name="T0" fmla="*/ 2147483646 w 57"/>
              <a:gd name="T1" fmla="*/ 0 h 55"/>
              <a:gd name="T2" fmla="*/ 2147483646 w 57"/>
              <a:gd name="T3" fmla="*/ 2147483646 h 55"/>
              <a:gd name="T4" fmla="*/ 2147483646 w 57"/>
              <a:gd name="T5" fmla="*/ 2147483646 h 55"/>
              <a:gd name="T6" fmla="*/ 2147483646 w 57"/>
              <a:gd name="T7" fmla="*/ 2147483646 h 55"/>
              <a:gd name="T8" fmla="*/ 2147483646 w 57"/>
              <a:gd name="T9" fmla="*/ 2147483646 h 55"/>
              <a:gd name="T10" fmla="*/ 0 w 57"/>
              <a:gd name="T11" fmla="*/ 2147483646 h 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7"/>
              <a:gd name="T19" fmla="*/ 0 h 55"/>
              <a:gd name="T20" fmla="*/ 57 w 57"/>
              <a:gd name="T21" fmla="*/ 55 h 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7" h="55">
                <a:moveTo>
                  <a:pt x="57" y="0"/>
                </a:moveTo>
                <a:cubicBezTo>
                  <a:pt x="54" y="14"/>
                  <a:pt x="54" y="19"/>
                  <a:pt x="41" y="26"/>
                </a:cubicBezTo>
                <a:cubicBezTo>
                  <a:pt x="36" y="29"/>
                  <a:pt x="30" y="30"/>
                  <a:pt x="24" y="33"/>
                </a:cubicBezTo>
                <a:cubicBezTo>
                  <a:pt x="15" y="37"/>
                  <a:pt x="15" y="40"/>
                  <a:pt x="11" y="44"/>
                </a:cubicBezTo>
                <a:cubicBezTo>
                  <a:pt x="8" y="48"/>
                  <a:pt x="6" y="50"/>
                  <a:pt x="2" y="53"/>
                </a:cubicBezTo>
                <a:cubicBezTo>
                  <a:pt x="1" y="54"/>
                  <a:pt x="1" y="55"/>
                  <a:pt x="0" y="55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49" name="Freeform 483"/>
          <p:cNvSpPr>
            <a:spLocks/>
          </p:cNvSpPr>
          <p:nvPr userDrawn="1"/>
        </p:nvSpPr>
        <p:spPr bwMode="auto">
          <a:xfrm>
            <a:off x="6199221" y="2582463"/>
            <a:ext cx="53603" cy="51928"/>
          </a:xfrm>
          <a:custGeom>
            <a:avLst/>
            <a:gdLst>
              <a:gd name="T0" fmla="*/ 2147483646 w 57"/>
              <a:gd name="T1" fmla="*/ 0 h 55"/>
              <a:gd name="T2" fmla="*/ 2147483646 w 57"/>
              <a:gd name="T3" fmla="*/ 2147483646 h 55"/>
              <a:gd name="T4" fmla="*/ 2147483646 w 57"/>
              <a:gd name="T5" fmla="*/ 2147483646 h 55"/>
              <a:gd name="T6" fmla="*/ 2147483646 w 57"/>
              <a:gd name="T7" fmla="*/ 2147483646 h 55"/>
              <a:gd name="T8" fmla="*/ 2147483646 w 57"/>
              <a:gd name="T9" fmla="*/ 2147483646 h 55"/>
              <a:gd name="T10" fmla="*/ 0 w 57"/>
              <a:gd name="T11" fmla="*/ 2147483646 h 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7"/>
              <a:gd name="T19" fmla="*/ 0 h 55"/>
              <a:gd name="T20" fmla="*/ 57 w 57"/>
              <a:gd name="T21" fmla="*/ 55 h 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7" h="55">
                <a:moveTo>
                  <a:pt x="57" y="0"/>
                </a:moveTo>
                <a:cubicBezTo>
                  <a:pt x="54" y="14"/>
                  <a:pt x="54" y="19"/>
                  <a:pt x="41" y="26"/>
                </a:cubicBezTo>
                <a:cubicBezTo>
                  <a:pt x="36" y="29"/>
                  <a:pt x="30" y="30"/>
                  <a:pt x="24" y="33"/>
                </a:cubicBezTo>
                <a:cubicBezTo>
                  <a:pt x="15" y="37"/>
                  <a:pt x="15" y="40"/>
                  <a:pt x="11" y="44"/>
                </a:cubicBezTo>
                <a:cubicBezTo>
                  <a:pt x="8" y="48"/>
                  <a:pt x="6" y="50"/>
                  <a:pt x="2" y="53"/>
                </a:cubicBezTo>
                <a:cubicBezTo>
                  <a:pt x="1" y="54"/>
                  <a:pt x="1" y="55"/>
                  <a:pt x="0" y="55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50" name="Freeform 484"/>
          <p:cNvSpPr>
            <a:spLocks/>
          </p:cNvSpPr>
          <p:nvPr userDrawn="1"/>
        </p:nvSpPr>
        <p:spPr bwMode="auto">
          <a:xfrm>
            <a:off x="5633041" y="2480281"/>
            <a:ext cx="626484" cy="777243"/>
          </a:xfrm>
          <a:custGeom>
            <a:avLst/>
            <a:gdLst>
              <a:gd name="T0" fmla="*/ 2147483646 w 671"/>
              <a:gd name="T1" fmla="*/ 2147483646 h 832"/>
              <a:gd name="T2" fmla="*/ 2147483646 w 671"/>
              <a:gd name="T3" fmla="*/ 2147483646 h 832"/>
              <a:gd name="T4" fmla="*/ 2147483646 w 671"/>
              <a:gd name="T5" fmla="*/ 2147483646 h 832"/>
              <a:gd name="T6" fmla="*/ 2147483646 w 671"/>
              <a:gd name="T7" fmla="*/ 2147483646 h 832"/>
              <a:gd name="T8" fmla="*/ 2147483646 w 671"/>
              <a:gd name="T9" fmla="*/ 2147483646 h 832"/>
              <a:gd name="T10" fmla="*/ 2147483646 w 671"/>
              <a:gd name="T11" fmla="*/ 2147483646 h 832"/>
              <a:gd name="T12" fmla="*/ 2147483646 w 671"/>
              <a:gd name="T13" fmla="*/ 2147483646 h 832"/>
              <a:gd name="T14" fmla="*/ 2147483646 w 671"/>
              <a:gd name="T15" fmla="*/ 2147483646 h 832"/>
              <a:gd name="T16" fmla="*/ 2147483646 w 671"/>
              <a:gd name="T17" fmla="*/ 2147483646 h 832"/>
              <a:gd name="T18" fmla="*/ 2147483646 w 671"/>
              <a:gd name="T19" fmla="*/ 2147483646 h 832"/>
              <a:gd name="T20" fmla="*/ 2147483646 w 671"/>
              <a:gd name="T21" fmla="*/ 2147483646 h 832"/>
              <a:gd name="T22" fmla="*/ 2147483646 w 671"/>
              <a:gd name="T23" fmla="*/ 2147483646 h 832"/>
              <a:gd name="T24" fmla="*/ 2147483646 w 671"/>
              <a:gd name="T25" fmla="*/ 2147483646 h 832"/>
              <a:gd name="T26" fmla="*/ 2147483646 w 671"/>
              <a:gd name="T27" fmla="*/ 2147483646 h 832"/>
              <a:gd name="T28" fmla="*/ 2147483646 w 671"/>
              <a:gd name="T29" fmla="*/ 2147483646 h 832"/>
              <a:gd name="T30" fmla="*/ 2147483646 w 671"/>
              <a:gd name="T31" fmla="*/ 2147483646 h 832"/>
              <a:gd name="T32" fmla="*/ 2147483646 w 671"/>
              <a:gd name="T33" fmla="*/ 2147483646 h 832"/>
              <a:gd name="T34" fmla="*/ 2147483646 w 671"/>
              <a:gd name="T35" fmla="*/ 2147483646 h 832"/>
              <a:gd name="T36" fmla="*/ 2147483646 w 671"/>
              <a:gd name="T37" fmla="*/ 2147483646 h 832"/>
              <a:gd name="T38" fmla="*/ 2147483646 w 671"/>
              <a:gd name="T39" fmla="*/ 2147483646 h 832"/>
              <a:gd name="T40" fmla="*/ 2147483646 w 671"/>
              <a:gd name="T41" fmla="*/ 2147483646 h 832"/>
              <a:gd name="T42" fmla="*/ 2147483646 w 671"/>
              <a:gd name="T43" fmla="*/ 2147483646 h 832"/>
              <a:gd name="T44" fmla="*/ 2147483646 w 671"/>
              <a:gd name="T45" fmla="*/ 2147483646 h 832"/>
              <a:gd name="T46" fmla="*/ 2147483646 w 671"/>
              <a:gd name="T47" fmla="*/ 2147483646 h 832"/>
              <a:gd name="T48" fmla="*/ 2147483646 w 671"/>
              <a:gd name="T49" fmla="*/ 2147483646 h 832"/>
              <a:gd name="T50" fmla="*/ 2147483646 w 671"/>
              <a:gd name="T51" fmla="*/ 2147483646 h 832"/>
              <a:gd name="T52" fmla="*/ 2147483646 w 671"/>
              <a:gd name="T53" fmla="*/ 2147483646 h 832"/>
              <a:gd name="T54" fmla="*/ 2147483646 w 671"/>
              <a:gd name="T55" fmla="*/ 2147483646 h 832"/>
              <a:gd name="T56" fmla="*/ 2147483646 w 671"/>
              <a:gd name="T57" fmla="*/ 2147483646 h 832"/>
              <a:gd name="T58" fmla="*/ 2147483646 w 671"/>
              <a:gd name="T59" fmla="*/ 2147483646 h 832"/>
              <a:gd name="T60" fmla="*/ 2147483646 w 671"/>
              <a:gd name="T61" fmla="*/ 2147483646 h 832"/>
              <a:gd name="T62" fmla="*/ 2147483646 w 671"/>
              <a:gd name="T63" fmla="*/ 2147483646 h 832"/>
              <a:gd name="T64" fmla="*/ 2147483646 w 671"/>
              <a:gd name="T65" fmla="*/ 2147483646 h 832"/>
              <a:gd name="T66" fmla="*/ 2147483646 w 671"/>
              <a:gd name="T67" fmla="*/ 2147483646 h 832"/>
              <a:gd name="T68" fmla="*/ 2147483646 w 671"/>
              <a:gd name="T69" fmla="*/ 2147483646 h 832"/>
              <a:gd name="T70" fmla="*/ 2147483646 w 671"/>
              <a:gd name="T71" fmla="*/ 2147483646 h 832"/>
              <a:gd name="T72" fmla="*/ 2147483646 w 671"/>
              <a:gd name="T73" fmla="*/ 2147483646 h 832"/>
              <a:gd name="T74" fmla="*/ 2147483646 w 671"/>
              <a:gd name="T75" fmla="*/ 2147483646 h 832"/>
              <a:gd name="T76" fmla="*/ 2147483646 w 671"/>
              <a:gd name="T77" fmla="*/ 2147483646 h 832"/>
              <a:gd name="T78" fmla="*/ 2147483646 w 671"/>
              <a:gd name="T79" fmla="*/ 2147483646 h 832"/>
              <a:gd name="T80" fmla="*/ 2147483646 w 671"/>
              <a:gd name="T81" fmla="*/ 2147483646 h 832"/>
              <a:gd name="T82" fmla="*/ 2147483646 w 671"/>
              <a:gd name="T83" fmla="*/ 2147483646 h 832"/>
              <a:gd name="T84" fmla="*/ 2147483646 w 671"/>
              <a:gd name="T85" fmla="*/ 2147483646 h 832"/>
              <a:gd name="T86" fmla="*/ 2147483646 w 671"/>
              <a:gd name="T87" fmla="*/ 2147483646 h 832"/>
              <a:gd name="T88" fmla="*/ 2147483646 w 671"/>
              <a:gd name="T89" fmla="*/ 2147483646 h 832"/>
              <a:gd name="T90" fmla="*/ 2147483646 w 671"/>
              <a:gd name="T91" fmla="*/ 2147483646 h 832"/>
              <a:gd name="T92" fmla="*/ 2147483646 w 671"/>
              <a:gd name="T93" fmla="*/ 2147483646 h 832"/>
              <a:gd name="T94" fmla="*/ 2147483646 w 671"/>
              <a:gd name="T95" fmla="*/ 2147483646 h 832"/>
              <a:gd name="T96" fmla="*/ 2147483646 w 671"/>
              <a:gd name="T97" fmla="*/ 2147483646 h 832"/>
              <a:gd name="T98" fmla="*/ 2147483646 w 671"/>
              <a:gd name="T99" fmla="*/ 2147483646 h 832"/>
              <a:gd name="T100" fmla="*/ 2147483646 w 671"/>
              <a:gd name="T101" fmla="*/ 2147483646 h 832"/>
              <a:gd name="T102" fmla="*/ 2147483646 w 671"/>
              <a:gd name="T103" fmla="*/ 2147483646 h 832"/>
              <a:gd name="T104" fmla="*/ 2147483646 w 671"/>
              <a:gd name="T105" fmla="*/ 2147483646 h 832"/>
              <a:gd name="T106" fmla="*/ 2147483646 w 671"/>
              <a:gd name="T107" fmla="*/ 2147483646 h 832"/>
              <a:gd name="T108" fmla="*/ 2147483646 w 671"/>
              <a:gd name="T109" fmla="*/ 2147483646 h 832"/>
              <a:gd name="T110" fmla="*/ 2147483646 w 671"/>
              <a:gd name="T111" fmla="*/ 2147483646 h 832"/>
              <a:gd name="T112" fmla="*/ 2147483646 w 671"/>
              <a:gd name="T113" fmla="*/ 2147483646 h 832"/>
              <a:gd name="T114" fmla="*/ 2147483646 w 671"/>
              <a:gd name="T115" fmla="*/ 2147483646 h 832"/>
              <a:gd name="T116" fmla="*/ 2147483646 w 671"/>
              <a:gd name="T117" fmla="*/ 2147483646 h 832"/>
              <a:gd name="T118" fmla="*/ 2147483646 w 671"/>
              <a:gd name="T119" fmla="*/ 2147483646 h 832"/>
              <a:gd name="T120" fmla="*/ 2147483646 w 671"/>
              <a:gd name="T121" fmla="*/ 2147483646 h 832"/>
              <a:gd name="T122" fmla="*/ 2147483646 w 671"/>
              <a:gd name="T123" fmla="*/ 2147483646 h 83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71"/>
              <a:gd name="T187" fmla="*/ 0 h 832"/>
              <a:gd name="T188" fmla="*/ 671 w 671"/>
              <a:gd name="T189" fmla="*/ 832 h 83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71" h="832">
                <a:moveTo>
                  <a:pt x="663" y="109"/>
                </a:moveTo>
                <a:cubicBezTo>
                  <a:pt x="660" y="123"/>
                  <a:pt x="661" y="129"/>
                  <a:pt x="648" y="135"/>
                </a:cubicBezTo>
                <a:cubicBezTo>
                  <a:pt x="642" y="138"/>
                  <a:pt x="637" y="140"/>
                  <a:pt x="631" y="143"/>
                </a:cubicBezTo>
                <a:cubicBezTo>
                  <a:pt x="621" y="146"/>
                  <a:pt x="622" y="149"/>
                  <a:pt x="617" y="154"/>
                </a:cubicBezTo>
                <a:cubicBezTo>
                  <a:pt x="614" y="157"/>
                  <a:pt x="612" y="159"/>
                  <a:pt x="610" y="162"/>
                </a:cubicBezTo>
                <a:cubicBezTo>
                  <a:pt x="608" y="164"/>
                  <a:pt x="608" y="164"/>
                  <a:pt x="608" y="164"/>
                </a:cubicBezTo>
                <a:cubicBezTo>
                  <a:pt x="607" y="161"/>
                  <a:pt x="607" y="161"/>
                  <a:pt x="607" y="161"/>
                </a:cubicBezTo>
                <a:cubicBezTo>
                  <a:pt x="604" y="152"/>
                  <a:pt x="608" y="145"/>
                  <a:pt x="611" y="136"/>
                </a:cubicBezTo>
                <a:cubicBezTo>
                  <a:pt x="614" y="123"/>
                  <a:pt x="615" y="121"/>
                  <a:pt x="608" y="109"/>
                </a:cubicBezTo>
                <a:cubicBezTo>
                  <a:pt x="589" y="114"/>
                  <a:pt x="591" y="104"/>
                  <a:pt x="578" y="97"/>
                </a:cubicBezTo>
                <a:cubicBezTo>
                  <a:pt x="570" y="93"/>
                  <a:pt x="564" y="98"/>
                  <a:pt x="555" y="100"/>
                </a:cubicBezTo>
                <a:cubicBezTo>
                  <a:pt x="543" y="103"/>
                  <a:pt x="540" y="106"/>
                  <a:pt x="535" y="119"/>
                </a:cubicBezTo>
                <a:cubicBezTo>
                  <a:pt x="533" y="127"/>
                  <a:pt x="531" y="125"/>
                  <a:pt x="532" y="133"/>
                </a:cubicBezTo>
                <a:cubicBezTo>
                  <a:pt x="532" y="137"/>
                  <a:pt x="536" y="143"/>
                  <a:pt x="537" y="146"/>
                </a:cubicBezTo>
                <a:cubicBezTo>
                  <a:pt x="532" y="151"/>
                  <a:pt x="527" y="156"/>
                  <a:pt x="525" y="162"/>
                </a:cubicBezTo>
                <a:cubicBezTo>
                  <a:pt x="524" y="167"/>
                  <a:pt x="529" y="170"/>
                  <a:pt x="526" y="176"/>
                </a:cubicBezTo>
                <a:cubicBezTo>
                  <a:pt x="526" y="178"/>
                  <a:pt x="517" y="184"/>
                  <a:pt x="514" y="188"/>
                </a:cubicBezTo>
                <a:cubicBezTo>
                  <a:pt x="510" y="194"/>
                  <a:pt x="508" y="203"/>
                  <a:pt x="505" y="210"/>
                </a:cubicBezTo>
                <a:cubicBezTo>
                  <a:pt x="500" y="204"/>
                  <a:pt x="497" y="196"/>
                  <a:pt x="492" y="191"/>
                </a:cubicBezTo>
                <a:cubicBezTo>
                  <a:pt x="489" y="195"/>
                  <a:pt x="485" y="196"/>
                  <a:pt x="481" y="196"/>
                </a:cubicBezTo>
                <a:cubicBezTo>
                  <a:pt x="478" y="184"/>
                  <a:pt x="456" y="202"/>
                  <a:pt x="443" y="194"/>
                </a:cubicBezTo>
                <a:cubicBezTo>
                  <a:pt x="429" y="185"/>
                  <a:pt x="429" y="157"/>
                  <a:pt x="410" y="154"/>
                </a:cubicBezTo>
                <a:cubicBezTo>
                  <a:pt x="407" y="160"/>
                  <a:pt x="409" y="166"/>
                  <a:pt x="407" y="172"/>
                </a:cubicBezTo>
                <a:cubicBezTo>
                  <a:pt x="402" y="157"/>
                  <a:pt x="384" y="164"/>
                  <a:pt x="378" y="173"/>
                </a:cubicBezTo>
                <a:cubicBezTo>
                  <a:pt x="403" y="186"/>
                  <a:pt x="365" y="200"/>
                  <a:pt x="380" y="212"/>
                </a:cubicBezTo>
                <a:cubicBezTo>
                  <a:pt x="372" y="213"/>
                  <a:pt x="366" y="212"/>
                  <a:pt x="359" y="210"/>
                </a:cubicBezTo>
                <a:cubicBezTo>
                  <a:pt x="352" y="207"/>
                  <a:pt x="348" y="202"/>
                  <a:pt x="340" y="206"/>
                </a:cubicBezTo>
                <a:cubicBezTo>
                  <a:pt x="326" y="212"/>
                  <a:pt x="332" y="232"/>
                  <a:pt x="324" y="244"/>
                </a:cubicBezTo>
                <a:cubicBezTo>
                  <a:pt x="313" y="232"/>
                  <a:pt x="299" y="250"/>
                  <a:pt x="293" y="260"/>
                </a:cubicBezTo>
                <a:cubicBezTo>
                  <a:pt x="290" y="265"/>
                  <a:pt x="291" y="271"/>
                  <a:pt x="289" y="278"/>
                </a:cubicBezTo>
                <a:cubicBezTo>
                  <a:pt x="286" y="285"/>
                  <a:pt x="279" y="291"/>
                  <a:pt x="275" y="297"/>
                </a:cubicBezTo>
                <a:cubicBezTo>
                  <a:pt x="279" y="298"/>
                  <a:pt x="282" y="301"/>
                  <a:pt x="285" y="302"/>
                </a:cubicBezTo>
                <a:cubicBezTo>
                  <a:pt x="272" y="318"/>
                  <a:pt x="260" y="347"/>
                  <a:pt x="260" y="368"/>
                </a:cubicBezTo>
                <a:cubicBezTo>
                  <a:pt x="249" y="366"/>
                  <a:pt x="233" y="354"/>
                  <a:pt x="234" y="377"/>
                </a:cubicBezTo>
                <a:cubicBezTo>
                  <a:pt x="234" y="382"/>
                  <a:pt x="240" y="386"/>
                  <a:pt x="240" y="393"/>
                </a:cubicBezTo>
                <a:cubicBezTo>
                  <a:pt x="240" y="402"/>
                  <a:pt x="234" y="414"/>
                  <a:pt x="232" y="423"/>
                </a:cubicBezTo>
                <a:cubicBezTo>
                  <a:pt x="228" y="436"/>
                  <a:pt x="220" y="456"/>
                  <a:pt x="221" y="469"/>
                </a:cubicBezTo>
                <a:cubicBezTo>
                  <a:pt x="222" y="480"/>
                  <a:pt x="236" y="489"/>
                  <a:pt x="226" y="501"/>
                </a:cubicBezTo>
                <a:cubicBezTo>
                  <a:pt x="220" y="498"/>
                  <a:pt x="207" y="493"/>
                  <a:pt x="200" y="494"/>
                </a:cubicBezTo>
                <a:cubicBezTo>
                  <a:pt x="187" y="496"/>
                  <a:pt x="187" y="513"/>
                  <a:pt x="185" y="524"/>
                </a:cubicBezTo>
                <a:cubicBezTo>
                  <a:pt x="183" y="536"/>
                  <a:pt x="178" y="551"/>
                  <a:pt x="177" y="562"/>
                </a:cubicBezTo>
                <a:cubicBezTo>
                  <a:pt x="177" y="575"/>
                  <a:pt x="182" y="572"/>
                  <a:pt x="186" y="583"/>
                </a:cubicBezTo>
                <a:cubicBezTo>
                  <a:pt x="192" y="600"/>
                  <a:pt x="180" y="621"/>
                  <a:pt x="187" y="637"/>
                </a:cubicBezTo>
                <a:cubicBezTo>
                  <a:pt x="191" y="646"/>
                  <a:pt x="201" y="650"/>
                  <a:pt x="201" y="661"/>
                </a:cubicBezTo>
                <a:cubicBezTo>
                  <a:pt x="201" y="668"/>
                  <a:pt x="195" y="678"/>
                  <a:pt x="189" y="676"/>
                </a:cubicBezTo>
                <a:cubicBezTo>
                  <a:pt x="194" y="696"/>
                  <a:pt x="207" y="725"/>
                  <a:pt x="189" y="739"/>
                </a:cubicBezTo>
                <a:cubicBezTo>
                  <a:pt x="181" y="745"/>
                  <a:pt x="176" y="744"/>
                  <a:pt x="173" y="758"/>
                </a:cubicBezTo>
                <a:cubicBezTo>
                  <a:pt x="171" y="768"/>
                  <a:pt x="173" y="780"/>
                  <a:pt x="164" y="785"/>
                </a:cubicBezTo>
                <a:cubicBezTo>
                  <a:pt x="163" y="782"/>
                  <a:pt x="161" y="779"/>
                  <a:pt x="159" y="777"/>
                </a:cubicBezTo>
                <a:cubicBezTo>
                  <a:pt x="157" y="775"/>
                  <a:pt x="157" y="775"/>
                  <a:pt x="157" y="775"/>
                </a:cubicBezTo>
                <a:cubicBezTo>
                  <a:pt x="157" y="775"/>
                  <a:pt x="158" y="769"/>
                  <a:pt x="153" y="770"/>
                </a:cubicBezTo>
                <a:cubicBezTo>
                  <a:pt x="149" y="771"/>
                  <a:pt x="146" y="774"/>
                  <a:pt x="145" y="766"/>
                </a:cubicBezTo>
                <a:cubicBezTo>
                  <a:pt x="144" y="758"/>
                  <a:pt x="145" y="751"/>
                  <a:pt x="145" y="751"/>
                </a:cubicBezTo>
                <a:cubicBezTo>
                  <a:pt x="145" y="751"/>
                  <a:pt x="148" y="731"/>
                  <a:pt x="143" y="733"/>
                </a:cubicBezTo>
                <a:cubicBezTo>
                  <a:pt x="138" y="735"/>
                  <a:pt x="135" y="737"/>
                  <a:pt x="137" y="742"/>
                </a:cubicBezTo>
                <a:cubicBezTo>
                  <a:pt x="140" y="746"/>
                  <a:pt x="137" y="751"/>
                  <a:pt x="137" y="751"/>
                </a:cubicBezTo>
                <a:cubicBezTo>
                  <a:pt x="140" y="758"/>
                  <a:pt x="140" y="758"/>
                  <a:pt x="140" y="758"/>
                </a:cubicBezTo>
                <a:cubicBezTo>
                  <a:pt x="139" y="762"/>
                  <a:pt x="139" y="762"/>
                  <a:pt x="139" y="762"/>
                </a:cubicBezTo>
                <a:cubicBezTo>
                  <a:pt x="139" y="762"/>
                  <a:pt x="147" y="766"/>
                  <a:pt x="137" y="772"/>
                </a:cubicBezTo>
                <a:cubicBezTo>
                  <a:pt x="128" y="779"/>
                  <a:pt x="122" y="782"/>
                  <a:pt x="119" y="781"/>
                </a:cubicBezTo>
                <a:cubicBezTo>
                  <a:pt x="117" y="779"/>
                  <a:pt x="114" y="786"/>
                  <a:pt x="114" y="786"/>
                </a:cubicBezTo>
                <a:cubicBezTo>
                  <a:pt x="112" y="795"/>
                  <a:pt x="112" y="795"/>
                  <a:pt x="112" y="795"/>
                </a:cubicBezTo>
                <a:cubicBezTo>
                  <a:pt x="112" y="795"/>
                  <a:pt x="99" y="814"/>
                  <a:pt x="97" y="813"/>
                </a:cubicBezTo>
                <a:cubicBezTo>
                  <a:pt x="94" y="812"/>
                  <a:pt x="90" y="811"/>
                  <a:pt x="90" y="811"/>
                </a:cubicBezTo>
                <a:cubicBezTo>
                  <a:pt x="80" y="821"/>
                  <a:pt x="80" y="821"/>
                  <a:pt x="80" y="821"/>
                </a:cubicBezTo>
                <a:cubicBezTo>
                  <a:pt x="69" y="824"/>
                  <a:pt x="69" y="824"/>
                  <a:pt x="69" y="824"/>
                </a:cubicBezTo>
                <a:cubicBezTo>
                  <a:pt x="57" y="828"/>
                  <a:pt x="57" y="828"/>
                  <a:pt x="57" y="828"/>
                </a:cubicBezTo>
                <a:cubicBezTo>
                  <a:pt x="57" y="828"/>
                  <a:pt x="52" y="832"/>
                  <a:pt x="48" y="829"/>
                </a:cubicBezTo>
                <a:cubicBezTo>
                  <a:pt x="44" y="825"/>
                  <a:pt x="43" y="816"/>
                  <a:pt x="43" y="816"/>
                </a:cubicBezTo>
                <a:cubicBezTo>
                  <a:pt x="43" y="816"/>
                  <a:pt x="38" y="811"/>
                  <a:pt x="31" y="810"/>
                </a:cubicBezTo>
                <a:cubicBezTo>
                  <a:pt x="23" y="808"/>
                  <a:pt x="19" y="807"/>
                  <a:pt x="17" y="805"/>
                </a:cubicBezTo>
                <a:cubicBezTo>
                  <a:pt x="15" y="802"/>
                  <a:pt x="12" y="799"/>
                  <a:pt x="12" y="795"/>
                </a:cubicBezTo>
                <a:cubicBezTo>
                  <a:pt x="13" y="791"/>
                  <a:pt x="12" y="784"/>
                  <a:pt x="17" y="782"/>
                </a:cubicBezTo>
                <a:cubicBezTo>
                  <a:pt x="23" y="781"/>
                  <a:pt x="29" y="786"/>
                  <a:pt x="29" y="786"/>
                </a:cubicBezTo>
                <a:cubicBezTo>
                  <a:pt x="31" y="779"/>
                  <a:pt x="31" y="779"/>
                  <a:pt x="31" y="779"/>
                </a:cubicBezTo>
                <a:cubicBezTo>
                  <a:pt x="31" y="779"/>
                  <a:pt x="29" y="777"/>
                  <a:pt x="27" y="775"/>
                </a:cubicBezTo>
                <a:cubicBezTo>
                  <a:pt x="26" y="772"/>
                  <a:pt x="32" y="761"/>
                  <a:pt x="33" y="757"/>
                </a:cubicBezTo>
                <a:cubicBezTo>
                  <a:pt x="33" y="753"/>
                  <a:pt x="33" y="751"/>
                  <a:pt x="33" y="751"/>
                </a:cubicBezTo>
                <a:cubicBezTo>
                  <a:pt x="33" y="751"/>
                  <a:pt x="28" y="755"/>
                  <a:pt x="25" y="758"/>
                </a:cubicBezTo>
                <a:cubicBezTo>
                  <a:pt x="23" y="762"/>
                  <a:pt x="18" y="759"/>
                  <a:pt x="15" y="763"/>
                </a:cubicBezTo>
                <a:cubicBezTo>
                  <a:pt x="12" y="767"/>
                  <a:pt x="8" y="772"/>
                  <a:pt x="6" y="766"/>
                </a:cubicBezTo>
                <a:cubicBezTo>
                  <a:pt x="4" y="759"/>
                  <a:pt x="6" y="748"/>
                  <a:pt x="9" y="748"/>
                </a:cubicBezTo>
                <a:cubicBezTo>
                  <a:pt x="11" y="748"/>
                  <a:pt x="13" y="743"/>
                  <a:pt x="15" y="747"/>
                </a:cubicBezTo>
                <a:cubicBezTo>
                  <a:pt x="17" y="752"/>
                  <a:pt x="16" y="748"/>
                  <a:pt x="20" y="747"/>
                </a:cubicBezTo>
                <a:cubicBezTo>
                  <a:pt x="23" y="746"/>
                  <a:pt x="36" y="738"/>
                  <a:pt x="31" y="737"/>
                </a:cubicBezTo>
                <a:cubicBezTo>
                  <a:pt x="26" y="737"/>
                  <a:pt x="22" y="738"/>
                  <a:pt x="24" y="735"/>
                </a:cubicBezTo>
                <a:cubicBezTo>
                  <a:pt x="27" y="731"/>
                  <a:pt x="28" y="730"/>
                  <a:pt x="30" y="726"/>
                </a:cubicBezTo>
                <a:cubicBezTo>
                  <a:pt x="32" y="723"/>
                  <a:pt x="27" y="724"/>
                  <a:pt x="32" y="718"/>
                </a:cubicBezTo>
                <a:cubicBezTo>
                  <a:pt x="37" y="712"/>
                  <a:pt x="41" y="698"/>
                  <a:pt x="43" y="702"/>
                </a:cubicBezTo>
                <a:cubicBezTo>
                  <a:pt x="45" y="705"/>
                  <a:pt x="49" y="697"/>
                  <a:pt x="49" y="697"/>
                </a:cubicBezTo>
                <a:cubicBezTo>
                  <a:pt x="49" y="697"/>
                  <a:pt x="41" y="692"/>
                  <a:pt x="39" y="695"/>
                </a:cubicBezTo>
                <a:cubicBezTo>
                  <a:pt x="36" y="698"/>
                  <a:pt x="33" y="699"/>
                  <a:pt x="33" y="702"/>
                </a:cubicBezTo>
                <a:cubicBezTo>
                  <a:pt x="32" y="705"/>
                  <a:pt x="32" y="707"/>
                  <a:pt x="31" y="710"/>
                </a:cubicBezTo>
                <a:cubicBezTo>
                  <a:pt x="30" y="713"/>
                  <a:pt x="34" y="712"/>
                  <a:pt x="26" y="718"/>
                </a:cubicBezTo>
                <a:cubicBezTo>
                  <a:pt x="19" y="723"/>
                  <a:pt x="11" y="722"/>
                  <a:pt x="10" y="719"/>
                </a:cubicBezTo>
                <a:cubicBezTo>
                  <a:pt x="10" y="717"/>
                  <a:pt x="14" y="715"/>
                  <a:pt x="9" y="716"/>
                </a:cubicBezTo>
                <a:cubicBezTo>
                  <a:pt x="4" y="716"/>
                  <a:pt x="3" y="723"/>
                  <a:pt x="2" y="716"/>
                </a:cubicBezTo>
                <a:cubicBezTo>
                  <a:pt x="2" y="708"/>
                  <a:pt x="7" y="703"/>
                  <a:pt x="10" y="705"/>
                </a:cubicBezTo>
                <a:cubicBezTo>
                  <a:pt x="14" y="708"/>
                  <a:pt x="14" y="705"/>
                  <a:pt x="16" y="705"/>
                </a:cubicBezTo>
                <a:cubicBezTo>
                  <a:pt x="19" y="705"/>
                  <a:pt x="21" y="703"/>
                  <a:pt x="21" y="703"/>
                </a:cubicBezTo>
                <a:cubicBezTo>
                  <a:pt x="21" y="703"/>
                  <a:pt x="18" y="698"/>
                  <a:pt x="17" y="696"/>
                </a:cubicBezTo>
                <a:cubicBezTo>
                  <a:pt x="17" y="694"/>
                  <a:pt x="15" y="693"/>
                  <a:pt x="13" y="695"/>
                </a:cubicBezTo>
                <a:cubicBezTo>
                  <a:pt x="11" y="697"/>
                  <a:pt x="6" y="696"/>
                  <a:pt x="6" y="694"/>
                </a:cubicBezTo>
                <a:cubicBezTo>
                  <a:pt x="6" y="693"/>
                  <a:pt x="10" y="681"/>
                  <a:pt x="7" y="680"/>
                </a:cubicBezTo>
                <a:cubicBezTo>
                  <a:pt x="4" y="680"/>
                  <a:pt x="0" y="680"/>
                  <a:pt x="2" y="676"/>
                </a:cubicBezTo>
                <a:cubicBezTo>
                  <a:pt x="3" y="672"/>
                  <a:pt x="4" y="671"/>
                  <a:pt x="4" y="671"/>
                </a:cubicBezTo>
                <a:cubicBezTo>
                  <a:pt x="14" y="673"/>
                  <a:pt x="14" y="673"/>
                  <a:pt x="14" y="673"/>
                </a:cubicBezTo>
                <a:cubicBezTo>
                  <a:pt x="14" y="673"/>
                  <a:pt x="21" y="672"/>
                  <a:pt x="23" y="672"/>
                </a:cubicBezTo>
                <a:cubicBezTo>
                  <a:pt x="25" y="672"/>
                  <a:pt x="35" y="672"/>
                  <a:pt x="39" y="671"/>
                </a:cubicBezTo>
                <a:cubicBezTo>
                  <a:pt x="42" y="669"/>
                  <a:pt x="44" y="668"/>
                  <a:pt x="48" y="674"/>
                </a:cubicBezTo>
                <a:cubicBezTo>
                  <a:pt x="52" y="680"/>
                  <a:pt x="58" y="680"/>
                  <a:pt x="58" y="677"/>
                </a:cubicBezTo>
                <a:cubicBezTo>
                  <a:pt x="58" y="673"/>
                  <a:pt x="50" y="668"/>
                  <a:pt x="56" y="667"/>
                </a:cubicBezTo>
                <a:cubicBezTo>
                  <a:pt x="61" y="666"/>
                  <a:pt x="62" y="668"/>
                  <a:pt x="65" y="665"/>
                </a:cubicBezTo>
                <a:cubicBezTo>
                  <a:pt x="68" y="662"/>
                  <a:pt x="59" y="655"/>
                  <a:pt x="63" y="649"/>
                </a:cubicBezTo>
                <a:cubicBezTo>
                  <a:pt x="63" y="649"/>
                  <a:pt x="56" y="652"/>
                  <a:pt x="57" y="656"/>
                </a:cubicBezTo>
                <a:cubicBezTo>
                  <a:pt x="58" y="660"/>
                  <a:pt x="53" y="661"/>
                  <a:pt x="49" y="662"/>
                </a:cubicBezTo>
                <a:cubicBezTo>
                  <a:pt x="45" y="662"/>
                  <a:pt x="42" y="665"/>
                  <a:pt x="41" y="665"/>
                </a:cubicBezTo>
                <a:cubicBezTo>
                  <a:pt x="39" y="665"/>
                  <a:pt x="40" y="657"/>
                  <a:pt x="38" y="657"/>
                </a:cubicBezTo>
                <a:cubicBezTo>
                  <a:pt x="36" y="657"/>
                  <a:pt x="31" y="663"/>
                  <a:pt x="25" y="665"/>
                </a:cubicBezTo>
                <a:cubicBezTo>
                  <a:pt x="19" y="666"/>
                  <a:pt x="20" y="666"/>
                  <a:pt x="16" y="666"/>
                </a:cubicBezTo>
                <a:cubicBezTo>
                  <a:pt x="12" y="667"/>
                  <a:pt x="9" y="667"/>
                  <a:pt x="9" y="667"/>
                </a:cubicBezTo>
                <a:cubicBezTo>
                  <a:pt x="9" y="667"/>
                  <a:pt x="5" y="666"/>
                  <a:pt x="5" y="662"/>
                </a:cubicBezTo>
                <a:cubicBezTo>
                  <a:pt x="6" y="657"/>
                  <a:pt x="10" y="655"/>
                  <a:pt x="12" y="653"/>
                </a:cubicBezTo>
                <a:cubicBezTo>
                  <a:pt x="14" y="651"/>
                  <a:pt x="10" y="645"/>
                  <a:pt x="10" y="645"/>
                </a:cubicBezTo>
                <a:cubicBezTo>
                  <a:pt x="3" y="634"/>
                  <a:pt x="3" y="634"/>
                  <a:pt x="3" y="634"/>
                </a:cubicBezTo>
                <a:cubicBezTo>
                  <a:pt x="12" y="627"/>
                  <a:pt x="12" y="627"/>
                  <a:pt x="12" y="627"/>
                </a:cubicBezTo>
                <a:cubicBezTo>
                  <a:pt x="12" y="627"/>
                  <a:pt x="12" y="628"/>
                  <a:pt x="15" y="630"/>
                </a:cubicBezTo>
                <a:cubicBezTo>
                  <a:pt x="19" y="632"/>
                  <a:pt x="22" y="630"/>
                  <a:pt x="25" y="629"/>
                </a:cubicBezTo>
                <a:cubicBezTo>
                  <a:pt x="28" y="629"/>
                  <a:pt x="34" y="630"/>
                  <a:pt x="34" y="630"/>
                </a:cubicBezTo>
                <a:cubicBezTo>
                  <a:pt x="32" y="619"/>
                  <a:pt x="32" y="619"/>
                  <a:pt x="32" y="619"/>
                </a:cubicBezTo>
                <a:cubicBezTo>
                  <a:pt x="28" y="611"/>
                  <a:pt x="28" y="611"/>
                  <a:pt x="28" y="611"/>
                </a:cubicBezTo>
                <a:cubicBezTo>
                  <a:pt x="32" y="604"/>
                  <a:pt x="32" y="604"/>
                  <a:pt x="32" y="604"/>
                </a:cubicBezTo>
                <a:cubicBezTo>
                  <a:pt x="32" y="604"/>
                  <a:pt x="36" y="611"/>
                  <a:pt x="38" y="611"/>
                </a:cubicBezTo>
                <a:cubicBezTo>
                  <a:pt x="41" y="611"/>
                  <a:pt x="38" y="601"/>
                  <a:pt x="42" y="599"/>
                </a:cubicBezTo>
                <a:cubicBezTo>
                  <a:pt x="45" y="597"/>
                  <a:pt x="42" y="593"/>
                  <a:pt x="46" y="598"/>
                </a:cubicBezTo>
                <a:cubicBezTo>
                  <a:pt x="50" y="603"/>
                  <a:pt x="44" y="607"/>
                  <a:pt x="47" y="610"/>
                </a:cubicBezTo>
                <a:cubicBezTo>
                  <a:pt x="50" y="614"/>
                  <a:pt x="46" y="614"/>
                  <a:pt x="54" y="609"/>
                </a:cubicBezTo>
                <a:cubicBezTo>
                  <a:pt x="62" y="604"/>
                  <a:pt x="61" y="598"/>
                  <a:pt x="61" y="598"/>
                </a:cubicBezTo>
                <a:cubicBezTo>
                  <a:pt x="61" y="598"/>
                  <a:pt x="52" y="586"/>
                  <a:pt x="49" y="586"/>
                </a:cubicBezTo>
                <a:cubicBezTo>
                  <a:pt x="47" y="587"/>
                  <a:pt x="47" y="587"/>
                  <a:pt x="47" y="587"/>
                </a:cubicBezTo>
                <a:cubicBezTo>
                  <a:pt x="47" y="587"/>
                  <a:pt x="55" y="579"/>
                  <a:pt x="58" y="584"/>
                </a:cubicBezTo>
                <a:cubicBezTo>
                  <a:pt x="61" y="589"/>
                  <a:pt x="65" y="587"/>
                  <a:pt x="68" y="585"/>
                </a:cubicBezTo>
                <a:cubicBezTo>
                  <a:pt x="70" y="584"/>
                  <a:pt x="70" y="580"/>
                  <a:pt x="70" y="580"/>
                </a:cubicBezTo>
                <a:cubicBezTo>
                  <a:pt x="70" y="580"/>
                  <a:pt x="68" y="577"/>
                  <a:pt x="64" y="578"/>
                </a:cubicBezTo>
                <a:cubicBezTo>
                  <a:pt x="61" y="578"/>
                  <a:pt x="59" y="574"/>
                  <a:pt x="58" y="574"/>
                </a:cubicBezTo>
                <a:cubicBezTo>
                  <a:pt x="56" y="575"/>
                  <a:pt x="53" y="573"/>
                  <a:pt x="53" y="573"/>
                </a:cubicBezTo>
                <a:cubicBezTo>
                  <a:pt x="53" y="573"/>
                  <a:pt x="49" y="567"/>
                  <a:pt x="52" y="566"/>
                </a:cubicBezTo>
                <a:cubicBezTo>
                  <a:pt x="56" y="565"/>
                  <a:pt x="58" y="560"/>
                  <a:pt x="60" y="562"/>
                </a:cubicBezTo>
                <a:cubicBezTo>
                  <a:pt x="61" y="565"/>
                  <a:pt x="62" y="564"/>
                  <a:pt x="65" y="566"/>
                </a:cubicBezTo>
                <a:cubicBezTo>
                  <a:pt x="68" y="568"/>
                  <a:pt x="71" y="565"/>
                  <a:pt x="71" y="565"/>
                </a:cubicBezTo>
                <a:cubicBezTo>
                  <a:pt x="71" y="565"/>
                  <a:pt x="79" y="567"/>
                  <a:pt x="79" y="565"/>
                </a:cubicBezTo>
                <a:cubicBezTo>
                  <a:pt x="80" y="564"/>
                  <a:pt x="76" y="555"/>
                  <a:pt x="73" y="557"/>
                </a:cubicBezTo>
                <a:cubicBezTo>
                  <a:pt x="71" y="559"/>
                  <a:pt x="65" y="556"/>
                  <a:pt x="65" y="556"/>
                </a:cubicBezTo>
                <a:cubicBezTo>
                  <a:pt x="77" y="550"/>
                  <a:pt x="77" y="550"/>
                  <a:pt x="77" y="550"/>
                </a:cubicBezTo>
                <a:cubicBezTo>
                  <a:pt x="77" y="550"/>
                  <a:pt x="79" y="544"/>
                  <a:pt x="81" y="547"/>
                </a:cubicBezTo>
                <a:cubicBezTo>
                  <a:pt x="83" y="550"/>
                  <a:pt x="81" y="550"/>
                  <a:pt x="85" y="549"/>
                </a:cubicBezTo>
                <a:cubicBezTo>
                  <a:pt x="89" y="548"/>
                  <a:pt x="89" y="548"/>
                  <a:pt x="90" y="545"/>
                </a:cubicBezTo>
                <a:cubicBezTo>
                  <a:pt x="90" y="542"/>
                  <a:pt x="88" y="536"/>
                  <a:pt x="93" y="539"/>
                </a:cubicBezTo>
                <a:cubicBezTo>
                  <a:pt x="98" y="541"/>
                  <a:pt x="96" y="537"/>
                  <a:pt x="99" y="536"/>
                </a:cubicBezTo>
                <a:cubicBezTo>
                  <a:pt x="103" y="534"/>
                  <a:pt x="106" y="533"/>
                  <a:pt x="106" y="533"/>
                </a:cubicBezTo>
                <a:cubicBezTo>
                  <a:pt x="106" y="533"/>
                  <a:pt x="110" y="541"/>
                  <a:pt x="111" y="541"/>
                </a:cubicBezTo>
                <a:cubicBezTo>
                  <a:pt x="113" y="540"/>
                  <a:pt x="113" y="534"/>
                  <a:pt x="113" y="534"/>
                </a:cubicBezTo>
                <a:cubicBezTo>
                  <a:pt x="115" y="525"/>
                  <a:pt x="115" y="525"/>
                  <a:pt x="115" y="525"/>
                </a:cubicBezTo>
                <a:cubicBezTo>
                  <a:pt x="115" y="525"/>
                  <a:pt x="113" y="518"/>
                  <a:pt x="121" y="521"/>
                </a:cubicBezTo>
                <a:cubicBezTo>
                  <a:pt x="129" y="524"/>
                  <a:pt x="129" y="526"/>
                  <a:pt x="129" y="526"/>
                </a:cubicBezTo>
                <a:cubicBezTo>
                  <a:pt x="129" y="526"/>
                  <a:pt x="128" y="535"/>
                  <a:pt x="129" y="537"/>
                </a:cubicBezTo>
                <a:cubicBezTo>
                  <a:pt x="131" y="540"/>
                  <a:pt x="137" y="534"/>
                  <a:pt x="137" y="534"/>
                </a:cubicBezTo>
                <a:cubicBezTo>
                  <a:pt x="137" y="534"/>
                  <a:pt x="142" y="531"/>
                  <a:pt x="144" y="528"/>
                </a:cubicBezTo>
                <a:cubicBezTo>
                  <a:pt x="146" y="524"/>
                  <a:pt x="154" y="515"/>
                  <a:pt x="158" y="515"/>
                </a:cubicBezTo>
                <a:cubicBezTo>
                  <a:pt x="162" y="514"/>
                  <a:pt x="163" y="511"/>
                  <a:pt x="165" y="514"/>
                </a:cubicBezTo>
                <a:cubicBezTo>
                  <a:pt x="167" y="517"/>
                  <a:pt x="171" y="517"/>
                  <a:pt x="170" y="512"/>
                </a:cubicBezTo>
                <a:cubicBezTo>
                  <a:pt x="169" y="507"/>
                  <a:pt x="164" y="508"/>
                  <a:pt x="164" y="504"/>
                </a:cubicBezTo>
                <a:cubicBezTo>
                  <a:pt x="164" y="500"/>
                  <a:pt x="168" y="497"/>
                  <a:pt x="165" y="498"/>
                </a:cubicBezTo>
                <a:cubicBezTo>
                  <a:pt x="163" y="498"/>
                  <a:pt x="154" y="501"/>
                  <a:pt x="155" y="504"/>
                </a:cubicBezTo>
                <a:cubicBezTo>
                  <a:pt x="156" y="508"/>
                  <a:pt x="129" y="519"/>
                  <a:pt x="130" y="517"/>
                </a:cubicBezTo>
                <a:cubicBezTo>
                  <a:pt x="130" y="514"/>
                  <a:pt x="134" y="510"/>
                  <a:pt x="130" y="511"/>
                </a:cubicBezTo>
                <a:cubicBezTo>
                  <a:pt x="126" y="513"/>
                  <a:pt x="119" y="514"/>
                  <a:pt x="121" y="509"/>
                </a:cubicBezTo>
                <a:cubicBezTo>
                  <a:pt x="123" y="504"/>
                  <a:pt x="130" y="501"/>
                  <a:pt x="130" y="501"/>
                </a:cubicBezTo>
                <a:cubicBezTo>
                  <a:pt x="134" y="498"/>
                  <a:pt x="134" y="498"/>
                  <a:pt x="134" y="498"/>
                </a:cubicBezTo>
                <a:cubicBezTo>
                  <a:pt x="127" y="495"/>
                  <a:pt x="127" y="495"/>
                  <a:pt x="127" y="495"/>
                </a:cubicBezTo>
                <a:cubicBezTo>
                  <a:pt x="127" y="495"/>
                  <a:pt x="134" y="489"/>
                  <a:pt x="136" y="487"/>
                </a:cubicBezTo>
                <a:cubicBezTo>
                  <a:pt x="137" y="484"/>
                  <a:pt x="144" y="477"/>
                  <a:pt x="146" y="476"/>
                </a:cubicBezTo>
                <a:cubicBezTo>
                  <a:pt x="148" y="474"/>
                  <a:pt x="146" y="471"/>
                  <a:pt x="148" y="468"/>
                </a:cubicBezTo>
                <a:cubicBezTo>
                  <a:pt x="150" y="466"/>
                  <a:pt x="150" y="459"/>
                  <a:pt x="154" y="461"/>
                </a:cubicBezTo>
                <a:cubicBezTo>
                  <a:pt x="158" y="463"/>
                  <a:pt x="158" y="470"/>
                  <a:pt x="162" y="468"/>
                </a:cubicBezTo>
                <a:cubicBezTo>
                  <a:pt x="165" y="466"/>
                  <a:pt x="164" y="459"/>
                  <a:pt x="166" y="457"/>
                </a:cubicBezTo>
                <a:cubicBezTo>
                  <a:pt x="168" y="456"/>
                  <a:pt x="169" y="447"/>
                  <a:pt x="166" y="447"/>
                </a:cubicBezTo>
                <a:cubicBezTo>
                  <a:pt x="164" y="447"/>
                  <a:pt x="162" y="443"/>
                  <a:pt x="165" y="441"/>
                </a:cubicBezTo>
                <a:cubicBezTo>
                  <a:pt x="168" y="438"/>
                  <a:pt x="169" y="423"/>
                  <a:pt x="173" y="431"/>
                </a:cubicBezTo>
                <a:cubicBezTo>
                  <a:pt x="177" y="439"/>
                  <a:pt x="174" y="432"/>
                  <a:pt x="178" y="429"/>
                </a:cubicBezTo>
                <a:cubicBezTo>
                  <a:pt x="182" y="427"/>
                  <a:pt x="182" y="429"/>
                  <a:pt x="185" y="430"/>
                </a:cubicBezTo>
                <a:cubicBezTo>
                  <a:pt x="188" y="432"/>
                  <a:pt x="187" y="429"/>
                  <a:pt x="190" y="426"/>
                </a:cubicBezTo>
                <a:cubicBezTo>
                  <a:pt x="192" y="423"/>
                  <a:pt x="192" y="419"/>
                  <a:pt x="192" y="419"/>
                </a:cubicBezTo>
                <a:cubicBezTo>
                  <a:pt x="186" y="416"/>
                  <a:pt x="186" y="416"/>
                  <a:pt x="186" y="416"/>
                </a:cubicBezTo>
                <a:cubicBezTo>
                  <a:pt x="186" y="416"/>
                  <a:pt x="183" y="403"/>
                  <a:pt x="189" y="406"/>
                </a:cubicBezTo>
                <a:cubicBezTo>
                  <a:pt x="195" y="409"/>
                  <a:pt x="196" y="410"/>
                  <a:pt x="196" y="405"/>
                </a:cubicBezTo>
                <a:cubicBezTo>
                  <a:pt x="196" y="401"/>
                  <a:pt x="194" y="399"/>
                  <a:pt x="193" y="396"/>
                </a:cubicBezTo>
                <a:cubicBezTo>
                  <a:pt x="193" y="394"/>
                  <a:pt x="189" y="391"/>
                  <a:pt x="195" y="389"/>
                </a:cubicBezTo>
                <a:cubicBezTo>
                  <a:pt x="200" y="387"/>
                  <a:pt x="189" y="388"/>
                  <a:pt x="197" y="383"/>
                </a:cubicBezTo>
                <a:cubicBezTo>
                  <a:pt x="204" y="379"/>
                  <a:pt x="195" y="376"/>
                  <a:pt x="201" y="372"/>
                </a:cubicBezTo>
                <a:cubicBezTo>
                  <a:pt x="207" y="369"/>
                  <a:pt x="191" y="367"/>
                  <a:pt x="202" y="364"/>
                </a:cubicBezTo>
                <a:cubicBezTo>
                  <a:pt x="213" y="361"/>
                  <a:pt x="210" y="353"/>
                  <a:pt x="214" y="358"/>
                </a:cubicBezTo>
                <a:cubicBezTo>
                  <a:pt x="219" y="364"/>
                  <a:pt x="232" y="361"/>
                  <a:pt x="228" y="357"/>
                </a:cubicBezTo>
                <a:cubicBezTo>
                  <a:pt x="224" y="354"/>
                  <a:pt x="218" y="354"/>
                  <a:pt x="216" y="350"/>
                </a:cubicBezTo>
                <a:cubicBezTo>
                  <a:pt x="213" y="347"/>
                  <a:pt x="209" y="340"/>
                  <a:pt x="214" y="336"/>
                </a:cubicBezTo>
                <a:cubicBezTo>
                  <a:pt x="220" y="332"/>
                  <a:pt x="217" y="329"/>
                  <a:pt x="221" y="326"/>
                </a:cubicBezTo>
                <a:cubicBezTo>
                  <a:pt x="226" y="322"/>
                  <a:pt x="218" y="320"/>
                  <a:pt x="224" y="316"/>
                </a:cubicBezTo>
                <a:cubicBezTo>
                  <a:pt x="230" y="311"/>
                  <a:pt x="228" y="306"/>
                  <a:pt x="232" y="306"/>
                </a:cubicBezTo>
                <a:cubicBezTo>
                  <a:pt x="237" y="306"/>
                  <a:pt x="241" y="304"/>
                  <a:pt x="244" y="301"/>
                </a:cubicBezTo>
                <a:cubicBezTo>
                  <a:pt x="246" y="298"/>
                  <a:pt x="241" y="296"/>
                  <a:pt x="247" y="294"/>
                </a:cubicBezTo>
                <a:cubicBezTo>
                  <a:pt x="254" y="293"/>
                  <a:pt x="255" y="293"/>
                  <a:pt x="257" y="296"/>
                </a:cubicBezTo>
                <a:cubicBezTo>
                  <a:pt x="258" y="299"/>
                  <a:pt x="258" y="297"/>
                  <a:pt x="261" y="296"/>
                </a:cubicBezTo>
                <a:cubicBezTo>
                  <a:pt x="265" y="295"/>
                  <a:pt x="264" y="290"/>
                  <a:pt x="264" y="290"/>
                </a:cubicBezTo>
                <a:cubicBezTo>
                  <a:pt x="253" y="285"/>
                  <a:pt x="253" y="285"/>
                  <a:pt x="253" y="285"/>
                </a:cubicBezTo>
                <a:cubicBezTo>
                  <a:pt x="248" y="279"/>
                  <a:pt x="248" y="279"/>
                  <a:pt x="248" y="279"/>
                </a:cubicBezTo>
                <a:cubicBezTo>
                  <a:pt x="248" y="279"/>
                  <a:pt x="249" y="270"/>
                  <a:pt x="254" y="271"/>
                </a:cubicBezTo>
                <a:cubicBezTo>
                  <a:pt x="260" y="272"/>
                  <a:pt x="261" y="272"/>
                  <a:pt x="261" y="272"/>
                </a:cubicBezTo>
                <a:cubicBezTo>
                  <a:pt x="269" y="273"/>
                  <a:pt x="269" y="273"/>
                  <a:pt x="269" y="273"/>
                </a:cubicBezTo>
                <a:cubicBezTo>
                  <a:pt x="269" y="273"/>
                  <a:pt x="277" y="266"/>
                  <a:pt x="274" y="266"/>
                </a:cubicBezTo>
                <a:cubicBezTo>
                  <a:pt x="271" y="266"/>
                  <a:pt x="265" y="267"/>
                  <a:pt x="266" y="263"/>
                </a:cubicBezTo>
                <a:cubicBezTo>
                  <a:pt x="268" y="258"/>
                  <a:pt x="270" y="253"/>
                  <a:pt x="272" y="251"/>
                </a:cubicBezTo>
                <a:cubicBezTo>
                  <a:pt x="274" y="249"/>
                  <a:pt x="262" y="249"/>
                  <a:pt x="271" y="243"/>
                </a:cubicBezTo>
                <a:cubicBezTo>
                  <a:pt x="279" y="238"/>
                  <a:pt x="272" y="229"/>
                  <a:pt x="279" y="232"/>
                </a:cubicBezTo>
                <a:cubicBezTo>
                  <a:pt x="285" y="234"/>
                  <a:pt x="283" y="234"/>
                  <a:pt x="286" y="239"/>
                </a:cubicBezTo>
                <a:cubicBezTo>
                  <a:pt x="289" y="243"/>
                  <a:pt x="289" y="243"/>
                  <a:pt x="293" y="241"/>
                </a:cubicBezTo>
                <a:cubicBezTo>
                  <a:pt x="296" y="239"/>
                  <a:pt x="295" y="232"/>
                  <a:pt x="295" y="232"/>
                </a:cubicBezTo>
                <a:cubicBezTo>
                  <a:pt x="295" y="232"/>
                  <a:pt x="293" y="222"/>
                  <a:pt x="291" y="222"/>
                </a:cubicBezTo>
                <a:cubicBezTo>
                  <a:pt x="289" y="222"/>
                  <a:pt x="283" y="216"/>
                  <a:pt x="287" y="216"/>
                </a:cubicBezTo>
                <a:cubicBezTo>
                  <a:pt x="292" y="215"/>
                  <a:pt x="297" y="206"/>
                  <a:pt x="300" y="210"/>
                </a:cubicBezTo>
                <a:cubicBezTo>
                  <a:pt x="304" y="215"/>
                  <a:pt x="299" y="207"/>
                  <a:pt x="304" y="213"/>
                </a:cubicBezTo>
                <a:cubicBezTo>
                  <a:pt x="309" y="218"/>
                  <a:pt x="307" y="216"/>
                  <a:pt x="312" y="215"/>
                </a:cubicBezTo>
                <a:cubicBezTo>
                  <a:pt x="316" y="213"/>
                  <a:pt x="318" y="209"/>
                  <a:pt x="318" y="205"/>
                </a:cubicBezTo>
                <a:cubicBezTo>
                  <a:pt x="319" y="201"/>
                  <a:pt x="318" y="192"/>
                  <a:pt x="314" y="198"/>
                </a:cubicBezTo>
                <a:cubicBezTo>
                  <a:pt x="309" y="204"/>
                  <a:pt x="307" y="202"/>
                  <a:pt x="304" y="202"/>
                </a:cubicBezTo>
                <a:cubicBezTo>
                  <a:pt x="300" y="203"/>
                  <a:pt x="300" y="195"/>
                  <a:pt x="297" y="197"/>
                </a:cubicBezTo>
                <a:cubicBezTo>
                  <a:pt x="295" y="199"/>
                  <a:pt x="292" y="192"/>
                  <a:pt x="300" y="190"/>
                </a:cubicBezTo>
                <a:cubicBezTo>
                  <a:pt x="307" y="187"/>
                  <a:pt x="293" y="191"/>
                  <a:pt x="308" y="178"/>
                </a:cubicBezTo>
                <a:cubicBezTo>
                  <a:pt x="323" y="165"/>
                  <a:pt x="320" y="163"/>
                  <a:pt x="323" y="164"/>
                </a:cubicBezTo>
                <a:cubicBezTo>
                  <a:pt x="325" y="164"/>
                  <a:pt x="325" y="161"/>
                  <a:pt x="329" y="159"/>
                </a:cubicBezTo>
                <a:cubicBezTo>
                  <a:pt x="333" y="157"/>
                  <a:pt x="332" y="153"/>
                  <a:pt x="333" y="152"/>
                </a:cubicBezTo>
                <a:cubicBezTo>
                  <a:pt x="334" y="150"/>
                  <a:pt x="334" y="147"/>
                  <a:pt x="334" y="144"/>
                </a:cubicBezTo>
                <a:cubicBezTo>
                  <a:pt x="334" y="140"/>
                  <a:pt x="335" y="136"/>
                  <a:pt x="336" y="134"/>
                </a:cubicBezTo>
                <a:cubicBezTo>
                  <a:pt x="337" y="132"/>
                  <a:pt x="338" y="127"/>
                  <a:pt x="338" y="127"/>
                </a:cubicBezTo>
                <a:cubicBezTo>
                  <a:pt x="338" y="127"/>
                  <a:pt x="340" y="135"/>
                  <a:pt x="342" y="138"/>
                </a:cubicBezTo>
                <a:cubicBezTo>
                  <a:pt x="344" y="140"/>
                  <a:pt x="345" y="133"/>
                  <a:pt x="347" y="139"/>
                </a:cubicBezTo>
                <a:cubicBezTo>
                  <a:pt x="348" y="144"/>
                  <a:pt x="348" y="143"/>
                  <a:pt x="351" y="142"/>
                </a:cubicBezTo>
                <a:cubicBezTo>
                  <a:pt x="354" y="141"/>
                  <a:pt x="355" y="138"/>
                  <a:pt x="355" y="138"/>
                </a:cubicBezTo>
                <a:cubicBezTo>
                  <a:pt x="355" y="138"/>
                  <a:pt x="349" y="126"/>
                  <a:pt x="353" y="128"/>
                </a:cubicBezTo>
                <a:cubicBezTo>
                  <a:pt x="357" y="129"/>
                  <a:pt x="360" y="128"/>
                  <a:pt x="360" y="134"/>
                </a:cubicBezTo>
                <a:cubicBezTo>
                  <a:pt x="360" y="140"/>
                  <a:pt x="362" y="134"/>
                  <a:pt x="364" y="142"/>
                </a:cubicBezTo>
                <a:cubicBezTo>
                  <a:pt x="365" y="150"/>
                  <a:pt x="368" y="148"/>
                  <a:pt x="370" y="151"/>
                </a:cubicBezTo>
                <a:cubicBezTo>
                  <a:pt x="371" y="153"/>
                  <a:pt x="375" y="151"/>
                  <a:pt x="375" y="148"/>
                </a:cubicBezTo>
                <a:cubicBezTo>
                  <a:pt x="375" y="145"/>
                  <a:pt x="372" y="137"/>
                  <a:pt x="369" y="134"/>
                </a:cubicBezTo>
                <a:cubicBezTo>
                  <a:pt x="367" y="131"/>
                  <a:pt x="364" y="125"/>
                  <a:pt x="365" y="122"/>
                </a:cubicBezTo>
                <a:cubicBezTo>
                  <a:pt x="366" y="120"/>
                  <a:pt x="361" y="114"/>
                  <a:pt x="367" y="113"/>
                </a:cubicBezTo>
                <a:cubicBezTo>
                  <a:pt x="372" y="113"/>
                  <a:pt x="374" y="111"/>
                  <a:pt x="374" y="111"/>
                </a:cubicBezTo>
                <a:cubicBezTo>
                  <a:pt x="374" y="111"/>
                  <a:pt x="376" y="122"/>
                  <a:pt x="377" y="127"/>
                </a:cubicBezTo>
                <a:cubicBezTo>
                  <a:pt x="378" y="131"/>
                  <a:pt x="383" y="121"/>
                  <a:pt x="383" y="119"/>
                </a:cubicBezTo>
                <a:cubicBezTo>
                  <a:pt x="383" y="116"/>
                  <a:pt x="381" y="110"/>
                  <a:pt x="383" y="110"/>
                </a:cubicBezTo>
                <a:cubicBezTo>
                  <a:pt x="385" y="110"/>
                  <a:pt x="383" y="105"/>
                  <a:pt x="385" y="104"/>
                </a:cubicBezTo>
                <a:cubicBezTo>
                  <a:pt x="387" y="103"/>
                  <a:pt x="392" y="96"/>
                  <a:pt x="393" y="100"/>
                </a:cubicBezTo>
                <a:cubicBezTo>
                  <a:pt x="395" y="103"/>
                  <a:pt x="392" y="113"/>
                  <a:pt x="391" y="115"/>
                </a:cubicBezTo>
                <a:cubicBezTo>
                  <a:pt x="390" y="116"/>
                  <a:pt x="389" y="119"/>
                  <a:pt x="389" y="119"/>
                </a:cubicBezTo>
                <a:cubicBezTo>
                  <a:pt x="389" y="119"/>
                  <a:pt x="388" y="138"/>
                  <a:pt x="392" y="136"/>
                </a:cubicBezTo>
                <a:cubicBezTo>
                  <a:pt x="396" y="134"/>
                  <a:pt x="394" y="129"/>
                  <a:pt x="397" y="128"/>
                </a:cubicBezTo>
                <a:cubicBezTo>
                  <a:pt x="401" y="127"/>
                  <a:pt x="391" y="126"/>
                  <a:pt x="398" y="120"/>
                </a:cubicBezTo>
                <a:cubicBezTo>
                  <a:pt x="405" y="114"/>
                  <a:pt x="403" y="111"/>
                  <a:pt x="405" y="108"/>
                </a:cubicBezTo>
                <a:cubicBezTo>
                  <a:pt x="408" y="105"/>
                  <a:pt x="401" y="102"/>
                  <a:pt x="407" y="100"/>
                </a:cubicBezTo>
                <a:cubicBezTo>
                  <a:pt x="412" y="99"/>
                  <a:pt x="407" y="107"/>
                  <a:pt x="413" y="103"/>
                </a:cubicBezTo>
                <a:cubicBezTo>
                  <a:pt x="420" y="99"/>
                  <a:pt x="415" y="94"/>
                  <a:pt x="416" y="92"/>
                </a:cubicBezTo>
                <a:cubicBezTo>
                  <a:pt x="417" y="90"/>
                  <a:pt x="425" y="100"/>
                  <a:pt x="426" y="102"/>
                </a:cubicBezTo>
                <a:cubicBezTo>
                  <a:pt x="427" y="103"/>
                  <a:pt x="428" y="99"/>
                  <a:pt x="431" y="103"/>
                </a:cubicBezTo>
                <a:cubicBezTo>
                  <a:pt x="434" y="106"/>
                  <a:pt x="434" y="111"/>
                  <a:pt x="436" y="113"/>
                </a:cubicBezTo>
                <a:cubicBezTo>
                  <a:pt x="438" y="114"/>
                  <a:pt x="441" y="105"/>
                  <a:pt x="439" y="101"/>
                </a:cubicBezTo>
                <a:cubicBezTo>
                  <a:pt x="436" y="96"/>
                  <a:pt x="439" y="91"/>
                  <a:pt x="439" y="91"/>
                </a:cubicBezTo>
                <a:cubicBezTo>
                  <a:pt x="439" y="91"/>
                  <a:pt x="436" y="86"/>
                  <a:pt x="435" y="86"/>
                </a:cubicBezTo>
                <a:cubicBezTo>
                  <a:pt x="433" y="85"/>
                  <a:pt x="431" y="77"/>
                  <a:pt x="431" y="77"/>
                </a:cubicBezTo>
                <a:cubicBezTo>
                  <a:pt x="437" y="68"/>
                  <a:pt x="437" y="68"/>
                  <a:pt x="437" y="68"/>
                </a:cubicBezTo>
                <a:cubicBezTo>
                  <a:pt x="442" y="75"/>
                  <a:pt x="442" y="75"/>
                  <a:pt x="442" y="75"/>
                </a:cubicBezTo>
                <a:cubicBezTo>
                  <a:pt x="442" y="75"/>
                  <a:pt x="441" y="87"/>
                  <a:pt x="445" y="85"/>
                </a:cubicBezTo>
                <a:cubicBezTo>
                  <a:pt x="449" y="83"/>
                  <a:pt x="450" y="83"/>
                  <a:pt x="451" y="78"/>
                </a:cubicBezTo>
                <a:cubicBezTo>
                  <a:pt x="452" y="74"/>
                  <a:pt x="456" y="74"/>
                  <a:pt x="456" y="74"/>
                </a:cubicBezTo>
                <a:cubicBezTo>
                  <a:pt x="456" y="74"/>
                  <a:pt x="452" y="78"/>
                  <a:pt x="458" y="78"/>
                </a:cubicBezTo>
                <a:cubicBezTo>
                  <a:pt x="464" y="77"/>
                  <a:pt x="466" y="75"/>
                  <a:pt x="464" y="80"/>
                </a:cubicBezTo>
                <a:cubicBezTo>
                  <a:pt x="463" y="85"/>
                  <a:pt x="460" y="84"/>
                  <a:pt x="462" y="89"/>
                </a:cubicBezTo>
                <a:cubicBezTo>
                  <a:pt x="463" y="94"/>
                  <a:pt x="463" y="96"/>
                  <a:pt x="467" y="94"/>
                </a:cubicBezTo>
                <a:cubicBezTo>
                  <a:pt x="471" y="92"/>
                  <a:pt x="473" y="83"/>
                  <a:pt x="472" y="77"/>
                </a:cubicBezTo>
                <a:cubicBezTo>
                  <a:pt x="471" y="72"/>
                  <a:pt x="469" y="74"/>
                  <a:pt x="474" y="71"/>
                </a:cubicBezTo>
                <a:cubicBezTo>
                  <a:pt x="478" y="67"/>
                  <a:pt x="479" y="66"/>
                  <a:pt x="482" y="62"/>
                </a:cubicBezTo>
                <a:cubicBezTo>
                  <a:pt x="484" y="58"/>
                  <a:pt x="483" y="58"/>
                  <a:pt x="485" y="54"/>
                </a:cubicBezTo>
                <a:cubicBezTo>
                  <a:pt x="487" y="51"/>
                  <a:pt x="492" y="53"/>
                  <a:pt x="492" y="53"/>
                </a:cubicBezTo>
                <a:cubicBezTo>
                  <a:pt x="492" y="53"/>
                  <a:pt x="494" y="54"/>
                  <a:pt x="497" y="55"/>
                </a:cubicBezTo>
                <a:cubicBezTo>
                  <a:pt x="501" y="56"/>
                  <a:pt x="503" y="49"/>
                  <a:pt x="501" y="44"/>
                </a:cubicBezTo>
                <a:cubicBezTo>
                  <a:pt x="498" y="39"/>
                  <a:pt x="508" y="28"/>
                  <a:pt x="503" y="27"/>
                </a:cubicBezTo>
                <a:cubicBezTo>
                  <a:pt x="497" y="26"/>
                  <a:pt x="498" y="21"/>
                  <a:pt x="501" y="19"/>
                </a:cubicBezTo>
                <a:cubicBezTo>
                  <a:pt x="503" y="17"/>
                  <a:pt x="503" y="11"/>
                  <a:pt x="503" y="11"/>
                </a:cubicBezTo>
                <a:cubicBezTo>
                  <a:pt x="511" y="14"/>
                  <a:pt x="511" y="14"/>
                  <a:pt x="511" y="14"/>
                </a:cubicBezTo>
                <a:cubicBezTo>
                  <a:pt x="516" y="18"/>
                  <a:pt x="516" y="18"/>
                  <a:pt x="516" y="18"/>
                </a:cubicBezTo>
                <a:cubicBezTo>
                  <a:pt x="516" y="18"/>
                  <a:pt x="517" y="17"/>
                  <a:pt x="517" y="23"/>
                </a:cubicBezTo>
                <a:cubicBezTo>
                  <a:pt x="517" y="29"/>
                  <a:pt x="520" y="24"/>
                  <a:pt x="521" y="25"/>
                </a:cubicBezTo>
                <a:cubicBezTo>
                  <a:pt x="523" y="25"/>
                  <a:pt x="518" y="20"/>
                  <a:pt x="525" y="22"/>
                </a:cubicBezTo>
                <a:cubicBezTo>
                  <a:pt x="532" y="25"/>
                  <a:pt x="532" y="28"/>
                  <a:pt x="529" y="31"/>
                </a:cubicBezTo>
                <a:cubicBezTo>
                  <a:pt x="525" y="35"/>
                  <a:pt x="519" y="43"/>
                  <a:pt x="519" y="47"/>
                </a:cubicBezTo>
                <a:cubicBezTo>
                  <a:pt x="520" y="51"/>
                  <a:pt x="520" y="55"/>
                  <a:pt x="518" y="60"/>
                </a:cubicBezTo>
                <a:cubicBezTo>
                  <a:pt x="516" y="65"/>
                  <a:pt x="515" y="66"/>
                  <a:pt x="516" y="69"/>
                </a:cubicBezTo>
                <a:cubicBezTo>
                  <a:pt x="517" y="73"/>
                  <a:pt x="512" y="74"/>
                  <a:pt x="512" y="77"/>
                </a:cubicBezTo>
                <a:cubicBezTo>
                  <a:pt x="512" y="80"/>
                  <a:pt x="519" y="80"/>
                  <a:pt x="519" y="80"/>
                </a:cubicBezTo>
                <a:cubicBezTo>
                  <a:pt x="524" y="69"/>
                  <a:pt x="524" y="69"/>
                  <a:pt x="524" y="69"/>
                </a:cubicBezTo>
                <a:cubicBezTo>
                  <a:pt x="524" y="69"/>
                  <a:pt x="524" y="68"/>
                  <a:pt x="524" y="63"/>
                </a:cubicBezTo>
                <a:cubicBezTo>
                  <a:pt x="525" y="58"/>
                  <a:pt x="532" y="54"/>
                  <a:pt x="532" y="54"/>
                </a:cubicBezTo>
                <a:cubicBezTo>
                  <a:pt x="532" y="54"/>
                  <a:pt x="534" y="51"/>
                  <a:pt x="536" y="46"/>
                </a:cubicBezTo>
                <a:cubicBezTo>
                  <a:pt x="538" y="41"/>
                  <a:pt x="538" y="45"/>
                  <a:pt x="540" y="39"/>
                </a:cubicBezTo>
                <a:cubicBezTo>
                  <a:pt x="542" y="32"/>
                  <a:pt x="550" y="30"/>
                  <a:pt x="550" y="26"/>
                </a:cubicBezTo>
                <a:cubicBezTo>
                  <a:pt x="550" y="22"/>
                  <a:pt x="551" y="19"/>
                  <a:pt x="553" y="18"/>
                </a:cubicBezTo>
                <a:cubicBezTo>
                  <a:pt x="555" y="17"/>
                  <a:pt x="557" y="12"/>
                  <a:pt x="558" y="21"/>
                </a:cubicBezTo>
                <a:cubicBezTo>
                  <a:pt x="558" y="31"/>
                  <a:pt x="560" y="29"/>
                  <a:pt x="556" y="35"/>
                </a:cubicBezTo>
                <a:cubicBezTo>
                  <a:pt x="551" y="41"/>
                  <a:pt x="544" y="41"/>
                  <a:pt x="550" y="42"/>
                </a:cubicBezTo>
                <a:cubicBezTo>
                  <a:pt x="556" y="43"/>
                  <a:pt x="560" y="41"/>
                  <a:pt x="559" y="45"/>
                </a:cubicBezTo>
                <a:cubicBezTo>
                  <a:pt x="557" y="48"/>
                  <a:pt x="549" y="51"/>
                  <a:pt x="554" y="54"/>
                </a:cubicBezTo>
                <a:cubicBezTo>
                  <a:pt x="559" y="58"/>
                  <a:pt x="560" y="53"/>
                  <a:pt x="563" y="53"/>
                </a:cubicBezTo>
                <a:cubicBezTo>
                  <a:pt x="565" y="52"/>
                  <a:pt x="568" y="48"/>
                  <a:pt x="568" y="48"/>
                </a:cubicBezTo>
                <a:cubicBezTo>
                  <a:pt x="568" y="40"/>
                  <a:pt x="568" y="40"/>
                  <a:pt x="568" y="40"/>
                </a:cubicBezTo>
                <a:cubicBezTo>
                  <a:pt x="568" y="40"/>
                  <a:pt x="569" y="30"/>
                  <a:pt x="571" y="31"/>
                </a:cubicBezTo>
                <a:cubicBezTo>
                  <a:pt x="573" y="32"/>
                  <a:pt x="572" y="30"/>
                  <a:pt x="573" y="28"/>
                </a:cubicBezTo>
                <a:cubicBezTo>
                  <a:pt x="575" y="27"/>
                  <a:pt x="580" y="22"/>
                  <a:pt x="579" y="19"/>
                </a:cubicBezTo>
                <a:cubicBezTo>
                  <a:pt x="578" y="17"/>
                  <a:pt x="572" y="15"/>
                  <a:pt x="577" y="12"/>
                </a:cubicBezTo>
                <a:cubicBezTo>
                  <a:pt x="581" y="9"/>
                  <a:pt x="581" y="6"/>
                  <a:pt x="584" y="6"/>
                </a:cubicBezTo>
                <a:cubicBezTo>
                  <a:pt x="586" y="6"/>
                  <a:pt x="578" y="0"/>
                  <a:pt x="585" y="1"/>
                </a:cubicBezTo>
                <a:cubicBezTo>
                  <a:pt x="591" y="2"/>
                  <a:pt x="586" y="5"/>
                  <a:pt x="590" y="5"/>
                </a:cubicBezTo>
                <a:cubicBezTo>
                  <a:pt x="594" y="5"/>
                  <a:pt x="591" y="1"/>
                  <a:pt x="595" y="3"/>
                </a:cubicBezTo>
                <a:cubicBezTo>
                  <a:pt x="599" y="5"/>
                  <a:pt x="598" y="10"/>
                  <a:pt x="598" y="13"/>
                </a:cubicBezTo>
                <a:cubicBezTo>
                  <a:pt x="598" y="15"/>
                  <a:pt x="601" y="14"/>
                  <a:pt x="601" y="14"/>
                </a:cubicBezTo>
                <a:cubicBezTo>
                  <a:pt x="605" y="17"/>
                  <a:pt x="605" y="17"/>
                  <a:pt x="605" y="17"/>
                </a:cubicBezTo>
                <a:cubicBezTo>
                  <a:pt x="602" y="24"/>
                  <a:pt x="602" y="24"/>
                  <a:pt x="602" y="24"/>
                </a:cubicBezTo>
                <a:cubicBezTo>
                  <a:pt x="602" y="24"/>
                  <a:pt x="592" y="25"/>
                  <a:pt x="590" y="26"/>
                </a:cubicBezTo>
                <a:cubicBezTo>
                  <a:pt x="588" y="27"/>
                  <a:pt x="579" y="33"/>
                  <a:pt x="585" y="34"/>
                </a:cubicBezTo>
                <a:cubicBezTo>
                  <a:pt x="591" y="34"/>
                  <a:pt x="595" y="34"/>
                  <a:pt x="595" y="34"/>
                </a:cubicBezTo>
                <a:cubicBezTo>
                  <a:pt x="585" y="43"/>
                  <a:pt x="585" y="43"/>
                  <a:pt x="585" y="43"/>
                </a:cubicBezTo>
                <a:cubicBezTo>
                  <a:pt x="585" y="43"/>
                  <a:pt x="589" y="53"/>
                  <a:pt x="591" y="53"/>
                </a:cubicBezTo>
                <a:cubicBezTo>
                  <a:pt x="594" y="53"/>
                  <a:pt x="595" y="67"/>
                  <a:pt x="596" y="68"/>
                </a:cubicBezTo>
                <a:cubicBezTo>
                  <a:pt x="597" y="69"/>
                  <a:pt x="603" y="55"/>
                  <a:pt x="605" y="52"/>
                </a:cubicBezTo>
                <a:cubicBezTo>
                  <a:pt x="606" y="50"/>
                  <a:pt x="599" y="52"/>
                  <a:pt x="601" y="46"/>
                </a:cubicBezTo>
                <a:cubicBezTo>
                  <a:pt x="602" y="41"/>
                  <a:pt x="605" y="36"/>
                  <a:pt x="609" y="37"/>
                </a:cubicBezTo>
                <a:cubicBezTo>
                  <a:pt x="613" y="38"/>
                  <a:pt x="605" y="32"/>
                  <a:pt x="612" y="29"/>
                </a:cubicBezTo>
                <a:cubicBezTo>
                  <a:pt x="618" y="26"/>
                  <a:pt x="608" y="15"/>
                  <a:pt x="616" y="22"/>
                </a:cubicBezTo>
                <a:cubicBezTo>
                  <a:pt x="623" y="28"/>
                  <a:pt x="618" y="22"/>
                  <a:pt x="624" y="33"/>
                </a:cubicBezTo>
                <a:cubicBezTo>
                  <a:pt x="630" y="44"/>
                  <a:pt x="636" y="40"/>
                  <a:pt x="638" y="40"/>
                </a:cubicBezTo>
                <a:cubicBezTo>
                  <a:pt x="640" y="39"/>
                  <a:pt x="641" y="31"/>
                  <a:pt x="644" y="34"/>
                </a:cubicBezTo>
                <a:cubicBezTo>
                  <a:pt x="647" y="36"/>
                  <a:pt x="648" y="34"/>
                  <a:pt x="648" y="34"/>
                </a:cubicBezTo>
                <a:cubicBezTo>
                  <a:pt x="648" y="34"/>
                  <a:pt x="643" y="48"/>
                  <a:pt x="646" y="50"/>
                </a:cubicBezTo>
                <a:cubicBezTo>
                  <a:pt x="648" y="52"/>
                  <a:pt x="649" y="50"/>
                  <a:pt x="654" y="48"/>
                </a:cubicBezTo>
                <a:cubicBezTo>
                  <a:pt x="659" y="46"/>
                  <a:pt x="661" y="49"/>
                  <a:pt x="662" y="53"/>
                </a:cubicBezTo>
                <a:cubicBezTo>
                  <a:pt x="663" y="57"/>
                  <a:pt x="671" y="55"/>
                  <a:pt x="668" y="61"/>
                </a:cubicBezTo>
                <a:cubicBezTo>
                  <a:pt x="666" y="66"/>
                  <a:pt x="663" y="71"/>
                  <a:pt x="663" y="71"/>
                </a:cubicBezTo>
                <a:cubicBezTo>
                  <a:pt x="663" y="71"/>
                  <a:pt x="658" y="64"/>
                  <a:pt x="653" y="72"/>
                </a:cubicBezTo>
                <a:cubicBezTo>
                  <a:pt x="648" y="80"/>
                  <a:pt x="642" y="78"/>
                  <a:pt x="642" y="78"/>
                </a:cubicBezTo>
                <a:cubicBezTo>
                  <a:pt x="642" y="78"/>
                  <a:pt x="638" y="67"/>
                  <a:pt x="633" y="73"/>
                </a:cubicBezTo>
                <a:cubicBezTo>
                  <a:pt x="629" y="78"/>
                  <a:pt x="630" y="78"/>
                  <a:pt x="625" y="75"/>
                </a:cubicBezTo>
                <a:cubicBezTo>
                  <a:pt x="620" y="72"/>
                  <a:pt x="624" y="64"/>
                  <a:pt x="620" y="70"/>
                </a:cubicBezTo>
                <a:cubicBezTo>
                  <a:pt x="616" y="77"/>
                  <a:pt x="615" y="72"/>
                  <a:pt x="612" y="74"/>
                </a:cubicBezTo>
                <a:cubicBezTo>
                  <a:pt x="609" y="76"/>
                  <a:pt x="603" y="72"/>
                  <a:pt x="613" y="80"/>
                </a:cubicBezTo>
                <a:cubicBezTo>
                  <a:pt x="624" y="88"/>
                  <a:pt x="625" y="90"/>
                  <a:pt x="625" y="90"/>
                </a:cubicBezTo>
                <a:cubicBezTo>
                  <a:pt x="630" y="94"/>
                  <a:pt x="630" y="94"/>
                  <a:pt x="630" y="94"/>
                </a:cubicBezTo>
                <a:cubicBezTo>
                  <a:pt x="630" y="94"/>
                  <a:pt x="640" y="96"/>
                  <a:pt x="637" y="99"/>
                </a:cubicBezTo>
                <a:cubicBezTo>
                  <a:pt x="634" y="102"/>
                  <a:pt x="645" y="106"/>
                  <a:pt x="645" y="106"/>
                </a:cubicBezTo>
                <a:cubicBezTo>
                  <a:pt x="645" y="106"/>
                  <a:pt x="632" y="112"/>
                  <a:pt x="638" y="114"/>
                </a:cubicBezTo>
                <a:cubicBezTo>
                  <a:pt x="643" y="116"/>
                  <a:pt x="639" y="126"/>
                  <a:pt x="643" y="127"/>
                </a:cubicBezTo>
                <a:cubicBezTo>
                  <a:pt x="647" y="128"/>
                  <a:pt x="649" y="121"/>
                  <a:pt x="649" y="121"/>
                </a:cubicBezTo>
                <a:cubicBezTo>
                  <a:pt x="649" y="121"/>
                  <a:pt x="639" y="106"/>
                  <a:pt x="648" y="108"/>
                </a:cubicBezTo>
                <a:cubicBezTo>
                  <a:pt x="658" y="110"/>
                  <a:pt x="651" y="105"/>
                  <a:pt x="655" y="104"/>
                </a:cubicBezTo>
                <a:cubicBezTo>
                  <a:pt x="659" y="104"/>
                  <a:pt x="659" y="106"/>
                  <a:pt x="662" y="108"/>
                </a:cubicBezTo>
                <a:cubicBezTo>
                  <a:pt x="663" y="109"/>
                  <a:pt x="663" y="109"/>
                  <a:pt x="663" y="10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51" name="Freeform 485"/>
          <p:cNvSpPr>
            <a:spLocks/>
          </p:cNvSpPr>
          <p:nvPr userDrawn="1"/>
        </p:nvSpPr>
        <p:spPr bwMode="auto">
          <a:xfrm>
            <a:off x="5999884" y="3991215"/>
            <a:ext cx="18427" cy="16751"/>
          </a:xfrm>
          <a:custGeom>
            <a:avLst/>
            <a:gdLst>
              <a:gd name="T0" fmla="*/ 2147483646 w 19"/>
              <a:gd name="T1" fmla="*/ 0 h 18"/>
              <a:gd name="T2" fmla="*/ 2147483646 w 19"/>
              <a:gd name="T3" fmla="*/ 2147483646 h 18"/>
              <a:gd name="T4" fmla="*/ 2147483646 w 19"/>
              <a:gd name="T5" fmla="*/ 2147483646 h 18"/>
              <a:gd name="T6" fmla="*/ 2147483646 w 19"/>
              <a:gd name="T7" fmla="*/ 2147483646 h 18"/>
              <a:gd name="T8" fmla="*/ 2147483646 w 19"/>
              <a:gd name="T9" fmla="*/ 2147483646 h 18"/>
              <a:gd name="T10" fmla="*/ 2147483646 w 19"/>
              <a:gd name="T11" fmla="*/ 2147483646 h 18"/>
              <a:gd name="T12" fmla="*/ 2147483646 w 19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9"/>
              <a:gd name="T22" fmla="*/ 0 h 18"/>
              <a:gd name="T23" fmla="*/ 19 w 19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9" h="18">
                <a:moveTo>
                  <a:pt x="10" y="0"/>
                </a:moveTo>
                <a:cubicBezTo>
                  <a:pt x="8" y="4"/>
                  <a:pt x="11" y="6"/>
                  <a:pt x="7" y="8"/>
                </a:cubicBezTo>
                <a:cubicBezTo>
                  <a:pt x="4" y="10"/>
                  <a:pt x="0" y="6"/>
                  <a:pt x="4" y="10"/>
                </a:cubicBezTo>
                <a:cubicBezTo>
                  <a:pt x="8" y="15"/>
                  <a:pt x="14" y="18"/>
                  <a:pt x="16" y="16"/>
                </a:cubicBezTo>
                <a:cubicBezTo>
                  <a:pt x="18" y="15"/>
                  <a:pt x="19" y="14"/>
                  <a:pt x="19" y="11"/>
                </a:cubicBezTo>
                <a:cubicBezTo>
                  <a:pt x="19" y="9"/>
                  <a:pt x="17" y="5"/>
                  <a:pt x="15" y="5"/>
                </a:cubicBezTo>
                <a:cubicBezTo>
                  <a:pt x="14" y="5"/>
                  <a:pt x="10" y="0"/>
                  <a:pt x="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52" name="Freeform 486"/>
          <p:cNvSpPr>
            <a:spLocks/>
          </p:cNvSpPr>
          <p:nvPr userDrawn="1"/>
        </p:nvSpPr>
        <p:spPr bwMode="auto">
          <a:xfrm>
            <a:off x="6008261" y="3979491"/>
            <a:ext cx="8375" cy="11725"/>
          </a:xfrm>
          <a:custGeom>
            <a:avLst/>
            <a:gdLst>
              <a:gd name="T0" fmla="*/ 2147483646 w 10"/>
              <a:gd name="T1" fmla="*/ 0 h 11"/>
              <a:gd name="T2" fmla="*/ 2147483646 w 10"/>
              <a:gd name="T3" fmla="*/ 2147483646 h 11"/>
              <a:gd name="T4" fmla="*/ 2147483646 w 10"/>
              <a:gd name="T5" fmla="*/ 2147483646 h 11"/>
              <a:gd name="T6" fmla="*/ 2147483646 w 10"/>
              <a:gd name="T7" fmla="*/ 2147483646 h 11"/>
              <a:gd name="T8" fmla="*/ 2147483646 w 10"/>
              <a:gd name="T9" fmla="*/ 0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"/>
              <a:gd name="T16" fmla="*/ 0 h 11"/>
              <a:gd name="T17" fmla="*/ 10 w 10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" h="11">
                <a:moveTo>
                  <a:pt x="3" y="0"/>
                </a:moveTo>
                <a:cubicBezTo>
                  <a:pt x="3" y="2"/>
                  <a:pt x="0" y="4"/>
                  <a:pt x="4" y="7"/>
                </a:cubicBezTo>
                <a:cubicBezTo>
                  <a:pt x="8" y="9"/>
                  <a:pt x="9" y="11"/>
                  <a:pt x="9" y="9"/>
                </a:cubicBezTo>
                <a:cubicBezTo>
                  <a:pt x="10" y="7"/>
                  <a:pt x="9" y="4"/>
                  <a:pt x="9" y="3"/>
                </a:cubicBezTo>
                <a:cubicBezTo>
                  <a:pt x="9" y="2"/>
                  <a:pt x="3" y="0"/>
                  <a:pt x="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53" name="Freeform 487"/>
          <p:cNvSpPr>
            <a:spLocks/>
          </p:cNvSpPr>
          <p:nvPr userDrawn="1"/>
        </p:nvSpPr>
        <p:spPr bwMode="auto">
          <a:xfrm>
            <a:off x="5812274" y="3996241"/>
            <a:ext cx="78729" cy="51928"/>
          </a:xfrm>
          <a:custGeom>
            <a:avLst/>
            <a:gdLst>
              <a:gd name="T0" fmla="*/ 2147483646 w 84"/>
              <a:gd name="T1" fmla="*/ 2147483646 h 55"/>
              <a:gd name="T2" fmla="*/ 2147483646 w 84"/>
              <a:gd name="T3" fmla="*/ 2147483646 h 55"/>
              <a:gd name="T4" fmla="*/ 2147483646 w 84"/>
              <a:gd name="T5" fmla="*/ 2147483646 h 55"/>
              <a:gd name="T6" fmla="*/ 2147483646 w 84"/>
              <a:gd name="T7" fmla="*/ 2147483646 h 55"/>
              <a:gd name="T8" fmla="*/ 2147483646 w 84"/>
              <a:gd name="T9" fmla="*/ 2147483646 h 55"/>
              <a:gd name="T10" fmla="*/ 2147483646 w 84"/>
              <a:gd name="T11" fmla="*/ 2147483646 h 55"/>
              <a:gd name="T12" fmla="*/ 2147483646 w 84"/>
              <a:gd name="T13" fmla="*/ 2147483646 h 55"/>
              <a:gd name="T14" fmla="*/ 2147483646 w 84"/>
              <a:gd name="T15" fmla="*/ 2147483646 h 55"/>
              <a:gd name="T16" fmla="*/ 2147483646 w 84"/>
              <a:gd name="T17" fmla="*/ 2147483646 h 55"/>
              <a:gd name="T18" fmla="*/ 2147483646 w 84"/>
              <a:gd name="T19" fmla="*/ 2147483646 h 55"/>
              <a:gd name="T20" fmla="*/ 2147483646 w 84"/>
              <a:gd name="T21" fmla="*/ 2147483646 h 55"/>
              <a:gd name="T22" fmla="*/ 2147483646 w 84"/>
              <a:gd name="T23" fmla="*/ 2147483646 h 55"/>
              <a:gd name="T24" fmla="*/ 2147483646 w 84"/>
              <a:gd name="T25" fmla="*/ 2147483646 h 55"/>
              <a:gd name="T26" fmla="*/ 2147483646 w 84"/>
              <a:gd name="T27" fmla="*/ 2147483646 h 55"/>
              <a:gd name="T28" fmla="*/ 2147483646 w 84"/>
              <a:gd name="T29" fmla="*/ 2147483646 h 55"/>
              <a:gd name="T30" fmla="*/ 2147483646 w 84"/>
              <a:gd name="T31" fmla="*/ 2147483646 h 55"/>
              <a:gd name="T32" fmla="*/ 2147483646 w 84"/>
              <a:gd name="T33" fmla="*/ 2147483646 h 55"/>
              <a:gd name="T34" fmla="*/ 2147483646 w 84"/>
              <a:gd name="T35" fmla="*/ 2147483646 h 5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84"/>
              <a:gd name="T55" fmla="*/ 0 h 55"/>
              <a:gd name="T56" fmla="*/ 84 w 84"/>
              <a:gd name="T57" fmla="*/ 55 h 5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84" h="55">
                <a:moveTo>
                  <a:pt x="82" y="4"/>
                </a:moveTo>
                <a:cubicBezTo>
                  <a:pt x="80" y="1"/>
                  <a:pt x="78" y="2"/>
                  <a:pt x="73" y="5"/>
                </a:cubicBezTo>
                <a:cubicBezTo>
                  <a:pt x="69" y="8"/>
                  <a:pt x="62" y="7"/>
                  <a:pt x="59" y="8"/>
                </a:cubicBezTo>
                <a:cubicBezTo>
                  <a:pt x="55" y="9"/>
                  <a:pt x="48" y="12"/>
                  <a:pt x="44" y="11"/>
                </a:cubicBezTo>
                <a:cubicBezTo>
                  <a:pt x="41" y="11"/>
                  <a:pt x="37" y="11"/>
                  <a:pt x="33" y="8"/>
                </a:cubicBezTo>
                <a:cubicBezTo>
                  <a:pt x="28" y="5"/>
                  <a:pt x="24" y="0"/>
                  <a:pt x="21" y="4"/>
                </a:cubicBezTo>
                <a:cubicBezTo>
                  <a:pt x="19" y="8"/>
                  <a:pt x="13" y="10"/>
                  <a:pt x="13" y="10"/>
                </a:cubicBezTo>
                <a:cubicBezTo>
                  <a:pt x="13" y="10"/>
                  <a:pt x="0" y="13"/>
                  <a:pt x="3" y="17"/>
                </a:cubicBezTo>
                <a:cubicBezTo>
                  <a:pt x="7" y="21"/>
                  <a:pt x="7" y="19"/>
                  <a:pt x="15" y="22"/>
                </a:cubicBezTo>
                <a:cubicBezTo>
                  <a:pt x="23" y="26"/>
                  <a:pt x="23" y="25"/>
                  <a:pt x="28" y="31"/>
                </a:cubicBezTo>
                <a:cubicBezTo>
                  <a:pt x="33" y="37"/>
                  <a:pt x="35" y="41"/>
                  <a:pt x="40" y="43"/>
                </a:cubicBezTo>
                <a:cubicBezTo>
                  <a:pt x="46" y="45"/>
                  <a:pt x="47" y="38"/>
                  <a:pt x="50" y="41"/>
                </a:cubicBezTo>
                <a:cubicBezTo>
                  <a:pt x="54" y="44"/>
                  <a:pt x="52" y="46"/>
                  <a:pt x="58" y="49"/>
                </a:cubicBezTo>
                <a:cubicBezTo>
                  <a:pt x="64" y="53"/>
                  <a:pt x="63" y="54"/>
                  <a:pt x="68" y="54"/>
                </a:cubicBezTo>
                <a:cubicBezTo>
                  <a:pt x="74" y="55"/>
                  <a:pt x="76" y="52"/>
                  <a:pt x="76" y="47"/>
                </a:cubicBezTo>
                <a:cubicBezTo>
                  <a:pt x="76" y="43"/>
                  <a:pt x="79" y="38"/>
                  <a:pt x="77" y="35"/>
                </a:cubicBezTo>
                <a:cubicBezTo>
                  <a:pt x="75" y="33"/>
                  <a:pt x="70" y="32"/>
                  <a:pt x="73" y="27"/>
                </a:cubicBezTo>
                <a:cubicBezTo>
                  <a:pt x="75" y="23"/>
                  <a:pt x="84" y="8"/>
                  <a:pt x="82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54" name="Freeform 488"/>
          <p:cNvSpPr>
            <a:spLocks/>
          </p:cNvSpPr>
          <p:nvPr userDrawn="1"/>
        </p:nvSpPr>
        <p:spPr bwMode="auto">
          <a:xfrm>
            <a:off x="5721819" y="3843807"/>
            <a:ext cx="25127" cy="55279"/>
          </a:xfrm>
          <a:custGeom>
            <a:avLst/>
            <a:gdLst>
              <a:gd name="T0" fmla="*/ 2147483646 w 27"/>
              <a:gd name="T1" fmla="*/ 0 h 60"/>
              <a:gd name="T2" fmla="*/ 2147483646 w 27"/>
              <a:gd name="T3" fmla="*/ 2147483646 h 60"/>
              <a:gd name="T4" fmla="*/ 2147483646 w 27"/>
              <a:gd name="T5" fmla="*/ 2147483646 h 60"/>
              <a:gd name="T6" fmla="*/ 2147483646 w 27"/>
              <a:gd name="T7" fmla="*/ 2147483646 h 60"/>
              <a:gd name="T8" fmla="*/ 2147483646 w 27"/>
              <a:gd name="T9" fmla="*/ 2147483646 h 60"/>
              <a:gd name="T10" fmla="*/ 2147483646 w 27"/>
              <a:gd name="T11" fmla="*/ 2147483646 h 60"/>
              <a:gd name="T12" fmla="*/ 2147483646 w 27"/>
              <a:gd name="T13" fmla="*/ 2147483646 h 60"/>
              <a:gd name="T14" fmla="*/ 2147483646 w 27"/>
              <a:gd name="T15" fmla="*/ 2147483646 h 60"/>
              <a:gd name="T16" fmla="*/ 2147483646 w 27"/>
              <a:gd name="T17" fmla="*/ 2147483646 h 60"/>
              <a:gd name="T18" fmla="*/ 2147483646 w 27"/>
              <a:gd name="T19" fmla="*/ 2147483646 h 60"/>
              <a:gd name="T20" fmla="*/ 2147483646 w 27"/>
              <a:gd name="T21" fmla="*/ 2147483646 h 60"/>
              <a:gd name="T22" fmla="*/ 2147483646 w 27"/>
              <a:gd name="T23" fmla="*/ 2147483646 h 60"/>
              <a:gd name="T24" fmla="*/ 2147483646 w 27"/>
              <a:gd name="T25" fmla="*/ 2147483646 h 60"/>
              <a:gd name="T26" fmla="*/ 2147483646 w 27"/>
              <a:gd name="T27" fmla="*/ 2147483646 h 60"/>
              <a:gd name="T28" fmla="*/ 2147483646 w 27"/>
              <a:gd name="T29" fmla="*/ 0 h 6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7"/>
              <a:gd name="T46" fmla="*/ 0 h 60"/>
              <a:gd name="T47" fmla="*/ 27 w 27"/>
              <a:gd name="T48" fmla="*/ 60 h 6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7" h="60">
                <a:moveTo>
                  <a:pt x="22" y="0"/>
                </a:moveTo>
                <a:cubicBezTo>
                  <a:pt x="19" y="0"/>
                  <a:pt x="18" y="3"/>
                  <a:pt x="19" y="5"/>
                </a:cubicBezTo>
                <a:cubicBezTo>
                  <a:pt x="19" y="8"/>
                  <a:pt x="21" y="13"/>
                  <a:pt x="18" y="13"/>
                </a:cubicBezTo>
                <a:cubicBezTo>
                  <a:pt x="16" y="12"/>
                  <a:pt x="14" y="8"/>
                  <a:pt x="12" y="13"/>
                </a:cubicBezTo>
                <a:cubicBezTo>
                  <a:pt x="10" y="17"/>
                  <a:pt x="7" y="19"/>
                  <a:pt x="5" y="21"/>
                </a:cubicBezTo>
                <a:cubicBezTo>
                  <a:pt x="3" y="22"/>
                  <a:pt x="0" y="20"/>
                  <a:pt x="1" y="24"/>
                </a:cubicBezTo>
                <a:cubicBezTo>
                  <a:pt x="1" y="28"/>
                  <a:pt x="2" y="32"/>
                  <a:pt x="3" y="33"/>
                </a:cubicBezTo>
                <a:cubicBezTo>
                  <a:pt x="5" y="34"/>
                  <a:pt x="6" y="36"/>
                  <a:pt x="5" y="40"/>
                </a:cubicBezTo>
                <a:cubicBezTo>
                  <a:pt x="4" y="44"/>
                  <a:pt x="3" y="48"/>
                  <a:pt x="6" y="50"/>
                </a:cubicBezTo>
                <a:cubicBezTo>
                  <a:pt x="9" y="51"/>
                  <a:pt x="9" y="47"/>
                  <a:pt x="9" y="51"/>
                </a:cubicBezTo>
                <a:cubicBezTo>
                  <a:pt x="9" y="55"/>
                  <a:pt x="9" y="57"/>
                  <a:pt x="11" y="59"/>
                </a:cubicBezTo>
                <a:cubicBezTo>
                  <a:pt x="14" y="60"/>
                  <a:pt x="16" y="60"/>
                  <a:pt x="17" y="59"/>
                </a:cubicBezTo>
                <a:cubicBezTo>
                  <a:pt x="19" y="57"/>
                  <a:pt x="25" y="39"/>
                  <a:pt x="26" y="33"/>
                </a:cubicBezTo>
                <a:cubicBezTo>
                  <a:pt x="27" y="27"/>
                  <a:pt x="26" y="20"/>
                  <a:pt x="24" y="17"/>
                </a:cubicBezTo>
                <a:cubicBezTo>
                  <a:pt x="22" y="14"/>
                  <a:pt x="22" y="0"/>
                  <a:pt x="2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55" name="Freeform 489"/>
          <p:cNvSpPr>
            <a:spLocks/>
          </p:cNvSpPr>
          <p:nvPr userDrawn="1"/>
        </p:nvSpPr>
        <p:spPr bwMode="auto">
          <a:xfrm>
            <a:off x="5708419" y="3907460"/>
            <a:ext cx="45228" cy="73704"/>
          </a:xfrm>
          <a:custGeom>
            <a:avLst/>
            <a:gdLst>
              <a:gd name="T0" fmla="*/ 2147483646 w 48"/>
              <a:gd name="T1" fmla="*/ 2147483646 h 79"/>
              <a:gd name="T2" fmla="*/ 2147483646 w 48"/>
              <a:gd name="T3" fmla="*/ 2147483646 h 79"/>
              <a:gd name="T4" fmla="*/ 2147483646 w 48"/>
              <a:gd name="T5" fmla="*/ 2147483646 h 79"/>
              <a:gd name="T6" fmla="*/ 2147483646 w 48"/>
              <a:gd name="T7" fmla="*/ 2147483646 h 79"/>
              <a:gd name="T8" fmla="*/ 2147483646 w 48"/>
              <a:gd name="T9" fmla="*/ 2147483646 h 79"/>
              <a:gd name="T10" fmla="*/ 2147483646 w 48"/>
              <a:gd name="T11" fmla="*/ 2147483646 h 79"/>
              <a:gd name="T12" fmla="*/ 2147483646 w 48"/>
              <a:gd name="T13" fmla="*/ 2147483646 h 79"/>
              <a:gd name="T14" fmla="*/ 2147483646 w 48"/>
              <a:gd name="T15" fmla="*/ 2147483646 h 79"/>
              <a:gd name="T16" fmla="*/ 2147483646 w 48"/>
              <a:gd name="T17" fmla="*/ 2147483646 h 79"/>
              <a:gd name="T18" fmla="*/ 2147483646 w 48"/>
              <a:gd name="T19" fmla="*/ 2147483646 h 79"/>
              <a:gd name="T20" fmla="*/ 2147483646 w 48"/>
              <a:gd name="T21" fmla="*/ 2147483646 h 79"/>
              <a:gd name="T22" fmla="*/ 2147483646 w 48"/>
              <a:gd name="T23" fmla="*/ 2147483646 h 79"/>
              <a:gd name="T24" fmla="*/ 2147483646 w 48"/>
              <a:gd name="T25" fmla="*/ 2147483646 h 79"/>
              <a:gd name="T26" fmla="*/ 2147483646 w 48"/>
              <a:gd name="T27" fmla="*/ 2147483646 h 79"/>
              <a:gd name="T28" fmla="*/ 2147483646 w 48"/>
              <a:gd name="T29" fmla="*/ 2147483646 h 79"/>
              <a:gd name="T30" fmla="*/ 2147483646 w 48"/>
              <a:gd name="T31" fmla="*/ 2147483646 h 79"/>
              <a:gd name="T32" fmla="*/ 2147483646 w 48"/>
              <a:gd name="T33" fmla="*/ 2147483646 h 79"/>
              <a:gd name="T34" fmla="*/ 2147483646 w 48"/>
              <a:gd name="T35" fmla="*/ 2147483646 h 79"/>
              <a:gd name="T36" fmla="*/ 2147483646 w 48"/>
              <a:gd name="T37" fmla="*/ 2147483646 h 79"/>
              <a:gd name="T38" fmla="*/ 2147483646 w 48"/>
              <a:gd name="T39" fmla="*/ 2147483646 h 79"/>
              <a:gd name="T40" fmla="*/ 2147483646 w 48"/>
              <a:gd name="T41" fmla="*/ 2147483646 h 7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8"/>
              <a:gd name="T64" fmla="*/ 0 h 79"/>
              <a:gd name="T65" fmla="*/ 48 w 48"/>
              <a:gd name="T66" fmla="*/ 79 h 79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8" h="79">
                <a:moveTo>
                  <a:pt x="31" y="1"/>
                </a:moveTo>
                <a:cubicBezTo>
                  <a:pt x="29" y="0"/>
                  <a:pt x="28" y="3"/>
                  <a:pt x="26" y="5"/>
                </a:cubicBezTo>
                <a:cubicBezTo>
                  <a:pt x="23" y="7"/>
                  <a:pt x="18" y="11"/>
                  <a:pt x="15" y="10"/>
                </a:cubicBezTo>
                <a:cubicBezTo>
                  <a:pt x="12" y="9"/>
                  <a:pt x="9" y="10"/>
                  <a:pt x="9" y="7"/>
                </a:cubicBezTo>
                <a:cubicBezTo>
                  <a:pt x="9" y="5"/>
                  <a:pt x="9" y="1"/>
                  <a:pt x="7" y="2"/>
                </a:cubicBezTo>
                <a:cubicBezTo>
                  <a:pt x="6" y="3"/>
                  <a:pt x="0" y="10"/>
                  <a:pt x="4" y="14"/>
                </a:cubicBezTo>
                <a:cubicBezTo>
                  <a:pt x="8" y="17"/>
                  <a:pt x="7" y="19"/>
                  <a:pt x="9" y="22"/>
                </a:cubicBezTo>
                <a:cubicBezTo>
                  <a:pt x="10" y="25"/>
                  <a:pt x="13" y="31"/>
                  <a:pt x="14" y="36"/>
                </a:cubicBezTo>
                <a:cubicBezTo>
                  <a:pt x="15" y="40"/>
                  <a:pt x="11" y="54"/>
                  <a:pt x="10" y="57"/>
                </a:cubicBezTo>
                <a:cubicBezTo>
                  <a:pt x="9" y="60"/>
                  <a:pt x="4" y="59"/>
                  <a:pt x="9" y="62"/>
                </a:cubicBezTo>
                <a:cubicBezTo>
                  <a:pt x="13" y="65"/>
                  <a:pt x="12" y="70"/>
                  <a:pt x="14" y="74"/>
                </a:cubicBezTo>
                <a:cubicBezTo>
                  <a:pt x="16" y="79"/>
                  <a:pt x="18" y="74"/>
                  <a:pt x="22" y="75"/>
                </a:cubicBezTo>
                <a:cubicBezTo>
                  <a:pt x="26" y="76"/>
                  <a:pt x="36" y="63"/>
                  <a:pt x="37" y="65"/>
                </a:cubicBezTo>
                <a:cubicBezTo>
                  <a:pt x="38" y="67"/>
                  <a:pt x="37" y="73"/>
                  <a:pt x="40" y="70"/>
                </a:cubicBezTo>
                <a:cubicBezTo>
                  <a:pt x="43" y="68"/>
                  <a:pt x="45" y="66"/>
                  <a:pt x="44" y="60"/>
                </a:cubicBezTo>
                <a:cubicBezTo>
                  <a:pt x="43" y="54"/>
                  <a:pt x="43" y="47"/>
                  <a:pt x="44" y="43"/>
                </a:cubicBezTo>
                <a:cubicBezTo>
                  <a:pt x="46" y="39"/>
                  <a:pt x="48" y="35"/>
                  <a:pt x="46" y="33"/>
                </a:cubicBezTo>
                <a:cubicBezTo>
                  <a:pt x="44" y="30"/>
                  <a:pt x="47" y="24"/>
                  <a:pt x="47" y="22"/>
                </a:cubicBezTo>
                <a:cubicBezTo>
                  <a:pt x="47" y="20"/>
                  <a:pt x="47" y="16"/>
                  <a:pt x="45" y="12"/>
                </a:cubicBezTo>
                <a:cubicBezTo>
                  <a:pt x="43" y="8"/>
                  <a:pt x="41" y="5"/>
                  <a:pt x="41" y="3"/>
                </a:cubicBezTo>
                <a:cubicBezTo>
                  <a:pt x="41" y="1"/>
                  <a:pt x="31" y="1"/>
                  <a:pt x="31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56" name="Freeform 490"/>
          <p:cNvSpPr>
            <a:spLocks/>
          </p:cNvSpPr>
          <p:nvPr userDrawn="1"/>
        </p:nvSpPr>
        <p:spPr bwMode="auto">
          <a:xfrm>
            <a:off x="5572736" y="3942639"/>
            <a:ext cx="30152" cy="25125"/>
          </a:xfrm>
          <a:custGeom>
            <a:avLst/>
            <a:gdLst>
              <a:gd name="T0" fmla="*/ 2147483646 w 32"/>
              <a:gd name="T1" fmla="*/ 2147483646 h 27"/>
              <a:gd name="T2" fmla="*/ 2147483646 w 32"/>
              <a:gd name="T3" fmla="*/ 2147483646 h 27"/>
              <a:gd name="T4" fmla="*/ 2147483646 w 32"/>
              <a:gd name="T5" fmla="*/ 2147483646 h 27"/>
              <a:gd name="T6" fmla="*/ 2147483646 w 32"/>
              <a:gd name="T7" fmla="*/ 2147483646 h 27"/>
              <a:gd name="T8" fmla="*/ 2147483646 w 32"/>
              <a:gd name="T9" fmla="*/ 2147483646 h 27"/>
              <a:gd name="T10" fmla="*/ 2147483646 w 32"/>
              <a:gd name="T11" fmla="*/ 2147483646 h 27"/>
              <a:gd name="T12" fmla="*/ 2147483646 w 32"/>
              <a:gd name="T13" fmla="*/ 2147483646 h 27"/>
              <a:gd name="T14" fmla="*/ 2147483646 w 32"/>
              <a:gd name="T15" fmla="*/ 2147483646 h 2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2"/>
              <a:gd name="T25" fmla="*/ 0 h 27"/>
              <a:gd name="T26" fmla="*/ 32 w 32"/>
              <a:gd name="T27" fmla="*/ 27 h 2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2" h="27">
                <a:moveTo>
                  <a:pt x="18" y="2"/>
                </a:moveTo>
                <a:cubicBezTo>
                  <a:pt x="14" y="4"/>
                  <a:pt x="7" y="5"/>
                  <a:pt x="6" y="8"/>
                </a:cubicBezTo>
                <a:cubicBezTo>
                  <a:pt x="5" y="10"/>
                  <a:pt x="0" y="16"/>
                  <a:pt x="5" y="18"/>
                </a:cubicBezTo>
                <a:cubicBezTo>
                  <a:pt x="11" y="20"/>
                  <a:pt x="10" y="13"/>
                  <a:pt x="17" y="20"/>
                </a:cubicBezTo>
                <a:cubicBezTo>
                  <a:pt x="23" y="27"/>
                  <a:pt x="28" y="20"/>
                  <a:pt x="30" y="16"/>
                </a:cubicBezTo>
                <a:cubicBezTo>
                  <a:pt x="32" y="12"/>
                  <a:pt x="27" y="9"/>
                  <a:pt x="26" y="7"/>
                </a:cubicBezTo>
                <a:cubicBezTo>
                  <a:pt x="24" y="5"/>
                  <a:pt x="27" y="1"/>
                  <a:pt x="25" y="1"/>
                </a:cubicBezTo>
                <a:cubicBezTo>
                  <a:pt x="24" y="0"/>
                  <a:pt x="18" y="2"/>
                  <a:pt x="18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57" name="Freeform 491"/>
          <p:cNvSpPr>
            <a:spLocks/>
          </p:cNvSpPr>
          <p:nvPr userDrawn="1"/>
        </p:nvSpPr>
        <p:spPr bwMode="auto">
          <a:xfrm>
            <a:off x="5604563" y="3937612"/>
            <a:ext cx="20101" cy="10051"/>
          </a:xfrm>
          <a:custGeom>
            <a:avLst/>
            <a:gdLst>
              <a:gd name="T0" fmla="*/ 2147483646 w 22"/>
              <a:gd name="T1" fmla="*/ 2147483646 h 10"/>
              <a:gd name="T2" fmla="*/ 2147483646 w 22"/>
              <a:gd name="T3" fmla="*/ 2147483646 h 10"/>
              <a:gd name="T4" fmla="*/ 2147483646 w 22"/>
              <a:gd name="T5" fmla="*/ 2147483646 h 10"/>
              <a:gd name="T6" fmla="*/ 2147483646 w 22"/>
              <a:gd name="T7" fmla="*/ 2147483646 h 10"/>
              <a:gd name="T8" fmla="*/ 2147483646 w 22"/>
              <a:gd name="T9" fmla="*/ 0 h 10"/>
              <a:gd name="T10" fmla="*/ 2147483646 w 22"/>
              <a:gd name="T11" fmla="*/ 2147483646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2"/>
              <a:gd name="T19" fmla="*/ 0 h 10"/>
              <a:gd name="T20" fmla="*/ 22 w 22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2" h="10">
                <a:moveTo>
                  <a:pt x="8" y="1"/>
                </a:moveTo>
                <a:cubicBezTo>
                  <a:pt x="6" y="2"/>
                  <a:pt x="0" y="6"/>
                  <a:pt x="9" y="8"/>
                </a:cubicBezTo>
                <a:cubicBezTo>
                  <a:pt x="17" y="9"/>
                  <a:pt x="15" y="10"/>
                  <a:pt x="18" y="8"/>
                </a:cubicBezTo>
                <a:cubicBezTo>
                  <a:pt x="22" y="7"/>
                  <a:pt x="20" y="1"/>
                  <a:pt x="18" y="1"/>
                </a:cubicBezTo>
                <a:cubicBezTo>
                  <a:pt x="17" y="1"/>
                  <a:pt x="13" y="0"/>
                  <a:pt x="13" y="0"/>
                </a:cubicBezTo>
                <a:lnTo>
                  <a:pt x="8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58" name="Freeform 492"/>
          <p:cNvSpPr>
            <a:spLocks/>
          </p:cNvSpPr>
          <p:nvPr userDrawn="1"/>
        </p:nvSpPr>
        <p:spPr bwMode="auto">
          <a:xfrm>
            <a:off x="5555986" y="3961065"/>
            <a:ext cx="13401" cy="16751"/>
          </a:xfrm>
          <a:custGeom>
            <a:avLst/>
            <a:gdLst>
              <a:gd name="T0" fmla="*/ 2147483646 w 14"/>
              <a:gd name="T1" fmla="*/ 2147483646 h 19"/>
              <a:gd name="T2" fmla="*/ 2147483646 w 14"/>
              <a:gd name="T3" fmla="*/ 2147483646 h 19"/>
              <a:gd name="T4" fmla="*/ 2147483646 w 14"/>
              <a:gd name="T5" fmla="*/ 2147483646 h 19"/>
              <a:gd name="T6" fmla="*/ 2147483646 w 14"/>
              <a:gd name="T7" fmla="*/ 2147483646 h 19"/>
              <a:gd name="T8" fmla="*/ 2147483646 w 14"/>
              <a:gd name="T9" fmla="*/ 2147483646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19"/>
              <a:gd name="T17" fmla="*/ 14 w 14"/>
              <a:gd name="T18" fmla="*/ 19 h 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19">
                <a:moveTo>
                  <a:pt x="2" y="9"/>
                </a:moveTo>
                <a:cubicBezTo>
                  <a:pt x="0" y="12"/>
                  <a:pt x="1" y="19"/>
                  <a:pt x="5" y="19"/>
                </a:cubicBezTo>
                <a:cubicBezTo>
                  <a:pt x="8" y="19"/>
                  <a:pt x="5" y="13"/>
                  <a:pt x="10" y="13"/>
                </a:cubicBezTo>
                <a:cubicBezTo>
                  <a:pt x="14" y="13"/>
                  <a:pt x="13" y="0"/>
                  <a:pt x="11" y="2"/>
                </a:cubicBezTo>
                <a:cubicBezTo>
                  <a:pt x="8" y="4"/>
                  <a:pt x="2" y="9"/>
                  <a:pt x="2" y="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59" name="Freeform 493"/>
          <p:cNvSpPr>
            <a:spLocks/>
          </p:cNvSpPr>
          <p:nvPr userDrawn="1"/>
        </p:nvSpPr>
        <p:spPr bwMode="auto">
          <a:xfrm>
            <a:off x="6293026" y="4068270"/>
            <a:ext cx="60303" cy="46903"/>
          </a:xfrm>
          <a:custGeom>
            <a:avLst/>
            <a:gdLst>
              <a:gd name="T0" fmla="*/ 2147483646 w 66"/>
              <a:gd name="T1" fmla="*/ 2147483646 h 49"/>
              <a:gd name="T2" fmla="*/ 2147483646 w 66"/>
              <a:gd name="T3" fmla="*/ 2147483646 h 49"/>
              <a:gd name="T4" fmla="*/ 2147483646 w 66"/>
              <a:gd name="T5" fmla="*/ 2147483646 h 49"/>
              <a:gd name="T6" fmla="*/ 2147483646 w 66"/>
              <a:gd name="T7" fmla="*/ 2147483646 h 49"/>
              <a:gd name="T8" fmla="*/ 2147483646 w 66"/>
              <a:gd name="T9" fmla="*/ 2147483646 h 49"/>
              <a:gd name="T10" fmla="*/ 2147483646 w 66"/>
              <a:gd name="T11" fmla="*/ 2147483646 h 49"/>
              <a:gd name="T12" fmla="*/ 2147483646 w 66"/>
              <a:gd name="T13" fmla="*/ 2147483646 h 49"/>
              <a:gd name="T14" fmla="*/ 2147483646 w 66"/>
              <a:gd name="T15" fmla="*/ 2147483646 h 49"/>
              <a:gd name="T16" fmla="*/ 2147483646 w 66"/>
              <a:gd name="T17" fmla="*/ 2147483646 h 49"/>
              <a:gd name="T18" fmla="*/ 2147483646 w 66"/>
              <a:gd name="T19" fmla="*/ 2147483646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6"/>
              <a:gd name="T31" fmla="*/ 0 h 49"/>
              <a:gd name="T32" fmla="*/ 66 w 66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6" h="49">
                <a:moveTo>
                  <a:pt x="25" y="21"/>
                </a:moveTo>
                <a:cubicBezTo>
                  <a:pt x="21" y="21"/>
                  <a:pt x="20" y="24"/>
                  <a:pt x="15" y="24"/>
                </a:cubicBezTo>
                <a:cubicBezTo>
                  <a:pt x="11" y="24"/>
                  <a:pt x="7" y="20"/>
                  <a:pt x="5" y="26"/>
                </a:cubicBezTo>
                <a:cubicBezTo>
                  <a:pt x="3" y="33"/>
                  <a:pt x="0" y="34"/>
                  <a:pt x="5" y="37"/>
                </a:cubicBezTo>
                <a:cubicBezTo>
                  <a:pt x="11" y="40"/>
                  <a:pt x="13" y="49"/>
                  <a:pt x="20" y="44"/>
                </a:cubicBezTo>
                <a:cubicBezTo>
                  <a:pt x="27" y="38"/>
                  <a:pt x="41" y="30"/>
                  <a:pt x="44" y="31"/>
                </a:cubicBezTo>
                <a:cubicBezTo>
                  <a:pt x="53" y="34"/>
                  <a:pt x="48" y="21"/>
                  <a:pt x="48" y="21"/>
                </a:cubicBezTo>
                <a:cubicBezTo>
                  <a:pt x="48" y="21"/>
                  <a:pt x="66" y="10"/>
                  <a:pt x="64" y="5"/>
                </a:cubicBezTo>
                <a:cubicBezTo>
                  <a:pt x="62" y="0"/>
                  <a:pt x="52" y="14"/>
                  <a:pt x="43" y="15"/>
                </a:cubicBezTo>
                <a:cubicBezTo>
                  <a:pt x="35" y="16"/>
                  <a:pt x="25" y="21"/>
                  <a:pt x="25" y="2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60" name="Freeform 494"/>
          <p:cNvSpPr>
            <a:spLocks/>
          </p:cNvSpPr>
          <p:nvPr userDrawn="1"/>
        </p:nvSpPr>
        <p:spPr bwMode="auto">
          <a:xfrm>
            <a:off x="6076939" y="4076646"/>
            <a:ext cx="75380" cy="26801"/>
          </a:xfrm>
          <a:custGeom>
            <a:avLst/>
            <a:gdLst>
              <a:gd name="T0" fmla="*/ 2147483646 w 80"/>
              <a:gd name="T1" fmla="*/ 2147483646 h 29"/>
              <a:gd name="T2" fmla="*/ 2147483646 w 80"/>
              <a:gd name="T3" fmla="*/ 2147483646 h 29"/>
              <a:gd name="T4" fmla="*/ 2147483646 w 80"/>
              <a:gd name="T5" fmla="*/ 2147483646 h 29"/>
              <a:gd name="T6" fmla="*/ 2147483646 w 80"/>
              <a:gd name="T7" fmla="*/ 2147483646 h 29"/>
              <a:gd name="T8" fmla="*/ 2147483646 w 80"/>
              <a:gd name="T9" fmla="*/ 2147483646 h 29"/>
              <a:gd name="T10" fmla="*/ 2147483646 w 80"/>
              <a:gd name="T11" fmla="*/ 2147483646 h 29"/>
              <a:gd name="T12" fmla="*/ 2147483646 w 80"/>
              <a:gd name="T13" fmla="*/ 2147483646 h 29"/>
              <a:gd name="T14" fmla="*/ 2147483646 w 80"/>
              <a:gd name="T15" fmla="*/ 2147483646 h 29"/>
              <a:gd name="T16" fmla="*/ 2147483646 w 80"/>
              <a:gd name="T17" fmla="*/ 2147483646 h 29"/>
              <a:gd name="T18" fmla="*/ 2147483646 w 80"/>
              <a:gd name="T19" fmla="*/ 2147483646 h 29"/>
              <a:gd name="T20" fmla="*/ 2147483646 w 80"/>
              <a:gd name="T21" fmla="*/ 2147483646 h 29"/>
              <a:gd name="T22" fmla="*/ 2147483646 w 80"/>
              <a:gd name="T23" fmla="*/ 2147483646 h 2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0"/>
              <a:gd name="T37" fmla="*/ 0 h 29"/>
              <a:gd name="T38" fmla="*/ 80 w 80"/>
              <a:gd name="T39" fmla="*/ 29 h 2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0" h="29">
                <a:moveTo>
                  <a:pt x="36" y="6"/>
                </a:moveTo>
                <a:cubicBezTo>
                  <a:pt x="30" y="8"/>
                  <a:pt x="21" y="3"/>
                  <a:pt x="21" y="3"/>
                </a:cubicBezTo>
                <a:cubicBezTo>
                  <a:pt x="21" y="3"/>
                  <a:pt x="14" y="0"/>
                  <a:pt x="12" y="2"/>
                </a:cubicBezTo>
                <a:cubicBezTo>
                  <a:pt x="9" y="4"/>
                  <a:pt x="0" y="9"/>
                  <a:pt x="6" y="12"/>
                </a:cubicBezTo>
                <a:cubicBezTo>
                  <a:pt x="13" y="15"/>
                  <a:pt x="22" y="13"/>
                  <a:pt x="28" y="16"/>
                </a:cubicBezTo>
                <a:cubicBezTo>
                  <a:pt x="35" y="19"/>
                  <a:pt x="35" y="19"/>
                  <a:pt x="41" y="24"/>
                </a:cubicBezTo>
                <a:cubicBezTo>
                  <a:pt x="48" y="29"/>
                  <a:pt x="48" y="21"/>
                  <a:pt x="58" y="22"/>
                </a:cubicBezTo>
                <a:cubicBezTo>
                  <a:pt x="68" y="23"/>
                  <a:pt x="71" y="22"/>
                  <a:pt x="74" y="19"/>
                </a:cubicBezTo>
                <a:cubicBezTo>
                  <a:pt x="77" y="16"/>
                  <a:pt x="80" y="12"/>
                  <a:pt x="76" y="12"/>
                </a:cubicBezTo>
                <a:cubicBezTo>
                  <a:pt x="72" y="12"/>
                  <a:pt x="59" y="12"/>
                  <a:pt x="56" y="12"/>
                </a:cubicBezTo>
                <a:cubicBezTo>
                  <a:pt x="54" y="12"/>
                  <a:pt x="41" y="12"/>
                  <a:pt x="41" y="12"/>
                </a:cubicBezTo>
                <a:lnTo>
                  <a:pt x="36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61" name="Freeform 495"/>
          <p:cNvSpPr>
            <a:spLocks/>
          </p:cNvSpPr>
          <p:nvPr userDrawn="1"/>
        </p:nvSpPr>
        <p:spPr bwMode="auto">
          <a:xfrm>
            <a:off x="6108766" y="4006293"/>
            <a:ext cx="16751" cy="18425"/>
          </a:xfrm>
          <a:custGeom>
            <a:avLst/>
            <a:gdLst>
              <a:gd name="T0" fmla="*/ 2147483646 w 17"/>
              <a:gd name="T1" fmla="*/ 0 h 20"/>
              <a:gd name="T2" fmla="*/ 2147483646 w 17"/>
              <a:gd name="T3" fmla="*/ 2147483646 h 20"/>
              <a:gd name="T4" fmla="*/ 2147483646 w 17"/>
              <a:gd name="T5" fmla="*/ 2147483646 h 20"/>
              <a:gd name="T6" fmla="*/ 2147483646 w 17"/>
              <a:gd name="T7" fmla="*/ 2147483646 h 20"/>
              <a:gd name="T8" fmla="*/ 2147483646 w 17"/>
              <a:gd name="T9" fmla="*/ 2147483646 h 20"/>
              <a:gd name="T10" fmla="*/ 2147483646 w 17"/>
              <a:gd name="T11" fmla="*/ 2147483646 h 20"/>
              <a:gd name="T12" fmla="*/ 2147483646 w 17"/>
              <a:gd name="T13" fmla="*/ 2147483646 h 20"/>
              <a:gd name="T14" fmla="*/ 2147483646 w 17"/>
              <a:gd name="T15" fmla="*/ 0 h 2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7"/>
              <a:gd name="T25" fmla="*/ 0 h 20"/>
              <a:gd name="T26" fmla="*/ 17 w 17"/>
              <a:gd name="T27" fmla="*/ 20 h 2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7" h="20">
                <a:moveTo>
                  <a:pt x="4" y="0"/>
                </a:moveTo>
                <a:cubicBezTo>
                  <a:pt x="2" y="1"/>
                  <a:pt x="0" y="4"/>
                  <a:pt x="3" y="6"/>
                </a:cubicBezTo>
                <a:cubicBezTo>
                  <a:pt x="7" y="8"/>
                  <a:pt x="9" y="6"/>
                  <a:pt x="9" y="11"/>
                </a:cubicBezTo>
                <a:cubicBezTo>
                  <a:pt x="10" y="15"/>
                  <a:pt x="11" y="17"/>
                  <a:pt x="14" y="18"/>
                </a:cubicBezTo>
                <a:cubicBezTo>
                  <a:pt x="16" y="20"/>
                  <a:pt x="17" y="19"/>
                  <a:pt x="17" y="18"/>
                </a:cubicBezTo>
                <a:cubicBezTo>
                  <a:pt x="17" y="17"/>
                  <a:pt x="16" y="12"/>
                  <a:pt x="15" y="12"/>
                </a:cubicBezTo>
                <a:cubicBezTo>
                  <a:pt x="14" y="12"/>
                  <a:pt x="13" y="8"/>
                  <a:pt x="12" y="7"/>
                </a:cubicBezTo>
                <a:cubicBezTo>
                  <a:pt x="11" y="6"/>
                  <a:pt x="4" y="0"/>
                  <a:pt x="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62" name="Freeform 496"/>
          <p:cNvSpPr>
            <a:spLocks/>
          </p:cNvSpPr>
          <p:nvPr userDrawn="1"/>
        </p:nvSpPr>
        <p:spPr bwMode="auto">
          <a:xfrm>
            <a:off x="6127191" y="4021368"/>
            <a:ext cx="3351" cy="5025"/>
          </a:xfrm>
          <a:custGeom>
            <a:avLst/>
            <a:gdLst>
              <a:gd name="T0" fmla="*/ 2147483646 w 4"/>
              <a:gd name="T1" fmla="*/ 0 h 4"/>
              <a:gd name="T2" fmla="*/ 2147483646 w 4"/>
              <a:gd name="T3" fmla="*/ 2147483646 h 4"/>
              <a:gd name="T4" fmla="*/ 2147483646 w 4"/>
              <a:gd name="T5" fmla="*/ 2147483646 h 4"/>
              <a:gd name="T6" fmla="*/ 2147483646 w 4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4"/>
              <a:gd name="T14" fmla="*/ 4 w 4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4">
                <a:moveTo>
                  <a:pt x="2" y="0"/>
                </a:moveTo>
                <a:cubicBezTo>
                  <a:pt x="1" y="1"/>
                  <a:pt x="0" y="4"/>
                  <a:pt x="1" y="4"/>
                </a:cubicBezTo>
                <a:cubicBezTo>
                  <a:pt x="3" y="4"/>
                  <a:pt x="4" y="3"/>
                  <a:pt x="4" y="2"/>
                </a:cubicBezTo>
                <a:cubicBezTo>
                  <a:pt x="4" y="1"/>
                  <a:pt x="2" y="0"/>
                  <a:pt x="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63" name="Freeform 497"/>
          <p:cNvSpPr>
            <a:spLocks/>
          </p:cNvSpPr>
          <p:nvPr userDrawn="1"/>
        </p:nvSpPr>
        <p:spPr bwMode="auto">
          <a:xfrm>
            <a:off x="6128868" y="4031418"/>
            <a:ext cx="5025" cy="6700"/>
          </a:xfrm>
          <a:custGeom>
            <a:avLst/>
            <a:gdLst>
              <a:gd name="T0" fmla="*/ 2147483646 w 5"/>
              <a:gd name="T1" fmla="*/ 0 h 7"/>
              <a:gd name="T2" fmla="*/ 2147483646 w 5"/>
              <a:gd name="T3" fmla="*/ 2147483646 h 7"/>
              <a:gd name="T4" fmla="*/ 2147483646 w 5"/>
              <a:gd name="T5" fmla="*/ 2147483646 h 7"/>
              <a:gd name="T6" fmla="*/ 2147483646 w 5"/>
              <a:gd name="T7" fmla="*/ 0 h 7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7"/>
              <a:gd name="T14" fmla="*/ 5 w 5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7">
                <a:moveTo>
                  <a:pt x="1" y="0"/>
                </a:moveTo>
                <a:cubicBezTo>
                  <a:pt x="1" y="1"/>
                  <a:pt x="0" y="7"/>
                  <a:pt x="2" y="7"/>
                </a:cubicBezTo>
                <a:cubicBezTo>
                  <a:pt x="3" y="7"/>
                  <a:pt x="5" y="4"/>
                  <a:pt x="5" y="4"/>
                </a:cubicBezTo>
                <a:lnTo>
                  <a:pt x="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64" name="Freeform 498"/>
          <p:cNvSpPr>
            <a:spLocks/>
          </p:cNvSpPr>
          <p:nvPr userDrawn="1"/>
        </p:nvSpPr>
        <p:spPr bwMode="auto">
          <a:xfrm>
            <a:off x="6117141" y="4029743"/>
            <a:ext cx="10051" cy="8375"/>
          </a:xfrm>
          <a:custGeom>
            <a:avLst/>
            <a:gdLst>
              <a:gd name="T0" fmla="*/ 2147483646 w 10"/>
              <a:gd name="T1" fmla="*/ 2147483646 h 10"/>
              <a:gd name="T2" fmla="*/ 2147483646 w 10"/>
              <a:gd name="T3" fmla="*/ 2147483646 h 10"/>
              <a:gd name="T4" fmla="*/ 2147483646 w 10"/>
              <a:gd name="T5" fmla="*/ 2147483646 h 10"/>
              <a:gd name="T6" fmla="*/ 0 60000 65536"/>
              <a:gd name="T7" fmla="*/ 0 60000 65536"/>
              <a:gd name="T8" fmla="*/ 0 60000 65536"/>
              <a:gd name="T9" fmla="*/ 0 w 10"/>
              <a:gd name="T10" fmla="*/ 0 h 10"/>
              <a:gd name="T11" fmla="*/ 10 w 10"/>
              <a:gd name="T12" fmla="*/ 10 h 1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10">
                <a:moveTo>
                  <a:pt x="5" y="3"/>
                </a:moveTo>
                <a:cubicBezTo>
                  <a:pt x="0" y="5"/>
                  <a:pt x="7" y="10"/>
                  <a:pt x="7" y="10"/>
                </a:cubicBezTo>
                <a:cubicBezTo>
                  <a:pt x="7" y="10"/>
                  <a:pt x="10" y="0"/>
                  <a:pt x="5" y="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65" name="Freeform 499"/>
          <p:cNvSpPr>
            <a:spLocks/>
          </p:cNvSpPr>
          <p:nvPr userDrawn="1"/>
        </p:nvSpPr>
        <p:spPr bwMode="auto">
          <a:xfrm>
            <a:off x="6123842" y="4041469"/>
            <a:ext cx="5025" cy="5025"/>
          </a:xfrm>
          <a:custGeom>
            <a:avLst/>
            <a:gdLst>
              <a:gd name="T0" fmla="*/ 2147483646 w 6"/>
              <a:gd name="T1" fmla="*/ 2147483646 h 6"/>
              <a:gd name="T2" fmla="*/ 2147483646 w 6"/>
              <a:gd name="T3" fmla="*/ 2147483646 h 6"/>
              <a:gd name="T4" fmla="*/ 2147483646 w 6"/>
              <a:gd name="T5" fmla="*/ 2147483646 h 6"/>
              <a:gd name="T6" fmla="*/ 2147483646 w 6"/>
              <a:gd name="T7" fmla="*/ 2147483646 h 6"/>
              <a:gd name="T8" fmla="*/ 2147483646 w 6"/>
              <a:gd name="T9" fmla="*/ 2147483646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3" y="2"/>
                </a:moveTo>
                <a:cubicBezTo>
                  <a:pt x="2" y="2"/>
                  <a:pt x="0" y="6"/>
                  <a:pt x="3" y="6"/>
                </a:cubicBezTo>
                <a:cubicBezTo>
                  <a:pt x="5" y="6"/>
                  <a:pt x="6" y="5"/>
                  <a:pt x="6" y="4"/>
                </a:cubicBezTo>
                <a:cubicBezTo>
                  <a:pt x="6" y="2"/>
                  <a:pt x="5" y="0"/>
                  <a:pt x="3" y="1"/>
                </a:cubicBezTo>
                <a:cubicBezTo>
                  <a:pt x="1" y="2"/>
                  <a:pt x="3" y="2"/>
                  <a:pt x="3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66" name="Freeform 500"/>
          <p:cNvSpPr>
            <a:spLocks/>
          </p:cNvSpPr>
          <p:nvPr userDrawn="1"/>
        </p:nvSpPr>
        <p:spPr bwMode="auto">
          <a:xfrm>
            <a:off x="6105417" y="4024718"/>
            <a:ext cx="3351" cy="5025"/>
          </a:xfrm>
          <a:custGeom>
            <a:avLst/>
            <a:gdLst>
              <a:gd name="T0" fmla="*/ 2147483646 w 5"/>
              <a:gd name="T1" fmla="*/ 2147483646 h 5"/>
              <a:gd name="T2" fmla="*/ 2147483646 w 5"/>
              <a:gd name="T3" fmla="*/ 2147483646 h 5"/>
              <a:gd name="T4" fmla="*/ 2147483646 w 5"/>
              <a:gd name="T5" fmla="*/ 0 h 5"/>
              <a:gd name="T6" fmla="*/ 0 60000 65536"/>
              <a:gd name="T7" fmla="*/ 0 60000 65536"/>
              <a:gd name="T8" fmla="*/ 0 60000 65536"/>
              <a:gd name="T9" fmla="*/ 0 w 5"/>
              <a:gd name="T10" fmla="*/ 0 h 5"/>
              <a:gd name="T11" fmla="*/ 5 w 5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5">
                <a:moveTo>
                  <a:pt x="4" y="1"/>
                </a:moveTo>
                <a:cubicBezTo>
                  <a:pt x="0" y="0"/>
                  <a:pt x="0" y="5"/>
                  <a:pt x="2" y="5"/>
                </a:cubicBezTo>
                <a:cubicBezTo>
                  <a:pt x="4" y="5"/>
                  <a:pt x="5" y="0"/>
                  <a:pt x="3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67" name="Freeform 501"/>
          <p:cNvSpPr>
            <a:spLocks/>
          </p:cNvSpPr>
          <p:nvPr userDrawn="1"/>
        </p:nvSpPr>
        <p:spPr bwMode="auto">
          <a:xfrm>
            <a:off x="6105417" y="4024718"/>
            <a:ext cx="3351" cy="5025"/>
          </a:xfrm>
          <a:custGeom>
            <a:avLst/>
            <a:gdLst>
              <a:gd name="T0" fmla="*/ 2147483646 w 5"/>
              <a:gd name="T1" fmla="*/ 2147483646 h 5"/>
              <a:gd name="T2" fmla="*/ 2147483646 w 5"/>
              <a:gd name="T3" fmla="*/ 2147483646 h 5"/>
              <a:gd name="T4" fmla="*/ 2147483646 w 5"/>
              <a:gd name="T5" fmla="*/ 0 h 5"/>
              <a:gd name="T6" fmla="*/ 0 60000 65536"/>
              <a:gd name="T7" fmla="*/ 0 60000 65536"/>
              <a:gd name="T8" fmla="*/ 0 60000 65536"/>
              <a:gd name="T9" fmla="*/ 0 w 5"/>
              <a:gd name="T10" fmla="*/ 0 h 5"/>
              <a:gd name="T11" fmla="*/ 5 w 5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5">
                <a:moveTo>
                  <a:pt x="4" y="1"/>
                </a:moveTo>
                <a:cubicBezTo>
                  <a:pt x="0" y="0"/>
                  <a:pt x="0" y="5"/>
                  <a:pt x="2" y="5"/>
                </a:cubicBezTo>
                <a:cubicBezTo>
                  <a:pt x="4" y="5"/>
                  <a:pt x="5" y="0"/>
                  <a:pt x="3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68" name="Freeform 502"/>
          <p:cNvSpPr>
            <a:spLocks/>
          </p:cNvSpPr>
          <p:nvPr userDrawn="1"/>
        </p:nvSpPr>
        <p:spPr bwMode="auto">
          <a:xfrm>
            <a:off x="6107091" y="4034769"/>
            <a:ext cx="6700" cy="5025"/>
          </a:xfrm>
          <a:custGeom>
            <a:avLst/>
            <a:gdLst>
              <a:gd name="T0" fmla="*/ 2147483646 w 6"/>
              <a:gd name="T1" fmla="*/ 2147483646 h 5"/>
              <a:gd name="T2" fmla="*/ 2147483646 w 6"/>
              <a:gd name="T3" fmla="*/ 2147483646 h 5"/>
              <a:gd name="T4" fmla="*/ 2147483646 w 6"/>
              <a:gd name="T5" fmla="*/ 2147483646 h 5"/>
              <a:gd name="T6" fmla="*/ 0 60000 65536"/>
              <a:gd name="T7" fmla="*/ 0 60000 65536"/>
              <a:gd name="T8" fmla="*/ 0 60000 65536"/>
              <a:gd name="T9" fmla="*/ 0 w 6"/>
              <a:gd name="T10" fmla="*/ 0 h 5"/>
              <a:gd name="T11" fmla="*/ 6 w 6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5">
                <a:moveTo>
                  <a:pt x="3" y="1"/>
                </a:moveTo>
                <a:cubicBezTo>
                  <a:pt x="0" y="0"/>
                  <a:pt x="0" y="4"/>
                  <a:pt x="2" y="4"/>
                </a:cubicBezTo>
                <a:cubicBezTo>
                  <a:pt x="4" y="5"/>
                  <a:pt x="6" y="1"/>
                  <a:pt x="3" y="1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69" name="Freeform 503"/>
          <p:cNvSpPr>
            <a:spLocks/>
          </p:cNvSpPr>
          <p:nvPr userDrawn="1"/>
        </p:nvSpPr>
        <p:spPr bwMode="auto">
          <a:xfrm>
            <a:off x="6107091" y="4034769"/>
            <a:ext cx="6700" cy="5025"/>
          </a:xfrm>
          <a:custGeom>
            <a:avLst/>
            <a:gdLst>
              <a:gd name="T0" fmla="*/ 2147483646 w 6"/>
              <a:gd name="T1" fmla="*/ 2147483646 h 5"/>
              <a:gd name="T2" fmla="*/ 2147483646 w 6"/>
              <a:gd name="T3" fmla="*/ 2147483646 h 5"/>
              <a:gd name="T4" fmla="*/ 2147483646 w 6"/>
              <a:gd name="T5" fmla="*/ 2147483646 h 5"/>
              <a:gd name="T6" fmla="*/ 0 60000 65536"/>
              <a:gd name="T7" fmla="*/ 0 60000 65536"/>
              <a:gd name="T8" fmla="*/ 0 60000 65536"/>
              <a:gd name="T9" fmla="*/ 0 w 6"/>
              <a:gd name="T10" fmla="*/ 0 h 5"/>
              <a:gd name="T11" fmla="*/ 6 w 6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5">
                <a:moveTo>
                  <a:pt x="3" y="1"/>
                </a:moveTo>
                <a:cubicBezTo>
                  <a:pt x="0" y="0"/>
                  <a:pt x="0" y="4"/>
                  <a:pt x="2" y="4"/>
                </a:cubicBezTo>
                <a:cubicBezTo>
                  <a:pt x="4" y="5"/>
                  <a:pt x="6" y="1"/>
                  <a:pt x="3" y="1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70" name="Freeform 504"/>
          <p:cNvSpPr>
            <a:spLocks/>
          </p:cNvSpPr>
          <p:nvPr userDrawn="1"/>
        </p:nvSpPr>
        <p:spPr bwMode="auto">
          <a:xfrm>
            <a:off x="6113791" y="3935938"/>
            <a:ext cx="25127" cy="18425"/>
          </a:xfrm>
          <a:custGeom>
            <a:avLst/>
            <a:gdLst>
              <a:gd name="T0" fmla="*/ 2147483646 w 26"/>
              <a:gd name="T1" fmla="*/ 2147483646 h 20"/>
              <a:gd name="T2" fmla="*/ 2147483646 w 26"/>
              <a:gd name="T3" fmla="*/ 2147483646 h 20"/>
              <a:gd name="T4" fmla="*/ 2147483646 w 26"/>
              <a:gd name="T5" fmla="*/ 2147483646 h 20"/>
              <a:gd name="T6" fmla="*/ 2147483646 w 26"/>
              <a:gd name="T7" fmla="*/ 2147483646 h 20"/>
              <a:gd name="T8" fmla="*/ 2147483646 w 26"/>
              <a:gd name="T9" fmla="*/ 2147483646 h 20"/>
              <a:gd name="T10" fmla="*/ 2147483646 w 26"/>
              <a:gd name="T11" fmla="*/ 2147483646 h 20"/>
              <a:gd name="T12" fmla="*/ 2147483646 w 26"/>
              <a:gd name="T13" fmla="*/ 2147483646 h 20"/>
              <a:gd name="T14" fmla="*/ 2147483646 w 26"/>
              <a:gd name="T15" fmla="*/ 2147483646 h 20"/>
              <a:gd name="T16" fmla="*/ 2147483646 w 26"/>
              <a:gd name="T17" fmla="*/ 2147483646 h 20"/>
              <a:gd name="T18" fmla="*/ 2147483646 w 26"/>
              <a:gd name="T19" fmla="*/ 0 h 2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20"/>
              <a:gd name="T32" fmla="*/ 26 w 26"/>
              <a:gd name="T33" fmla="*/ 20 h 2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20">
                <a:moveTo>
                  <a:pt x="23" y="1"/>
                </a:moveTo>
                <a:cubicBezTo>
                  <a:pt x="21" y="3"/>
                  <a:pt x="19" y="4"/>
                  <a:pt x="17" y="6"/>
                </a:cubicBezTo>
                <a:cubicBezTo>
                  <a:pt x="13" y="3"/>
                  <a:pt x="11" y="7"/>
                  <a:pt x="11" y="11"/>
                </a:cubicBezTo>
                <a:cubicBezTo>
                  <a:pt x="7" y="12"/>
                  <a:pt x="0" y="8"/>
                  <a:pt x="4" y="16"/>
                </a:cubicBezTo>
                <a:cubicBezTo>
                  <a:pt x="6" y="18"/>
                  <a:pt x="8" y="20"/>
                  <a:pt x="10" y="17"/>
                </a:cubicBezTo>
                <a:cubicBezTo>
                  <a:pt x="11" y="15"/>
                  <a:pt x="10" y="10"/>
                  <a:pt x="14" y="13"/>
                </a:cubicBezTo>
                <a:cubicBezTo>
                  <a:pt x="14" y="11"/>
                  <a:pt x="18" y="6"/>
                  <a:pt x="21" y="8"/>
                </a:cubicBezTo>
                <a:cubicBezTo>
                  <a:pt x="22" y="7"/>
                  <a:pt x="22" y="5"/>
                  <a:pt x="22" y="4"/>
                </a:cubicBezTo>
                <a:cubicBezTo>
                  <a:pt x="24" y="4"/>
                  <a:pt x="26" y="3"/>
                  <a:pt x="26" y="1"/>
                </a:cubicBezTo>
                <a:cubicBezTo>
                  <a:pt x="26" y="1"/>
                  <a:pt x="25" y="1"/>
                  <a:pt x="25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71" name="Freeform 505"/>
          <p:cNvSpPr>
            <a:spLocks/>
          </p:cNvSpPr>
          <p:nvPr userDrawn="1"/>
        </p:nvSpPr>
        <p:spPr bwMode="auto">
          <a:xfrm>
            <a:off x="6113791" y="3935938"/>
            <a:ext cx="25127" cy="18425"/>
          </a:xfrm>
          <a:custGeom>
            <a:avLst/>
            <a:gdLst>
              <a:gd name="T0" fmla="*/ 2147483646 w 26"/>
              <a:gd name="T1" fmla="*/ 2147483646 h 20"/>
              <a:gd name="T2" fmla="*/ 2147483646 w 26"/>
              <a:gd name="T3" fmla="*/ 2147483646 h 20"/>
              <a:gd name="T4" fmla="*/ 2147483646 w 26"/>
              <a:gd name="T5" fmla="*/ 2147483646 h 20"/>
              <a:gd name="T6" fmla="*/ 2147483646 w 26"/>
              <a:gd name="T7" fmla="*/ 2147483646 h 20"/>
              <a:gd name="T8" fmla="*/ 2147483646 w 26"/>
              <a:gd name="T9" fmla="*/ 2147483646 h 20"/>
              <a:gd name="T10" fmla="*/ 2147483646 w 26"/>
              <a:gd name="T11" fmla="*/ 2147483646 h 20"/>
              <a:gd name="T12" fmla="*/ 2147483646 w 26"/>
              <a:gd name="T13" fmla="*/ 2147483646 h 20"/>
              <a:gd name="T14" fmla="*/ 2147483646 w 26"/>
              <a:gd name="T15" fmla="*/ 2147483646 h 20"/>
              <a:gd name="T16" fmla="*/ 2147483646 w 26"/>
              <a:gd name="T17" fmla="*/ 2147483646 h 20"/>
              <a:gd name="T18" fmla="*/ 2147483646 w 26"/>
              <a:gd name="T19" fmla="*/ 0 h 2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20"/>
              <a:gd name="T32" fmla="*/ 26 w 26"/>
              <a:gd name="T33" fmla="*/ 20 h 2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20">
                <a:moveTo>
                  <a:pt x="23" y="1"/>
                </a:moveTo>
                <a:cubicBezTo>
                  <a:pt x="21" y="3"/>
                  <a:pt x="19" y="4"/>
                  <a:pt x="17" y="6"/>
                </a:cubicBezTo>
                <a:cubicBezTo>
                  <a:pt x="13" y="3"/>
                  <a:pt x="11" y="7"/>
                  <a:pt x="11" y="11"/>
                </a:cubicBezTo>
                <a:cubicBezTo>
                  <a:pt x="7" y="12"/>
                  <a:pt x="0" y="8"/>
                  <a:pt x="4" y="16"/>
                </a:cubicBezTo>
                <a:cubicBezTo>
                  <a:pt x="6" y="18"/>
                  <a:pt x="8" y="20"/>
                  <a:pt x="10" y="17"/>
                </a:cubicBezTo>
                <a:cubicBezTo>
                  <a:pt x="11" y="15"/>
                  <a:pt x="10" y="10"/>
                  <a:pt x="14" y="13"/>
                </a:cubicBezTo>
                <a:cubicBezTo>
                  <a:pt x="14" y="11"/>
                  <a:pt x="18" y="6"/>
                  <a:pt x="21" y="8"/>
                </a:cubicBezTo>
                <a:cubicBezTo>
                  <a:pt x="22" y="7"/>
                  <a:pt x="22" y="5"/>
                  <a:pt x="22" y="4"/>
                </a:cubicBezTo>
                <a:cubicBezTo>
                  <a:pt x="24" y="4"/>
                  <a:pt x="26" y="3"/>
                  <a:pt x="26" y="1"/>
                </a:cubicBezTo>
                <a:cubicBezTo>
                  <a:pt x="26" y="1"/>
                  <a:pt x="25" y="1"/>
                  <a:pt x="25" y="0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72" name="Freeform 506"/>
          <p:cNvSpPr>
            <a:spLocks/>
          </p:cNvSpPr>
          <p:nvPr userDrawn="1"/>
        </p:nvSpPr>
        <p:spPr bwMode="auto">
          <a:xfrm>
            <a:off x="6127192" y="3925888"/>
            <a:ext cx="5025" cy="5025"/>
          </a:xfrm>
          <a:custGeom>
            <a:avLst/>
            <a:gdLst>
              <a:gd name="T0" fmla="*/ 2147483646 w 7"/>
              <a:gd name="T1" fmla="*/ 2147483646 h 6"/>
              <a:gd name="T2" fmla="*/ 2147483646 w 7"/>
              <a:gd name="T3" fmla="*/ 2147483646 h 6"/>
              <a:gd name="T4" fmla="*/ 2147483646 w 7"/>
              <a:gd name="T5" fmla="*/ 2147483646 h 6"/>
              <a:gd name="T6" fmla="*/ 2147483646 w 7"/>
              <a:gd name="T7" fmla="*/ 2147483646 h 6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6"/>
              <a:gd name="T14" fmla="*/ 7 w 7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6">
                <a:moveTo>
                  <a:pt x="5" y="1"/>
                </a:moveTo>
                <a:cubicBezTo>
                  <a:pt x="3" y="0"/>
                  <a:pt x="0" y="1"/>
                  <a:pt x="1" y="3"/>
                </a:cubicBezTo>
                <a:cubicBezTo>
                  <a:pt x="2" y="6"/>
                  <a:pt x="5" y="5"/>
                  <a:pt x="7" y="5"/>
                </a:cubicBezTo>
                <a:cubicBezTo>
                  <a:pt x="7" y="3"/>
                  <a:pt x="6" y="2"/>
                  <a:pt x="4" y="2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73" name="Freeform 507"/>
          <p:cNvSpPr>
            <a:spLocks/>
          </p:cNvSpPr>
          <p:nvPr userDrawn="1"/>
        </p:nvSpPr>
        <p:spPr bwMode="auto">
          <a:xfrm>
            <a:off x="6127192" y="3925888"/>
            <a:ext cx="5025" cy="5025"/>
          </a:xfrm>
          <a:custGeom>
            <a:avLst/>
            <a:gdLst>
              <a:gd name="T0" fmla="*/ 2147483646 w 7"/>
              <a:gd name="T1" fmla="*/ 2147483646 h 6"/>
              <a:gd name="T2" fmla="*/ 2147483646 w 7"/>
              <a:gd name="T3" fmla="*/ 2147483646 h 6"/>
              <a:gd name="T4" fmla="*/ 2147483646 w 7"/>
              <a:gd name="T5" fmla="*/ 2147483646 h 6"/>
              <a:gd name="T6" fmla="*/ 2147483646 w 7"/>
              <a:gd name="T7" fmla="*/ 2147483646 h 6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6"/>
              <a:gd name="T14" fmla="*/ 7 w 7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6">
                <a:moveTo>
                  <a:pt x="5" y="1"/>
                </a:moveTo>
                <a:cubicBezTo>
                  <a:pt x="3" y="0"/>
                  <a:pt x="0" y="1"/>
                  <a:pt x="1" y="3"/>
                </a:cubicBezTo>
                <a:cubicBezTo>
                  <a:pt x="2" y="6"/>
                  <a:pt x="5" y="5"/>
                  <a:pt x="7" y="5"/>
                </a:cubicBezTo>
                <a:cubicBezTo>
                  <a:pt x="7" y="3"/>
                  <a:pt x="6" y="2"/>
                  <a:pt x="4" y="2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74" name="Freeform 508"/>
          <p:cNvSpPr>
            <a:spLocks/>
          </p:cNvSpPr>
          <p:nvPr userDrawn="1"/>
        </p:nvSpPr>
        <p:spPr bwMode="auto">
          <a:xfrm>
            <a:off x="6138918" y="3984515"/>
            <a:ext cx="6700" cy="15076"/>
          </a:xfrm>
          <a:custGeom>
            <a:avLst/>
            <a:gdLst>
              <a:gd name="T0" fmla="*/ 2147483646 w 7"/>
              <a:gd name="T1" fmla="*/ 2147483646 h 16"/>
              <a:gd name="T2" fmla="*/ 0 w 7"/>
              <a:gd name="T3" fmla="*/ 2147483646 h 16"/>
              <a:gd name="T4" fmla="*/ 2147483646 w 7"/>
              <a:gd name="T5" fmla="*/ 2147483646 h 16"/>
              <a:gd name="T6" fmla="*/ 2147483646 w 7"/>
              <a:gd name="T7" fmla="*/ 2147483646 h 16"/>
              <a:gd name="T8" fmla="*/ 2147483646 w 7"/>
              <a:gd name="T9" fmla="*/ 2147483646 h 16"/>
              <a:gd name="T10" fmla="*/ 2147483646 w 7"/>
              <a:gd name="T11" fmla="*/ 2147483646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"/>
              <a:gd name="T19" fmla="*/ 0 h 16"/>
              <a:gd name="T20" fmla="*/ 7 w 7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" h="16">
                <a:moveTo>
                  <a:pt x="7" y="6"/>
                </a:moveTo>
                <a:cubicBezTo>
                  <a:pt x="5" y="5"/>
                  <a:pt x="1" y="0"/>
                  <a:pt x="0" y="5"/>
                </a:cubicBezTo>
                <a:cubicBezTo>
                  <a:pt x="0" y="8"/>
                  <a:pt x="4" y="7"/>
                  <a:pt x="4" y="10"/>
                </a:cubicBezTo>
                <a:cubicBezTo>
                  <a:pt x="4" y="11"/>
                  <a:pt x="2" y="13"/>
                  <a:pt x="2" y="14"/>
                </a:cubicBezTo>
                <a:cubicBezTo>
                  <a:pt x="3" y="16"/>
                  <a:pt x="5" y="14"/>
                  <a:pt x="6" y="13"/>
                </a:cubicBezTo>
                <a:cubicBezTo>
                  <a:pt x="7" y="12"/>
                  <a:pt x="7" y="7"/>
                  <a:pt x="6" y="6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75" name="Freeform 509"/>
          <p:cNvSpPr>
            <a:spLocks/>
          </p:cNvSpPr>
          <p:nvPr userDrawn="1"/>
        </p:nvSpPr>
        <p:spPr bwMode="auto">
          <a:xfrm>
            <a:off x="6138918" y="3984515"/>
            <a:ext cx="6700" cy="15076"/>
          </a:xfrm>
          <a:custGeom>
            <a:avLst/>
            <a:gdLst>
              <a:gd name="T0" fmla="*/ 2147483646 w 7"/>
              <a:gd name="T1" fmla="*/ 2147483646 h 16"/>
              <a:gd name="T2" fmla="*/ 0 w 7"/>
              <a:gd name="T3" fmla="*/ 2147483646 h 16"/>
              <a:gd name="T4" fmla="*/ 2147483646 w 7"/>
              <a:gd name="T5" fmla="*/ 2147483646 h 16"/>
              <a:gd name="T6" fmla="*/ 2147483646 w 7"/>
              <a:gd name="T7" fmla="*/ 2147483646 h 16"/>
              <a:gd name="T8" fmla="*/ 2147483646 w 7"/>
              <a:gd name="T9" fmla="*/ 2147483646 h 16"/>
              <a:gd name="T10" fmla="*/ 2147483646 w 7"/>
              <a:gd name="T11" fmla="*/ 2147483646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"/>
              <a:gd name="T19" fmla="*/ 0 h 16"/>
              <a:gd name="T20" fmla="*/ 7 w 7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" h="16">
                <a:moveTo>
                  <a:pt x="7" y="6"/>
                </a:moveTo>
                <a:cubicBezTo>
                  <a:pt x="5" y="5"/>
                  <a:pt x="1" y="0"/>
                  <a:pt x="0" y="5"/>
                </a:cubicBezTo>
                <a:cubicBezTo>
                  <a:pt x="0" y="8"/>
                  <a:pt x="4" y="7"/>
                  <a:pt x="4" y="10"/>
                </a:cubicBezTo>
                <a:cubicBezTo>
                  <a:pt x="4" y="11"/>
                  <a:pt x="2" y="13"/>
                  <a:pt x="2" y="14"/>
                </a:cubicBezTo>
                <a:cubicBezTo>
                  <a:pt x="3" y="16"/>
                  <a:pt x="5" y="14"/>
                  <a:pt x="6" y="13"/>
                </a:cubicBezTo>
                <a:cubicBezTo>
                  <a:pt x="7" y="12"/>
                  <a:pt x="7" y="7"/>
                  <a:pt x="6" y="6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76" name="Freeform 510"/>
          <p:cNvSpPr>
            <a:spLocks/>
          </p:cNvSpPr>
          <p:nvPr userDrawn="1"/>
        </p:nvSpPr>
        <p:spPr bwMode="auto">
          <a:xfrm>
            <a:off x="6175769" y="4046494"/>
            <a:ext cx="23451" cy="28476"/>
          </a:xfrm>
          <a:custGeom>
            <a:avLst/>
            <a:gdLst>
              <a:gd name="T0" fmla="*/ 2147483646 w 25"/>
              <a:gd name="T1" fmla="*/ 2147483646 h 30"/>
              <a:gd name="T2" fmla="*/ 2147483646 w 25"/>
              <a:gd name="T3" fmla="*/ 2147483646 h 30"/>
              <a:gd name="T4" fmla="*/ 2147483646 w 25"/>
              <a:gd name="T5" fmla="*/ 2147483646 h 30"/>
              <a:gd name="T6" fmla="*/ 2147483646 w 25"/>
              <a:gd name="T7" fmla="*/ 2147483646 h 30"/>
              <a:gd name="T8" fmla="*/ 2147483646 w 25"/>
              <a:gd name="T9" fmla="*/ 2147483646 h 30"/>
              <a:gd name="T10" fmla="*/ 2147483646 w 25"/>
              <a:gd name="T11" fmla="*/ 2147483646 h 30"/>
              <a:gd name="T12" fmla="*/ 2147483646 w 25"/>
              <a:gd name="T13" fmla="*/ 2147483646 h 30"/>
              <a:gd name="T14" fmla="*/ 2147483646 w 25"/>
              <a:gd name="T15" fmla="*/ 2147483646 h 30"/>
              <a:gd name="T16" fmla="*/ 2147483646 w 25"/>
              <a:gd name="T17" fmla="*/ 2147483646 h 30"/>
              <a:gd name="T18" fmla="*/ 2147483646 w 25"/>
              <a:gd name="T19" fmla="*/ 2147483646 h 3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5"/>
              <a:gd name="T31" fmla="*/ 0 h 30"/>
              <a:gd name="T32" fmla="*/ 25 w 25"/>
              <a:gd name="T33" fmla="*/ 30 h 3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5" h="30">
                <a:moveTo>
                  <a:pt x="20" y="19"/>
                </a:moveTo>
                <a:cubicBezTo>
                  <a:pt x="21" y="15"/>
                  <a:pt x="25" y="12"/>
                  <a:pt x="23" y="8"/>
                </a:cubicBezTo>
                <a:cubicBezTo>
                  <a:pt x="21" y="5"/>
                  <a:pt x="14" y="4"/>
                  <a:pt x="14" y="9"/>
                </a:cubicBezTo>
                <a:cubicBezTo>
                  <a:pt x="12" y="6"/>
                  <a:pt x="14" y="3"/>
                  <a:pt x="10" y="2"/>
                </a:cubicBezTo>
                <a:cubicBezTo>
                  <a:pt x="8" y="1"/>
                  <a:pt x="4" y="0"/>
                  <a:pt x="2" y="1"/>
                </a:cubicBezTo>
                <a:cubicBezTo>
                  <a:pt x="0" y="9"/>
                  <a:pt x="10" y="5"/>
                  <a:pt x="13" y="8"/>
                </a:cubicBezTo>
                <a:cubicBezTo>
                  <a:pt x="16" y="10"/>
                  <a:pt x="11" y="14"/>
                  <a:pt x="15" y="15"/>
                </a:cubicBezTo>
                <a:cubicBezTo>
                  <a:pt x="13" y="16"/>
                  <a:pt x="3" y="27"/>
                  <a:pt x="10" y="29"/>
                </a:cubicBezTo>
                <a:cubicBezTo>
                  <a:pt x="14" y="30"/>
                  <a:pt x="16" y="13"/>
                  <a:pt x="19" y="22"/>
                </a:cubicBezTo>
                <a:cubicBezTo>
                  <a:pt x="19" y="20"/>
                  <a:pt x="20" y="18"/>
                  <a:pt x="21" y="15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77" name="Freeform 511"/>
          <p:cNvSpPr>
            <a:spLocks/>
          </p:cNvSpPr>
          <p:nvPr userDrawn="1"/>
        </p:nvSpPr>
        <p:spPr bwMode="auto">
          <a:xfrm>
            <a:off x="6175769" y="4046494"/>
            <a:ext cx="23451" cy="28476"/>
          </a:xfrm>
          <a:custGeom>
            <a:avLst/>
            <a:gdLst>
              <a:gd name="T0" fmla="*/ 2147483646 w 25"/>
              <a:gd name="T1" fmla="*/ 2147483646 h 30"/>
              <a:gd name="T2" fmla="*/ 2147483646 w 25"/>
              <a:gd name="T3" fmla="*/ 2147483646 h 30"/>
              <a:gd name="T4" fmla="*/ 2147483646 w 25"/>
              <a:gd name="T5" fmla="*/ 2147483646 h 30"/>
              <a:gd name="T6" fmla="*/ 2147483646 w 25"/>
              <a:gd name="T7" fmla="*/ 2147483646 h 30"/>
              <a:gd name="T8" fmla="*/ 2147483646 w 25"/>
              <a:gd name="T9" fmla="*/ 2147483646 h 30"/>
              <a:gd name="T10" fmla="*/ 2147483646 w 25"/>
              <a:gd name="T11" fmla="*/ 2147483646 h 30"/>
              <a:gd name="T12" fmla="*/ 2147483646 w 25"/>
              <a:gd name="T13" fmla="*/ 2147483646 h 30"/>
              <a:gd name="T14" fmla="*/ 2147483646 w 25"/>
              <a:gd name="T15" fmla="*/ 2147483646 h 30"/>
              <a:gd name="T16" fmla="*/ 2147483646 w 25"/>
              <a:gd name="T17" fmla="*/ 2147483646 h 30"/>
              <a:gd name="T18" fmla="*/ 2147483646 w 25"/>
              <a:gd name="T19" fmla="*/ 2147483646 h 3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5"/>
              <a:gd name="T31" fmla="*/ 0 h 30"/>
              <a:gd name="T32" fmla="*/ 25 w 25"/>
              <a:gd name="T33" fmla="*/ 30 h 3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5" h="30">
                <a:moveTo>
                  <a:pt x="20" y="19"/>
                </a:moveTo>
                <a:cubicBezTo>
                  <a:pt x="21" y="15"/>
                  <a:pt x="25" y="12"/>
                  <a:pt x="23" y="8"/>
                </a:cubicBezTo>
                <a:cubicBezTo>
                  <a:pt x="21" y="5"/>
                  <a:pt x="14" y="4"/>
                  <a:pt x="14" y="9"/>
                </a:cubicBezTo>
                <a:cubicBezTo>
                  <a:pt x="12" y="6"/>
                  <a:pt x="14" y="3"/>
                  <a:pt x="10" y="2"/>
                </a:cubicBezTo>
                <a:cubicBezTo>
                  <a:pt x="8" y="1"/>
                  <a:pt x="4" y="0"/>
                  <a:pt x="2" y="1"/>
                </a:cubicBezTo>
                <a:cubicBezTo>
                  <a:pt x="0" y="9"/>
                  <a:pt x="10" y="5"/>
                  <a:pt x="13" y="8"/>
                </a:cubicBezTo>
                <a:cubicBezTo>
                  <a:pt x="16" y="10"/>
                  <a:pt x="11" y="14"/>
                  <a:pt x="15" y="15"/>
                </a:cubicBezTo>
                <a:cubicBezTo>
                  <a:pt x="13" y="16"/>
                  <a:pt x="3" y="27"/>
                  <a:pt x="10" y="29"/>
                </a:cubicBezTo>
                <a:cubicBezTo>
                  <a:pt x="14" y="30"/>
                  <a:pt x="16" y="13"/>
                  <a:pt x="19" y="22"/>
                </a:cubicBezTo>
                <a:cubicBezTo>
                  <a:pt x="19" y="20"/>
                  <a:pt x="20" y="18"/>
                  <a:pt x="21" y="15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78" name="Freeform 512"/>
          <p:cNvSpPr>
            <a:spLocks/>
          </p:cNvSpPr>
          <p:nvPr userDrawn="1"/>
        </p:nvSpPr>
        <p:spPr bwMode="auto">
          <a:xfrm>
            <a:off x="6100390" y="3976140"/>
            <a:ext cx="11727" cy="10051"/>
          </a:xfrm>
          <a:custGeom>
            <a:avLst/>
            <a:gdLst>
              <a:gd name="T0" fmla="*/ 2147483646 w 11"/>
              <a:gd name="T1" fmla="*/ 2147483646 h 12"/>
              <a:gd name="T2" fmla="*/ 2147483646 w 11"/>
              <a:gd name="T3" fmla="*/ 2147483646 h 12"/>
              <a:gd name="T4" fmla="*/ 2147483646 w 11"/>
              <a:gd name="T5" fmla="*/ 2147483646 h 12"/>
              <a:gd name="T6" fmla="*/ 2147483646 w 11"/>
              <a:gd name="T7" fmla="*/ 2147483646 h 12"/>
              <a:gd name="T8" fmla="*/ 2147483646 w 11"/>
              <a:gd name="T9" fmla="*/ 2147483646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12"/>
              <a:gd name="T17" fmla="*/ 11 w 11"/>
              <a:gd name="T18" fmla="*/ 12 h 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12">
                <a:moveTo>
                  <a:pt x="6" y="2"/>
                </a:moveTo>
                <a:cubicBezTo>
                  <a:pt x="5" y="0"/>
                  <a:pt x="1" y="0"/>
                  <a:pt x="1" y="3"/>
                </a:cubicBezTo>
                <a:cubicBezTo>
                  <a:pt x="0" y="6"/>
                  <a:pt x="4" y="6"/>
                  <a:pt x="5" y="7"/>
                </a:cubicBezTo>
                <a:cubicBezTo>
                  <a:pt x="7" y="9"/>
                  <a:pt x="9" y="12"/>
                  <a:pt x="10" y="8"/>
                </a:cubicBezTo>
                <a:cubicBezTo>
                  <a:pt x="11" y="5"/>
                  <a:pt x="7" y="3"/>
                  <a:pt x="5" y="2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79" name="Freeform 513"/>
          <p:cNvSpPr>
            <a:spLocks/>
          </p:cNvSpPr>
          <p:nvPr userDrawn="1"/>
        </p:nvSpPr>
        <p:spPr bwMode="auto">
          <a:xfrm>
            <a:off x="6100390" y="3976140"/>
            <a:ext cx="11727" cy="10051"/>
          </a:xfrm>
          <a:custGeom>
            <a:avLst/>
            <a:gdLst>
              <a:gd name="T0" fmla="*/ 2147483646 w 11"/>
              <a:gd name="T1" fmla="*/ 2147483646 h 12"/>
              <a:gd name="T2" fmla="*/ 2147483646 w 11"/>
              <a:gd name="T3" fmla="*/ 2147483646 h 12"/>
              <a:gd name="T4" fmla="*/ 2147483646 w 11"/>
              <a:gd name="T5" fmla="*/ 2147483646 h 12"/>
              <a:gd name="T6" fmla="*/ 2147483646 w 11"/>
              <a:gd name="T7" fmla="*/ 2147483646 h 12"/>
              <a:gd name="T8" fmla="*/ 2147483646 w 11"/>
              <a:gd name="T9" fmla="*/ 2147483646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12"/>
              <a:gd name="T17" fmla="*/ 11 w 11"/>
              <a:gd name="T18" fmla="*/ 12 h 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12">
                <a:moveTo>
                  <a:pt x="6" y="2"/>
                </a:moveTo>
                <a:cubicBezTo>
                  <a:pt x="5" y="0"/>
                  <a:pt x="1" y="0"/>
                  <a:pt x="1" y="3"/>
                </a:cubicBezTo>
                <a:cubicBezTo>
                  <a:pt x="0" y="6"/>
                  <a:pt x="4" y="6"/>
                  <a:pt x="5" y="7"/>
                </a:cubicBezTo>
                <a:cubicBezTo>
                  <a:pt x="7" y="9"/>
                  <a:pt x="9" y="12"/>
                  <a:pt x="10" y="8"/>
                </a:cubicBezTo>
                <a:cubicBezTo>
                  <a:pt x="11" y="5"/>
                  <a:pt x="7" y="3"/>
                  <a:pt x="5" y="2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80" name="Freeform 514"/>
          <p:cNvSpPr>
            <a:spLocks/>
          </p:cNvSpPr>
          <p:nvPr userDrawn="1"/>
        </p:nvSpPr>
        <p:spPr bwMode="auto">
          <a:xfrm>
            <a:off x="5862527" y="3773454"/>
            <a:ext cx="11727" cy="16751"/>
          </a:xfrm>
          <a:custGeom>
            <a:avLst/>
            <a:gdLst>
              <a:gd name="T0" fmla="*/ 2147483646 w 11"/>
              <a:gd name="T1" fmla="*/ 0 h 18"/>
              <a:gd name="T2" fmla="*/ 2147483646 w 11"/>
              <a:gd name="T3" fmla="*/ 2147483646 h 18"/>
              <a:gd name="T4" fmla="*/ 2147483646 w 11"/>
              <a:gd name="T5" fmla="*/ 2147483646 h 18"/>
              <a:gd name="T6" fmla="*/ 2147483646 w 11"/>
              <a:gd name="T7" fmla="*/ 2147483646 h 18"/>
              <a:gd name="T8" fmla="*/ 2147483646 w 11"/>
              <a:gd name="T9" fmla="*/ 2147483646 h 18"/>
              <a:gd name="T10" fmla="*/ 2147483646 w 11"/>
              <a:gd name="T11" fmla="*/ 2147483646 h 18"/>
              <a:gd name="T12" fmla="*/ 2147483646 w 11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"/>
              <a:gd name="T22" fmla="*/ 0 h 18"/>
              <a:gd name="T23" fmla="*/ 11 w 11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" h="18">
                <a:moveTo>
                  <a:pt x="3" y="0"/>
                </a:moveTo>
                <a:cubicBezTo>
                  <a:pt x="2" y="0"/>
                  <a:pt x="0" y="3"/>
                  <a:pt x="3" y="5"/>
                </a:cubicBezTo>
                <a:cubicBezTo>
                  <a:pt x="5" y="8"/>
                  <a:pt x="5" y="14"/>
                  <a:pt x="7" y="15"/>
                </a:cubicBezTo>
                <a:cubicBezTo>
                  <a:pt x="9" y="17"/>
                  <a:pt x="11" y="18"/>
                  <a:pt x="11" y="15"/>
                </a:cubicBezTo>
                <a:cubicBezTo>
                  <a:pt x="11" y="13"/>
                  <a:pt x="9" y="9"/>
                  <a:pt x="9" y="7"/>
                </a:cubicBezTo>
                <a:cubicBezTo>
                  <a:pt x="8" y="5"/>
                  <a:pt x="6" y="1"/>
                  <a:pt x="6" y="1"/>
                </a:cubicBezTo>
                <a:lnTo>
                  <a:pt x="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81" name="Freeform 515"/>
          <p:cNvSpPr>
            <a:spLocks/>
          </p:cNvSpPr>
          <p:nvPr userDrawn="1"/>
        </p:nvSpPr>
        <p:spPr bwMode="auto">
          <a:xfrm>
            <a:off x="5867553" y="3790205"/>
            <a:ext cx="6700" cy="11727"/>
          </a:xfrm>
          <a:custGeom>
            <a:avLst/>
            <a:gdLst>
              <a:gd name="T0" fmla="*/ 0 w 8"/>
              <a:gd name="T1" fmla="*/ 0 h 13"/>
              <a:gd name="T2" fmla="*/ 2147483646 w 8"/>
              <a:gd name="T3" fmla="*/ 2147483646 h 13"/>
              <a:gd name="T4" fmla="*/ 2147483646 w 8"/>
              <a:gd name="T5" fmla="*/ 2147483646 h 13"/>
              <a:gd name="T6" fmla="*/ 2147483646 w 8"/>
              <a:gd name="T7" fmla="*/ 2147483646 h 13"/>
              <a:gd name="T8" fmla="*/ 0 w 8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13"/>
              <a:gd name="T17" fmla="*/ 8 w 8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13">
                <a:moveTo>
                  <a:pt x="0" y="0"/>
                </a:moveTo>
                <a:cubicBezTo>
                  <a:pt x="3" y="1"/>
                  <a:pt x="8" y="3"/>
                  <a:pt x="8" y="5"/>
                </a:cubicBezTo>
                <a:cubicBezTo>
                  <a:pt x="8" y="7"/>
                  <a:pt x="8" y="11"/>
                  <a:pt x="8" y="12"/>
                </a:cubicBezTo>
                <a:cubicBezTo>
                  <a:pt x="8" y="13"/>
                  <a:pt x="3" y="7"/>
                  <a:pt x="2" y="6"/>
                </a:cubicBezTo>
                <a:cubicBezTo>
                  <a:pt x="2" y="5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82" name="Freeform 516"/>
          <p:cNvSpPr>
            <a:spLocks/>
          </p:cNvSpPr>
          <p:nvPr userDrawn="1"/>
        </p:nvSpPr>
        <p:spPr bwMode="auto">
          <a:xfrm>
            <a:off x="5877604" y="3805280"/>
            <a:ext cx="13401" cy="15075"/>
          </a:xfrm>
          <a:custGeom>
            <a:avLst/>
            <a:gdLst>
              <a:gd name="T0" fmla="*/ 0 w 13"/>
              <a:gd name="T1" fmla="*/ 0 h 16"/>
              <a:gd name="T2" fmla="*/ 2147483646 w 13"/>
              <a:gd name="T3" fmla="*/ 2147483646 h 16"/>
              <a:gd name="T4" fmla="*/ 0 w 13"/>
              <a:gd name="T5" fmla="*/ 0 h 16"/>
              <a:gd name="T6" fmla="*/ 0 60000 65536"/>
              <a:gd name="T7" fmla="*/ 0 60000 65536"/>
              <a:gd name="T8" fmla="*/ 0 60000 65536"/>
              <a:gd name="T9" fmla="*/ 0 w 13"/>
              <a:gd name="T10" fmla="*/ 0 h 16"/>
              <a:gd name="T11" fmla="*/ 13 w 13"/>
              <a:gd name="T12" fmla="*/ 16 h 1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" h="16">
                <a:moveTo>
                  <a:pt x="0" y="0"/>
                </a:moveTo>
                <a:cubicBezTo>
                  <a:pt x="0" y="0"/>
                  <a:pt x="7" y="6"/>
                  <a:pt x="10" y="11"/>
                </a:cubicBezTo>
                <a:cubicBezTo>
                  <a:pt x="13" y="16"/>
                  <a:pt x="1" y="4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83" name="Freeform 517"/>
          <p:cNvSpPr>
            <a:spLocks/>
          </p:cNvSpPr>
          <p:nvPr userDrawn="1"/>
        </p:nvSpPr>
        <p:spPr bwMode="auto">
          <a:xfrm>
            <a:off x="5894353" y="3820357"/>
            <a:ext cx="15075" cy="11727"/>
          </a:xfrm>
          <a:custGeom>
            <a:avLst/>
            <a:gdLst>
              <a:gd name="T0" fmla="*/ 0 w 16"/>
              <a:gd name="T1" fmla="*/ 2147483646 h 14"/>
              <a:gd name="T2" fmla="*/ 2147483646 w 16"/>
              <a:gd name="T3" fmla="*/ 2147483646 h 14"/>
              <a:gd name="T4" fmla="*/ 2147483646 w 16"/>
              <a:gd name="T5" fmla="*/ 2147483646 h 14"/>
              <a:gd name="T6" fmla="*/ 2147483646 w 16"/>
              <a:gd name="T7" fmla="*/ 2147483646 h 14"/>
              <a:gd name="T8" fmla="*/ 0 w 16"/>
              <a:gd name="T9" fmla="*/ 2147483646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4"/>
              <a:gd name="T17" fmla="*/ 16 w 16"/>
              <a:gd name="T18" fmla="*/ 14 h 1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4">
                <a:moveTo>
                  <a:pt x="0" y="1"/>
                </a:moveTo>
                <a:cubicBezTo>
                  <a:pt x="0" y="0"/>
                  <a:pt x="5" y="7"/>
                  <a:pt x="6" y="8"/>
                </a:cubicBezTo>
                <a:cubicBezTo>
                  <a:pt x="8" y="9"/>
                  <a:pt x="14" y="10"/>
                  <a:pt x="14" y="10"/>
                </a:cubicBezTo>
                <a:cubicBezTo>
                  <a:pt x="14" y="10"/>
                  <a:pt x="16" y="14"/>
                  <a:pt x="14" y="14"/>
                </a:cubicBezTo>
                <a:cubicBezTo>
                  <a:pt x="13" y="14"/>
                  <a:pt x="2" y="6"/>
                  <a:pt x="0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84" name="Freeform 518"/>
          <p:cNvSpPr>
            <a:spLocks/>
          </p:cNvSpPr>
          <p:nvPr userDrawn="1"/>
        </p:nvSpPr>
        <p:spPr bwMode="auto">
          <a:xfrm>
            <a:off x="5294671" y="3806955"/>
            <a:ext cx="303191" cy="262991"/>
          </a:xfrm>
          <a:custGeom>
            <a:avLst/>
            <a:gdLst>
              <a:gd name="T0" fmla="*/ 2147483646 w 325"/>
              <a:gd name="T1" fmla="*/ 2147483646 h 281"/>
              <a:gd name="T2" fmla="*/ 2147483646 w 325"/>
              <a:gd name="T3" fmla="*/ 2147483646 h 281"/>
              <a:gd name="T4" fmla="*/ 2147483646 w 325"/>
              <a:gd name="T5" fmla="*/ 2147483646 h 281"/>
              <a:gd name="T6" fmla="*/ 2147483646 w 325"/>
              <a:gd name="T7" fmla="*/ 2147483646 h 281"/>
              <a:gd name="T8" fmla="*/ 2147483646 w 325"/>
              <a:gd name="T9" fmla="*/ 2147483646 h 281"/>
              <a:gd name="T10" fmla="*/ 2147483646 w 325"/>
              <a:gd name="T11" fmla="*/ 2147483646 h 281"/>
              <a:gd name="T12" fmla="*/ 2147483646 w 325"/>
              <a:gd name="T13" fmla="*/ 2147483646 h 281"/>
              <a:gd name="T14" fmla="*/ 2147483646 w 325"/>
              <a:gd name="T15" fmla="*/ 2147483646 h 281"/>
              <a:gd name="T16" fmla="*/ 2147483646 w 325"/>
              <a:gd name="T17" fmla="*/ 2147483646 h 281"/>
              <a:gd name="T18" fmla="*/ 2147483646 w 325"/>
              <a:gd name="T19" fmla="*/ 2147483646 h 281"/>
              <a:gd name="T20" fmla="*/ 2147483646 w 325"/>
              <a:gd name="T21" fmla="*/ 2147483646 h 281"/>
              <a:gd name="T22" fmla="*/ 2147483646 w 325"/>
              <a:gd name="T23" fmla="*/ 2147483646 h 281"/>
              <a:gd name="T24" fmla="*/ 2147483646 w 325"/>
              <a:gd name="T25" fmla="*/ 2147483646 h 281"/>
              <a:gd name="T26" fmla="*/ 2147483646 w 325"/>
              <a:gd name="T27" fmla="*/ 2147483646 h 281"/>
              <a:gd name="T28" fmla="*/ 2147483646 w 325"/>
              <a:gd name="T29" fmla="*/ 2147483646 h 281"/>
              <a:gd name="T30" fmla="*/ 2147483646 w 325"/>
              <a:gd name="T31" fmla="*/ 2147483646 h 281"/>
              <a:gd name="T32" fmla="*/ 2147483646 w 325"/>
              <a:gd name="T33" fmla="*/ 2147483646 h 281"/>
              <a:gd name="T34" fmla="*/ 2147483646 w 325"/>
              <a:gd name="T35" fmla="*/ 2147483646 h 281"/>
              <a:gd name="T36" fmla="*/ 2147483646 w 325"/>
              <a:gd name="T37" fmla="*/ 2147483646 h 281"/>
              <a:gd name="T38" fmla="*/ 2147483646 w 325"/>
              <a:gd name="T39" fmla="*/ 2147483646 h 281"/>
              <a:gd name="T40" fmla="*/ 2147483646 w 325"/>
              <a:gd name="T41" fmla="*/ 2147483646 h 281"/>
              <a:gd name="T42" fmla="*/ 2147483646 w 325"/>
              <a:gd name="T43" fmla="*/ 2147483646 h 281"/>
              <a:gd name="T44" fmla="*/ 2147483646 w 325"/>
              <a:gd name="T45" fmla="*/ 2147483646 h 281"/>
              <a:gd name="T46" fmla="*/ 2147483646 w 325"/>
              <a:gd name="T47" fmla="*/ 2147483646 h 281"/>
              <a:gd name="T48" fmla="*/ 2147483646 w 325"/>
              <a:gd name="T49" fmla="*/ 2147483646 h 281"/>
              <a:gd name="T50" fmla="*/ 2147483646 w 325"/>
              <a:gd name="T51" fmla="*/ 2147483646 h 281"/>
              <a:gd name="T52" fmla="*/ 2147483646 w 325"/>
              <a:gd name="T53" fmla="*/ 2147483646 h 281"/>
              <a:gd name="T54" fmla="*/ 2147483646 w 325"/>
              <a:gd name="T55" fmla="*/ 2147483646 h 281"/>
              <a:gd name="T56" fmla="*/ 2147483646 w 325"/>
              <a:gd name="T57" fmla="*/ 2147483646 h 281"/>
              <a:gd name="T58" fmla="*/ 2147483646 w 325"/>
              <a:gd name="T59" fmla="*/ 2147483646 h 281"/>
              <a:gd name="T60" fmla="*/ 2147483646 w 325"/>
              <a:gd name="T61" fmla="*/ 2147483646 h 281"/>
              <a:gd name="T62" fmla="*/ 2147483646 w 325"/>
              <a:gd name="T63" fmla="*/ 2147483646 h 281"/>
              <a:gd name="T64" fmla="*/ 2147483646 w 325"/>
              <a:gd name="T65" fmla="*/ 2147483646 h 281"/>
              <a:gd name="T66" fmla="*/ 2147483646 w 325"/>
              <a:gd name="T67" fmla="*/ 2147483646 h 281"/>
              <a:gd name="T68" fmla="*/ 2147483646 w 325"/>
              <a:gd name="T69" fmla="*/ 2147483646 h 281"/>
              <a:gd name="T70" fmla="*/ 2147483646 w 325"/>
              <a:gd name="T71" fmla="*/ 2147483646 h 281"/>
              <a:gd name="T72" fmla="*/ 2147483646 w 325"/>
              <a:gd name="T73" fmla="*/ 2147483646 h 281"/>
              <a:gd name="T74" fmla="*/ 2147483646 w 325"/>
              <a:gd name="T75" fmla="*/ 2147483646 h 281"/>
              <a:gd name="T76" fmla="*/ 2147483646 w 325"/>
              <a:gd name="T77" fmla="*/ 2147483646 h 281"/>
              <a:gd name="T78" fmla="*/ 2147483646 w 325"/>
              <a:gd name="T79" fmla="*/ 2147483646 h 281"/>
              <a:gd name="T80" fmla="*/ 2147483646 w 325"/>
              <a:gd name="T81" fmla="*/ 2147483646 h 281"/>
              <a:gd name="T82" fmla="*/ 2147483646 w 325"/>
              <a:gd name="T83" fmla="*/ 2147483646 h 281"/>
              <a:gd name="T84" fmla="*/ 2147483646 w 325"/>
              <a:gd name="T85" fmla="*/ 2147483646 h 281"/>
              <a:gd name="T86" fmla="*/ 2147483646 w 325"/>
              <a:gd name="T87" fmla="*/ 2147483646 h 281"/>
              <a:gd name="T88" fmla="*/ 2147483646 w 325"/>
              <a:gd name="T89" fmla="*/ 2147483646 h 281"/>
              <a:gd name="T90" fmla="*/ 2147483646 w 325"/>
              <a:gd name="T91" fmla="*/ 2147483646 h 281"/>
              <a:gd name="T92" fmla="*/ 2147483646 w 325"/>
              <a:gd name="T93" fmla="*/ 2147483646 h 281"/>
              <a:gd name="T94" fmla="*/ 2147483646 w 325"/>
              <a:gd name="T95" fmla="*/ 2147483646 h 281"/>
              <a:gd name="T96" fmla="*/ 2147483646 w 325"/>
              <a:gd name="T97" fmla="*/ 2147483646 h 28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25"/>
              <a:gd name="T148" fmla="*/ 0 h 281"/>
              <a:gd name="T149" fmla="*/ 325 w 325"/>
              <a:gd name="T150" fmla="*/ 281 h 28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25" h="281">
                <a:moveTo>
                  <a:pt x="17" y="74"/>
                </a:moveTo>
                <a:cubicBezTo>
                  <a:pt x="20" y="73"/>
                  <a:pt x="22" y="69"/>
                  <a:pt x="24" y="70"/>
                </a:cubicBezTo>
                <a:cubicBezTo>
                  <a:pt x="26" y="70"/>
                  <a:pt x="26" y="72"/>
                  <a:pt x="27" y="73"/>
                </a:cubicBezTo>
                <a:cubicBezTo>
                  <a:pt x="28" y="74"/>
                  <a:pt x="29" y="75"/>
                  <a:pt x="30" y="76"/>
                </a:cubicBezTo>
                <a:cubicBezTo>
                  <a:pt x="31" y="78"/>
                  <a:pt x="30" y="82"/>
                  <a:pt x="30" y="84"/>
                </a:cubicBezTo>
                <a:cubicBezTo>
                  <a:pt x="32" y="84"/>
                  <a:pt x="33" y="83"/>
                  <a:pt x="35" y="83"/>
                </a:cubicBezTo>
                <a:cubicBezTo>
                  <a:pt x="38" y="82"/>
                  <a:pt x="39" y="84"/>
                  <a:pt x="42" y="84"/>
                </a:cubicBezTo>
                <a:cubicBezTo>
                  <a:pt x="47" y="85"/>
                  <a:pt x="50" y="79"/>
                  <a:pt x="56" y="79"/>
                </a:cubicBezTo>
                <a:cubicBezTo>
                  <a:pt x="58" y="79"/>
                  <a:pt x="59" y="80"/>
                  <a:pt x="61" y="79"/>
                </a:cubicBezTo>
                <a:cubicBezTo>
                  <a:pt x="64" y="79"/>
                  <a:pt x="66" y="77"/>
                  <a:pt x="68" y="78"/>
                </a:cubicBezTo>
                <a:cubicBezTo>
                  <a:pt x="70" y="79"/>
                  <a:pt x="77" y="87"/>
                  <a:pt x="77" y="90"/>
                </a:cubicBezTo>
                <a:cubicBezTo>
                  <a:pt x="77" y="93"/>
                  <a:pt x="70" y="97"/>
                  <a:pt x="68" y="100"/>
                </a:cubicBezTo>
                <a:cubicBezTo>
                  <a:pt x="66" y="103"/>
                  <a:pt x="64" y="106"/>
                  <a:pt x="62" y="110"/>
                </a:cubicBezTo>
                <a:cubicBezTo>
                  <a:pt x="61" y="113"/>
                  <a:pt x="59" y="117"/>
                  <a:pt x="60" y="120"/>
                </a:cubicBezTo>
                <a:cubicBezTo>
                  <a:pt x="60" y="123"/>
                  <a:pt x="61" y="123"/>
                  <a:pt x="62" y="125"/>
                </a:cubicBezTo>
                <a:cubicBezTo>
                  <a:pt x="63" y="128"/>
                  <a:pt x="58" y="134"/>
                  <a:pt x="62" y="135"/>
                </a:cubicBezTo>
                <a:cubicBezTo>
                  <a:pt x="63" y="141"/>
                  <a:pt x="56" y="147"/>
                  <a:pt x="59" y="152"/>
                </a:cubicBezTo>
                <a:cubicBezTo>
                  <a:pt x="55" y="154"/>
                  <a:pt x="51" y="160"/>
                  <a:pt x="50" y="164"/>
                </a:cubicBezTo>
                <a:cubicBezTo>
                  <a:pt x="50" y="169"/>
                  <a:pt x="56" y="173"/>
                  <a:pt x="58" y="179"/>
                </a:cubicBezTo>
                <a:cubicBezTo>
                  <a:pt x="59" y="183"/>
                  <a:pt x="54" y="188"/>
                  <a:pt x="55" y="194"/>
                </a:cubicBezTo>
                <a:cubicBezTo>
                  <a:pt x="55" y="198"/>
                  <a:pt x="58" y="200"/>
                  <a:pt x="58" y="204"/>
                </a:cubicBezTo>
                <a:cubicBezTo>
                  <a:pt x="57" y="215"/>
                  <a:pt x="39" y="230"/>
                  <a:pt x="49" y="241"/>
                </a:cubicBezTo>
                <a:cubicBezTo>
                  <a:pt x="50" y="241"/>
                  <a:pt x="50" y="241"/>
                  <a:pt x="50" y="241"/>
                </a:cubicBezTo>
                <a:cubicBezTo>
                  <a:pt x="54" y="237"/>
                  <a:pt x="56" y="235"/>
                  <a:pt x="60" y="239"/>
                </a:cubicBezTo>
                <a:cubicBezTo>
                  <a:pt x="64" y="244"/>
                  <a:pt x="52" y="242"/>
                  <a:pt x="64" y="244"/>
                </a:cubicBezTo>
                <a:cubicBezTo>
                  <a:pt x="77" y="245"/>
                  <a:pt x="78" y="240"/>
                  <a:pt x="79" y="245"/>
                </a:cubicBezTo>
                <a:cubicBezTo>
                  <a:pt x="80" y="251"/>
                  <a:pt x="72" y="252"/>
                  <a:pt x="75" y="258"/>
                </a:cubicBezTo>
                <a:cubicBezTo>
                  <a:pt x="78" y="263"/>
                  <a:pt x="78" y="267"/>
                  <a:pt x="80" y="270"/>
                </a:cubicBezTo>
                <a:cubicBezTo>
                  <a:pt x="83" y="273"/>
                  <a:pt x="89" y="271"/>
                  <a:pt x="94" y="276"/>
                </a:cubicBezTo>
                <a:cubicBezTo>
                  <a:pt x="99" y="281"/>
                  <a:pt x="101" y="276"/>
                  <a:pt x="104" y="271"/>
                </a:cubicBezTo>
                <a:cubicBezTo>
                  <a:pt x="108" y="265"/>
                  <a:pt x="111" y="260"/>
                  <a:pt x="117" y="261"/>
                </a:cubicBezTo>
                <a:cubicBezTo>
                  <a:pt x="123" y="262"/>
                  <a:pt x="123" y="263"/>
                  <a:pt x="127" y="258"/>
                </a:cubicBezTo>
                <a:cubicBezTo>
                  <a:pt x="130" y="254"/>
                  <a:pt x="126" y="251"/>
                  <a:pt x="134" y="254"/>
                </a:cubicBezTo>
                <a:cubicBezTo>
                  <a:pt x="142" y="257"/>
                  <a:pt x="145" y="258"/>
                  <a:pt x="150" y="257"/>
                </a:cubicBezTo>
                <a:cubicBezTo>
                  <a:pt x="155" y="256"/>
                  <a:pt x="156" y="255"/>
                  <a:pt x="161" y="255"/>
                </a:cubicBezTo>
                <a:cubicBezTo>
                  <a:pt x="166" y="255"/>
                  <a:pt x="167" y="259"/>
                  <a:pt x="170" y="258"/>
                </a:cubicBezTo>
                <a:cubicBezTo>
                  <a:pt x="174" y="257"/>
                  <a:pt x="178" y="254"/>
                  <a:pt x="180" y="253"/>
                </a:cubicBezTo>
                <a:cubicBezTo>
                  <a:pt x="181" y="252"/>
                  <a:pt x="188" y="254"/>
                  <a:pt x="190" y="250"/>
                </a:cubicBezTo>
                <a:cubicBezTo>
                  <a:pt x="192" y="247"/>
                  <a:pt x="195" y="242"/>
                  <a:pt x="196" y="241"/>
                </a:cubicBezTo>
                <a:cubicBezTo>
                  <a:pt x="197" y="240"/>
                  <a:pt x="197" y="238"/>
                  <a:pt x="198" y="236"/>
                </a:cubicBezTo>
                <a:cubicBezTo>
                  <a:pt x="200" y="235"/>
                  <a:pt x="196" y="231"/>
                  <a:pt x="199" y="229"/>
                </a:cubicBezTo>
                <a:cubicBezTo>
                  <a:pt x="202" y="227"/>
                  <a:pt x="205" y="225"/>
                  <a:pt x="212" y="227"/>
                </a:cubicBezTo>
                <a:cubicBezTo>
                  <a:pt x="218" y="229"/>
                  <a:pt x="222" y="227"/>
                  <a:pt x="223" y="226"/>
                </a:cubicBezTo>
                <a:cubicBezTo>
                  <a:pt x="224" y="224"/>
                  <a:pt x="223" y="219"/>
                  <a:pt x="222" y="216"/>
                </a:cubicBezTo>
                <a:cubicBezTo>
                  <a:pt x="222" y="212"/>
                  <a:pt x="224" y="209"/>
                  <a:pt x="224" y="209"/>
                </a:cubicBezTo>
                <a:cubicBezTo>
                  <a:pt x="225" y="208"/>
                  <a:pt x="230" y="203"/>
                  <a:pt x="231" y="199"/>
                </a:cubicBezTo>
                <a:cubicBezTo>
                  <a:pt x="233" y="196"/>
                  <a:pt x="239" y="192"/>
                  <a:pt x="240" y="192"/>
                </a:cubicBezTo>
                <a:cubicBezTo>
                  <a:pt x="242" y="191"/>
                  <a:pt x="243" y="187"/>
                  <a:pt x="244" y="185"/>
                </a:cubicBezTo>
                <a:cubicBezTo>
                  <a:pt x="245" y="184"/>
                  <a:pt x="240" y="181"/>
                  <a:pt x="235" y="174"/>
                </a:cubicBezTo>
                <a:cubicBezTo>
                  <a:pt x="230" y="168"/>
                  <a:pt x="231" y="163"/>
                  <a:pt x="231" y="161"/>
                </a:cubicBezTo>
                <a:cubicBezTo>
                  <a:pt x="232" y="158"/>
                  <a:pt x="234" y="156"/>
                  <a:pt x="234" y="154"/>
                </a:cubicBezTo>
                <a:cubicBezTo>
                  <a:pt x="234" y="153"/>
                  <a:pt x="239" y="148"/>
                  <a:pt x="243" y="141"/>
                </a:cubicBezTo>
                <a:cubicBezTo>
                  <a:pt x="246" y="134"/>
                  <a:pt x="249" y="128"/>
                  <a:pt x="253" y="125"/>
                </a:cubicBezTo>
                <a:cubicBezTo>
                  <a:pt x="256" y="121"/>
                  <a:pt x="259" y="118"/>
                  <a:pt x="259" y="114"/>
                </a:cubicBezTo>
                <a:cubicBezTo>
                  <a:pt x="260" y="111"/>
                  <a:pt x="263" y="107"/>
                  <a:pt x="271" y="106"/>
                </a:cubicBezTo>
                <a:cubicBezTo>
                  <a:pt x="279" y="106"/>
                  <a:pt x="287" y="99"/>
                  <a:pt x="288" y="100"/>
                </a:cubicBezTo>
                <a:cubicBezTo>
                  <a:pt x="289" y="101"/>
                  <a:pt x="300" y="91"/>
                  <a:pt x="304" y="89"/>
                </a:cubicBezTo>
                <a:cubicBezTo>
                  <a:pt x="307" y="87"/>
                  <a:pt x="325" y="80"/>
                  <a:pt x="320" y="72"/>
                </a:cubicBezTo>
                <a:cubicBezTo>
                  <a:pt x="315" y="63"/>
                  <a:pt x="324" y="65"/>
                  <a:pt x="322" y="60"/>
                </a:cubicBezTo>
                <a:cubicBezTo>
                  <a:pt x="322" y="60"/>
                  <a:pt x="322" y="59"/>
                  <a:pt x="321" y="58"/>
                </a:cubicBezTo>
                <a:cubicBezTo>
                  <a:pt x="320" y="57"/>
                  <a:pt x="320" y="57"/>
                  <a:pt x="320" y="57"/>
                </a:cubicBezTo>
                <a:cubicBezTo>
                  <a:pt x="319" y="56"/>
                  <a:pt x="315" y="58"/>
                  <a:pt x="313" y="58"/>
                </a:cubicBezTo>
                <a:cubicBezTo>
                  <a:pt x="311" y="57"/>
                  <a:pt x="309" y="57"/>
                  <a:pt x="307" y="58"/>
                </a:cubicBezTo>
                <a:cubicBezTo>
                  <a:pt x="305" y="58"/>
                  <a:pt x="303" y="60"/>
                  <a:pt x="301" y="61"/>
                </a:cubicBezTo>
                <a:cubicBezTo>
                  <a:pt x="298" y="61"/>
                  <a:pt x="294" y="58"/>
                  <a:pt x="290" y="57"/>
                </a:cubicBezTo>
                <a:cubicBezTo>
                  <a:pt x="286" y="56"/>
                  <a:pt x="282" y="57"/>
                  <a:pt x="279" y="56"/>
                </a:cubicBezTo>
                <a:cubicBezTo>
                  <a:pt x="271" y="53"/>
                  <a:pt x="270" y="43"/>
                  <a:pt x="260" y="47"/>
                </a:cubicBezTo>
                <a:cubicBezTo>
                  <a:pt x="259" y="48"/>
                  <a:pt x="257" y="50"/>
                  <a:pt x="256" y="50"/>
                </a:cubicBezTo>
                <a:cubicBezTo>
                  <a:pt x="254" y="51"/>
                  <a:pt x="251" y="50"/>
                  <a:pt x="249" y="50"/>
                </a:cubicBezTo>
                <a:cubicBezTo>
                  <a:pt x="247" y="50"/>
                  <a:pt x="245" y="50"/>
                  <a:pt x="243" y="49"/>
                </a:cubicBezTo>
                <a:cubicBezTo>
                  <a:pt x="241" y="49"/>
                  <a:pt x="240" y="47"/>
                  <a:pt x="238" y="47"/>
                </a:cubicBezTo>
                <a:cubicBezTo>
                  <a:pt x="235" y="46"/>
                  <a:pt x="231" y="46"/>
                  <a:pt x="228" y="46"/>
                </a:cubicBezTo>
                <a:cubicBezTo>
                  <a:pt x="223" y="45"/>
                  <a:pt x="221" y="42"/>
                  <a:pt x="217" y="40"/>
                </a:cubicBezTo>
                <a:cubicBezTo>
                  <a:pt x="213" y="38"/>
                  <a:pt x="209" y="38"/>
                  <a:pt x="206" y="35"/>
                </a:cubicBezTo>
                <a:cubicBezTo>
                  <a:pt x="203" y="33"/>
                  <a:pt x="202" y="31"/>
                  <a:pt x="200" y="29"/>
                </a:cubicBezTo>
                <a:cubicBezTo>
                  <a:pt x="197" y="27"/>
                  <a:pt x="196" y="27"/>
                  <a:pt x="194" y="25"/>
                </a:cubicBezTo>
                <a:cubicBezTo>
                  <a:pt x="193" y="25"/>
                  <a:pt x="193" y="25"/>
                  <a:pt x="193" y="25"/>
                </a:cubicBezTo>
                <a:cubicBezTo>
                  <a:pt x="192" y="25"/>
                  <a:pt x="192" y="25"/>
                  <a:pt x="192" y="25"/>
                </a:cubicBezTo>
                <a:cubicBezTo>
                  <a:pt x="182" y="27"/>
                  <a:pt x="180" y="31"/>
                  <a:pt x="173" y="26"/>
                </a:cubicBezTo>
                <a:cubicBezTo>
                  <a:pt x="164" y="20"/>
                  <a:pt x="164" y="23"/>
                  <a:pt x="156" y="26"/>
                </a:cubicBezTo>
                <a:cubicBezTo>
                  <a:pt x="147" y="28"/>
                  <a:pt x="148" y="22"/>
                  <a:pt x="143" y="22"/>
                </a:cubicBezTo>
                <a:cubicBezTo>
                  <a:pt x="138" y="22"/>
                  <a:pt x="138" y="20"/>
                  <a:pt x="132" y="23"/>
                </a:cubicBezTo>
                <a:cubicBezTo>
                  <a:pt x="126" y="25"/>
                  <a:pt x="128" y="24"/>
                  <a:pt x="113" y="23"/>
                </a:cubicBezTo>
                <a:cubicBezTo>
                  <a:pt x="98" y="23"/>
                  <a:pt x="96" y="19"/>
                  <a:pt x="92" y="21"/>
                </a:cubicBezTo>
                <a:cubicBezTo>
                  <a:pt x="87" y="23"/>
                  <a:pt x="87" y="12"/>
                  <a:pt x="82" y="16"/>
                </a:cubicBezTo>
                <a:cubicBezTo>
                  <a:pt x="77" y="19"/>
                  <a:pt x="81" y="19"/>
                  <a:pt x="71" y="20"/>
                </a:cubicBezTo>
                <a:cubicBezTo>
                  <a:pt x="61" y="21"/>
                  <a:pt x="63" y="23"/>
                  <a:pt x="58" y="21"/>
                </a:cubicBezTo>
                <a:cubicBezTo>
                  <a:pt x="52" y="19"/>
                  <a:pt x="47" y="18"/>
                  <a:pt x="42" y="16"/>
                </a:cubicBezTo>
                <a:cubicBezTo>
                  <a:pt x="36" y="13"/>
                  <a:pt x="38" y="0"/>
                  <a:pt x="30" y="12"/>
                </a:cubicBezTo>
                <a:cubicBezTo>
                  <a:pt x="23" y="23"/>
                  <a:pt x="20" y="17"/>
                  <a:pt x="23" y="23"/>
                </a:cubicBezTo>
                <a:cubicBezTo>
                  <a:pt x="25" y="30"/>
                  <a:pt x="32" y="27"/>
                  <a:pt x="19" y="34"/>
                </a:cubicBezTo>
                <a:cubicBezTo>
                  <a:pt x="6" y="40"/>
                  <a:pt x="4" y="41"/>
                  <a:pt x="4" y="45"/>
                </a:cubicBezTo>
                <a:cubicBezTo>
                  <a:pt x="4" y="48"/>
                  <a:pt x="0" y="46"/>
                  <a:pt x="5" y="50"/>
                </a:cubicBezTo>
                <a:cubicBezTo>
                  <a:pt x="10" y="54"/>
                  <a:pt x="16" y="50"/>
                  <a:pt x="13" y="58"/>
                </a:cubicBezTo>
                <a:cubicBezTo>
                  <a:pt x="11" y="66"/>
                  <a:pt x="7" y="63"/>
                  <a:pt x="11" y="66"/>
                </a:cubicBezTo>
                <a:cubicBezTo>
                  <a:pt x="14" y="68"/>
                  <a:pt x="16" y="70"/>
                  <a:pt x="16" y="73"/>
                </a:cubicBezTo>
                <a:cubicBezTo>
                  <a:pt x="16" y="75"/>
                  <a:pt x="16" y="75"/>
                  <a:pt x="16" y="75"/>
                </a:cubicBezTo>
                <a:lnTo>
                  <a:pt x="17" y="7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85" name="Freeform 519"/>
          <p:cNvSpPr>
            <a:spLocks/>
          </p:cNvSpPr>
          <p:nvPr userDrawn="1"/>
        </p:nvSpPr>
        <p:spPr bwMode="auto">
          <a:xfrm>
            <a:off x="5577761" y="3538940"/>
            <a:ext cx="92131" cy="73704"/>
          </a:xfrm>
          <a:custGeom>
            <a:avLst/>
            <a:gdLst>
              <a:gd name="T0" fmla="*/ 0 w 99"/>
              <a:gd name="T1" fmla="*/ 2147483646 h 79"/>
              <a:gd name="T2" fmla="*/ 2147483646 w 99"/>
              <a:gd name="T3" fmla="*/ 2147483646 h 79"/>
              <a:gd name="T4" fmla="*/ 2147483646 w 99"/>
              <a:gd name="T5" fmla="*/ 2147483646 h 79"/>
              <a:gd name="T6" fmla="*/ 2147483646 w 99"/>
              <a:gd name="T7" fmla="*/ 2147483646 h 79"/>
              <a:gd name="T8" fmla="*/ 2147483646 w 99"/>
              <a:gd name="T9" fmla="*/ 2147483646 h 79"/>
              <a:gd name="T10" fmla="*/ 2147483646 w 99"/>
              <a:gd name="T11" fmla="*/ 2147483646 h 79"/>
              <a:gd name="T12" fmla="*/ 2147483646 w 99"/>
              <a:gd name="T13" fmla="*/ 2147483646 h 79"/>
              <a:gd name="T14" fmla="*/ 2147483646 w 99"/>
              <a:gd name="T15" fmla="*/ 2147483646 h 79"/>
              <a:gd name="T16" fmla="*/ 2147483646 w 99"/>
              <a:gd name="T17" fmla="*/ 2147483646 h 79"/>
              <a:gd name="T18" fmla="*/ 2147483646 w 99"/>
              <a:gd name="T19" fmla="*/ 2147483646 h 79"/>
              <a:gd name="T20" fmla="*/ 2147483646 w 99"/>
              <a:gd name="T21" fmla="*/ 2147483646 h 79"/>
              <a:gd name="T22" fmla="*/ 2147483646 w 99"/>
              <a:gd name="T23" fmla="*/ 2147483646 h 79"/>
              <a:gd name="T24" fmla="*/ 2147483646 w 99"/>
              <a:gd name="T25" fmla="*/ 2147483646 h 79"/>
              <a:gd name="T26" fmla="*/ 2147483646 w 99"/>
              <a:gd name="T27" fmla="*/ 2147483646 h 79"/>
              <a:gd name="T28" fmla="*/ 2147483646 w 99"/>
              <a:gd name="T29" fmla="*/ 2147483646 h 79"/>
              <a:gd name="T30" fmla="*/ 2147483646 w 99"/>
              <a:gd name="T31" fmla="*/ 2147483646 h 79"/>
              <a:gd name="T32" fmla="*/ 2147483646 w 99"/>
              <a:gd name="T33" fmla="*/ 2147483646 h 79"/>
              <a:gd name="T34" fmla="*/ 2147483646 w 99"/>
              <a:gd name="T35" fmla="*/ 2147483646 h 79"/>
              <a:gd name="T36" fmla="*/ 2147483646 w 99"/>
              <a:gd name="T37" fmla="*/ 2147483646 h 79"/>
              <a:gd name="T38" fmla="*/ 2147483646 w 99"/>
              <a:gd name="T39" fmla="*/ 2147483646 h 79"/>
              <a:gd name="T40" fmla="*/ 2147483646 w 99"/>
              <a:gd name="T41" fmla="*/ 2147483646 h 79"/>
              <a:gd name="T42" fmla="*/ 2147483646 w 99"/>
              <a:gd name="T43" fmla="*/ 0 h 79"/>
              <a:gd name="T44" fmla="*/ 2147483646 w 99"/>
              <a:gd name="T45" fmla="*/ 2147483646 h 79"/>
              <a:gd name="T46" fmla="*/ 2147483646 w 99"/>
              <a:gd name="T47" fmla="*/ 2147483646 h 79"/>
              <a:gd name="T48" fmla="*/ 2147483646 w 99"/>
              <a:gd name="T49" fmla="*/ 2147483646 h 79"/>
              <a:gd name="T50" fmla="*/ 2147483646 w 99"/>
              <a:gd name="T51" fmla="*/ 2147483646 h 79"/>
              <a:gd name="T52" fmla="*/ 2147483646 w 99"/>
              <a:gd name="T53" fmla="*/ 2147483646 h 79"/>
              <a:gd name="T54" fmla="*/ 2147483646 w 99"/>
              <a:gd name="T55" fmla="*/ 2147483646 h 79"/>
              <a:gd name="T56" fmla="*/ 2147483646 w 99"/>
              <a:gd name="T57" fmla="*/ 2147483646 h 79"/>
              <a:gd name="T58" fmla="*/ 2147483646 w 99"/>
              <a:gd name="T59" fmla="*/ 2147483646 h 79"/>
              <a:gd name="T60" fmla="*/ 2147483646 w 99"/>
              <a:gd name="T61" fmla="*/ 2147483646 h 79"/>
              <a:gd name="T62" fmla="*/ 0 w 99"/>
              <a:gd name="T63" fmla="*/ 2147483646 h 79"/>
              <a:gd name="T64" fmla="*/ 0 w 99"/>
              <a:gd name="T65" fmla="*/ 2147483646 h 79"/>
              <a:gd name="T66" fmla="*/ 0 w 99"/>
              <a:gd name="T67" fmla="*/ 2147483646 h 7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9"/>
              <a:gd name="T103" fmla="*/ 0 h 79"/>
              <a:gd name="T104" fmla="*/ 99 w 99"/>
              <a:gd name="T105" fmla="*/ 79 h 7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9" h="79">
                <a:moveTo>
                  <a:pt x="0" y="15"/>
                </a:moveTo>
                <a:cubicBezTo>
                  <a:pt x="1" y="18"/>
                  <a:pt x="2" y="22"/>
                  <a:pt x="4" y="25"/>
                </a:cubicBezTo>
                <a:cubicBezTo>
                  <a:pt x="8" y="30"/>
                  <a:pt x="6" y="27"/>
                  <a:pt x="11" y="27"/>
                </a:cubicBezTo>
                <a:cubicBezTo>
                  <a:pt x="20" y="28"/>
                  <a:pt x="17" y="32"/>
                  <a:pt x="22" y="38"/>
                </a:cubicBezTo>
                <a:cubicBezTo>
                  <a:pt x="25" y="41"/>
                  <a:pt x="25" y="40"/>
                  <a:pt x="28" y="41"/>
                </a:cubicBezTo>
                <a:cubicBezTo>
                  <a:pt x="31" y="42"/>
                  <a:pt x="32" y="41"/>
                  <a:pt x="35" y="43"/>
                </a:cubicBezTo>
                <a:cubicBezTo>
                  <a:pt x="42" y="46"/>
                  <a:pt x="42" y="51"/>
                  <a:pt x="47" y="57"/>
                </a:cubicBezTo>
                <a:cubicBezTo>
                  <a:pt x="52" y="64"/>
                  <a:pt x="57" y="54"/>
                  <a:pt x="62" y="58"/>
                </a:cubicBezTo>
                <a:cubicBezTo>
                  <a:pt x="63" y="59"/>
                  <a:pt x="64" y="65"/>
                  <a:pt x="66" y="68"/>
                </a:cubicBezTo>
                <a:cubicBezTo>
                  <a:pt x="68" y="72"/>
                  <a:pt x="72" y="75"/>
                  <a:pt x="76" y="78"/>
                </a:cubicBezTo>
                <a:cubicBezTo>
                  <a:pt x="78" y="78"/>
                  <a:pt x="79" y="79"/>
                  <a:pt x="80" y="79"/>
                </a:cubicBezTo>
                <a:cubicBezTo>
                  <a:pt x="81" y="79"/>
                  <a:pt x="81" y="79"/>
                  <a:pt x="81" y="79"/>
                </a:cubicBezTo>
                <a:cubicBezTo>
                  <a:pt x="84" y="74"/>
                  <a:pt x="82" y="73"/>
                  <a:pt x="82" y="68"/>
                </a:cubicBezTo>
                <a:cubicBezTo>
                  <a:pt x="82" y="62"/>
                  <a:pt x="94" y="51"/>
                  <a:pt x="94" y="51"/>
                </a:cubicBezTo>
                <a:cubicBezTo>
                  <a:pt x="93" y="45"/>
                  <a:pt x="94" y="44"/>
                  <a:pt x="97" y="39"/>
                </a:cubicBezTo>
                <a:cubicBezTo>
                  <a:pt x="99" y="35"/>
                  <a:pt x="94" y="28"/>
                  <a:pt x="94" y="28"/>
                </a:cubicBezTo>
                <a:cubicBezTo>
                  <a:pt x="92" y="27"/>
                  <a:pt x="91" y="27"/>
                  <a:pt x="88" y="27"/>
                </a:cubicBezTo>
                <a:cubicBezTo>
                  <a:pt x="87" y="27"/>
                  <a:pt x="86" y="28"/>
                  <a:pt x="85" y="28"/>
                </a:cubicBezTo>
                <a:cubicBezTo>
                  <a:pt x="83" y="27"/>
                  <a:pt x="84" y="26"/>
                  <a:pt x="83" y="25"/>
                </a:cubicBezTo>
                <a:cubicBezTo>
                  <a:pt x="80" y="23"/>
                  <a:pt x="77" y="23"/>
                  <a:pt x="76" y="19"/>
                </a:cubicBezTo>
                <a:cubicBezTo>
                  <a:pt x="76" y="15"/>
                  <a:pt x="78" y="9"/>
                  <a:pt x="79" y="6"/>
                </a:cubicBezTo>
                <a:cubicBezTo>
                  <a:pt x="81" y="0"/>
                  <a:pt x="80" y="1"/>
                  <a:pt x="74" y="0"/>
                </a:cubicBezTo>
                <a:cubicBezTo>
                  <a:pt x="71" y="0"/>
                  <a:pt x="68" y="1"/>
                  <a:pt x="64" y="1"/>
                </a:cubicBezTo>
                <a:cubicBezTo>
                  <a:pt x="61" y="0"/>
                  <a:pt x="54" y="0"/>
                  <a:pt x="51" y="2"/>
                </a:cubicBezTo>
                <a:cubicBezTo>
                  <a:pt x="49" y="3"/>
                  <a:pt x="47" y="11"/>
                  <a:pt x="43" y="6"/>
                </a:cubicBezTo>
                <a:cubicBezTo>
                  <a:pt x="41" y="8"/>
                  <a:pt x="36" y="13"/>
                  <a:pt x="33" y="12"/>
                </a:cubicBezTo>
                <a:cubicBezTo>
                  <a:pt x="31" y="12"/>
                  <a:pt x="28" y="9"/>
                  <a:pt x="27" y="8"/>
                </a:cubicBezTo>
                <a:cubicBezTo>
                  <a:pt x="24" y="6"/>
                  <a:pt x="22" y="6"/>
                  <a:pt x="18" y="4"/>
                </a:cubicBezTo>
                <a:cubicBezTo>
                  <a:pt x="18" y="3"/>
                  <a:pt x="18" y="3"/>
                  <a:pt x="18" y="3"/>
                </a:cubicBezTo>
                <a:cubicBezTo>
                  <a:pt x="17" y="3"/>
                  <a:pt x="17" y="3"/>
                  <a:pt x="17" y="3"/>
                </a:cubicBezTo>
                <a:cubicBezTo>
                  <a:pt x="15" y="6"/>
                  <a:pt x="12" y="9"/>
                  <a:pt x="10" y="12"/>
                </a:cubicBezTo>
                <a:cubicBezTo>
                  <a:pt x="8" y="14"/>
                  <a:pt x="3" y="14"/>
                  <a:pt x="0" y="14"/>
                </a:cubicBezTo>
                <a:cubicBezTo>
                  <a:pt x="0" y="14"/>
                  <a:pt x="0" y="14"/>
                  <a:pt x="0" y="14"/>
                </a:cubicBezTo>
                <a:lnTo>
                  <a:pt x="0" y="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86" name="Freeform 520"/>
          <p:cNvSpPr>
            <a:spLocks/>
          </p:cNvSpPr>
          <p:nvPr userDrawn="1"/>
        </p:nvSpPr>
        <p:spPr bwMode="auto">
          <a:xfrm>
            <a:off x="5594513" y="3450162"/>
            <a:ext cx="98831" cy="115581"/>
          </a:xfrm>
          <a:custGeom>
            <a:avLst/>
            <a:gdLst>
              <a:gd name="T0" fmla="*/ 2147483646 w 105"/>
              <a:gd name="T1" fmla="*/ 2147483646 h 124"/>
              <a:gd name="T2" fmla="*/ 2147483646 w 105"/>
              <a:gd name="T3" fmla="*/ 2147483646 h 124"/>
              <a:gd name="T4" fmla="*/ 2147483646 w 105"/>
              <a:gd name="T5" fmla="*/ 2147483646 h 124"/>
              <a:gd name="T6" fmla="*/ 2147483646 w 105"/>
              <a:gd name="T7" fmla="*/ 2147483646 h 124"/>
              <a:gd name="T8" fmla="*/ 2147483646 w 105"/>
              <a:gd name="T9" fmla="*/ 2147483646 h 124"/>
              <a:gd name="T10" fmla="*/ 2147483646 w 105"/>
              <a:gd name="T11" fmla="*/ 2147483646 h 124"/>
              <a:gd name="T12" fmla="*/ 2147483646 w 105"/>
              <a:gd name="T13" fmla="*/ 2147483646 h 124"/>
              <a:gd name="T14" fmla="*/ 2147483646 w 105"/>
              <a:gd name="T15" fmla="*/ 2147483646 h 124"/>
              <a:gd name="T16" fmla="*/ 2147483646 w 105"/>
              <a:gd name="T17" fmla="*/ 2147483646 h 124"/>
              <a:gd name="T18" fmla="*/ 2147483646 w 105"/>
              <a:gd name="T19" fmla="*/ 2147483646 h 124"/>
              <a:gd name="T20" fmla="*/ 2147483646 w 105"/>
              <a:gd name="T21" fmla="*/ 2147483646 h 124"/>
              <a:gd name="T22" fmla="*/ 2147483646 w 105"/>
              <a:gd name="T23" fmla="*/ 2147483646 h 124"/>
              <a:gd name="T24" fmla="*/ 0 w 105"/>
              <a:gd name="T25" fmla="*/ 2147483646 h 124"/>
              <a:gd name="T26" fmla="*/ 0 w 105"/>
              <a:gd name="T27" fmla="*/ 2147483646 h 124"/>
              <a:gd name="T28" fmla="*/ 0 w 105"/>
              <a:gd name="T29" fmla="*/ 2147483646 h 124"/>
              <a:gd name="T30" fmla="*/ 2147483646 w 105"/>
              <a:gd name="T31" fmla="*/ 2147483646 h 124"/>
              <a:gd name="T32" fmla="*/ 2147483646 w 105"/>
              <a:gd name="T33" fmla="*/ 2147483646 h 124"/>
              <a:gd name="T34" fmla="*/ 2147483646 w 105"/>
              <a:gd name="T35" fmla="*/ 2147483646 h 124"/>
              <a:gd name="T36" fmla="*/ 2147483646 w 105"/>
              <a:gd name="T37" fmla="*/ 2147483646 h 124"/>
              <a:gd name="T38" fmla="*/ 2147483646 w 105"/>
              <a:gd name="T39" fmla="*/ 2147483646 h 124"/>
              <a:gd name="T40" fmla="*/ 2147483646 w 105"/>
              <a:gd name="T41" fmla="*/ 2147483646 h 124"/>
              <a:gd name="T42" fmla="*/ 2147483646 w 105"/>
              <a:gd name="T43" fmla="*/ 2147483646 h 124"/>
              <a:gd name="T44" fmla="*/ 2147483646 w 105"/>
              <a:gd name="T45" fmla="*/ 2147483646 h 124"/>
              <a:gd name="T46" fmla="*/ 2147483646 w 105"/>
              <a:gd name="T47" fmla="*/ 2147483646 h 124"/>
              <a:gd name="T48" fmla="*/ 2147483646 w 105"/>
              <a:gd name="T49" fmla="*/ 2147483646 h 124"/>
              <a:gd name="T50" fmla="*/ 2147483646 w 105"/>
              <a:gd name="T51" fmla="*/ 2147483646 h 124"/>
              <a:gd name="T52" fmla="*/ 2147483646 w 105"/>
              <a:gd name="T53" fmla="*/ 2147483646 h 124"/>
              <a:gd name="T54" fmla="*/ 2147483646 w 105"/>
              <a:gd name="T55" fmla="*/ 2147483646 h 124"/>
              <a:gd name="T56" fmla="*/ 2147483646 w 105"/>
              <a:gd name="T57" fmla="*/ 2147483646 h 124"/>
              <a:gd name="T58" fmla="*/ 2147483646 w 105"/>
              <a:gd name="T59" fmla="*/ 2147483646 h 124"/>
              <a:gd name="T60" fmla="*/ 2147483646 w 105"/>
              <a:gd name="T61" fmla="*/ 2147483646 h 124"/>
              <a:gd name="T62" fmla="*/ 2147483646 w 105"/>
              <a:gd name="T63" fmla="*/ 2147483646 h 124"/>
              <a:gd name="T64" fmla="*/ 2147483646 w 105"/>
              <a:gd name="T65" fmla="*/ 2147483646 h 124"/>
              <a:gd name="T66" fmla="*/ 2147483646 w 105"/>
              <a:gd name="T67" fmla="*/ 2147483646 h 124"/>
              <a:gd name="T68" fmla="*/ 2147483646 w 105"/>
              <a:gd name="T69" fmla="*/ 2147483646 h 124"/>
              <a:gd name="T70" fmla="*/ 2147483646 w 105"/>
              <a:gd name="T71" fmla="*/ 2147483646 h 124"/>
              <a:gd name="T72" fmla="*/ 2147483646 w 105"/>
              <a:gd name="T73" fmla="*/ 2147483646 h 124"/>
              <a:gd name="T74" fmla="*/ 2147483646 w 105"/>
              <a:gd name="T75" fmla="*/ 2147483646 h 124"/>
              <a:gd name="T76" fmla="*/ 2147483646 w 105"/>
              <a:gd name="T77" fmla="*/ 2147483646 h 124"/>
              <a:gd name="T78" fmla="*/ 2147483646 w 105"/>
              <a:gd name="T79" fmla="*/ 2147483646 h 124"/>
              <a:gd name="T80" fmla="*/ 2147483646 w 105"/>
              <a:gd name="T81" fmla="*/ 2147483646 h 124"/>
              <a:gd name="T82" fmla="*/ 2147483646 w 105"/>
              <a:gd name="T83" fmla="*/ 2147483646 h 124"/>
              <a:gd name="T84" fmla="*/ 2147483646 w 105"/>
              <a:gd name="T85" fmla="*/ 2147483646 h 124"/>
              <a:gd name="T86" fmla="*/ 2147483646 w 105"/>
              <a:gd name="T87" fmla="*/ 2147483646 h 124"/>
              <a:gd name="T88" fmla="*/ 2147483646 w 105"/>
              <a:gd name="T89" fmla="*/ 2147483646 h 124"/>
              <a:gd name="T90" fmla="*/ 2147483646 w 105"/>
              <a:gd name="T91" fmla="*/ 2147483646 h 124"/>
              <a:gd name="T92" fmla="*/ 2147483646 w 105"/>
              <a:gd name="T93" fmla="*/ 2147483646 h 124"/>
              <a:gd name="T94" fmla="*/ 2147483646 w 105"/>
              <a:gd name="T95" fmla="*/ 2147483646 h 124"/>
              <a:gd name="T96" fmla="*/ 2147483646 w 105"/>
              <a:gd name="T97" fmla="*/ 2147483646 h 124"/>
              <a:gd name="T98" fmla="*/ 2147483646 w 105"/>
              <a:gd name="T99" fmla="*/ 2147483646 h 124"/>
              <a:gd name="T100" fmla="*/ 2147483646 w 105"/>
              <a:gd name="T101" fmla="*/ 2147483646 h 124"/>
              <a:gd name="T102" fmla="*/ 2147483646 w 105"/>
              <a:gd name="T103" fmla="*/ 2147483646 h 124"/>
              <a:gd name="T104" fmla="*/ 2147483646 w 105"/>
              <a:gd name="T105" fmla="*/ 2147483646 h 124"/>
              <a:gd name="T106" fmla="*/ 2147483646 w 105"/>
              <a:gd name="T107" fmla="*/ 2147483646 h 124"/>
              <a:gd name="T108" fmla="*/ 2147483646 w 105"/>
              <a:gd name="T109" fmla="*/ 2147483646 h 124"/>
              <a:gd name="T110" fmla="*/ 2147483646 w 105"/>
              <a:gd name="T111" fmla="*/ 2147483646 h 124"/>
              <a:gd name="T112" fmla="*/ 2147483646 w 105"/>
              <a:gd name="T113" fmla="*/ 2147483646 h 124"/>
              <a:gd name="T114" fmla="*/ 2147483646 w 105"/>
              <a:gd name="T115" fmla="*/ 2147483646 h 124"/>
              <a:gd name="T116" fmla="*/ 2147483646 w 105"/>
              <a:gd name="T117" fmla="*/ 2147483646 h 12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05"/>
              <a:gd name="T178" fmla="*/ 0 h 124"/>
              <a:gd name="T179" fmla="*/ 105 w 105"/>
              <a:gd name="T180" fmla="*/ 124 h 12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05" h="124">
                <a:moveTo>
                  <a:pt x="76" y="124"/>
                </a:moveTo>
                <a:cubicBezTo>
                  <a:pt x="74" y="123"/>
                  <a:pt x="73" y="123"/>
                  <a:pt x="70" y="123"/>
                </a:cubicBezTo>
                <a:cubicBezTo>
                  <a:pt x="69" y="123"/>
                  <a:pt x="68" y="124"/>
                  <a:pt x="67" y="124"/>
                </a:cubicBezTo>
                <a:cubicBezTo>
                  <a:pt x="65" y="123"/>
                  <a:pt x="66" y="122"/>
                  <a:pt x="65" y="121"/>
                </a:cubicBezTo>
                <a:cubicBezTo>
                  <a:pt x="62" y="119"/>
                  <a:pt x="59" y="119"/>
                  <a:pt x="58" y="115"/>
                </a:cubicBezTo>
                <a:cubicBezTo>
                  <a:pt x="58" y="111"/>
                  <a:pt x="60" y="105"/>
                  <a:pt x="61" y="101"/>
                </a:cubicBezTo>
                <a:cubicBezTo>
                  <a:pt x="63" y="96"/>
                  <a:pt x="62" y="96"/>
                  <a:pt x="56" y="96"/>
                </a:cubicBezTo>
                <a:cubicBezTo>
                  <a:pt x="53" y="96"/>
                  <a:pt x="50" y="97"/>
                  <a:pt x="46" y="96"/>
                </a:cubicBezTo>
                <a:cubicBezTo>
                  <a:pt x="43" y="96"/>
                  <a:pt x="37" y="96"/>
                  <a:pt x="33" y="98"/>
                </a:cubicBezTo>
                <a:cubicBezTo>
                  <a:pt x="31" y="99"/>
                  <a:pt x="29" y="107"/>
                  <a:pt x="25" y="102"/>
                </a:cubicBezTo>
                <a:cubicBezTo>
                  <a:pt x="23" y="104"/>
                  <a:pt x="18" y="109"/>
                  <a:pt x="15" y="108"/>
                </a:cubicBezTo>
                <a:cubicBezTo>
                  <a:pt x="13" y="108"/>
                  <a:pt x="10" y="105"/>
                  <a:pt x="9" y="104"/>
                </a:cubicBezTo>
                <a:cubicBezTo>
                  <a:pt x="6" y="102"/>
                  <a:pt x="4" y="101"/>
                  <a:pt x="0" y="100"/>
                </a:cubicBezTo>
                <a:cubicBezTo>
                  <a:pt x="0" y="99"/>
                  <a:pt x="0" y="99"/>
                  <a:pt x="0" y="99"/>
                </a:cubicBezTo>
                <a:cubicBezTo>
                  <a:pt x="0" y="98"/>
                  <a:pt x="0" y="98"/>
                  <a:pt x="0" y="98"/>
                </a:cubicBezTo>
                <a:cubicBezTo>
                  <a:pt x="1" y="98"/>
                  <a:pt x="2" y="97"/>
                  <a:pt x="2" y="97"/>
                </a:cubicBezTo>
                <a:cubicBezTo>
                  <a:pt x="3" y="96"/>
                  <a:pt x="6" y="91"/>
                  <a:pt x="11" y="95"/>
                </a:cubicBezTo>
                <a:cubicBezTo>
                  <a:pt x="15" y="98"/>
                  <a:pt x="16" y="96"/>
                  <a:pt x="17" y="95"/>
                </a:cubicBezTo>
                <a:cubicBezTo>
                  <a:pt x="18" y="94"/>
                  <a:pt x="16" y="89"/>
                  <a:pt x="16" y="87"/>
                </a:cubicBezTo>
                <a:cubicBezTo>
                  <a:pt x="16" y="85"/>
                  <a:pt x="12" y="82"/>
                  <a:pt x="15" y="80"/>
                </a:cubicBezTo>
                <a:cubicBezTo>
                  <a:pt x="18" y="79"/>
                  <a:pt x="20" y="77"/>
                  <a:pt x="20" y="76"/>
                </a:cubicBezTo>
                <a:cubicBezTo>
                  <a:pt x="21" y="74"/>
                  <a:pt x="20" y="73"/>
                  <a:pt x="22" y="71"/>
                </a:cubicBezTo>
                <a:cubicBezTo>
                  <a:pt x="24" y="69"/>
                  <a:pt x="23" y="66"/>
                  <a:pt x="24" y="64"/>
                </a:cubicBezTo>
                <a:cubicBezTo>
                  <a:pt x="25" y="62"/>
                  <a:pt x="30" y="56"/>
                  <a:pt x="32" y="51"/>
                </a:cubicBezTo>
                <a:cubicBezTo>
                  <a:pt x="35" y="47"/>
                  <a:pt x="36" y="34"/>
                  <a:pt x="37" y="30"/>
                </a:cubicBezTo>
                <a:cubicBezTo>
                  <a:pt x="37" y="26"/>
                  <a:pt x="34" y="20"/>
                  <a:pt x="38" y="16"/>
                </a:cubicBezTo>
                <a:cubicBezTo>
                  <a:pt x="41" y="12"/>
                  <a:pt x="51" y="6"/>
                  <a:pt x="60" y="4"/>
                </a:cubicBezTo>
                <a:cubicBezTo>
                  <a:pt x="69" y="1"/>
                  <a:pt x="72" y="7"/>
                  <a:pt x="82" y="1"/>
                </a:cubicBezTo>
                <a:cubicBezTo>
                  <a:pt x="82" y="1"/>
                  <a:pt x="76" y="6"/>
                  <a:pt x="66" y="6"/>
                </a:cubicBezTo>
                <a:cubicBezTo>
                  <a:pt x="56" y="6"/>
                  <a:pt x="54" y="10"/>
                  <a:pt x="51" y="13"/>
                </a:cubicBezTo>
                <a:cubicBezTo>
                  <a:pt x="48" y="16"/>
                  <a:pt x="43" y="21"/>
                  <a:pt x="44" y="25"/>
                </a:cubicBezTo>
                <a:cubicBezTo>
                  <a:pt x="45" y="28"/>
                  <a:pt x="44" y="29"/>
                  <a:pt x="48" y="32"/>
                </a:cubicBezTo>
                <a:cubicBezTo>
                  <a:pt x="51" y="36"/>
                  <a:pt x="54" y="36"/>
                  <a:pt x="53" y="40"/>
                </a:cubicBezTo>
                <a:cubicBezTo>
                  <a:pt x="51" y="44"/>
                  <a:pt x="46" y="47"/>
                  <a:pt x="51" y="47"/>
                </a:cubicBezTo>
                <a:cubicBezTo>
                  <a:pt x="56" y="47"/>
                  <a:pt x="57" y="45"/>
                  <a:pt x="58" y="42"/>
                </a:cubicBezTo>
                <a:cubicBezTo>
                  <a:pt x="59" y="38"/>
                  <a:pt x="54" y="24"/>
                  <a:pt x="56" y="21"/>
                </a:cubicBezTo>
                <a:cubicBezTo>
                  <a:pt x="58" y="17"/>
                  <a:pt x="59" y="11"/>
                  <a:pt x="62" y="11"/>
                </a:cubicBezTo>
                <a:cubicBezTo>
                  <a:pt x="66" y="11"/>
                  <a:pt x="70" y="9"/>
                  <a:pt x="70" y="9"/>
                </a:cubicBezTo>
                <a:cubicBezTo>
                  <a:pt x="70" y="9"/>
                  <a:pt x="77" y="13"/>
                  <a:pt x="83" y="10"/>
                </a:cubicBezTo>
                <a:cubicBezTo>
                  <a:pt x="89" y="6"/>
                  <a:pt x="90" y="0"/>
                  <a:pt x="92" y="5"/>
                </a:cubicBezTo>
                <a:cubicBezTo>
                  <a:pt x="95" y="10"/>
                  <a:pt x="96" y="15"/>
                  <a:pt x="99" y="15"/>
                </a:cubicBezTo>
                <a:cubicBezTo>
                  <a:pt x="102" y="15"/>
                  <a:pt x="101" y="10"/>
                  <a:pt x="103" y="10"/>
                </a:cubicBezTo>
                <a:cubicBezTo>
                  <a:pt x="105" y="11"/>
                  <a:pt x="105" y="11"/>
                  <a:pt x="105" y="11"/>
                </a:cubicBezTo>
                <a:cubicBezTo>
                  <a:pt x="104" y="14"/>
                  <a:pt x="104" y="14"/>
                  <a:pt x="104" y="14"/>
                </a:cubicBezTo>
                <a:cubicBezTo>
                  <a:pt x="104" y="15"/>
                  <a:pt x="104" y="17"/>
                  <a:pt x="103" y="17"/>
                </a:cubicBezTo>
                <a:cubicBezTo>
                  <a:pt x="101" y="22"/>
                  <a:pt x="98" y="23"/>
                  <a:pt x="100" y="29"/>
                </a:cubicBezTo>
                <a:cubicBezTo>
                  <a:pt x="101" y="32"/>
                  <a:pt x="102" y="31"/>
                  <a:pt x="100" y="34"/>
                </a:cubicBezTo>
                <a:cubicBezTo>
                  <a:pt x="98" y="38"/>
                  <a:pt x="95" y="41"/>
                  <a:pt x="94" y="45"/>
                </a:cubicBezTo>
                <a:cubicBezTo>
                  <a:pt x="94" y="49"/>
                  <a:pt x="97" y="53"/>
                  <a:pt x="100" y="56"/>
                </a:cubicBezTo>
                <a:cubicBezTo>
                  <a:pt x="96" y="61"/>
                  <a:pt x="91" y="69"/>
                  <a:pt x="89" y="76"/>
                </a:cubicBezTo>
                <a:cubicBezTo>
                  <a:pt x="88" y="75"/>
                  <a:pt x="87" y="73"/>
                  <a:pt x="85" y="74"/>
                </a:cubicBezTo>
                <a:cubicBezTo>
                  <a:pt x="83" y="74"/>
                  <a:pt x="82" y="77"/>
                  <a:pt x="81" y="77"/>
                </a:cubicBezTo>
                <a:cubicBezTo>
                  <a:pt x="79" y="77"/>
                  <a:pt x="79" y="75"/>
                  <a:pt x="77" y="76"/>
                </a:cubicBezTo>
                <a:cubicBezTo>
                  <a:pt x="76" y="76"/>
                  <a:pt x="77" y="79"/>
                  <a:pt x="77" y="81"/>
                </a:cubicBezTo>
                <a:cubicBezTo>
                  <a:pt x="73" y="79"/>
                  <a:pt x="70" y="84"/>
                  <a:pt x="71" y="87"/>
                </a:cubicBezTo>
                <a:cubicBezTo>
                  <a:pt x="72" y="91"/>
                  <a:pt x="74" y="99"/>
                  <a:pt x="76" y="102"/>
                </a:cubicBezTo>
                <a:cubicBezTo>
                  <a:pt x="75" y="104"/>
                  <a:pt x="72" y="106"/>
                  <a:pt x="70" y="108"/>
                </a:cubicBezTo>
                <a:cubicBezTo>
                  <a:pt x="70" y="110"/>
                  <a:pt x="72" y="112"/>
                  <a:pt x="73" y="114"/>
                </a:cubicBezTo>
                <a:cubicBezTo>
                  <a:pt x="74" y="117"/>
                  <a:pt x="76" y="120"/>
                  <a:pt x="76" y="12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87" name="Freeform 521"/>
          <p:cNvSpPr>
            <a:spLocks/>
          </p:cNvSpPr>
          <p:nvPr userDrawn="1"/>
        </p:nvSpPr>
        <p:spPr bwMode="auto">
          <a:xfrm>
            <a:off x="5808924" y="3548991"/>
            <a:ext cx="157459" cy="98831"/>
          </a:xfrm>
          <a:custGeom>
            <a:avLst/>
            <a:gdLst>
              <a:gd name="T0" fmla="*/ 2147483646 w 168"/>
              <a:gd name="T1" fmla="*/ 2147483646 h 106"/>
              <a:gd name="T2" fmla="*/ 2147483646 w 168"/>
              <a:gd name="T3" fmla="*/ 2147483646 h 106"/>
              <a:gd name="T4" fmla="*/ 2147483646 w 168"/>
              <a:gd name="T5" fmla="*/ 2147483646 h 106"/>
              <a:gd name="T6" fmla="*/ 2147483646 w 168"/>
              <a:gd name="T7" fmla="*/ 2147483646 h 106"/>
              <a:gd name="T8" fmla="*/ 2147483646 w 168"/>
              <a:gd name="T9" fmla="*/ 2147483646 h 106"/>
              <a:gd name="T10" fmla="*/ 2147483646 w 168"/>
              <a:gd name="T11" fmla="*/ 2147483646 h 106"/>
              <a:gd name="T12" fmla="*/ 2147483646 w 168"/>
              <a:gd name="T13" fmla="*/ 2147483646 h 106"/>
              <a:gd name="T14" fmla="*/ 2147483646 w 168"/>
              <a:gd name="T15" fmla="*/ 2147483646 h 106"/>
              <a:gd name="T16" fmla="*/ 2147483646 w 168"/>
              <a:gd name="T17" fmla="*/ 2147483646 h 106"/>
              <a:gd name="T18" fmla="*/ 2147483646 w 168"/>
              <a:gd name="T19" fmla="*/ 2147483646 h 106"/>
              <a:gd name="T20" fmla="*/ 2147483646 w 168"/>
              <a:gd name="T21" fmla="*/ 2147483646 h 106"/>
              <a:gd name="T22" fmla="*/ 2147483646 w 168"/>
              <a:gd name="T23" fmla="*/ 2147483646 h 106"/>
              <a:gd name="T24" fmla="*/ 2147483646 w 168"/>
              <a:gd name="T25" fmla="*/ 2147483646 h 106"/>
              <a:gd name="T26" fmla="*/ 2147483646 w 168"/>
              <a:gd name="T27" fmla="*/ 2147483646 h 106"/>
              <a:gd name="T28" fmla="*/ 2147483646 w 168"/>
              <a:gd name="T29" fmla="*/ 2147483646 h 106"/>
              <a:gd name="T30" fmla="*/ 0 w 168"/>
              <a:gd name="T31" fmla="*/ 2147483646 h 106"/>
              <a:gd name="T32" fmla="*/ 2147483646 w 168"/>
              <a:gd name="T33" fmla="*/ 2147483646 h 106"/>
              <a:gd name="T34" fmla="*/ 2147483646 w 168"/>
              <a:gd name="T35" fmla="*/ 2147483646 h 106"/>
              <a:gd name="T36" fmla="*/ 2147483646 w 168"/>
              <a:gd name="T37" fmla="*/ 2147483646 h 106"/>
              <a:gd name="T38" fmla="*/ 2147483646 w 168"/>
              <a:gd name="T39" fmla="*/ 2147483646 h 106"/>
              <a:gd name="T40" fmla="*/ 2147483646 w 168"/>
              <a:gd name="T41" fmla="*/ 2147483646 h 106"/>
              <a:gd name="T42" fmla="*/ 2147483646 w 168"/>
              <a:gd name="T43" fmla="*/ 2147483646 h 106"/>
              <a:gd name="T44" fmla="*/ 2147483646 w 168"/>
              <a:gd name="T45" fmla="*/ 0 h 106"/>
              <a:gd name="T46" fmla="*/ 2147483646 w 168"/>
              <a:gd name="T47" fmla="*/ 2147483646 h 106"/>
              <a:gd name="T48" fmla="*/ 2147483646 w 168"/>
              <a:gd name="T49" fmla="*/ 2147483646 h 106"/>
              <a:gd name="T50" fmla="*/ 2147483646 w 168"/>
              <a:gd name="T51" fmla="*/ 2147483646 h 106"/>
              <a:gd name="T52" fmla="*/ 2147483646 w 168"/>
              <a:gd name="T53" fmla="*/ 2147483646 h 106"/>
              <a:gd name="T54" fmla="*/ 2147483646 w 168"/>
              <a:gd name="T55" fmla="*/ 2147483646 h 106"/>
              <a:gd name="T56" fmla="*/ 2147483646 w 168"/>
              <a:gd name="T57" fmla="*/ 2147483646 h 106"/>
              <a:gd name="T58" fmla="*/ 2147483646 w 168"/>
              <a:gd name="T59" fmla="*/ 2147483646 h 106"/>
              <a:gd name="T60" fmla="*/ 2147483646 w 168"/>
              <a:gd name="T61" fmla="*/ 2147483646 h 106"/>
              <a:gd name="T62" fmla="*/ 2147483646 w 168"/>
              <a:gd name="T63" fmla="*/ 2147483646 h 106"/>
              <a:gd name="T64" fmla="*/ 2147483646 w 168"/>
              <a:gd name="T65" fmla="*/ 2147483646 h 106"/>
              <a:gd name="T66" fmla="*/ 2147483646 w 168"/>
              <a:gd name="T67" fmla="*/ 2147483646 h 106"/>
              <a:gd name="T68" fmla="*/ 2147483646 w 168"/>
              <a:gd name="T69" fmla="*/ 2147483646 h 106"/>
              <a:gd name="T70" fmla="*/ 2147483646 w 168"/>
              <a:gd name="T71" fmla="*/ 2147483646 h 106"/>
              <a:gd name="T72" fmla="*/ 2147483646 w 168"/>
              <a:gd name="T73" fmla="*/ 2147483646 h 106"/>
              <a:gd name="T74" fmla="*/ 2147483646 w 168"/>
              <a:gd name="T75" fmla="*/ 2147483646 h 106"/>
              <a:gd name="T76" fmla="*/ 2147483646 w 168"/>
              <a:gd name="T77" fmla="*/ 2147483646 h 106"/>
              <a:gd name="T78" fmla="*/ 2147483646 w 168"/>
              <a:gd name="T79" fmla="*/ 2147483646 h 106"/>
              <a:gd name="T80" fmla="*/ 2147483646 w 168"/>
              <a:gd name="T81" fmla="*/ 2147483646 h 106"/>
              <a:gd name="T82" fmla="*/ 2147483646 w 168"/>
              <a:gd name="T83" fmla="*/ 2147483646 h 106"/>
              <a:gd name="T84" fmla="*/ 2147483646 w 168"/>
              <a:gd name="T85" fmla="*/ 2147483646 h 106"/>
              <a:gd name="T86" fmla="*/ 2147483646 w 168"/>
              <a:gd name="T87" fmla="*/ 2147483646 h 106"/>
              <a:gd name="T88" fmla="*/ 2147483646 w 168"/>
              <a:gd name="T89" fmla="*/ 2147483646 h 106"/>
              <a:gd name="T90" fmla="*/ 2147483646 w 168"/>
              <a:gd name="T91" fmla="*/ 2147483646 h 10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8"/>
              <a:gd name="T139" fmla="*/ 0 h 106"/>
              <a:gd name="T140" fmla="*/ 168 w 168"/>
              <a:gd name="T141" fmla="*/ 106 h 10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8" h="106">
                <a:moveTo>
                  <a:pt x="119" y="93"/>
                </a:moveTo>
                <a:cubicBezTo>
                  <a:pt x="115" y="89"/>
                  <a:pt x="116" y="89"/>
                  <a:pt x="111" y="89"/>
                </a:cubicBezTo>
                <a:cubicBezTo>
                  <a:pt x="106" y="90"/>
                  <a:pt x="101" y="92"/>
                  <a:pt x="96" y="91"/>
                </a:cubicBezTo>
                <a:cubicBezTo>
                  <a:pt x="89" y="91"/>
                  <a:pt x="87" y="80"/>
                  <a:pt x="81" y="80"/>
                </a:cubicBezTo>
                <a:cubicBezTo>
                  <a:pt x="77" y="80"/>
                  <a:pt x="75" y="87"/>
                  <a:pt x="73" y="90"/>
                </a:cubicBezTo>
                <a:cubicBezTo>
                  <a:pt x="71" y="92"/>
                  <a:pt x="71" y="92"/>
                  <a:pt x="68" y="94"/>
                </a:cubicBezTo>
                <a:cubicBezTo>
                  <a:pt x="64" y="96"/>
                  <a:pt x="58" y="106"/>
                  <a:pt x="54" y="105"/>
                </a:cubicBezTo>
                <a:cubicBezTo>
                  <a:pt x="52" y="105"/>
                  <a:pt x="46" y="102"/>
                  <a:pt x="44" y="100"/>
                </a:cubicBezTo>
                <a:cubicBezTo>
                  <a:pt x="43" y="100"/>
                  <a:pt x="43" y="100"/>
                  <a:pt x="42" y="98"/>
                </a:cubicBezTo>
                <a:cubicBezTo>
                  <a:pt x="40" y="97"/>
                  <a:pt x="40" y="95"/>
                  <a:pt x="39" y="93"/>
                </a:cubicBezTo>
                <a:cubicBezTo>
                  <a:pt x="37" y="92"/>
                  <a:pt x="34" y="91"/>
                  <a:pt x="34" y="90"/>
                </a:cubicBezTo>
                <a:cubicBezTo>
                  <a:pt x="31" y="88"/>
                  <a:pt x="31" y="82"/>
                  <a:pt x="31" y="78"/>
                </a:cubicBezTo>
                <a:cubicBezTo>
                  <a:pt x="28" y="78"/>
                  <a:pt x="24" y="80"/>
                  <a:pt x="22" y="82"/>
                </a:cubicBezTo>
                <a:cubicBezTo>
                  <a:pt x="21" y="77"/>
                  <a:pt x="23" y="72"/>
                  <a:pt x="23" y="68"/>
                </a:cubicBezTo>
                <a:cubicBezTo>
                  <a:pt x="17" y="67"/>
                  <a:pt x="14" y="65"/>
                  <a:pt x="11" y="60"/>
                </a:cubicBezTo>
                <a:cubicBezTo>
                  <a:pt x="8" y="52"/>
                  <a:pt x="4" y="44"/>
                  <a:pt x="0" y="37"/>
                </a:cubicBezTo>
                <a:cubicBezTo>
                  <a:pt x="4" y="36"/>
                  <a:pt x="9" y="35"/>
                  <a:pt x="13" y="33"/>
                </a:cubicBezTo>
                <a:cubicBezTo>
                  <a:pt x="20" y="31"/>
                  <a:pt x="24" y="25"/>
                  <a:pt x="31" y="23"/>
                </a:cubicBezTo>
                <a:cubicBezTo>
                  <a:pt x="39" y="20"/>
                  <a:pt x="46" y="13"/>
                  <a:pt x="50" y="5"/>
                </a:cubicBezTo>
                <a:cubicBezTo>
                  <a:pt x="55" y="7"/>
                  <a:pt x="58" y="11"/>
                  <a:pt x="63" y="14"/>
                </a:cubicBezTo>
                <a:cubicBezTo>
                  <a:pt x="64" y="10"/>
                  <a:pt x="65" y="7"/>
                  <a:pt x="67" y="4"/>
                </a:cubicBezTo>
                <a:cubicBezTo>
                  <a:pt x="68" y="4"/>
                  <a:pt x="68" y="3"/>
                  <a:pt x="69" y="3"/>
                </a:cubicBezTo>
                <a:cubicBezTo>
                  <a:pt x="70" y="0"/>
                  <a:pt x="70" y="0"/>
                  <a:pt x="70" y="0"/>
                </a:cubicBezTo>
                <a:cubicBezTo>
                  <a:pt x="71" y="1"/>
                  <a:pt x="76" y="1"/>
                  <a:pt x="78" y="3"/>
                </a:cubicBezTo>
                <a:cubicBezTo>
                  <a:pt x="83" y="8"/>
                  <a:pt x="79" y="15"/>
                  <a:pt x="83" y="20"/>
                </a:cubicBezTo>
                <a:cubicBezTo>
                  <a:pt x="85" y="17"/>
                  <a:pt x="89" y="15"/>
                  <a:pt x="92" y="17"/>
                </a:cubicBezTo>
                <a:cubicBezTo>
                  <a:pt x="93" y="18"/>
                  <a:pt x="94" y="21"/>
                  <a:pt x="95" y="22"/>
                </a:cubicBezTo>
                <a:cubicBezTo>
                  <a:pt x="97" y="23"/>
                  <a:pt x="98" y="21"/>
                  <a:pt x="99" y="24"/>
                </a:cubicBezTo>
                <a:cubicBezTo>
                  <a:pt x="102" y="23"/>
                  <a:pt x="104" y="21"/>
                  <a:pt x="108" y="21"/>
                </a:cubicBezTo>
                <a:cubicBezTo>
                  <a:pt x="109" y="25"/>
                  <a:pt x="108" y="30"/>
                  <a:pt x="107" y="34"/>
                </a:cubicBezTo>
                <a:cubicBezTo>
                  <a:pt x="111" y="35"/>
                  <a:pt x="115" y="40"/>
                  <a:pt x="119" y="41"/>
                </a:cubicBezTo>
                <a:cubicBezTo>
                  <a:pt x="119" y="39"/>
                  <a:pt x="118" y="31"/>
                  <a:pt x="120" y="29"/>
                </a:cubicBezTo>
                <a:cubicBezTo>
                  <a:pt x="121" y="27"/>
                  <a:pt x="128" y="28"/>
                  <a:pt x="130" y="28"/>
                </a:cubicBezTo>
                <a:cubicBezTo>
                  <a:pt x="132" y="28"/>
                  <a:pt x="136" y="26"/>
                  <a:pt x="138" y="28"/>
                </a:cubicBezTo>
                <a:cubicBezTo>
                  <a:pt x="139" y="30"/>
                  <a:pt x="137" y="38"/>
                  <a:pt x="136" y="40"/>
                </a:cubicBezTo>
                <a:cubicBezTo>
                  <a:pt x="140" y="40"/>
                  <a:pt x="142" y="34"/>
                  <a:pt x="146" y="34"/>
                </a:cubicBezTo>
                <a:cubicBezTo>
                  <a:pt x="147" y="37"/>
                  <a:pt x="148" y="46"/>
                  <a:pt x="151" y="48"/>
                </a:cubicBezTo>
                <a:cubicBezTo>
                  <a:pt x="153" y="50"/>
                  <a:pt x="155" y="47"/>
                  <a:pt x="159" y="46"/>
                </a:cubicBezTo>
                <a:cubicBezTo>
                  <a:pt x="160" y="46"/>
                  <a:pt x="163" y="45"/>
                  <a:pt x="165" y="47"/>
                </a:cubicBezTo>
                <a:cubicBezTo>
                  <a:pt x="167" y="50"/>
                  <a:pt x="162" y="55"/>
                  <a:pt x="163" y="57"/>
                </a:cubicBezTo>
                <a:cubicBezTo>
                  <a:pt x="168" y="64"/>
                  <a:pt x="168" y="64"/>
                  <a:pt x="168" y="64"/>
                </a:cubicBezTo>
                <a:cubicBezTo>
                  <a:pt x="165" y="70"/>
                  <a:pt x="153" y="62"/>
                  <a:pt x="149" y="67"/>
                </a:cubicBezTo>
                <a:cubicBezTo>
                  <a:pt x="147" y="70"/>
                  <a:pt x="148" y="77"/>
                  <a:pt x="145" y="80"/>
                </a:cubicBezTo>
                <a:cubicBezTo>
                  <a:pt x="142" y="82"/>
                  <a:pt x="141" y="82"/>
                  <a:pt x="138" y="82"/>
                </a:cubicBezTo>
                <a:cubicBezTo>
                  <a:pt x="133" y="82"/>
                  <a:pt x="126" y="80"/>
                  <a:pt x="123" y="84"/>
                </a:cubicBezTo>
                <a:cubicBezTo>
                  <a:pt x="121" y="86"/>
                  <a:pt x="119" y="91"/>
                  <a:pt x="119" y="9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88" name="Freeform 522"/>
          <p:cNvSpPr>
            <a:spLocks/>
          </p:cNvSpPr>
          <p:nvPr userDrawn="1"/>
        </p:nvSpPr>
        <p:spPr bwMode="auto">
          <a:xfrm>
            <a:off x="5746946" y="3624372"/>
            <a:ext cx="175884" cy="100505"/>
          </a:xfrm>
          <a:custGeom>
            <a:avLst/>
            <a:gdLst>
              <a:gd name="T0" fmla="*/ 2147483646 w 188"/>
              <a:gd name="T1" fmla="*/ 2147483646 h 108"/>
              <a:gd name="T2" fmla="*/ 2147483646 w 188"/>
              <a:gd name="T3" fmla="*/ 2147483646 h 108"/>
              <a:gd name="T4" fmla="*/ 2147483646 w 188"/>
              <a:gd name="T5" fmla="*/ 2147483646 h 108"/>
              <a:gd name="T6" fmla="*/ 2147483646 w 188"/>
              <a:gd name="T7" fmla="*/ 2147483646 h 108"/>
              <a:gd name="T8" fmla="*/ 2147483646 w 188"/>
              <a:gd name="T9" fmla="*/ 2147483646 h 108"/>
              <a:gd name="T10" fmla="*/ 2147483646 w 188"/>
              <a:gd name="T11" fmla="*/ 2147483646 h 108"/>
              <a:gd name="T12" fmla="*/ 2147483646 w 188"/>
              <a:gd name="T13" fmla="*/ 2147483646 h 108"/>
              <a:gd name="T14" fmla="*/ 2147483646 w 188"/>
              <a:gd name="T15" fmla="*/ 2147483646 h 108"/>
              <a:gd name="T16" fmla="*/ 2147483646 w 188"/>
              <a:gd name="T17" fmla="*/ 2147483646 h 108"/>
              <a:gd name="T18" fmla="*/ 2147483646 w 188"/>
              <a:gd name="T19" fmla="*/ 2147483646 h 108"/>
              <a:gd name="T20" fmla="*/ 2147483646 w 188"/>
              <a:gd name="T21" fmla="*/ 2147483646 h 108"/>
              <a:gd name="T22" fmla="*/ 2147483646 w 188"/>
              <a:gd name="T23" fmla="*/ 2147483646 h 108"/>
              <a:gd name="T24" fmla="*/ 2147483646 w 188"/>
              <a:gd name="T25" fmla="*/ 2147483646 h 108"/>
              <a:gd name="T26" fmla="*/ 2147483646 w 188"/>
              <a:gd name="T27" fmla="*/ 2147483646 h 108"/>
              <a:gd name="T28" fmla="*/ 2147483646 w 188"/>
              <a:gd name="T29" fmla="*/ 2147483646 h 108"/>
              <a:gd name="T30" fmla="*/ 2147483646 w 188"/>
              <a:gd name="T31" fmla="*/ 2147483646 h 108"/>
              <a:gd name="T32" fmla="*/ 2147483646 w 188"/>
              <a:gd name="T33" fmla="*/ 2147483646 h 108"/>
              <a:gd name="T34" fmla="*/ 2147483646 w 188"/>
              <a:gd name="T35" fmla="*/ 2147483646 h 108"/>
              <a:gd name="T36" fmla="*/ 2147483646 w 188"/>
              <a:gd name="T37" fmla="*/ 2147483646 h 108"/>
              <a:gd name="T38" fmla="*/ 2147483646 w 188"/>
              <a:gd name="T39" fmla="*/ 2147483646 h 108"/>
              <a:gd name="T40" fmla="*/ 2147483646 w 188"/>
              <a:gd name="T41" fmla="*/ 2147483646 h 108"/>
              <a:gd name="T42" fmla="*/ 2147483646 w 188"/>
              <a:gd name="T43" fmla="*/ 2147483646 h 108"/>
              <a:gd name="T44" fmla="*/ 2147483646 w 188"/>
              <a:gd name="T45" fmla="*/ 2147483646 h 108"/>
              <a:gd name="T46" fmla="*/ 2147483646 w 188"/>
              <a:gd name="T47" fmla="*/ 2147483646 h 108"/>
              <a:gd name="T48" fmla="*/ 2147483646 w 188"/>
              <a:gd name="T49" fmla="*/ 2147483646 h 108"/>
              <a:gd name="T50" fmla="*/ 2147483646 w 188"/>
              <a:gd name="T51" fmla="*/ 2147483646 h 108"/>
              <a:gd name="T52" fmla="*/ 2147483646 w 188"/>
              <a:gd name="T53" fmla="*/ 2147483646 h 108"/>
              <a:gd name="T54" fmla="*/ 2147483646 w 188"/>
              <a:gd name="T55" fmla="*/ 2147483646 h 108"/>
              <a:gd name="T56" fmla="*/ 0 w 188"/>
              <a:gd name="T57" fmla="*/ 2147483646 h 108"/>
              <a:gd name="T58" fmla="*/ 2147483646 w 188"/>
              <a:gd name="T59" fmla="*/ 2147483646 h 108"/>
              <a:gd name="T60" fmla="*/ 2147483646 w 188"/>
              <a:gd name="T61" fmla="*/ 2147483646 h 108"/>
              <a:gd name="T62" fmla="*/ 2147483646 w 188"/>
              <a:gd name="T63" fmla="*/ 2147483646 h 108"/>
              <a:gd name="T64" fmla="*/ 2147483646 w 188"/>
              <a:gd name="T65" fmla="*/ 2147483646 h 108"/>
              <a:gd name="T66" fmla="*/ 2147483646 w 188"/>
              <a:gd name="T67" fmla="*/ 2147483646 h 108"/>
              <a:gd name="T68" fmla="*/ 2147483646 w 188"/>
              <a:gd name="T69" fmla="*/ 2147483646 h 108"/>
              <a:gd name="T70" fmla="*/ 2147483646 w 188"/>
              <a:gd name="T71" fmla="*/ 2147483646 h 108"/>
              <a:gd name="T72" fmla="*/ 2147483646 w 188"/>
              <a:gd name="T73" fmla="*/ 2147483646 h 108"/>
              <a:gd name="T74" fmla="*/ 2147483646 w 188"/>
              <a:gd name="T75" fmla="*/ 2147483646 h 108"/>
              <a:gd name="T76" fmla="*/ 2147483646 w 188"/>
              <a:gd name="T77" fmla="*/ 2147483646 h 108"/>
              <a:gd name="T78" fmla="*/ 2147483646 w 188"/>
              <a:gd name="T79" fmla="*/ 2147483646 h 108"/>
              <a:gd name="T80" fmla="*/ 2147483646 w 188"/>
              <a:gd name="T81" fmla="*/ 2147483646 h 108"/>
              <a:gd name="T82" fmla="*/ 2147483646 w 188"/>
              <a:gd name="T83" fmla="*/ 2147483646 h 108"/>
              <a:gd name="T84" fmla="*/ 2147483646 w 188"/>
              <a:gd name="T85" fmla="*/ 2147483646 h 108"/>
              <a:gd name="T86" fmla="*/ 2147483646 w 188"/>
              <a:gd name="T87" fmla="*/ 2147483646 h 108"/>
              <a:gd name="T88" fmla="*/ 2147483646 w 188"/>
              <a:gd name="T89" fmla="*/ 2147483646 h 108"/>
              <a:gd name="T90" fmla="*/ 2147483646 w 188"/>
              <a:gd name="T91" fmla="*/ 2147483646 h 108"/>
              <a:gd name="T92" fmla="*/ 2147483646 w 188"/>
              <a:gd name="T93" fmla="*/ 2147483646 h 108"/>
              <a:gd name="T94" fmla="*/ 2147483646 w 188"/>
              <a:gd name="T95" fmla="*/ 2147483646 h 108"/>
              <a:gd name="T96" fmla="*/ 2147483646 w 188"/>
              <a:gd name="T97" fmla="*/ 2147483646 h 108"/>
              <a:gd name="T98" fmla="*/ 2147483646 w 188"/>
              <a:gd name="T99" fmla="*/ 2147483646 h 108"/>
              <a:gd name="T100" fmla="*/ 2147483646 w 188"/>
              <a:gd name="T101" fmla="*/ 2147483646 h 108"/>
              <a:gd name="T102" fmla="*/ 2147483646 w 188"/>
              <a:gd name="T103" fmla="*/ 2147483646 h 108"/>
              <a:gd name="T104" fmla="*/ 2147483646 w 188"/>
              <a:gd name="T105" fmla="*/ 2147483646 h 108"/>
              <a:gd name="T106" fmla="*/ 2147483646 w 188"/>
              <a:gd name="T107" fmla="*/ 2147483646 h 108"/>
              <a:gd name="T108" fmla="*/ 2147483646 w 188"/>
              <a:gd name="T109" fmla="*/ 2147483646 h 108"/>
              <a:gd name="T110" fmla="*/ 2147483646 w 188"/>
              <a:gd name="T111" fmla="*/ 0 h 108"/>
              <a:gd name="T112" fmla="*/ 2147483646 w 188"/>
              <a:gd name="T113" fmla="*/ 2147483646 h 108"/>
              <a:gd name="T114" fmla="*/ 2147483646 w 188"/>
              <a:gd name="T115" fmla="*/ 2147483646 h 108"/>
              <a:gd name="T116" fmla="*/ 2147483646 w 188"/>
              <a:gd name="T117" fmla="*/ 2147483646 h 108"/>
              <a:gd name="T118" fmla="*/ 2147483646 w 188"/>
              <a:gd name="T119" fmla="*/ 2147483646 h 108"/>
              <a:gd name="T120" fmla="*/ 2147483646 w 188"/>
              <a:gd name="T121" fmla="*/ 2147483646 h 10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88"/>
              <a:gd name="T184" fmla="*/ 0 h 108"/>
              <a:gd name="T185" fmla="*/ 188 w 188"/>
              <a:gd name="T186" fmla="*/ 108 h 10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88" h="108">
                <a:moveTo>
                  <a:pt x="184" y="36"/>
                </a:moveTo>
                <a:cubicBezTo>
                  <a:pt x="185" y="41"/>
                  <a:pt x="188" y="46"/>
                  <a:pt x="186" y="51"/>
                </a:cubicBezTo>
                <a:cubicBezTo>
                  <a:pt x="184" y="55"/>
                  <a:pt x="179" y="57"/>
                  <a:pt x="178" y="61"/>
                </a:cubicBezTo>
                <a:cubicBezTo>
                  <a:pt x="178" y="64"/>
                  <a:pt x="181" y="66"/>
                  <a:pt x="179" y="70"/>
                </a:cubicBezTo>
                <a:cubicBezTo>
                  <a:pt x="175" y="77"/>
                  <a:pt x="166" y="80"/>
                  <a:pt x="165" y="88"/>
                </a:cubicBezTo>
                <a:cubicBezTo>
                  <a:pt x="164" y="91"/>
                  <a:pt x="166" y="96"/>
                  <a:pt x="162" y="98"/>
                </a:cubicBezTo>
                <a:cubicBezTo>
                  <a:pt x="159" y="99"/>
                  <a:pt x="157" y="96"/>
                  <a:pt x="156" y="94"/>
                </a:cubicBezTo>
                <a:cubicBezTo>
                  <a:pt x="154" y="95"/>
                  <a:pt x="153" y="97"/>
                  <a:pt x="152" y="98"/>
                </a:cubicBezTo>
                <a:cubicBezTo>
                  <a:pt x="149" y="97"/>
                  <a:pt x="145" y="97"/>
                  <a:pt x="142" y="97"/>
                </a:cubicBezTo>
                <a:cubicBezTo>
                  <a:pt x="138" y="96"/>
                  <a:pt x="137" y="96"/>
                  <a:pt x="134" y="99"/>
                </a:cubicBezTo>
                <a:cubicBezTo>
                  <a:pt x="131" y="101"/>
                  <a:pt x="128" y="106"/>
                  <a:pt x="124" y="107"/>
                </a:cubicBezTo>
                <a:cubicBezTo>
                  <a:pt x="117" y="108"/>
                  <a:pt x="110" y="103"/>
                  <a:pt x="103" y="103"/>
                </a:cubicBezTo>
                <a:cubicBezTo>
                  <a:pt x="102" y="104"/>
                  <a:pt x="102" y="104"/>
                  <a:pt x="102" y="104"/>
                </a:cubicBezTo>
                <a:cubicBezTo>
                  <a:pt x="102" y="103"/>
                  <a:pt x="102" y="103"/>
                  <a:pt x="102" y="103"/>
                </a:cubicBezTo>
                <a:cubicBezTo>
                  <a:pt x="101" y="102"/>
                  <a:pt x="99" y="102"/>
                  <a:pt x="97" y="101"/>
                </a:cubicBezTo>
                <a:cubicBezTo>
                  <a:pt x="95" y="100"/>
                  <a:pt x="93" y="98"/>
                  <a:pt x="91" y="97"/>
                </a:cubicBezTo>
                <a:cubicBezTo>
                  <a:pt x="88" y="96"/>
                  <a:pt x="88" y="96"/>
                  <a:pt x="86" y="96"/>
                </a:cubicBezTo>
                <a:cubicBezTo>
                  <a:pt x="82" y="97"/>
                  <a:pt x="80" y="98"/>
                  <a:pt x="76" y="97"/>
                </a:cubicBezTo>
                <a:cubicBezTo>
                  <a:pt x="71" y="96"/>
                  <a:pt x="68" y="90"/>
                  <a:pt x="65" y="86"/>
                </a:cubicBezTo>
                <a:cubicBezTo>
                  <a:pt x="64" y="85"/>
                  <a:pt x="63" y="84"/>
                  <a:pt x="62" y="84"/>
                </a:cubicBezTo>
                <a:cubicBezTo>
                  <a:pt x="61" y="84"/>
                  <a:pt x="60" y="85"/>
                  <a:pt x="59" y="85"/>
                </a:cubicBezTo>
                <a:cubicBezTo>
                  <a:pt x="57" y="85"/>
                  <a:pt x="56" y="84"/>
                  <a:pt x="54" y="84"/>
                </a:cubicBezTo>
                <a:cubicBezTo>
                  <a:pt x="49" y="84"/>
                  <a:pt x="45" y="88"/>
                  <a:pt x="41" y="90"/>
                </a:cubicBezTo>
                <a:cubicBezTo>
                  <a:pt x="36" y="93"/>
                  <a:pt x="33" y="92"/>
                  <a:pt x="29" y="90"/>
                </a:cubicBezTo>
                <a:cubicBezTo>
                  <a:pt x="26" y="89"/>
                  <a:pt x="23" y="89"/>
                  <a:pt x="21" y="89"/>
                </a:cubicBezTo>
                <a:cubicBezTo>
                  <a:pt x="21" y="89"/>
                  <a:pt x="20" y="88"/>
                  <a:pt x="19" y="88"/>
                </a:cubicBezTo>
                <a:cubicBezTo>
                  <a:pt x="17" y="88"/>
                  <a:pt x="16" y="94"/>
                  <a:pt x="13" y="93"/>
                </a:cubicBezTo>
                <a:cubicBezTo>
                  <a:pt x="11" y="93"/>
                  <a:pt x="10" y="88"/>
                  <a:pt x="9" y="87"/>
                </a:cubicBezTo>
                <a:cubicBezTo>
                  <a:pt x="7" y="84"/>
                  <a:pt x="3" y="85"/>
                  <a:pt x="0" y="85"/>
                </a:cubicBezTo>
                <a:cubicBezTo>
                  <a:pt x="0" y="80"/>
                  <a:pt x="4" y="75"/>
                  <a:pt x="5" y="70"/>
                </a:cubicBezTo>
                <a:cubicBezTo>
                  <a:pt x="6" y="67"/>
                  <a:pt x="5" y="67"/>
                  <a:pt x="2" y="66"/>
                </a:cubicBezTo>
                <a:cubicBezTo>
                  <a:pt x="2" y="66"/>
                  <a:pt x="8" y="65"/>
                  <a:pt x="9" y="66"/>
                </a:cubicBezTo>
                <a:cubicBezTo>
                  <a:pt x="11" y="66"/>
                  <a:pt x="13" y="68"/>
                  <a:pt x="15" y="69"/>
                </a:cubicBezTo>
                <a:cubicBezTo>
                  <a:pt x="16" y="70"/>
                  <a:pt x="17" y="72"/>
                  <a:pt x="19" y="72"/>
                </a:cubicBezTo>
                <a:cubicBezTo>
                  <a:pt x="20" y="72"/>
                  <a:pt x="22" y="70"/>
                  <a:pt x="24" y="70"/>
                </a:cubicBezTo>
                <a:cubicBezTo>
                  <a:pt x="25" y="69"/>
                  <a:pt x="27" y="67"/>
                  <a:pt x="28" y="65"/>
                </a:cubicBezTo>
                <a:cubicBezTo>
                  <a:pt x="29" y="65"/>
                  <a:pt x="30" y="62"/>
                  <a:pt x="31" y="62"/>
                </a:cubicBezTo>
                <a:cubicBezTo>
                  <a:pt x="34" y="61"/>
                  <a:pt x="40" y="68"/>
                  <a:pt x="42" y="69"/>
                </a:cubicBezTo>
                <a:cubicBezTo>
                  <a:pt x="46" y="72"/>
                  <a:pt x="51" y="66"/>
                  <a:pt x="55" y="64"/>
                </a:cubicBezTo>
                <a:cubicBezTo>
                  <a:pt x="58" y="61"/>
                  <a:pt x="63" y="58"/>
                  <a:pt x="67" y="56"/>
                </a:cubicBezTo>
                <a:cubicBezTo>
                  <a:pt x="70" y="55"/>
                  <a:pt x="71" y="55"/>
                  <a:pt x="74" y="57"/>
                </a:cubicBezTo>
                <a:cubicBezTo>
                  <a:pt x="77" y="58"/>
                  <a:pt x="79" y="59"/>
                  <a:pt x="82" y="58"/>
                </a:cubicBezTo>
                <a:cubicBezTo>
                  <a:pt x="82" y="58"/>
                  <a:pt x="83" y="57"/>
                  <a:pt x="84" y="57"/>
                </a:cubicBezTo>
                <a:cubicBezTo>
                  <a:pt x="85" y="56"/>
                  <a:pt x="86" y="57"/>
                  <a:pt x="87" y="57"/>
                </a:cubicBezTo>
                <a:cubicBezTo>
                  <a:pt x="89" y="58"/>
                  <a:pt x="91" y="59"/>
                  <a:pt x="93" y="60"/>
                </a:cubicBezTo>
                <a:cubicBezTo>
                  <a:pt x="93" y="56"/>
                  <a:pt x="91" y="52"/>
                  <a:pt x="90" y="49"/>
                </a:cubicBezTo>
                <a:cubicBezTo>
                  <a:pt x="89" y="46"/>
                  <a:pt x="87" y="45"/>
                  <a:pt x="84" y="43"/>
                </a:cubicBezTo>
                <a:cubicBezTo>
                  <a:pt x="86" y="39"/>
                  <a:pt x="92" y="35"/>
                  <a:pt x="96" y="32"/>
                </a:cubicBezTo>
                <a:cubicBezTo>
                  <a:pt x="97" y="30"/>
                  <a:pt x="98" y="29"/>
                  <a:pt x="100" y="30"/>
                </a:cubicBezTo>
                <a:cubicBezTo>
                  <a:pt x="101" y="30"/>
                  <a:pt x="101" y="31"/>
                  <a:pt x="102" y="32"/>
                </a:cubicBezTo>
                <a:cubicBezTo>
                  <a:pt x="102" y="24"/>
                  <a:pt x="108" y="18"/>
                  <a:pt x="108" y="18"/>
                </a:cubicBezTo>
                <a:cubicBezTo>
                  <a:pt x="109" y="19"/>
                  <a:pt x="110" y="20"/>
                  <a:pt x="111" y="20"/>
                </a:cubicBezTo>
                <a:cubicBezTo>
                  <a:pt x="113" y="22"/>
                  <a:pt x="119" y="25"/>
                  <a:pt x="121" y="25"/>
                </a:cubicBezTo>
                <a:cubicBezTo>
                  <a:pt x="125" y="26"/>
                  <a:pt x="131" y="16"/>
                  <a:pt x="135" y="14"/>
                </a:cubicBezTo>
                <a:cubicBezTo>
                  <a:pt x="138" y="12"/>
                  <a:pt x="138" y="12"/>
                  <a:pt x="140" y="10"/>
                </a:cubicBezTo>
                <a:cubicBezTo>
                  <a:pt x="142" y="7"/>
                  <a:pt x="144" y="0"/>
                  <a:pt x="148" y="0"/>
                </a:cubicBezTo>
                <a:cubicBezTo>
                  <a:pt x="153" y="0"/>
                  <a:pt x="156" y="11"/>
                  <a:pt x="163" y="11"/>
                </a:cubicBezTo>
                <a:cubicBezTo>
                  <a:pt x="167" y="12"/>
                  <a:pt x="173" y="10"/>
                  <a:pt x="178" y="9"/>
                </a:cubicBezTo>
                <a:cubicBezTo>
                  <a:pt x="183" y="9"/>
                  <a:pt x="183" y="9"/>
                  <a:pt x="186" y="13"/>
                </a:cubicBezTo>
                <a:cubicBezTo>
                  <a:pt x="186" y="14"/>
                  <a:pt x="186" y="14"/>
                  <a:pt x="186" y="14"/>
                </a:cubicBezTo>
                <a:cubicBezTo>
                  <a:pt x="186" y="21"/>
                  <a:pt x="187" y="30"/>
                  <a:pt x="185" y="36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89" name="Freeform 523"/>
          <p:cNvSpPr>
            <a:spLocks/>
          </p:cNvSpPr>
          <p:nvPr userDrawn="1"/>
        </p:nvSpPr>
        <p:spPr bwMode="auto">
          <a:xfrm>
            <a:off x="5746946" y="3624372"/>
            <a:ext cx="175884" cy="100505"/>
          </a:xfrm>
          <a:custGeom>
            <a:avLst/>
            <a:gdLst>
              <a:gd name="T0" fmla="*/ 2147483646 w 188"/>
              <a:gd name="T1" fmla="*/ 2147483646 h 108"/>
              <a:gd name="T2" fmla="*/ 2147483646 w 188"/>
              <a:gd name="T3" fmla="*/ 2147483646 h 108"/>
              <a:gd name="T4" fmla="*/ 2147483646 w 188"/>
              <a:gd name="T5" fmla="*/ 2147483646 h 108"/>
              <a:gd name="T6" fmla="*/ 2147483646 w 188"/>
              <a:gd name="T7" fmla="*/ 2147483646 h 108"/>
              <a:gd name="T8" fmla="*/ 2147483646 w 188"/>
              <a:gd name="T9" fmla="*/ 2147483646 h 108"/>
              <a:gd name="T10" fmla="*/ 2147483646 w 188"/>
              <a:gd name="T11" fmla="*/ 2147483646 h 108"/>
              <a:gd name="T12" fmla="*/ 2147483646 w 188"/>
              <a:gd name="T13" fmla="*/ 2147483646 h 108"/>
              <a:gd name="T14" fmla="*/ 2147483646 w 188"/>
              <a:gd name="T15" fmla="*/ 2147483646 h 108"/>
              <a:gd name="T16" fmla="*/ 2147483646 w 188"/>
              <a:gd name="T17" fmla="*/ 2147483646 h 108"/>
              <a:gd name="T18" fmla="*/ 2147483646 w 188"/>
              <a:gd name="T19" fmla="*/ 2147483646 h 108"/>
              <a:gd name="T20" fmla="*/ 2147483646 w 188"/>
              <a:gd name="T21" fmla="*/ 2147483646 h 108"/>
              <a:gd name="T22" fmla="*/ 2147483646 w 188"/>
              <a:gd name="T23" fmla="*/ 2147483646 h 108"/>
              <a:gd name="T24" fmla="*/ 2147483646 w 188"/>
              <a:gd name="T25" fmla="*/ 2147483646 h 108"/>
              <a:gd name="T26" fmla="*/ 2147483646 w 188"/>
              <a:gd name="T27" fmla="*/ 2147483646 h 108"/>
              <a:gd name="T28" fmla="*/ 2147483646 w 188"/>
              <a:gd name="T29" fmla="*/ 2147483646 h 108"/>
              <a:gd name="T30" fmla="*/ 2147483646 w 188"/>
              <a:gd name="T31" fmla="*/ 2147483646 h 108"/>
              <a:gd name="T32" fmla="*/ 2147483646 w 188"/>
              <a:gd name="T33" fmla="*/ 2147483646 h 108"/>
              <a:gd name="T34" fmla="*/ 2147483646 w 188"/>
              <a:gd name="T35" fmla="*/ 2147483646 h 108"/>
              <a:gd name="T36" fmla="*/ 2147483646 w 188"/>
              <a:gd name="T37" fmla="*/ 2147483646 h 108"/>
              <a:gd name="T38" fmla="*/ 2147483646 w 188"/>
              <a:gd name="T39" fmla="*/ 2147483646 h 108"/>
              <a:gd name="T40" fmla="*/ 2147483646 w 188"/>
              <a:gd name="T41" fmla="*/ 2147483646 h 108"/>
              <a:gd name="T42" fmla="*/ 2147483646 w 188"/>
              <a:gd name="T43" fmla="*/ 2147483646 h 108"/>
              <a:gd name="T44" fmla="*/ 2147483646 w 188"/>
              <a:gd name="T45" fmla="*/ 2147483646 h 108"/>
              <a:gd name="T46" fmla="*/ 2147483646 w 188"/>
              <a:gd name="T47" fmla="*/ 2147483646 h 108"/>
              <a:gd name="T48" fmla="*/ 2147483646 w 188"/>
              <a:gd name="T49" fmla="*/ 2147483646 h 108"/>
              <a:gd name="T50" fmla="*/ 2147483646 w 188"/>
              <a:gd name="T51" fmla="*/ 2147483646 h 108"/>
              <a:gd name="T52" fmla="*/ 2147483646 w 188"/>
              <a:gd name="T53" fmla="*/ 2147483646 h 108"/>
              <a:gd name="T54" fmla="*/ 2147483646 w 188"/>
              <a:gd name="T55" fmla="*/ 2147483646 h 108"/>
              <a:gd name="T56" fmla="*/ 0 w 188"/>
              <a:gd name="T57" fmla="*/ 2147483646 h 108"/>
              <a:gd name="T58" fmla="*/ 2147483646 w 188"/>
              <a:gd name="T59" fmla="*/ 2147483646 h 108"/>
              <a:gd name="T60" fmla="*/ 2147483646 w 188"/>
              <a:gd name="T61" fmla="*/ 2147483646 h 108"/>
              <a:gd name="T62" fmla="*/ 2147483646 w 188"/>
              <a:gd name="T63" fmla="*/ 2147483646 h 108"/>
              <a:gd name="T64" fmla="*/ 2147483646 w 188"/>
              <a:gd name="T65" fmla="*/ 2147483646 h 108"/>
              <a:gd name="T66" fmla="*/ 2147483646 w 188"/>
              <a:gd name="T67" fmla="*/ 2147483646 h 108"/>
              <a:gd name="T68" fmla="*/ 2147483646 w 188"/>
              <a:gd name="T69" fmla="*/ 2147483646 h 108"/>
              <a:gd name="T70" fmla="*/ 2147483646 w 188"/>
              <a:gd name="T71" fmla="*/ 2147483646 h 108"/>
              <a:gd name="T72" fmla="*/ 2147483646 w 188"/>
              <a:gd name="T73" fmla="*/ 2147483646 h 108"/>
              <a:gd name="T74" fmla="*/ 2147483646 w 188"/>
              <a:gd name="T75" fmla="*/ 2147483646 h 108"/>
              <a:gd name="T76" fmla="*/ 2147483646 w 188"/>
              <a:gd name="T77" fmla="*/ 2147483646 h 108"/>
              <a:gd name="T78" fmla="*/ 2147483646 w 188"/>
              <a:gd name="T79" fmla="*/ 2147483646 h 108"/>
              <a:gd name="T80" fmla="*/ 2147483646 w 188"/>
              <a:gd name="T81" fmla="*/ 2147483646 h 108"/>
              <a:gd name="T82" fmla="*/ 2147483646 w 188"/>
              <a:gd name="T83" fmla="*/ 2147483646 h 108"/>
              <a:gd name="T84" fmla="*/ 2147483646 w 188"/>
              <a:gd name="T85" fmla="*/ 2147483646 h 108"/>
              <a:gd name="T86" fmla="*/ 2147483646 w 188"/>
              <a:gd name="T87" fmla="*/ 2147483646 h 108"/>
              <a:gd name="T88" fmla="*/ 2147483646 w 188"/>
              <a:gd name="T89" fmla="*/ 2147483646 h 108"/>
              <a:gd name="T90" fmla="*/ 2147483646 w 188"/>
              <a:gd name="T91" fmla="*/ 2147483646 h 108"/>
              <a:gd name="T92" fmla="*/ 2147483646 w 188"/>
              <a:gd name="T93" fmla="*/ 2147483646 h 108"/>
              <a:gd name="T94" fmla="*/ 2147483646 w 188"/>
              <a:gd name="T95" fmla="*/ 2147483646 h 108"/>
              <a:gd name="T96" fmla="*/ 2147483646 w 188"/>
              <a:gd name="T97" fmla="*/ 2147483646 h 108"/>
              <a:gd name="T98" fmla="*/ 2147483646 w 188"/>
              <a:gd name="T99" fmla="*/ 2147483646 h 108"/>
              <a:gd name="T100" fmla="*/ 2147483646 w 188"/>
              <a:gd name="T101" fmla="*/ 2147483646 h 108"/>
              <a:gd name="T102" fmla="*/ 2147483646 w 188"/>
              <a:gd name="T103" fmla="*/ 2147483646 h 108"/>
              <a:gd name="T104" fmla="*/ 2147483646 w 188"/>
              <a:gd name="T105" fmla="*/ 2147483646 h 108"/>
              <a:gd name="T106" fmla="*/ 2147483646 w 188"/>
              <a:gd name="T107" fmla="*/ 2147483646 h 108"/>
              <a:gd name="T108" fmla="*/ 2147483646 w 188"/>
              <a:gd name="T109" fmla="*/ 2147483646 h 108"/>
              <a:gd name="T110" fmla="*/ 2147483646 w 188"/>
              <a:gd name="T111" fmla="*/ 0 h 108"/>
              <a:gd name="T112" fmla="*/ 2147483646 w 188"/>
              <a:gd name="T113" fmla="*/ 2147483646 h 108"/>
              <a:gd name="T114" fmla="*/ 2147483646 w 188"/>
              <a:gd name="T115" fmla="*/ 2147483646 h 108"/>
              <a:gd name="T116" fmla="*/ 2147483646 w 188"/>
              <a:gd name="T117" fmla="*/ 2147483646 h 108"/>
              <a:gd name="T118" fmla="*/ 2147483646 w 188"/>
              <a:gd name="T119" fmla="*/ 2147483646 h 108"/>
              <a:gd name="T120" fmla="*/ 2147483646 w 188"/>
              <a:gd name="T121" fmla="*/ 2147483646 h 10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88"/>
              <a:gd name="T184" fmla="*/ 0 h 108"/>
              <a:gd name="T185" fmla="*/ 188 w 188"/>
              <a:gd name="T186" fmla="*/ 108 h 10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88" h="108">
                <a:moveTo>
                  <a:pt x="184" y="36"/>
                </a:moveTo>
                <a:cubicBezTo>
                  <a:pt x="185" y="41"/>
                  <a:pt x="188" y="46"/>
                  <a:pt x="186" y="51"/>
                </a:cubicBezTo>
                <a:cubicBezTo>
                  <a:pt x="184" y="55"/>
                  <a:pt x="179" y="57"/>
                  <a:pt x="178" y="61"/>
                </a:cubicBezTo>
                <a:cubicBezTo>
                  <a:pt x="178" y="64"/>
                  <a:pt x="181" y="66"/>
                  <a:pt x="179" y="70"/>
                </a:cubicBezTo>
                <a:cubicBezTo>
                  <a:pt x="175" y="77"/>
                  <a:pt x="166" y="80"/>
                  <a:pt x="165" y="88"/>
                </a:cubicBezTo>
                <a:cubicBezTo>
                  <a:pt x="164" y="91"/>
                  <a:pt x="166" y="96"/>
                  <a:pt x="162" y="98"/>
                </a:cubicBezTo>
                <a:cubicBezTo>
                  <a:pt x="159" y="99"/>
                  <a:pt x="157" y="96"/>
                  <a:pt x="156" y="94"/>
                </a:cubicBezTo>
                <a:cubicBezTo>
                  <a:pt x="154" y="95"/>
                  <a:pt x="153" y="97"/>
                  <a:pt x="152" y="98"/>
                </a:cubicBezTo>
                <a:cubicBezTo>
                  <a:pt x="149" y="97"/>
                  <a:pt x="145" y="97"/>
                  <a:pt x="142" y="97"/>
                </a:cubicBezTo>
                <a:cubicBezTo>
                  <a:pt x="138" y="96"/>
                  <a:pt x="137" y="96"/>
                  <a:pt x="134" y="99"/>
                </a:cubicBezTo>
                <a:cubicBezTo>
                  <a:pt x="131" y="101"/>
                  <a:pt x="128" y="106"/>
                  <a:pt x="124" y="107"/>
                </a:cubicBezTo>
                <a:cubicBezTo>
                  <a:pt x="117" y="108"/>
                  <a:pt x="110" y="103"/>
                  <a:pt x="103" y="103"/>
                </a:cubicBezTo>
                <a:cubicBezTo>
                  <a:pt x="102" y="104"/>
                  <a:pt x="102" y="104"/>
                  <a:pt x="102" y="104"/>
                </a:cubicBezTo>
                <a:cubicBezTo>
                  <a:pt x="102" y="103"/>
                  <a:pt x="102" y="103"/>
                  <a:pt x="102" y="103"/>
                </a:cubicBezTo>
                <a:cubicBezTo>
                  <a:pt x="101" y="102"/>
                  <a:pt x="99" y="102"/>
                  <a:pt x="97" y="101"/>
                </a:cubicBezTo>
                <a:cubicBezTo>
                  <a:pt x="95" y="100"/>
                  <a:pt x="93" y="98"/>
                  <a:pt x="91" y="97"/>
                </a:cubicBezTo>
                <a:cubicBezTo>
                  <a:pt x="88" y="96"/>
                  <a:pt x="88" y="96"/>
                  <a:pt x="86" y="96"/>
                </a:cubicBezTo>
                <a:cubicBezTo>
                  <a:pt x="82" y="97"/>
                  <a:pt x="80" y="98"/>
                  <a:pt x="76" y="97"/>
                </a:cubicBezTo>
                <a:cubicBezTo>
                  <a:pt x="71" y="96"/>
                  <a:pt x="68" y="90"/>
                  <a:pt x="65" y="86"/>
                </a:cubicBezTo>
                <a:cubicBezTo>
                  <a:pt x="64" y="85"/>
                  <a:pt x="63" y="84"/>
                  <a:pt x="62" y="84"/>
                </a:cubicBezTo>
                <a:cubicBezTo>
                  <a:pt x="61" y="84"/>
                  <a:pt x="60" y="85"/>
                  <a:pt x="59" y="85"/>
                </a:cubicBezTo>
                <a:cubicBezTo>
                  <a:pt x="57" y="85"/>
                  <a:pt x="56" y="84"/>
                  <a:pt x="54" y="84"/>
                </a:cubicBezTo>
                <a:cubicBezTo>
                  <a:pt x="49" y="84"/>
                  <a:pt x="45" y="88"/>
                  <a:pt x="41" y="90"/>
                </a:cubicBezTo>
                <a:cubicBezTo>
                  <a:pt x="36" y="93"/>
                  <a:pt x="33" y="92"/>
                  <a:pt x="29" y="90"/>
                </a:cubicBezTo>
                <a:cubicBezTo>
                  <a:pt x="26" y="89"/>
                  <a:pt x="23" y="89"/>
                  <a:pt x="21" y="89"/>
                </a:cubicBezTo>
                <a:cubicBezTo>
                  <a:pt x="21" y="89"/>
                  <a:pt x="20" y="88"/>
                  <a:pt x="19" y="88"/>
                </a:cubicBezTo>
                <a:cubicBezTo>
                  <a:pt x="17" y="88"/>
                  <a:pt x="16" y="94"/>
                  <a:pt x="13" y="93"/>
                </a:cubicBezTo>
                <a:cubicBezTo>
                  <a:pt x="11" y="93"/>
                  <a:pt x="10" y="88"/>
                  <a:pt x="9" y="87"/>
                </a:cubicBezTo>
                <a:cubicBezTo>
                  <a:pt x="7" y="84"/>
                  <a:pt x="3" y="85"/>
                  <a:pt x="0" y="85"/>
                </a:cubicBezTo>
                <a:cubicBezTo>
                  <a:pt x="0" y="80"/>
                  <a:pt x="4" y="75"/>
                  <a:pt x="5" y="70"/>
                </a:cubicBezTo>
                <a:cubicBezTo>
                  <a:pt x="6" y="67"/>
                  <a:pt x="5" y="67"/>
                  <a:pt x="2" y="66"/>
                </a:cubicBezTo>
                <a:cubicBezTo>
                  <a:pt x="2" y="66"/>
                  <a:pt x="8" y="65"/>
                  <a:pt x="9" y="66"/>
                </a:cubicBezTo>
                <a:cubicBezTo>
                  <a:pt x="11" y="66"/>
                  <a:pt x="13" y="68"/>
                  <a:pt x="15" y="69"/>
                </a:cubicBezTo>
                <a:cubicBezTo>
                  <a:pt x="16" y="70"/>
                  <a:pt x="17" y="72"/>
                  <a:pt x="19" y="72"/>
                </a:cubicBezTo>
                <a:cubicBezTo>
                  <a:pt x="20" y="72"/>
                  <a:pt x="22" y="70"/>
                  <a:pt x="24" y="70"/>
                </a:cubicBezTo>
                <a:cubicBezTo>
                  <a:pt x="25" y="69"/>
                  <a:pt x="27" y="67"/>
                  <a:pt x="28" y="65"/>
                </a:cubicBezTo>
                <a:cubicBezTo>
                  <a:pt x="29" y="65"/>
                  <a:pt x="30" y="62"/>
                  <a:pt x="31" y="62"/>
                </a:cubicBezTo>
                <a:cubicBezTo>
                  <a:pt x="34" y="61"/>
                  <a:pt x="40" y="68"/>
                  <a:pt x="42" y="69"/>
                </a:cubicBezTo>
                <a:cubicBezTo>
                  <a:pt x="46" y="72"/>
                  <a:pt x="51" y="66"/>
                  <a:pt x="55" y="64"/>
                </a:cubicBezTo>
                <a:cubicBezTo>
                  <a:pt x="58" y="61"/>
                  <a:pt x="63" y="58"/>
                  <a:pt x="67" y="56"/>
                </a:cubicBezTo>
                <a:cubicBezTo>
                  <a:pt x="70" y="55"/>
                  <a:pt x="71" y="55"/>
                  <a:pt x="74" y="57"/>
                </a:cubicBezTo>
                <a:cubicBezTo>
                  <a:pt x="77" y="58"/>
                  <a:pt x="79" y="59"/>
                  <a:pt x="82" y="58"/>
                </a:cubicBezTo>
                <a:cubicBezTo>
                  <a:pt x="82" y="58"/>
                  <a:pt x="83" y="57"/>
                  <a:pt x="84" y="57"/>
                </a:cubicBezTo>
                <a:cubicBezTo>
                  <a:pt x="85" y="56"/>
                  <a:pt x="86" y="57"/>
                  <a:pt x="87" y="57"/>
                </a:cubicBezTo>
                <a:cubicBezTo>
                  <a:pt x="89" y="58"/>
                  <a:pt x="91" y="59"/>
                  <a:pt x="93" y="60"/>
                </a:cubicBezTo>
                <a:cubicBezTo>
                  <a:pt x="93" y="56"/>
                  <a:pt x="91" y="52"/>
                  <a:pt x="90" y="49"/>
                </a:cubicBezTo>
                <a:cubicBezTo>
                  <a:pt x="89" y="46"/>
                  <a:pt x="87" y="45"/>
                  <a:pt x="84" y="43"/>
                </a:cubicBezTo>
                <a:cubicBezTo>
                  <a:pt x="86" y="39"/>
                  <a:pt x="92" y="35"/>
                  <a:pt x="96" y="32"/>
                </a:cubicBezTo>
                <a:cubicBezTo>
                  <a:pt x="97" y="30"/>
                  <a:pt x="98" y="29"/>
                  <a:pt x="100" y="30"/>
                </a:cubicBezTo>
                <a:cubicBezTo>
                  <a:pt x="101" y="30"/>
                  <a:pt x="101" y="31"/>
                  <a:pt x="102" y="32"/>
                </a:cubicBezTo>
                <a:cubicBezTo>
                  <a:pt x="102" y="24"/>
                  <a:pt x="108" y="18"/>
                  <a:pt x="108" y="18"/>
                </a:cubicBezTo>
                <a:cubicBezTo>
                  <a:pt x="109" y="19"/>
                  <a:pt x="110" y="20"/>
                  <a:pt x="111" y="20"/>
                </a:cubicBezTo>
                <a:cubicBezTo>
                  <a:pt x="113" y="22"/>
                  <a:pt x="119" y="25"/>
                  <a:pt x="121" y="25"/>
                </a:cubicBezTo>
                <a:cubicBezTo>
                  <a:pt x="125" y="26"/>
                  <a:pt x="131" y="16"/>
                  <a:pt x="135" y="14"/>
                </a:cubicBezTo>
                <a:cubicBezTo>
                  <a:pt x="138" y="12"/>
                  <a:pt x="138" y="12"/>
                  <a:pt x="140" y="10"/>
                </a:cubicBezTo>
                <a:cubicBezTo>
                  <a:pt x="142" y="7"/>
                  <a:pt x="144" y="0"/>
                  <a:pt x="148" y="0"/>
                </a:cubicBezTo>
                <a:cubicBezTo>
                  <a:pt x="153" y="0"/>
                  <a:pt x="156" y="11"/>
                  <a:pt x="163" y="11"/>
                </a:cubicBezTo>
                <a:cubicBezTo>
                  <a:pt x="167" y="12"/>
                  <a:pt x="173" y="10"/>
                  <a:pt x="178" y="9"/>
                </a:cubicBezTo>
                <a:cubicBezTo>
                  <a:pt x="183" y="9"/>
                  <a:pt x="183" y="9"/>
                  <a:pt x="186" y="13"/>
                </a:cubicBezTo>
                <a:cubicBezTo>
                  <a:pt x="186" y="14"/>
                  <a:pt x="186" y="14"/>
                  <a:pt x="186" y="14"/>
                </a:cubicBezTo>
                <a:cubicBezTo>
                  <a:pt x="186" y="21"/>
                  <a:pt x="187" y="30"/>
                  <a:pt x="185" y="36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90" name="Freeform 524"/>
          <p:cNvSpPr>
            <a:spLocks/>
          </p:cNvSpPr>
          <p:nvPr userDrawn="1"/>
        </p:nvSpPr>
        <p:spPr bwMode="auto">
          <a:xfrm>
            <a:off x="5837402" y="3701426"/>
            <a:ext cx="80404" cy="58628"/>
          </a:xfrm>
          <a:custGeom>
            <a:avLst/>
            <a:gdLst>
              <a:gd name="T0" fmla="*/ 2147483646 w 85"/>
              <a:gd name="T1" fmla="*/ 2147483646 h 63"/>
              <a:gd name="T2" fmla="*/ 2147483646 w 85"/>
              <a:gd name="T3" fmla="*/ 2147483646 h 63"/>
              <a:gd name="T4" fmla="*/ 2147483646 w 85"/>
              <a:gd name="T5" fmla="*/ 2147483646 h 63"/>
              <a:gd name="T6" fmla="*/ 2147483646 w 85"/>
              <a:gd name="T7" fmla="*/ 2147483646 h 63"/>
              <a:gd name="T8" fmla="*/ 2147483646 w 85"/>
              <a:gd name="T9" fmla="*/ 2147483646 h 63"/>
              <a:gd name="T10" fmla="*/ 2147483646 w 85"/>
              <a:gd name="T11" fmla="*/ 2147483646 h 63"/>
              <a:gd name="T12" fmla="*/ 2147483646 w 85"/>
              <a:gd name="T13" fmla="*/ 2147483646 h 63"/>
              <a:gd name="T14" fmla="*/ 2147483646 w 85"/>
              <a:gd name="T15" fmla="*/ 2147483646 h 63"/>
              <a:gd name="T16" fmla="*/ 2147483646 w 85"/>
              <a:gd name="T17" fmla="*/ 0 h 63"/>
              <a:gd name="T18" fmla="*/ 2147483646 w 85"/>
              <a:gd name="T19" fmla="*/ 0 h 63"/>
              <a:gd name="T20" fmla="*/ 2147483646 w 85"/>
              <a:gd name="T21" fmla="*/ 2147483646 h 63"/>
              <a:gd name="T22" fmla="*/ 2147483646 w 85"/>
              <a:gd name="T23" fmla="*/ 2147483646 h 63"/>
              <a:gd name="T24" fmla="*/ 2147483646 w 85"/>
              <a:gd name="T25" fmla="*/ 2147483646 h 63"/>
              <a:gd name="T26" fmla="*/ 2147483646 w 85"/>
              <a:gd name="T27" fmla="*/ 2147483646 h 63"/>
              <a:gd name="T28" fmla="*/ 2147483646 w 85"/>
              <a:gd name="T29" fmla="*/ 2147483646 h 63"/>
              <a:gd name="T30" fmla="*/ 2147483646 w 85"/>
              <a:gd name="T31" fmla="*/ 2147483646 h 63"/>
              <a:gd name="T32" fmla="*/ 2147483646 w 85"/>
              <a:gd name="T33" fmla="*/ 2147483646 h 63"/>
              <a:gd name="T34" fmla="*/ 2147483646 w 85"/>
              <a:gd name="T35" fmla="*/ 2147483646 h 63"/>
              <a:gd name="T36" fmla="*/ 2147483646 w 85"/>
              <a:gd name="T37" fmla="*/ 2147483646 h 63"/>
              <a:gd name="T38" fmla="*/ 2147483646 w 85"/>
              <a:gd name="T39" fmla="*/ 2147483646 h 63"/>
              <a:gd name="T40" fmla="*/ 2147483646 w 85"/>
              <a:gd name="T41" fmla="*/ 2147483646 h 63"/>
              <a:gd name="T42" fmla="*/ 2147483646 w 85"/>
              <a:gd name="T43" fmla="*/ 2147483646 h 63"/>
              <a:gd name="T44" fmla="*/ 2147483646 w 85"/>
              <a:gd name="T45" fmla="*/ 2147483646 h 63"/>
              <a:gd name="T46" fmla="*/ 2147483646 w 85"/>
              <a:gd name="T47" fmla="*/ 2147483646 h 63"/>
              <a:gd name="T48" fmla="*/ 2147483646 w 85"/>
              <a:gd name="T49" fmla="*/ 2147483646 h 63"/>
              <a:gd name="T50" fmla="*/ 2147483646 w 85"/>
              <a:gd name="T51" fmla="*/ 2147483646 h 63"/>
              <a:gd name="T52" fmla="*/ 2147483646 w 85"/>
              <a:gd name="T53" fmla="*/ 2147483646 h 63"/>
              <a:gd name="T54" fmla="*/ 2147483646 w 85"/>
              <a:gd name="T55" fmla="*/ 2147483646 h 63"/>
              <a:gd name="T56" fmla="*/ 2147483646 w 85"/>
              <a:gd name="T57" fmla="*/ 2147483646 h 63"/>
              <a:gd name="T58" fmla="*/ 2147483646 w 85"/>
              <a:gd name="T59" fmla="*/ 2147483646 h 63"/>
              <a:gd name="T60" fmla="*/ 2147483646 w 85"/>
              <a:gd name="T61" fmla="*/ 2147483646 h 6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5"/>
              <a:gd name="T94" fmla="*/ 0 h 63"/>
              <a:gd name="T95" fmla="*/ 85 w 85"/>
              <a:gd name="T96" fmla="*/ 63 h 63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85" h="63">
                <a:moveTo>
                  <a:pt x="5" y="20"/>
                </a:moveTo>
                <a:cubicBezTo>
                  <a:pt x="12" y="20"/>
                  <a:pt x="19" y="25"/>
                  <a:pt x="26" y="24"/>
                </a:cubicBezTo>
                <a:cubicBezTo>
                  <a:pt x="30" y="23"/>
                  <a:pt x="33" y="18"/>
                  <a:pt x="36" y="16"/>
                </a:cubicBezTo>
                <a:cubicBezTo>
                  <a:pt x="39" y="13"/>
                  <a:pt x="40" y="13"/>
                  <a:pt x="44" y="14"/>
                </a:cubicBezTo>
                <a:cubicBezTo>
                  <a:pt x="47" y="14"/>
                  <a:pt x="51" y="14"/>
                  <a:pt x="54" y="15"/>
                </a:cubicBezTo>
                <a:cubicBezTo>
                  <a:pt x="55" y="14"/>
                  <a:pt x="56" y="12"/>
                  <a:pt x="58" y="11"/>
                </a:cubicBezTo>
                <a:cubicBezTo>
                  <a:pt x="59" y="13"/>
                  <a:pt x="61" y="16"/>
                  <a:pt x="64" y="15"/>
                </a:cubicBezTo>
                <a:cubicBezTo>
                  <a:pt x="68" y="13"/>
                  <a:pt x="66" y="8"/>
                  <a:pt x="67" y="5"/>
                </a:cubicBezTo>
                <a:cubicBezTo>
                  <a:pt x="67" y="3"/>
                  <a:pt x="68" y="1"/>
                  <a:pt x="69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73" y="5"/>
                  <a:pt x="76" y="11"/>
                  <a:pt x="80" y="15"/>
                </a:cubicBezTo>
                <a:cubicBezTo>
                  <a:pt x="85" y="18"/>
                  <a:pt x="85" y="18"/>
                  <a:pt x="85" y="18"/>
                </a:cubicBezTo>
                <a:cubicBezTo>
                  <a:pt x="81" y="20"/>
                  <a:pt x="77" y="22"/>
                  <a:pt x="74" y="23"/>
                </a:cubicBezTo>
                <a:cubicBezTo>
                  <a:pt x="71" y="24"/>
                  <a:pt x="69" y="26"/>
                  <a:pt x="67" y="27"/>
                </a:cubicBezTo>
                <a:cubicBezTo>
                  <a:pt x="65" y="28"/>
                  <a:pt x="59" y="30"/>
                  <a:pt x="58" y="31"/>
                </a:cubicBezTo>
                <a:cubicBezTo>
                  <a:pt x="56" y="35"/>
                  <a:pt x="63" y="40"/>
                  <a:pt x="63" y="44"/>
                </a:cubicBezTo>
                <a:cubicBezTo>
                  <a:pt x="62" y="47"/>
                  <a:pt x="56" y="48"/>
                  <a:pt x="54" y="49"/>
                </a:cubicBezTo>
                <a:cubicBezTo>
                  <a:pt x="53" y="53"/>
                  <a:pt x="53" y="57"/>
                  <a:pt x="55" y="61"/>
                </a:cubicBezTo>
                <a:cubicBezTo>
                  <a:pt x="46" y="61"/>
                  <a:pt x="38" y="62"/>
                  <a:pt x="32" y="54"/>
                </a:cubicBezTo>
                <a:cubicBezTo>
                  <a:pt x="29" y="56"/>
                  <a:pt x="30" y="61"/>
                  <a:pt x="28" y="62"/>
                </a:cubicBezTo>
                <a:cubicBezTo>
                  <a:pt x="27" y="63"/>
                  <a:pt x="23" y="62"/>
                  <a:pt x="22" y="62"/>
                </a:cubicBezTo>
                <a:cubicBezTo>
                  <a:pt x="18" y="62"/>
                  <a:pt x="5" y="58"/>
                  <a:pt x="4" y="60"/>
                </a:cubicBezTo>
                <a:cubicBezTo>
                  <a:pt x="4" y="58"/>
                  <a:pt x="4" y="58"/>
                  <a:pt x="4" y="58"/>
                </a:cubicBezTo>
                <a:cubicBezTo>
                  <a:pt x="5" y="57"/>
                  <a:pt x="6" y="55"/>
                  <a:pt x="6" y="52"/>
                </a:cubicBezTo>
                <a:cubicBezTo>
                  <a:pt x="7" y="49"/>
                  <a:pt x="7" y="48"/>
                  <a:pt x="6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4" y="45"/>
                  <a:pt x="2" y="42"/>
                  <a:pt x="3" y="40"/>
                </a:cubicBezTo>
                <a:cubicBezTo>
                  <a:pt x="3" y="38"/>
                  <a:pt x="6" y="37"/>
                  <a:pt x="6" y="35"/>
                </a:cubicBezTo>
                <a:cubicBezTo>
                  <a:pt x="0" y="34"/>
                  <a:pt x="2" y="27"/>
                  <a:pt x="3" y="24"/>
                </a:cubicBezTo>
                <a:cubicBezTo>
                  <a:pt x="4" y="22"/>
                  <a:pt x="5" y="21"/>
                  <a:pt x="4" y="21"/>
                </a:cubicBezTo>
                <a:lnTo>
                  <a:pt x="5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91" name="Freeform 525"/>
          <p:cNvSpPr>
            <a:spLocks/>
          </p:cNvSpPr>
          <p:nvPr userDrawn="1"/>
        </p:nvSpPr>
        <p:spPr bwMode="auto">
          <a:xfrm>
            <a:off x="5840751" y="3718176"/>
            <a:ext cx="139032" cy="125632"/>
          </a:xfrm>
          <a:custGeom>
            <a:avLst/>
            <a:gdLst>
              <a:gd name="T0" fmla="*/ 2147483646 w 148"/>
              <a:gd name="T1" fmla="*/ 2147483646 h 134"/>
              <a:gd name="T2" fmla="*/ 2147483646 w 148"/>
              <a:gd name="T3" fmla="*/ 2147483646 h 134"/>
              <a:gd name="T4" fmla="*/ 2147483646 w 148"/>
              <a:gd name="T5" fmla="*/ 2147483646 h 134"/>
              <a:gd name="T6" fmla="*/ 2147483646 w 148"/>
              <a:gd name="T7" fmla="*/ 2147483646 h 134"/>
              <a:gd name="T8" fmla="*/ 2147483646 w 148"/>
              <a:gd name="T9" fmla="*/ 2147483646 h 134"/>
              <a:gd name="T10" fmla="*/ 2147483646 w 148"/>
              <a:gd name="T11" fmla="*/ 2147483646 h 134"/>
              <a:gd name="T12" fmla="*/ 2147483646 w 148"/>
              <a:gd name="T13" fmla="*/ 2147483646 h 134"/>
              <a:gd name="T14" fmla="*/ 2147483646 w 148"/>
              <a:gd name="T15" fmla="*/ 2147483646 h 134"/>
              <a:gd name="T16" fmla="*/ 2147483646 w 148"/>
              <a:gd name="T17" fmla="*/ 2147483646 h 134"/>
              <a:gd name="T18" fmla="*/ 2147483646 w 148"/>
              <a:gd name="T19" fmla="*/ 2147483646 h 134"/>
              <a:gd name="T20" fmla="*/ 2147483646 w 148"/>
              <a:gd name="T21" fmla="*/ 2147483646 h 134"/>
              <a:gd name="T22" fmla="*/ 2147483646 w 148"/>
              <a:gd name="T23" fmla="*/ 2147483646 h 134"/>
              <a:gd name="T24" fmla="*/ 2147483646 w 148"/>
              <a:gd name="T25" fmla="*/ 2147483646 h 134"/>
              <a:gd name="T26" fmla="*/ 2147483646 w 148"/>
              <a:gd name="T27" fmla="*/ 2147483646 h 134"/>
              <a:gd name="T28" fmla="*/ 2147483646 w 148"/>
              <a:gd name="T29" fmla="*/ 2147483646 h 134"/>
              <a:gd name="T30" fmla="*/ 2147483646 w 148"/>
              <a:gd name="T31" fmla="*/ 2147483646 h 134"/>
              <a:gd name="T32" fmla="*/ 2147483646 w 148"/>
              <a:gd name="T33" fmla="*/ 2147483646 h 134"/>
              <a:gd name="T34" fmla="*/ 2147483646 w 148"/>
              <a:gd name="T35" fmla="*/ 2147483646 h 134"/>
              <a:gd name="T36" fmla="*/ 2147483646 w 148"/>
              <a:gd name="T37" fmla="*/ 2147483646 h 134"/>
              <a:gd name="T38" fmla="*/ 2147483646 w 148"/>
              <a:gd name="T39" fmla="*/ 2147483646 h 134"/>
              <a:gd name="T40" fmla="*/ 2147483646 w 148"/>
              <a:gd name="T41" fmla="*/ 2147483646 h 134"/>
              <a:gd name="T42" fmla="*/ 2147483646 w 148"/>
              <a:gd name="T43" fmla="*/ 2147483646 h 134"/>
              <a:gd name="T44" fmla="*/ 2147483646 w 148"/>
              <a:gd name="T45" fmla="*/ 0 h 134"/>
              <a:gd name="T46" fmla="*/ 2147483646 w 148"/>
              <a:gd name="T47" fmla="*/ 0 h 134"/>
              <a:gd name="T48" fmla="*/ 2147483646 w 148"/>
              <a:gd name="T49" fmla="*/ 2147483646 h 134"/>
              <a:gd name="T50" fmla="*/ 2147483646 w 148"/>
              <a:gd name="T51" fmla="*/ 2147483646 h 134"/>
              <a:gd name="T52" fmla="*/ 2147483646 w 148"/>
              <a:gd name="T53" fmla="*/ 2147483646 h 134"/>
              <a:gd name="T54" fmla="*/ 2147483646 w 148"/>
              <a:gd name="T55" fmla="*/ 2147483646 h 134"/>
              <a:gd name="T56" fmla="*/ 2147483646 w 148"/>
              <a:gd name="T57" fmla="*/ 2147483646 h 134"/>
              <a:gd name="T58" fmla="*/ 2147483646 w 148"/>
              <a:gd name="T59" fmla="*/ 2147483646 h 134"/>
              <a:gd name="T60" fmla="*/ 2147483646 w 148"/>
              <a:gd name="T61" fmla="*/ 2147483646 h 134"/>
              <a:gd name="T62" fmla="*/ 2147483646 w 148"/>
              <a:gd name="T63" fmla="*/ 2147483646 h 134"/>
              <a:gd name="T64" fmla="*/ 2147483646 w 148"/>
              <a:gd name="T65" fmla="*/ 2147483646 h 134"/>
              <a:gd name="T66" fmla="*/ 2147483646 w 148"/>
              <a:gd name="T67" fmla="*/ 2147483646 h 134"/>
              <a:gd name="T68" fmla="*/ 2147483646 w 148"/>
              <a:gd name="T69" fmla="*/ 2147483646 h 134"/>
              <a:gd name="T70" fmla="*/ 2147483646 w 148"/>
              <a:gd name="T71" fmla="*/ 2147483646 h 134"/>
              <a:gd name="T72" fmla="*/ 2147483646 w 148"/>
              <a:gd name="T73" fmla="*/ 2147483646 h 134"/>
              <a:gd name="T74" fmla="*/ 2147483646 w 148"/>
              <a:gd name="T75" fmla="*/ 2147483646 h 134"/>
              <a:gd name="T76" fmla="*/ 2147483646 w 148"/>
              <a:gd name="T77" fmla="*/ 2147483646 h 134"/>
              <a:gd name="T78" fmla="*/ 2147483646 w 148"/>
              <a:gd name="T79" fmla="*/ 2147483646 h 134"/>
              <a:gd name="T80" fmla="*/ 2147483646 w 148"/>
              <a:gd name="T81" fmla="*/ 2147483646 h 134"/>
              <a:gd name="T82" fmla="*/ 2147483646 w 148"/>
              <a:gd name="T83" fmla="*/ 2147483646 h 134"/>
              <a:gd name="T84" fmla="*/ 2147483646 w 148"/>
              <a:gd name="T85" fmla="*/ 2147483646 h 134"/>
              <a:gd name="T86" fmla="*/ 2147483646 w 148"/>
              <a:gd name="T87" fmla="*/ 2147483646 h 134"/>
              <a:gd name="T88" fmla="*/ 2147483646 w 148"/>
              <a:gd name="T89" fmla="*/ 2147483646 h 134"/>
              <a:gd name="T90" fmla="*/ 2147483646 w 148"/>
              <a:gd name="T91" fmla="*/ 2147483646 h 134"/>
              <a:gd name="T92" fmla="*/ 2147483646 w 148"/>
              <a:gd name="T93" fmla="*/ 2147483646 h 134"/>
              <a:gd name="T94" fmla="*/ 2147483646 w 148"/>
              <a:gd name="T95" fmla="*/ 2147483646 h 134"/>
              <a:gd name="T96" fmla="*/ 2147483646 w 148"/>
              <a:gd name="T97" fmla="*/ 2147483646 h 134"/>
              <a:gd name="T98" fmla="*/ 2147483646 w 148"/>
              <a:gd name="T99" fmla="*/ 2147483646 h 134"/>
              <a:gd name="T100" fmla="*/ 2147483646 w 148"/>
              <a:gd name="T101" fmla="*/ 2147483646 h 13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48"/>
              <a:gd name="T154" fmla="*/ 0 h 134"/>
              <a:gd name="T155" fmla="*/ 148 w 148"/>
              <a:gd name="T156" fmla="*/ 134 h 13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48" h="134">
                <a:moveTo>
                  <a:pt x="107" y="134"/>
                </a:moveTo>
                <a:cubicBezTo>
                  <a:pt x="109" y="129"/>
                  <a:pt x="105" y="127"/>
                  <a:pt x="101" y="122"/>
                </a:cubicBezTo>
                <a:cubicBezTo>
                  <a:pt x="95" y="115"/>
                  <a:pt x="92" y="106"/>
                  <a:pt x="84" y="100"/>
                </a:cubicBezTo>
                <a:cubicBezTo>
                  <a:pt x="81" y="99"/>
                  <a:pt x="78" y="98"/>
                  <a:pt x="77" y="95"/>
                </a:cubicBezTo>
                <a:cubicBezTo>
                  <a:pt x="75" y="92"/>
                  <a:pt x="77" y="88"/>
                  <a:pt x="75" y="84"/>
                </a:cubicBezTo>
                <a:cubicBezTo>
                  <a:pt x="72" y="75"/>
                  <a:pt x="55" y="70"/>
                  <a:pt x="58" y="60"/>
                </a:cubicBezTo>
                <a:cubicBezTo>
                  <a:pt x="59" y="57"/>
                  <a:pt x="61" y="52"/>
                  <a:pt x="63" y="52"/>
                </a:cubicBezTo>
                <a:cubicBezTo>
                  <a:pt x="64" y="52"/>
                  <a:pt x="68" y="55"/>
                  <a:pt x="69" y="55"/>
                </a:cubicBezTo>
                <a:cubicBezTo>
                  <a:pt x="76" y="56"/>
                  <a:pt x="83" y="53"/>
                  <a:pt x="89" y="52"/>
                </a:cubicBezTo>
                <a:cubicBezTo>
                  <a:pt x="96" y="52"/>
                  <a:pt x="97" y="55"/>
                  <a:pt x="102" y="59"/>
                </a:cubicBezTo>
                <a:cubicBezTo>
                  <a:pt x="109" y="62"/>
                  <a:pt x="112" y="57"/>
                  <a:pt x="118" y="56"/>
                </a:cubicBezTo>
                <a:cubicBezTo>
                  <a:pt x="124" y="56"/>
                  <a:pt x="128" y="61"/>
                  <a:pt x="132" y="65"/>
                </a:cubicBezTo>
                <a:cubicBezTo>
                  <a:pt x="139" y="71"/>
                  <a:pt x="138" y="62"/>
                  <a:pt x="145" y="61"/>
                </a:cubicBezTo>
                <a:cubicBezTo>
                  <a:pt x="146" y="57"/>
                  <a:pt x="148" y="52"/>
                  <a:pt x="148" y="48"/>
                </a:cubicBezTo>
                <a:cubicBezTo>
                  <a:pt x="146" y="48"/>
                  <a:pt x="143" y="48"/>
                  <a:pt x="141" y="48"/>
                </a:cubicBezTo>
                <a:cubicBezTo>
                  <a:pt x="141" y="45"/>
                  <a:pt x="142" y="38"/>
                  <a:pt x="138" y="37"/>
                </a:cubicBezTo>
                <a:cubicBezTo>
                  <a:pt x="139" y="35"/>
                  <a:pt x="141" y="32"/>
                  <a:pt x="141" y="30"/>
                </a:cubicBezTo>
                <a:cubicBezTo>
                  <a:pt x="142" y="28"/>
                  <a:pt x="139" y="24"/>
                  <a:pt x="138" y="23"/>
                </a:cubicBezTo>
                <a:cubicBezTo>
                  <a:pt x="138" y="22"/>
                  <a:pt x="138" y="22"/>
                  <a:pt x="138" y="22"/>
                </a:cubicBezTo>
                <a:cubicBezTo>
                  <a:pt x="134" y="24"/>
                  <a:pt x="129" y="25"/>
                  <a:pt x="125" y="25"/>
                </a:cubicBezTo>
                <a:cubicBezTo>
                  <a:pt x="121" y="25"/>
                  <a:pt x="114" y="16"/>
                  <a:pt x="111" y="25"/>
                </a:cubicBezTo>
                <a:cubicBezTo>
                  <a:pt x="102" y="20"/>
                  <a:pt x="95" y="13"/>
                  <a:pt x="88" y="6"/>
                </a:cubicBezTo>
                <a:cubicBezTo>
                  <a:pt x="86" y="3"/>
                  <a:pt x="84" y="2"/>
                  <a:pt x="81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7" y="1"/>
                  <a:pt x="74" y="3"/>
                  <a:pt x="70" y="4"/>
                </a:cubicBezTo>
                <a:cubicBezTo>
                  <a:pt x="68" y="5"/>
                  <a:pt x="66" y="7"/>
                  <a:pt x="64" y="8"/>
                </a:cubicBezTo>
                <a:cubicBezTo>
                  <a:pt x="62" y="9"/>
                  <a:pt x="56" y="11"/>
                  <a:pt x="55" y="12"/>
                </a:cubicBezTo>
                <a:cubicBezTo>
                  <a:pt x="53" y="16"/>
                  <a:pt x="60" y="21"/>
                  <a:pt x="60" y="25"/>
                </a:cubicBezTo>
                <a:cubicBezTo>
                  <a:pt x="59" y="28"/>
                  <a:pt x="53" y="29"/>
                  <a:pt x="51" y="30"/>
                </a:cubicBezTo>
                <a:cubicBezTo>
                  <a:pt x="50" y="34"/>
                  <a:pt x="50" y="38"/>
                  <a:pt x="52" y="42"/>
                </a:cubicBezTo>
                <a:cubicBezTo>
                  <a:pt x="42" y="42"/>
                  <a:pt x="35" y="43"/>
                  <a:pt x="29" y="35"/>
                </a:cubicBezTo>
                <a:cubicBezTo>
                  <a:pt x="26" y="37"/>
                  <a:pt x="27" y="42"/>
                  <a:pt x="25" y="43"/>
                </a:cubicBezTo>
                <a:cubicBezTo>
                  <a:pt x="24" y="44"/>
                  <a:pt x="20" y="43"/>
                  <a:pt x="19" y="43"/>
                </a:cubicBezTo>
                <a:cubicBezTo>
                  <a:pt x="15" y="43"/>
                  <a:pt x="2" y="39"/>
                  <a:pt x="1" y="41"/>
                </a:cubicBezTo>
                <a:cubicBezTo>
                  <a:pt x="1" y="42"/>
                  <a:pt x="1" y="42"/>
                  <a:pt x="1" y="42"/>
                </a:cubicBezTo>
                <a:cubicBezTo>
                  <a:pt x="0" y="46"/>
                  <a:pt x="0" y="48"/>
                  <a:pt x="2" y="49"/>
                </a:cubicBezTo>
                <a:cubicBezTo>
                  <a:pt x="4" y="52"/>
                  <a:pt x="2" y="54"/>
                  <a:pt x="6" y="60"/>
                </a:cubicBezTo>
                <a:cubicBezTo>
                  <a:pt x="10" y="66"/>
                  <a:pt x="11" y="71"/>
                  <a:pt x="15" y="64"/>
                </a:cubicBezTo>
                <a:cubicBezTo>
                  <a:pt x="18" y="58"/>
                  <a:pt x="18" y="57"/>
                  <a:pt x="20" y="51"/>
                </a:cubicBezTo>
                <a:cubicBezTo>
                  <a:pt x="22" y="45"/>
                  <a:pt x="22" y="44"/>
                  <a:pt x="26" y="49"/>
                </a:cubicBezTo>
                <a:cubicBezTo>
                  <a:pt x="31" y="54"/>
                  <a:pt x="37" y="57"/>
                  <a:pt x="38" y="61"/>
                </a:cubicBezTo>
                <a:cubicBezTo>
                  <a:pt x="40" y="65"/>
                  <a:pt x="34" y="59"/>
                  <a:pt x="36" y="66"/>
                </a:cubicBezTo>
                <a:cubicBezTo>
                  <a:pt x="39" y="74"/>
                  <a:pt x="44" y="79"/>
                  <a:pt x="46" y="81"/>
                </a:cubicBezTo>
                <a:cubicBezTo>
                  <a:pt x="48" y="84"/>
                  <a:pt x="54" y="88"/>
                  <a:pt x="47" y="87"/>
                </a:cubicBezTo>
                <a:cubicBezTo>
                  <a:pt x="40" y="87"/>
                  <a:pt x="38" y="87"/>
                  <a:pt x="44" y="92"/>
                </a:cubicBezTo>
                <a:cubicBezTo>
                  <a:pt x="51" y="98"/>
                  <a:pt x="55" y="101"/>
                  <a:pt x="59" y="105"/>
                </a:cubicBezTo>
                <a:cubicBezTo>
                  <a:pt x="63" y="110"/>
                  <a:pt x="62" y="111"/>
                  <a:pt x="66" y="114"/>
                </a:cubicBezTo>
                <a:cubicBezTo>
                  <a:pt x="70" y="117"/>
                  <a:pt x="73" y="116"/>
                  <a:pt x="78" y="116"/>
                </a:cubicBezTo>
                <a:cubicBezTo>
                  <a:pt x="82" y="117"/>
                  <a:pt x="80" y="111"/>
                  <a:pt x="86" y="118"/>
                </a:cubicBezTo>
                <a:cubicBezTo>
                  <a:pt x="91" y="125"/>
                  <a:pt x="92" y="128"/>
                  <a:pt x="97" y="130"/>
                </a:cubicBezTo>
                <a:cubicBezTo>
                  <a:pt x="101" y="133"/>
                  <a:pt x="102" y="129"/>
                  <a:pt x="107" y="13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92" name="Freeform 526"/>
          <p:cNvSpPr>
            <a:spLocks/>
          </p:cNvSpPr>
          <p:nvPr userDrawn="1"/>
        </p:nvSpPr>
        <p:spPr bwMode="auto">
          <a:xfrm>
            <a:off x="5892679" y="3766754"/>
            <a:ext cx="97156" cy="88780"/>
          </a:xfrm>
          <a:custGeom>
            <a:avLst/>
            <a:gdLst>
              <a:gd name="T0" fmla="*/ 2147483646 w 105"/>
              <a:gd name="T1" fmla="*/ 2147483646 h 95"/>
              <a:gd name="T2" fmla="*/ 2147483646 w 105"/>
              <a:gd name="T3" fmla="*/ 2147483646 h 95"/>
              <a:gd name="T4" fmla="*/ 2147483646 w 105"/>
              <a:gd name="T5" fmla="*/ 2147483646 h 95"/>
              <a:gd name="T6" fmla="*/ 2147483646 w 105"/>
              <a:gd name="T7" fmla="*/ 2147483646 h 95"/>
              <a:gd name="T8" fmla="*/ 2147483646 w 105"/>
              <a:gd name="T9" fmla="*/ 0 h 95"/>
              <a:gd name="T10" fmla="*/ 2147483646 w 105"/>
              <a:gd name="T11" fmla="*/ 2147483646 h 95"/>
              <a:gd name="T12" fmla="*/ 2147483646 w 105"/>
              <a:gd name="T13" fmla="*/ 0 h 95"/>
              <a:gd name="T14" fmla="*/ 2147483646 w 105"/>
              <a:gd name="T15" fmla="*/ 2147483646 h 95"/>
              <a:gd name="T16" fmla="*/ 2147483646 w 105"/>
              <a:gd name="T17" fmla="*/ 2147483646 h 95"/>
              <a:gd name="T18" fmla="*/ 2147483646 w 105"/>
              <a:gd name="T19" fmla="*/ 2147483646 h 95"/>
              <a:gd name="T20" fmla="*/ 2147483646 w 105"/>
              <a:gd name="T21" fmla="*/ 2147483646 h 95"/>
              <a:gd name="T22" fmla="*/ 2147483646 w 105"/>
              <a:gd name="T23" fmla="*/ 2147483646 h 95"/>
              <a:gd name="T24" fmla="*/ 2147483646 w 105"/>
              <a:gd name="T25" fmla="*/ 2147483646 h 95"/>
              <a:gd name="T26" fmla="*/ 2147483646 w 105"/>
              <a:gd name="T27" fmla="*/ 2147483646 h 95"/>
              <a:gd name="T28" fmla="*/ 2147483646 w 105"/>
              <a:gd name="T29" fmla="*/ 2147483646 h 95"/>
              <a:gd name="T30" fmla="*/ 2147483646 w 105"/>
              <a:gd name="T31" fmla="*/ 2147483646 h 95"/>
              <a:gd name="T32" fmla="*/ 2147483646 w 105"/>
              <a:gd name="T33" fmla="*/ 2147483646 h 95"/>
              <a:gd name="T34" fmla="*/ 2147483646 w 105"/>
              <a:gd name="T35" fmla="*/ 2147483646 h 95"/>
              <a:gd name="T36" fmla="*/ 2147483646 w 105"/>
              <a:gd name="T37" fmla="*/ 2147483646 h 95"/>
              <a:gd name="T38" fmla="*/ 2147483646 w 105"/>
              <a:gd name="T39" fmla="*/ 2147483646 h 95"/>
              <a:gd name="T40" fmla="*/ 2147483646 w 105"/>
              <a:gd name="T41" fmla="*/ 2147483646 h 95"/>
              <a:gd name="T42" fmla="*/ 2147483646 w 105"/>
              <a:gd name="T43" fmla="*/ 2147483646 h 95"/>
              <a:gd name="T44" fmla="*/ 2147483646 w 105"/>
              <a:gd name="T45" fmla="*/ 2147483646 h 95"/>
              <a:gd name="T46" fmla="*/ 2147483646 w 105"/>
              <a:gd name="T47" fmla="*/ 2147483646 h 95"/>
              <a:gd name="T48" fmla="*/ 2147483646 w 105"/>
              <a:gd name="T49" fmla="*/ 2147483646 h 95"/>
              <a:gd name="T50" fmla="*/ 2147483646 w 105"/>
              <a:gd name="T51" fmla="*/ 2147483646 h 95"/>
              <a:gd name="T52" fmla="*/ 2147483646 w 105"/>
              <a:gd name="T53" fmla="*/ 2147483646 h 9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05"/>
              <a:gd name="T82" fmla="*/ 0 h 95"/>
              <a:gd name="T83" fmla="*/ 105 w 105"/>
              <a:gd name="T84" fmla="*/ 95 h 95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05" h="95">
                <a:moveTo>
                  <a:pt x="90" y="9"/>
                </a:moveTo>
                <a:cubicBezTo>
                  <a:pt x="83" y="10"/>
                  <a:pt x="84" y="19"/>
                  <a:pt x="77" y="13"/>
                </a:cubicBezTo>
                <a:cubicBezTo>
                  <a:pt x="73" y="9"/>
                  <a:pt x="69" y="4"/>
                  <a:pt x="63" y="4"/>
                </a:cubicBezTo>
                <a:cubicBezTo>
                  <a:pt x="57" y="5"/>
                  <a:pt x="54" y="10"/>
                  <a:pt x="47" y="7"/>
                </a:cubicBezTo>
                <a:cubicBezTo>
                  <a:pt x="42" y="3"/>
                  <a:pt x="41" y="0"/>
                  <a:pt x="34" y="0"/>
                </a:cubicBezTo>
                <a:cubicBezTo>
                  <a:pt x="28" y="1"/>
                  <a:pt x="21" y="4"/>
                  <a:pt x="14" y="3"/>
                </a:cubicBezTo>
                <a:cubicBezTo>
                  <a:pt x="13" y="3"/>
                  <a:pt x="9" y="0"/>
                  <a:pt x="8" y="0"/>
                </a:cubicBezTo>
                <a:cubicBezTo>
                  <a:pt x="6" y="0"/>
                  <a:pt x="4" y="5"/>
                  <a:pt x="3" y="8"/>
                </a:cubicBezTo>
                <a:cubicBezTo>
                  <a:pt x="0" y="18"/>
                  <a:pt x="17" y="23"/>
                  <a:pt x="20" y="32"/>
                </a:cubicBezTo>
                <a:cubicBezTo>
                  <a:pt x="22" y="36"/>
                  <a:pt x="20" y="40"/>
                  <a:pt x="22" y="43"/>
                </a:cubicBezTo>
                <a:cubicBezTo>
                  <a:pt x="23" y="46"/>
                  <a:pt x="26" y="47"/>
                  <a:pt x="29" y="48"/>
                </a:cubicBezTo>
                <a:cubicBezTo>
                  <a:pt x="37" y="54"/>
                  <a:pt x="40" y="63"/>
                  <a:pt x="46" y="70"/>
                </a:cubicBezTo>
                <a:cubicBezTo>
                  <a:pt x="50" y="75"/>
                  <a:pt x="54" y="77"/>
                  <a:pt x="52" y="82"/>
                </a:cubicBezTo>
                <a:cubicBezTo>
                  <a:pt x="53" y="82"/>
                  <a:pt x="53" y="82"/>
                  <a:pt x="53" y="82"/>
                </a:cubicBezTo>
                <a:cubicBezTo>
                  <a:pt x="55" y="82"/>
                  <a:pt x="55" y="82"/>
                  <a:pt x="55" y="82"/>
                </a:cubicBezTo>
                <a:cubicBezTo>
                  <a:pt x="64" y="82"/>
                  <a:pt x="69" y="91"/>
                  <a:pt x="74" y="95"/>
                </a:cubicBezTo>
                <a:cubicBezTo>
                  <a:pt x="75" y="86"/>
                  <a:pt x="80" y="78"/>
                  <a:pt x="81" y="70"/>
                </a:cubicBezTo>
                <a:cubicBezTo>
                  <a:pt x="83" y="70"/>
                  <a:pt x="86" y="70"/>
                  <a:pt x="87" y="69"/>
                </a:cubicBezTo>
                <a:cubicBezTo>
                  <a:pt x="89" y="68"/>
                  <a:pt x="87" y="67"/>
                  <a:pt x="88" y="65"/>
                </a:cubicBezTo>
                <a:cubicBezTo>
                  <a:pt x="90" y="63"/>
                  <a:pt x="90" y="63"/>
                  <a:pt x="91" y="62"/>
                </a:cubicBezTo>
                <a:cubicBezTo>
                  <a:pt x="93" y="61"/>
                  <a:pt x="98" y="60"/>
                  <a:pt x="99" y="58"/>
                </a:cubicBezTo>
                <a:cubicBezTo>
                  <a:pt x="101" y="53"/>
                  <a:pt x="93" y="50"/>
                  <a:pt x="93" y="45"/>
                </a:cubicBezTo>
                <a:cubicBezTo>
                  <a:pt x="94" y="40"/>
                  <a:pt x="103" y="42"/>
                  <a:pt x="105" y="39"/>
                </a:cubicBezTo>
                <a:cubicBezTo>
                  <a:pt x="102" y="36"/>
                  <a:pt x="96" y="34"/>
                  <a:pt x="94" y="29"/>
                </a:cubicBezTo>
                <a:cubicBezTo>
                  <a:pt x="92" y="25"/>
                  <a:pt x="94" y="24"/>
                  <a:pt x="95" y="20"/>
                </a:cubicBezTo>
                <a:cubicBezTo>
                  <a:pt x="96" y="13"/>
                  <a:pt x="95" y="12"/>
                  <a:pt x="90" y="10"/>
                </a:cubicBezTo>
                <a:lnTo>
                  <a:pt x="90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93" name="Freeform 527"/>
          <p:cNvSpPr>
            <a:spLocks/>
          </p:cNvSpPr>
          <p:nvPr userDrawn="1"/>
        </p:nvSpPr>
        <p:spPr bwMode="auto">
          <a:xfrm>
            <a:off x="5974759" y="3850509"/>
            <a:ext cx="43552" cy="100505"/>
          </a:xfrm>
          <a:custGeom>
            <a:avLst/>
            <a:gdLst>
              <a:gd name="T0" fmla="*/ 2147483646 w 48"/>
              <a:gd name="T1" fmla="*/ 2147483646 h 107"/>
              <a:gd name="T2" fmla="*/ 2147483646 w 48"/>
              <a:gd name="T3" fmla="*/ 2147483646 h 107"/>
              <a:gd name="T4" fmla="*/ 2147483646 w 48"/>
              <a:gd name="T5" fmla="*/ 2147483646 h 107"/>
              <a:gd name="T6" fmla="*/ 2147483646 w 48"/>
              <a:gd name="T7" fmla="*/ 2147483646 h 107"/>
              <a:gd name="T8" fmla="*/ 2147483646 w 48"/>
              <a:gd name="T9" fmla="*/ 2147483646 h 107"/>
              <a:gd name="T10" fmla="*/ 2147483646 w 48"/>
              <a:gd name="T11" fmla="*/ 2147483646 h 107"/>
              <a:gd name="T12" fmla="*/ 2147483646 w 48"/>
              <a:gd name="T13" fmla="*/ 2147483646 h 107"/>
              <a:gd name="T14" fmla="*/ 2147483646 w 48"/>
              <a:gd name="T15" fmla="*/ 2147483646 h 107"/>
              <a:gd name="T16" fmla="*/ 2147483646 w 48"/>
              <a:gd name="T17" fmla="*/ 2147483646 h 107"/>
              <a:gd name="T18" fmla="*/ 2147483646 w 48"/>
              <a:gd name="T19" fmla="*/ 2147483646 h 107"/>
              <a:gd name="T20" fmla="*/ 2147483646 w 48"/>
              <a:gd name="T21" fmla="*/ 2147483646 h 107"/>
              <a:gd name="T22" fmla="*/ 2147483646 w 48"/>
              <a:gd name="T23" fmla="*/ 2147483646 h 107"/>
              <a:gd name="T24" fmla="*/ 2147483646 w 48"/>
              <a:gd name="T25" fmla="*/ 2147483646 h 107"/>
              <a:gd name="T26" fmla="*/ 2147483646 w 48"/>
              <a:gd name="T27" fmla="*/ 2147483646 h 107"/>
              <a:gd name="T28" fmla="*/ 2147483646 w 48"/>
              <a:gd name="T29" fmla="*/ 2147483646 h 107"/>
              <a:gd name="T30" fmla="*/ 2147483646 w 48"/>
              <a:gd name="T31" fmla="*/ 2147483646 h 107"/>
              <a:gd name="T32" fmla="*/ 2147483646 w 48"/>
              <a:gd name="T33" fmla="*/ 2147483646 h 107"/>
              <a:gd name="T34" fmla="*/ 2147483646 w 48"/>
              <a:gd name="T35" fmla="*/ 2147483646 h 107"/>
              <a:gd name="T36" fmla="*/ 2147483646 w 48"/>
              <a:gd name="T37" fmla="*/ 2147483646 h 10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48"/>
              <a:gd name="T58" fmla="*/ 0 h 107"/>
              <a:gd name="T59" fmla="*/ 48 w 48"/>
              <a:gd name="T60" fmla="*/ 107 h 10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48" h="107">
                <a:moveTo>
                  <a:pt x="44" y="68"/>
                </a:moveTo>
                <a:cubicBezTo>
                  <a:pt x="44" y="77"/>
                  <a:pt x="48" y="85"/>
                  <a:pt x="42" y="93"/>
                </a:cubicBezTo>
                <a:cubicBezTo>
                  <a:pt x="39" y="96"/>
                  <a:pt x="38" y="99"/>
                  <a:pt x="35" y="102"/>
                </a:cubicBezTo>
                <a:cubicBezTo>
                  <a:pt x="33" y="103"/>
                  <a:pt x="31" y="105"/>
                  <a:pt x="29" y="107"/>
                </a:cubicBezTo>
                <a:cubicBezTo>
                  <a:pt x="28" y="107"/>
                  <a:pt x="28" y="107"/>
                  <a:pt x="28" y="107"/>
                </a:cubicBezTo>
                <a:cubicBezTo>
                  <a:pt x="28" y="105"/>
                  <a:pt x="26" y="106"/>
                  <a:pt x="24" y="105"/>
                </a:cubicBezTo>
                <a:cubicBezTo>
                  <a:pt x="20" y="102"/>
                  <a:pt x="20" y="98"/>
                  <a:pt x="10" y="86"/>
                </a:cubicBezTo>
                <a:cubicBezTo>
                  <a:pt x="0" y="74"/>
                  <a:pt x="12" y="83"/>
                  <a:pt x="9" y="79"/>
                </a:cubicBezTo>
                <a:cubicBezTo>
                  <a:pt x="5" y="76"/>
                  <a:pt x="7" y="72"/>
                  <a:pt x="12" y="66"/>
                </a:cubicBezTo>
                <a:cubicBezTo>
                  <a:pt x="16" y="60"/>
                  <a:pt x="13" y="61"/>
                  <a:pt x="9" y="58"/>
                </a:cubicBezTo>
                <a:cubicBezTo>
                  <a:pt x="5" y="56"/>
                  <a:pt x="9" y="46"/>
                  <a:pt x="13" y="41"/>
                </a:cubicBezTo>
                <a:cubicBezTo>
                  <a:pt x="17" y="37"/>
                  <a:pt x="12" y="38"/>
                  <a:pt x="9" y="36"/>
                </a:cubicBezTo>
                <a:cubicBezTo>
                  <a:pt x="8" y="35"/>
                  <a:pt x="7" y="34"/>
                  <a:pt x="7" y="34"/>
                </a:cubicBezTo>
                <a:cubicBezTo>
                  <a:pt x="7" y="33"/>
                  <a:pt x="7" y="33"/>
                  <a:pt x="7" y="33"/>
                </a:cubicBezTo>
                <a:cubicBezTo>
                  <a:pt x="7" y="26"/>
                  <a:pt x="8" y="20"/>
                  <a:pt x="8" y="13"/>
                </a:cubicBezTo>
                <a:cubicBezTo>
                  <a:pt x="8" y="5"/>
                  <a:pt x="10" y="5"/>
                  <a:pt x="18" y="3"/>
                </a:cubicBezTo>
                <a:cubicBezTo>
                  <a:pt x="29" y="0"/>
                  <a:pt x="34" y="9"/>
                  <a:pt x="41" y="17"/>
                </a:cubicBezTo>
                <a:cubicBezTo>
                  <a:pt x="35" y="28"/>
                  <a:pt x="43" y="36"/>
                  <a:pt x="45" y="46"/>
                </a:cubicBezTo>
                <a:cubicBezTo>
                  <a:pt x="46" y="52"/>
                  <a:pt x="47" y="64"/>
                  <a:pt x="44" y="6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94" name="Freeform 528"/>
          <p:cNvSpPr>
            <a:spLocks/>
          </p:cNvSpPr>
          <p:nvPr userDrawn="1"/>
        </p:nvSpPr>
        <p:spPr bwMode="auto">
          <a:xfrm>
            <a:off x="6001560" y="3838783"/>
            <a:ext cx="73704" cy="77055"/>
          </a:xfrm>
          <a:custGeom>
            <a:avLst/>
            <a:gdLst>
              <a:gd name="T0" fmla="*/ 2147483646 w 79"/>
              <a:gd name="T1" fmla="*/ 2147483646 h 83"/>
              <a:gd name="T2" fmla="*/ 2147483646 w 79"/>
              <a:gd name="T3" fmla="*/ 2147483646 h 83"/>
              <a:gd name="T4" fmla="*/ 2147483646 w 79"/>
              <a:gd name="T5" fmla="*/ 2147483646 h 83"/>
              <a:gd name="T6" fmla="*/ 2147483646 w 79"/>
              <a:gd name="T7" fmla="*/ 2147483646 h 83"/>
              <a:gd name="T8" fmla="*/ 2147483646 w 79"/>
              <a:gd name="T9" fmla="*/ 2147483646 h 83"/>
              <a:gd name="T10" fmla="*/ 2147483646 w 79"/>
              <a:gd name="T11" fmla="*/ 2147483646 h 83"/>
              <a:gd name="T12" fmla="*/ 2147483646 w 79"/>
              <a:gd name="T13" fmla="*/ 2147483646 h 83"/>
              <a:gd name="T14" fmla="*/ 2147483646 w 79"/>
              <a:gd name="T15" fmla="*/ 2147483646 h 83"/>
              <a:gd name="T16" fmla="*/ 2147483646 w 79"/>
              <a:gd name="T17" fmla="*/ 2147483646 h 83"/>
              <a:gd name="T18" fmla="*/ 2147483646 w 79"/>
              <a:gd name="T19" fmla="*/ 2147483646 h 83"/>
              <a:gd name="T20" fmla="*/ 2147483646 w 79"/>
              <a:gd name="T21" fmla="*/ 2147483646 h 83"/>
              <a:gd name="T22" fmla="*/ 2147483646 w 79"/>
              <a:gd name="T23" fmla="*/ 2147483646 h 83"/>
              <a:gd name="T24" fmla="*/ 0 w 79"/>
              <a:gd name="T25" fmla="*/ 2147483646 h 83"/>
              <a:gd name="T26" fmla="*/ 0 w 79"/>
              <a:gd name="T27" fmla="*/ 2147483646 h 83"/>
              <a:gd name="T28" fmla="*/ 2147483646 w 79"/>
              <a:gd name="T29" fmla="*/ 2147483646 h 83"/>
              <a:gd name="T30" fmla="*/ 2147483646 w 79"/>
              <a:gd name="T31" fmla="*/ 2147483646 h 83"/>
              <a:gd name="T32" fmla="*/ 2147483646 w 79"/>
              <a:gd name="T33" fmla="*/ 2147483646 h 8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79"/>
              <a:gd name="T52" fmla="*/ 0 h 83"/>
              <a:gd name="T53" fmla="*/ 79 w 79"/>
              <a:gd name="T54" fmla="*/ 83 h 8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79" h="83">
                <a:moveTo>
                  <a:pt x="14" y="82"/>
                </a:moveTo>
                <a:cubicBezTo>
                  <a:pt x="22" y="80"/>
                  <a:pt x="31" y="78"/>
                  <a:pt x="38" y="83"/>
                </a:cubicBezTo>
                <a:cubicBezTo>
                  <a:pt x="41" y="79"/>
                  <a:pt x="42" y="73"/>
                  <a:pt x="46" y="72"/>
                </a:cubicBezTo>
                <a:cubicBezTo>
                  <a:pt x="48" y="71"/>
                  <a:pt x="52" y="72"/>
                  <a:pt x="54" y="72"/>
                </a:cubicBezTo>
                <a:cubicBezTo>
                  <a:pt x="58" y="71"/>
                  <a:pt x="62" y="69"/>
                  <a:pt x="65" y="68"/>
                </a:cubicBezTo>
                <a:cubicBezTo>
                  <a:pt x="69" y="66"/>
                  <a:pt x="73" y="63"/>
                  <a:pt x="75" y="58"/>
                </a:cubicBezTo>
                <a:cubicBezTo>
                  <a:pt x="79" y="51"/>
                  <a:pt x="67" y="39"/>
                  <a:pt x="63" y="32"/>
                </a:cubicBezTo>
                <a:cubicBezTo>
                  <a:pt x="61" y="28"/>
                  <a:pt x="57" y="25"/>
                  <a:pt x="58" y="21"/>
                </a:cubicBezTo>
                <a:cubicBezTo>
                  <a:pt x="57" y="22"/>
                  <a:pt x="57" y="22"/>
                  <a:pt x="57" y="22"/>
                </a:cubicBezTo>
                <a:cubicBezTo>
                  <a:pt x="51" y="25"/>
                  <a:pt x="44" y="32"/>
                  <a:pt x="38" y="28"/>
                </a:cubicBezTo>
                <a:cubicBezTo>
                  <a:pt x="30" y="23"/>
                  <a:pt x="25" y="10"/>
                  <a:pt x="18" y="3"/>
                </a:cubicBezTo>
                <a:cubicBezTo>
                  <a:pt x="14" y="0"/>
                  <a:pt x="7" y="1"/>
                  <a:pt x="4" y="6"/>
                </a:cubicBezTo>
                <a:cubicBezTo>
                  <a:pt x="2" y="9"/>
                  <a:pt x="1" y="15"/>
                  <a:pt x="0" y="19"/>
                </a:cubicBezTo>
                <a:cubicBezTo>
                  <a:pt x="0" y="19"/>
                  <a:pt x="0" y="19"/>
                  <a:pt x="0" y="19"/>
                </a:cubicBezTo>
                <a:cubicBezTo>
                  <a:pt x="4" y="22"/>
                  <a:pt x="7" y="26"/>
                  <a:pt x="11" y="31"/>
                </a:cubicBezTo>
                <a:cubicBezTo>
                  <a:pt x="5" y="42"/>
                  <a:pt x="13" y="49"/>
                  <a:pt x="15" y="60"/>
                </a:cubicBezTo>
                <a:cubicBezTo>
                  <a:pt x="16" y="66"/>
                  <a:pt x="17" y="78"/>
                  <a:pt x="14" y="8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95" name="Freeform 530"/>
          <p:cNvSpPr>
            <a:spLocks/>
          </p:cNvSpPr>
          <p:nvPr userDrawn="1"/>
        </p:nvSpPr>
        <p:spPr bwMode="auto">
          <a:xfrm>
            <a:off x="6055163" y="3801931"/>
            <a:ext cx="150759" cy="97156"/>
          </a:xfrm>
          <a:custGeom>
            <a:avLst/>
            <a:gdLst>
              <a:gd name="T0" fmla="*/ 2147483646 w 162"/>
              <a:gd name="T1" fmla="*/ 2147483646 h 103"/>
              <a:gd name="T2" fmla="*/ 2147483646 w 162"/>
              <a:gd name="T3" fmla="*/ 2147483646 h 103"/>
              <a:gd name="T4" fmla="*/ 2147483646 w 162"/>
              <a:gd name="T5" fmla="*/ 2147483646 h 103"/>
              <a:gd name="T6" fmla="*/ 2147483646 w 162"/>
              <a:gd name="T7" fmla="*/ 2147483646 h 103"/>
              <a:gd name="T8" fmla="*/ 2147483646 w 162"/>
              <a:gd name="T9" fmla="*/ 2147483646 h 103"/>
              <a:gd name="T10" fmla="*/ 2147483646 w 162"/>
              <a:gd name="T11" fmla="*/ 2147483646 h 103"/>
              <a:gd name="T12" fmla="*/ 2147483646 w 162"/>
              <a:gd name="T13" fmla="*/ 2147483646 h 103"/>
              <a:gd name="T14" fmla="*/ 2147483646 w 162"/>
              <a:gd name="T15" fmla="*/ 2147483646 h 103"/>
              <a:gd name="T16" fmla="*/ 2147483646 w 162"/>
              <a:gd name="T17" fmla="*/ 2147483646 h 103"/>
              <a:gd name="T18" fmla="*/ 2147483646 w 162"/>
              <a:gd name="T19" fmla="*/ 2147483646 h 103"/>
              <a:gd name="T20" fmla="*/ 2147483646 w 162"/>
              <a:gd name="T21" fmla="*/ 2147483646 h 103"/>
              <a:gd name="T22" fmla="*/ 2147483646 w 162"/>
              <a:gd name="T23" fmla="*/ 2147483646 h 103"/>
              <a:gd name="T24" fmla="*/ 2147483646 w 162"/>
              <a:gd name="T25" fmla="*/ 2147483646 h 103"/>
              <a:gd name="T26" fmla="*/ 2147483646 w 162"/>
              <a:gd name="T27" fmla="*/ 2147483646 h 103"/>
              <a:gd name="T28" fmla="*/ 2147483646 w 162"/>
              <a:gd name="T29" fmla="*/ 2147483646 h 103"/>
              <a:gd name="T30" fmla="*/ 2147483646 w 162"/>
              <a:gd name="T31" fmla="*/ 2147483646 h 103"/>
              <a:gd name="T32" fmla="*/ 2147483646 w 162"/>
              <a:gd name="T33" fmla="*/ 2147483646 h 103"/>
              <a:gd name="T34" fmla="*/ 2147483646 w 162"/>
              <a:gd name="T35" fmla="*/ 2147483646 h 103"/>
              <a:gd name="T36" fmla="*/ 2147483646 w 162"/>
              <a:gd name="T37" fmla="*/ 2147483646 h 103"/>
              <a:gd name="T38" fmla="*/ 2147483646 w 162"/>
              <a:gd name="T39" fmla="*/ 2147483646 h 103"/>
              <a:gd name="T40" fmla="*/ 2147483646 w 162"/>
              <a:gd name="T41" fmla="*/ 2147483646 h 103"/>
              <a:gd name="T42" fmla="*/ 2147483646 w 162"/>
              <a:gd name="T43" fmla="*/ 2147483646 h 103"/>
              <a:gd name="T44" fmla="*/ 2147483646 w 162"/>
              <a:gd name="T45" fmla="*/ 2147483646 h 103"/>
              <a:gd name="T46" fmla="*/ 2147483646 w 162"/>
              <a:gd name="T47" fmla="*/ 2147483646 h 103"/>
              <a:gd name="T48" fmla="*/ 2147483646 w 162"/>
              <a:gd name="T49" fmla="*/ 2147483646 h 103"/>
              <a:gd name="T50" fmla="*/ 2147483646 w 162"/>
              <a:gd name="T51" fmla="*/ 2147483646 h 103"/>
              <a:gd name="T52" fmla="*/ 2147483646 w 162"/>
              <a:gd name="T53" fmla="*/ 2147483646 h 103"/>
              <a:gd name="T54" fmla="*/ 2147483646 w 162"/>
              <a:gd name="T55" fmla="*/ 2147483646 h 103"/>
              <a:gd name="T56" fmla="*/ 2147483646 w 162"/>
              <a:gd name="T57" fmla="*/ 2147483646 h 103"/>
              <a:gd name="T58" fmla="*/ 2147483646 w 162"/>
              <a:gd name="T59" fmla="*/ 2147483646 h 103"/>
              <a:gd name="T60" fmla="*/ 2147483646 w 162"/>
              <a:gd name="T61" fmla="*/ 2147483646 h 10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62"/>
              <a:gd name="T94" fmla="*/ 0 h 103"/>
              <a:gd name="T95" fmla="*/ 162 w 162"/>
              <a:gd name="T96" fmla="*/ 103 h 103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62" h="103">
                <a:moveTo>
                  <a:pt x="19" y="98"/>
                </a:moveTo>
                <a:cubicBezTo>
                  <a:pt x="26" y="100"/>
                  <a:pt x="38" y="92"/>
                  <a:pt x="45" y="94"/>
                </a:cubicBezTo>
                <a:cubicBezTo>
                  <a:pt x="50" y="95"/>
                  <a:pt x="52" y="98"/>
                  <a:pt x="56" y="100"/>
                </a:cubicBezTo>
                <a:cubicBezTo>
                  <a:pt x="61" y="103"/>
                  <a:pt x="68" y="102"/>
                  <a:pt x="74" y="102"/>
                </a:cubicBezTo>
                <a:cubicBezTo>
                  <a:pt x="82" y="103"/>
                  <a:pt x="81" y="103"/>
                  <a:pt x="88" y="97"/>
                </a:cubicBezTo>
                <a:cubicBezTo>
                  <a:pt x="94" y="91"/>
                  <a:pt x="101" y="81"/>
                  <a:pt x="108" y="78"/>
                </a:cubicBezTo>
                <a:cubicBezTo>
                  <a:pt x="117" y="74"/>
                  <a:pt x="130" y="81"/>
                  <a:pt x="140" y="80"/>
                </a:cubicBezTo>
                <a:cubicBezTo>
                  <a:pt x="141" y="79"/>
                  <a:pt x="141" y="79"/>
                  <a:pt x="141" y="79"/>
                </a:cubicBezTo>
                <a:cubicBezTo>
                  <a:pt x="141" y="74"/>
                  <a:pt x="139" y="65"/>
                  <a:pt x="134" y="63"/>
                </a:cubicBezTo>
                <a:cubicBezTo>
                  <a:pt x="129" y="61"/>
                  <a:pt x="135" y="56"/>
                  <a:pt x="141" y="52"/>
                </a:cubicBezTo>
                <a:cubicBezTo>
                  <a:pt x="146" y="48"/>
                  <a:pt x="148" y="42"/>
                  <a:pt x="152" y="35"/>
                </a:cubicBezTo>
                <a:cubicBezTo>
                  <a:pt x="156" y="29"/>
                  <a:pt x="161" y="35"/>
                  <a:pt x="162" y="23"/>
                </a:cubicBezTo>
                <a:cubicBezTo>
                  <a:pt x="162" y="21"/>
                  <a:pt x="162" y="21"/>
                  <a:pt x="162" y="21"/>
                </a:cubicBezTo>
                <a:cubicBezTo>
                  <a:pt x="160" y="15"/>
                  <a:pt x="157" y="15"/>
                  <a:pt x="151" y="13"/>
                </a:cubicBezTo>
                <a:cubicBezTo>
                  <a:pt x="147" y="11"/>
                  <a:pt x="142" y="9"/>
                  <a:pt x="138" y="7"/>
                </a:cubicBezTo>
                <a:cubicBezTo>
                  <a:pt x="133" y="5"/>
                  <a:pt x="129" y="1"/>
                  <a:pt x="124" y="1"/>
                </a:cubicBezTo>
                <a:cubicBezTo>
                  <a:pt x="117" y="0"/>
                  <a:pt x="108" y="6"/>
                  <a:pt x="101" y="7"/>
                </a:cubicBezTo>
                <a:cubicBezTo>
                  <a:pt x="97" y="8"/>
                  <a:pt x="94" y="9"/>
                  <a:pt x="90" y="11"/>
                </a:cubicBezTo>
                <a:cubicBezTo>
                  <a:pt x="87" y="14"/>
                  <a:pt x="84" y="19"/>
                  <a:pt x="79" y="19"/>
                </a:cubicBezTo>
                <a:cubicBezTo>
                  <a:pt x="76" y="19"/>
                  <a:pt x="75" y="16"/>
                  <a:pt x="72" y="15"/>
                </a:cubicBezTo>
                <a:cubicBezTo>
                  <a:pt x="69" y="15"/>
                  <a:pt x="66" y="16"/>
                  <a:pt x="64" y="17"/>
                </a:cubicBezTo>
                <a:cubicBezTo>
                  <a:pt x="56" y="18"/>
                  <a:pt x="49" y="17"/>
                  <a:pt x="43" y="14"/>
                </a:cubicBezTo>
                <a:cubicBezTo>
                  <a:pt x="36" y="11"/>
                  <a:pt x="29" y="13"/>
                  <a:pt x="23" y="10"/>
                </a:cubicBezTo>
                <a:cubicBezTo>
                  <a:pt x="16" y="6"/>
                  <a:pt x="10" y="4"/>
                  <a:pt x="2" y="4"/>
                </a:cubicBezTo>
                <a:cubicBezTo>
                  <a:pt x="2" y="6"/>
                  <a:pt x="2" y="6"/>
                  <a:pt x="2" y="6"/>
                </a:cubicBezTo>
                <a:cubicBezTo>
                  <a:pt x="6" y="13"/>
                  <a:pt x="7" y="21"/>
                  <a:pt x="10" y="29"/>
                </a:cubicBezTo>
                <a:cubicBezTo>
                  <a:pt x="11" y="33"/>
                  <a:pt x="14" y="37"/>
                  <a:pt x="13" y="41"/>
                </a:cubicBezTo>
                <a:cubicBezTo>
                  <a:pt x="10" y="47"/>
                  <a:pt x="3" y="52"/>
                  <a:pt x="1" y="59"/>
                </a:cubicBezTo>
                <a:cubicBezTo>
                  <a:pt x="0" y="63"/>
                  <a:pt x="4" y="66"/>
                  <a:pt x="6" y="70"/>
                </a:cubicBezTo>
                <a:cubicBezTo>
                  <a:pt x="10" y="77"/>
                  <a:pt x="22" y="89"/>
                  <a:pt x="18" y="96"/>
                </a:cubicBezTo>
                <a:lnTo>
                  <a:pt x="19" y="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96" name="Freeform 531"/>
          <p:cNvSpPr>
            <a:spLocks/>
          </p:cNvSpPr>
          <p:nvPr userDrawn="1"/>
        </p:nvSpPr>
        <p:spPr bwMode="auto">
          <a:xfrm>
            <a:off x="5999884" y="3877310"/>
            <a:ext cx="157459" cy="184260"/>
          </a:xfrm>
          <a:custGeom>
            <a:avLst/>
            <a:gdLst>
              <a:gd name="T0" fmla="*/ 2147483646 w 169"/>
              <a:gd name="T1" fmla="*/ 2147483646 h 199"/>
              <a:gd name="T2" fmla="*/ 2147483646 w 169"/>
              <a:gd name="T3" fmla="*/ 2147483646 h 199"/>
              <a:gd name="T4" fmla="*/ 2147483646 w 169"/>
              <a:gd name="T5" fmla="*/ 2147483646 h 199"/>
              <a:gd name="T6" fmla="*/ 2147483646 w 169"/>
              <a:gd name="T7" fmla="*/ 2147483646 h 199"/>
              <a:gd name="T8" fmla="*/ 2147483646 w 169"/>
              <a:gd name="T9" fmla="*/ 2147483646 h 199"/>
              <a:gd name="T10" fmla="*/ 2147483646 w 169"/>
              <a:gd name="T11" fmla="*/ 2147483646 h 199"/>
              <a:gd name="T12" fmla="*/ 2147483646 w 169"/>
              <a:gd name="T13" fmla="*/ 2147483646 h 199"/>
              <a:gd name="T14" fmla="*/ 2147483646 w 169"/>
              <a:gd name="T15" fmla="*/ 2147483646 h 199"/>
              <a:gd name="T16" fmla="*/ 2147483646 w 169"/>
              <a:gd name="T17" fmla="*/ 2147483646 h 199"/>
              <a:gd name="T18" fmla="*/ 2147483646 w 169"/>
              <a:gd name="T19" fmla="*/ 2147483646 h 199"/>
              <a:gd name="T20" fmla="*/ 2147483646 w 169"/>
              <a:gd name="T21" fmla="*/ 2147483646 h 199"/>
              <a:gd name="T22" fmla="*/ 2147483646 w 169"/>
              <a:gd name="T23" fmla="*/ 2147483646 h 199"/>
              <a:gd name="T24" fmla="*/ 2147483646 w 169"/>
              <a:gd name="T25" fmla="*/ 2147483646 h 199"/>
              <a:gd name="T26" fmla="*/ 2147483646 w 169"/>
              <a:gd name="T27" fmla="*/ 2147483646 h 199"/>
              <a:gd name="T28" fmla="*/ 2147483646 w 169"/>
              <a:gd name="T29" fmla="*/ 2147483646 h 199"/>
              <a:gd name="T30" fmla="*/ 2147483646 w 169"/>
              <a:gd name="T31" fmla="*/ 2147483646 h 199"/>
              <a:gd name="T32" fmla="*/ 2147483646 w 169"/>
              <a:gd name="T33" fmla="*/ 2147483646 h 199"/>
              <a:gd name="T34" fmla="*/ 2147483646 w 169"/>
              <a:gd name="T35" fmla="*/ 2147483646 h 199"/>
              <a:gd name="T36" fmla="*/ 2147483646 w 169"/>
              <a:gd name="T37" fmla="*/ 2147483646 h 199"/>
              <a:gd name="T38" fmla="*/ 2147483646 w 169"/>
              <a:gd name="T39" fmla="*/ 2147483646 h 199"/>
              <a:gd name="T40" fmla="*/ 2147483646 w 169"/>
              <a:gd name="T41" fmla="*/ 2147483646 h 199"/>
              <a:gd name="T42" fmla="*/ 2147483646 w 169"/>
              <a:gd name="T43" fmla="*/ 2147483646 h 199"/>
              <a:gd name="T44" fmla="*/ 2147483646 w 169"/>
              <a:gd name="T45" fmla="*/ 2147483646 h 199"/>
              <a:gd name="T46" fmla="*/ 2147483646 w 169"/>
              <a:gd name="T47" fmla="*/ 2147483646 h 199"/>
              <a:gd name="T48" fmla="*/ 2147483646 w 169"/>
              <a:gd name="T49" fmla="*/ 2147483646 h 199"/>
              <a:gd name="T50" fmla="*/ 2147483646 w 169"/>
              <a:gd name="T51" fmla="*/ 2147483646 h 199"/>
              <a:gd name="T52" fmla="*/ 2147483646 w 169"/>
              <a:gd name="T53" fmla="*/ 2147483646 h 199"/>
              <a:gd name="T54" fmla="*/ 2147483646 w 169"/>
              <a:gd name="T55" fmla="*/ 2147483646 h 199"/>
              <a:gd name="T56" fmla="*/ 2147483646 w 169"/>
              <a:gd name="T57" fmla="*/ 2147483646 h 199"/>
              <a:gd name="T58" fmla="*/ 2147483646 w 169"/>
              <a:gd name="T59" fmla="*/ 2147483646 h 199"/>
              <a:gd name="T60" fmla="*/ 2147483646 w 169"/>
              <a:gd name="T61" fmla="*/ 2147483646 h 199"/>
              <a:gd name="T62" fmla="*/ 2147483646 w 169"/>
              <a:gd name="T63" fmla="*/ 2147483646 h 199"/>
              <a:gd name="T64" fmla="*/ 2147483646 w 169"/>
              <a:gd name="T65" fmla="*/ 2147483646 h 199"/>
              <a:gd name="T66" fmla="*/ 2147483646 w 169"/>
              <a:gd name="T67" fmla="*/ 2147483646 h 199"/>
              <a:gd name="T68" fmla="*/ 2147483646 w 169"/>
              <a:gd name="T69" fmla="*/ 2147483646 h 199"/>
              <a:gd name="T70" fmla="*/ 2147483646 w 169"/>
              <a:gd name="T71" fmla="*/ 2147483646 h 199"/>
              <a:gd name="T72" fmla="*/ 2147483646 w 169"/>
              <a:gd name="T73" fmla="*/ 2147483646 h 199"/>
              <a:gd name="T74" fmla="*/ 2147483646 w 169"/>
              <a:gd name="T75" fmla="*/ 2147483646 h 199"/>
              <a:gd name="T76" fmla="*/ 2147483646 w 169"/>
              <a:gd name="T77" fmla="*/ 2147483646 h 199"/>
              <a:gd name="T78" fmla="*/ 2147483646 w 169"/>
              <a:gd name="T79" fmla="*/ 2147483646 h 199"/>
              <a:gd name="T80" fmla="*/ 2147483646 w 169"/>
              <a:gd name="T81" fmla="*/ 2147483646 h 199"/>
              <a:gd name="T82" fmla="*/ 2147483646 w 169"/>
              <a:gd name="T83" fmla="*/ 2147483646 h 199"/>
              <a:gd name="T84" fmla="*/ 2147483646 w 169"/>
              <a:gd name="T85" fmla="*/ 2147483646 h 199"/>
              <a:gd name="T86" fmla="*/ 2147483646 w 169"/>
              <a:gd name="T87" fmla="*/ 2147483646 h 199"/>
              <a:gd name="T88" fmla="*/ 2147483646 w 169"/>
              <a:gd name="T89" fmla="*/ 2147483646 h 199"/>
              <a:gd name="T90" fmla="*/ 2147483646 w 169"/>
              <a:gd name="T91" fmla="*/ 2147483646 h 199"/>
              <a:gd name="T92" fmla="*/ 2147483646 w 169"/>
              <a:gd name="T93" fmla="*/ 2147483646 h 199"/>
              <a:gd name="T94" fmla="*/ 2147483646 w 169"/>
              <a:gd name="T95" fmla="*/ 2147483646 h 199"/>
              <a:gd name="T96" fmla="*/ 2147483646 w 169"/>
              <a:gd name="T97" fmla="*/ 2147483646 h 199"/>
              <a:gd name="T98" fmla="*/ 2147483646 w 169"/>
              <a:gd name="T99" fmla="*/ 2147483646 h 199"/>
              <a:gd name="T100" fmla="*/ 2147483646 w 169"/>
              <a:gd name="T101" fmla="*/ 2147483646 h 199"/>
              <a:gd name="T102" fmla="*/ 2147483646 w 169"/>
              <a:gd name="T103" fmla="*/ 2147483646 h 199"/>
              <a:gd name="T104" fmla="*/ 2147483646 w 169"/>
              <a:gd name="T105" fmla="*/ 2147483646 h 199"/>
              <a:gd name="T106" fmla="*/ 2147483646 w 169"/>
              <a:gd name="T107" fmla="*/ 2147483646 h 199"/>
              <a:gd name="T108" fmla="*/ 2147483646 w 169"/>
              <a:gd name="T109" fmla="*/ 2147483646 h 19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9"/>
              <a:gd name="T166" fmla="*/ 0 h 199"/>
              <a:gd name="T167" fmla="*/ 169 w 169"/>
              <a:gd name="T168" fmla="*/ 199 h 19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9" h="199">
                <a:moveTo>
                  <a:pt x="16" y="42"/>
                </a:moveTo>
                <a:cubicBezTo>
                  <a:pt x="16" y="50"/>
                  <a:pt x="20" y="58"/>
                  <a:pt x="14" y="66"/>
                </a:cubicBezTo>
                <a:cubicBezTo>
                  <a:pt x="11" y="69"/>
                  <a:pt x="10" y="72"/>
                  <a:pt x="8" y="75"/>
                </a:cubicBezTo>
                <a:cubicBezTo>
                  <a:pt x="6" y="76"/>
                  <a:pt x="3" y="78"/>
                  <a:pt x="1" y="80"/>
                </a:cubicBezTo>
                <a:cubicBezTo>
                  <a:pt x="0" y="80"/>
                  <a:pt x="0" y="80"/>
                  <a:pt x="0" y="80"/>
                </a:cubicBezTo>
                <a:cubicBezTo>
                  <a:pt x="1" y="81"/>
                  <a:pt x="1" y="82"/>
                  <a:pt x="1" y="86"/>
                </a:cubicBezTo>
                <a:cubicBezTo>
                  <a:pt x="0" y="94"/>
                  <a:pt x="2" y="97"/>
                  <a:pt x="6" y="99"/>
                </a:cubicBezTo>
                <a:cubicBezTo>
                  <a:pt x="11" y="101"/>
                  <a:pt x="11" y="100"/>
                  <a:pt x="15" y="103"/>
                </a:cubicBezTo>
                <a:cubicBezTo>
                  <a:pt x="18" y="106"/>
                  <a:pt x="17" y="106"/>
                  <a:pt x="20" y="113"/>
                </a:cubicBezTo>
                <a:cubicBezTo>
                  <a:pt x="23" y="120"/>
                  <a:pt x="22" y="120"/>
                  <a:pt x="26" y="122"/>
                </a:cubicBezTo>
                <a:cubicBezTo>
                  <a:pt x="29" y="124"/>
                  <a:pt x="29" y="130"/>
                  <a:pt x="34" y="128"/>
                </a:cubicBezTo>
                <a:cubicBezTo>
                  <a:pt x="39" y="127"/>
                  <a:pt x="41" y="130"/>
                  <a:pt x="45" y="128"/>
                </a:cubicBezTo>
                <a:cubicBezTo>
                  <a:pt x="49" y="127"/>
                  <a:pt x="53" y="127"/>
                  <a:pt x="57" y="128"/>
                </a:cubicBezTo>
                <a:cubicBezTo>
                  <a:pt x="61" y="128"/>
                  <a:pt x="66" y="126"/>
                  <a:pt x="68" y="130"/>
                </a:cubicBezTo>
                <a:cubicBezTo>
                  <a:pt x="70" y="134"/>
                  <a:pt x="68" y="138"/>
                  <a:pt x="73" y="136"/>
                </a:cubicBezTo>
                <a:cubicBezTo>
                  <a:pt x="78" y="134"/>
                  <a:pt x="80" y="130"/>
                  <a:pt x="83" y="137"/>
                </a:cubicBezTo>
                <a:cubicBezTo>
                  <a:pt x="83" y="137"/>
                  <a:pt x="70" y="141"/>
                  <a:pt x="68" y="139"/>
                </a:cubicBezTo>
                <a:cubicBezTo>
                  <a:pt x="66" y="138"/>
                  <a:pt x="64" y="139"/>
                  <a:pt x="61" y="136"/>
                </a:cubicBezTo>
                <a:cubicBezTo>
                  <a:pt x="57" y="132"/>
                  <a:pt x="56" y="134"/>
                  <a:pt x="54" y="134"/>
                </a:cubicBezTo>
                <a:cubicBezTo>
                  <a:pt x="51" y="133"/>
                  <a:pt x="44" y="130"/>
                  <a:pt x="42" y="129"/>
                </a:cubicBezTo>
                <a:cubicBezTo>
                  <a:pt x="41" y="128"/>
                  <a:pt x="40" y="131"/>
                  <a:pt x="39" y="130"/>
                </a:cubicBezTo>
                <a:cubicBezTo>
                  <a:pt x="37" y="129"/>
                  <a:pt x="37" y="130"/>
                  <a:pt x="35" y="131"/>
                </a:cubicBezTo>
                <a:cubicBezTo>
                  <a:pt x="32" y="132"/>
                  <a:pt x="32" y="133"/>
                  <a:pt x="31" y="133"/>
                </a:cubicBezTo>
                <a:cubicBezTo>
                  <a:pt x="29" y="133"/>
                  <a:pt x="26" y="143"/>
                  <a:pt x="25" y="147"/>
                </a:cubicBezTo>
                <a:cubicBezTo>
                  <a:pt x="24" y="151"/>
                  <a:pt x="27" y="148"/>
                  <a:pt x="30" y="150"/>
                </a:cubicBezTo>
                <a:cubicBezTo>
                  <a:pt x="32" y="151"/>
                  <a:pt x="35" y="154"/>
                  <a:pt x="39" y="155"/>
                </a:cubicBezTo>
                <a:cubicBezTo>
                  <a:pt x="43" y="155"/>
                  <a:pt x="41" y="161"/>
                  <a:pt x="41" y="162"/>
                </a:cubicBezTo>
                <a:cubicBezTo>
                  <a:pt x="41" y="164"/>
                  <a:pt x="40" y="168"/>
                  <a:pt x="39" y="173"/>
                </a:cubicBezTo>
                <a:cubicBezTo>
                  <a:pt x="39" y="178"/>
                  <a:pt x="42" y="181"/>
                  <a:pt x="44" y="182"/>
                </a:cubicBezTo>
                <a:cubicBezTo>
                  <a:pt x="46" y="183"/>
                  <a:pt x="46" y="174"/>
                  <a:pt x="47" y="172"/>
                </a:cubicBezTo>
                <a:cubicBezTo>
                  <a:pt x="47" y="170"/>
                  <a:pt x="51" y="176"/>
                  <a:pt x="54" y="176"/>
                </a:cubicBezTo>
                <a:cubicBezTo>
                  <a:pt x="56" y="177"/>
                  <a:pt x="56" y="181"/>
                  <a:pt x="56" y="183"/>
                </a:cubicBezTo>
                <a:cubicBezTo>
                  <a:pt x="56" y="186"/>
                  <a:pt x="58" y="194"/>
                  <a:pt x="61" y="196"/>
                </a:cubicBezTo>
                <a:cubicBezTo>
                  <a:pt x="65" y="199"/>
                  <a:pt x="63" y="191"/>
                  <a:pt x="62" y="185"/>
                </a:cubicBezTo>
                <a:cubicBezTo>
                  <a:pt x="60" y="178"/>
                  <a:pt x="64" y="181"/>
                  <a:pt x="66" y="180"/>
                </a:cubicBezTo>
                <a:cubicBezTo>
                  <a:pt x="68" y="179"/>
                  <a:pt x="67" y="182"/>
                  <a:pt x="69" y="183"/>
                </a:cubicBezTo>
                <a:cubicBezTo>
                  <a:pt x="70" y="184"/>
                  <a:pt x="71" y="188"/>
                  <a:pt x="75" y="189"/>
                </a:cubicBezTo>
                <a:cubicBezTo>
                  <a:pt x="79" y="191"/>
                  <a:pt x="78" y="189"/>
                  <a:pt x="78" y="183"/>
                </a:cubicBezTo>
                <a:cubicBezTo>
                  <a:pt x="79" y="177"/>
                  <a:pt x="77" y="179"/>
                  <a:pt x="76" y="172"/>
                </a:cubicBezTo>
                <a:cubicBezTo>
                  <a:pt x="74" y="165"/>
                  <a:pt x="75" y="167"/>
                  <a:pt x="73" y="162"/>
                </a:cubicBezTo>
                <a:cubicBezTo>
                  <a:pt x="71" y="158"/>
                  <a:pt x="73" y="158"/>
                  <a:pt x="75" y="158"/>
                </a:cubicBezTo>
                <a:cubicBezTo>
                  <a:pt x="78" y="159"/>
                  <a:pt x="77" y="162"/>
                  <a:pt x="78" y="163"/>
                </a:cubicBezTo>
                <a:cubicBezTo>
                  <a:pt x="79" y="165"/>
                  <a:pt x="83" y="162"/>
                  <a:pt x="84" y="160"/>
                </a:cubicBezTo>
                <a:cubicBezTo>
                  <a:pt x="85" y="158"/>
                  <a:pt x="84" y="151"/>
                  <a:pt x="82" y="152"/>
                </a:cubicBezTo>
                <a:cubicBezTo>
                  <a:pt x="79" y="152"/>
                  <a:pt x="79" y="146"/>
                  <a:pt x="79" y="144"/>
                </a:cubicBezTo>
                <a:cubicBezTo>
                  <a:pt x="79" y="141"/>
                  <a:pt x="82" y="142"/>
                  <a:pt x="84" y="142"/>
                </a:cubicBezTo>
                <a:cubicBezTo>
                  <a:pt x="87" y="141"/>
                  <a:pt x="87" y="141"/>
                  <a:pt x="87" y="141"/>
                </a:cubicBezTo>
                <a:cubicBezTo>
                  <a:pt x="87" y="141"/>
                  <a:pt x="92" y="147"/>
                  <a:pt x="96" y="148"/>
                </a:cubicBezTo>
                <a:cubicBezTo>
                  <a:pt x="100" y="148"/>
                  <a:pt x="99" y="149"/>
                  <a:pt x="103" y="151"/>
                </a:cubicBezTo>
                <a:cubicBezTo>
                  <a:pt x="107" y="153"/>
                  <a:pt x="109" y="150"/>
                  <a:pt x="109" y="150"/>
                </a:cubicBezTo>
                <a:cubicBezTo>
                  <a:pt x="109" y="150"/>
                  <a:pt x="100" y="142"/>
                  <a:pt x="99" y="139"/>
                </a:cubicBezTo>
                <a:cubicBezTo>
                  <a:pt x="98" y="137"/>
                  <a:pt x="96" y="133"/>
                  <a:pt x="96" y="131"/>
                </a:cubicBezTo>
                <a:cubicBezTo>
                  <a:pt x="97" y="128"/>
                  <a:pt x="103" y="130"/>
                  <a:pt x="92" y="123"/>
                </a:cubicBezTo>
                <a:cubicBezTo>
                  <a:pt x="80" y="115"/>
                  <a:pt x="77" y="113"/>
                  <a:pt x="75" y="114"/>
                </a:cubicBezTo>
                <a:cubicBezTo>
                  <a:pt x="74" y="114"/>
                  <a:pt x="71" y="113"/>
                  <a:pt x="71" y="113"/>
                </a:cubicBezTo>
                <a:cubicBezTo>
                  <a:pt x="71" y="113"/>
                  <a:pt x="66" y="111"/>
                  <a:pt x="66" y="110"/>
                </a:cubicBezTo>
                <a:cubicBezTo>
                  <a:pt x="67" y="108"/>
                  <a:pt x="70" y="107"/>
                  <a:pt x="74" y="108"/>
                </a:cubicBezTo>
                <a:cubicBezTo>
                  <a:pt x="79" y="109"/>
                  <a:pt x="81" y="112"/>
                  <a:pt x="83" y="113"/>
                </a:cubicBezTo>
                <a:cubicBezTo>
                  <a:pt x="85" y="114"/>
                  <a:pt x="88" y="117"/>
                  <a:pt x="92" y="118"/>
                </a:cubicBezTo>
                <a:cubicBezTo>
                  <a:pt x="96" y="120"/>
                  <a:pt x="97" y="122"/>
                  <a:pt x="99" y="125"/>
                </a:cubicBezTo>
                <a:cubicBezTo>
                  <a:pt x="101" y="129"/>
                  <a:pt x="101" y="134"/>
                  <a:pt x="105" y="137"/>
                </a:cubicBezTo>
                <a:cubicBezTo>
                  <a:pt x="110" y="139"/>
                  <a:pt x="109" y="140"/>
                  <a:pt x="111" y="139"/>
                </a:cubicBezTo>
                <a:cubicBezTo>
                  <a:pt x="114" y="138"/>
                  <a:pt x="117" y="142"/>
                  <a:pt x="117" y="138"/>
                </a:cubicBezTo>
                <a:cubicBezTo>
                  <a:pt x="118" y="135"/>
                  <a:pt x="124" y="128"/>
                  <a:pt x="116" y="129"/>
                </a:cubicBezTo>
                <a:cubicBezTo>
                  <a:pt x="108" y="130"/>
                  <a:pt x="107" y="130"/>
                  <a:pt x="106" y="125"/>
                </a:cubicBezTo>
                <a:cubicBezTo>
                  <a:pt x="105" y="121"/>
                  <a:pt x="105" y="118"/>
                  <a:pt x="103" y="117"/>
                </a:cubicBezTo>
                <a:cubicBezTo>
                  <a:pt x="101" y="116"/>
                  <a:pt x="104" y="116"/>
                  <a:pt x="99" y="114"/>
                </a:cubicBezTo>
                <a:cubicBezTo>
                  <a:pt x="95" y="113"/>
                  <a:pt x="88" y="116"/>
                  <a:pt x="86" y="107"/>
                </a:cubicBezTo>
                <a:cubicBezTo>
                  <a:pt x="84" y="99"/>
                  <a:pt x="80" y="106"/>
                  <a:pt x="76" y="99"/>
                </a:cubicBezTo>
                <a:cubicBezTo>
                  <a:pt x="72" y="93"/>
                  <a:pt x="71" y="85"/>
                  <a:pt x="78" y="92"/>
                </a:cubicBezTo>
                <a:cubicBezTo>
                  <a:pt x="85" y="99"/>
                  <a:pt x="88" y="103"/>
                  <a:pt x="86" y="96"/>
                </a:cubicBezTo>
                <a:cubicBezTo>
                  <a:pt x="84" y="89"/>
                  <a:pt x="78" y="82"/>
                  <a:pt x="74" y="82"/>
                </a:cubicBezTo>
                <a:cubicBezTo>
                  <a:pt x="70" y="81"/>
                  <a:pt x="71" y="78"/>
                  <a:pt x="69" y="73"/>
                </a:cubicBezTo>
                <a:cubicBezTo>
                  <a:pt x="67" y="68"/>
                  <a:pt x="60" y="66"/>
                  <a:pt x="63" y="60"/>
                </a:cubicBezTo>
                <a:cubicBezTo>
                  <a:pt x="66" y="54"/>
                  <a:pt x="62" y="47"/>
                  <a:pt x="68" y="48"/>
                </a:cubicBezTo>
                <a:cubicBezTo>
                  <a:pt x="75" y="49"/>
                  <a:pt x="76" y="45"/>
                  <a:pt x="77" y="53"/>
                </a:cubicBezTo>
                <a:cubicBezTo>
                  <a:pt x="78" y="61"/>
                  <a:pt x="79" y="62"/>
                  <a:pt x="83" y="64"/>
                </a:cubicBezTo>
                <a:cubicBezTo>
                  <a:pt x="86" y="65"/>
                  <a:pt x="78" y="73"/>
                  <a:pt x="84" y="75"/>
                </a:cubicBezTo>
                <a:cubicBezTo>
                  <a:pt x="91" y="78"/>
                  <a:pt x="92" y="78"/>
                  <a:pt x="93" y="76"/>
                </a:cubicBezTo>
                <a:cubicBezTo>
                  <a:pt x="93" y="73"/>
                  <a:pt x="90" y="68"/>
                  <a:pt x="90" y="64"/>
                </a:cubicBezTo>
                <a:cubicBezTo>
                  <a:pt x="90" y="61"/>
                  <a:pt x="94" y="72"/>
                  <a:pt x="97" y="70"/>
                </a:cubicBezTo>
                <a:cubicBezTo>
                  <a:pt x="101" y="68"/>
                  <a:pt x="99" y="62"/>
                  <a:pt x="96" y="62"/>
                </a:cubicBezTo>
                <a:cubicBezTo>
                  <a:pt x="93" y="62"/>
                  <a:pt x="92" y="58"/>
                  <a:pt x="95" y="58"/>
                </a:cubicBezTo>
                <a:cubicBezTo>
                  <a:pt x="97" y="58"/>
                  <a:pt x="97" y="57"/>
                  <a:pt x="101" y="61"/>
                </a:cubicBezTo>
                <a:cubicBezTo>
                  <a:pt x="105" y="66"/>
                  <a:pt x="108" y="70"/>
                  <a:pt x="109" y="66"/>
                </a:cubicBezTo>
                <a:cubicBezTo>
                  <a:pt x="111" y="62"/>
                  <a:pt x="109" y="56"/>
                  <a:pt x="106" y="55"/>
                </a:cubicBezTo>
                <a:cubicBezTo>
                  <a:pt x="104" y="55"/>
                  <a:pt x="100" y="53"/>
                  <a:pt x="98" y="50"/>
                </a:cubicBezTo>
                <a:cubicBezTo>
                  <a:pt x="97" y="47"/>
                  <a:pt x="91" y="45"/>
                  <a:pt x="96" y="44"/>
                </a:cubicBezTo>
                <a:cubicBezTo>
                  <a:pt x="102" y="44"/>
                  <a:pt x="101" y="41"/>
                  <a:pt x="105" y="44"/>
                </a:cubicBezTo>
                <a:cubicBezTo>
                  <a:pt x="108" y="46"/>
                  <a:pt x="110" y="43"/>
                  <a:pt x="110" y="43"/>
                </a:cubicBezTo>
                <a:cubicBezTo>
                  <a:pt x="110" y="43"/>
                  <a:pt x="113" y="38"/>
                  <a:pt x="118" y="40"/>
                </a:cubicBezTo>
                <a:cubicBezTo>
                  <a:pt x="123" y="42"/>
                  <a:pt x="120" y="45"/>
                  <a:pt x="126" y="40"/>
                </a:cubicBezTo>
                <a:cubicBezTo>
                  <a:pt x="131" y="36"/>
                  <a:pt x="141" y="36"/>
                  <a:pt x="143" y="37"/>
                </a:cubicBezTo>
                <a:cubicBezTo>
                  <a:pt x="144" y="38"/>
                  <a:pt x="140" y="40"/>
                  <a:pt x="146" y="40"/>
                </a:cubicBezTo>
                <a:cubicBezTo>
                  <a:pt x="152" y="40"/>
                  <a:pt x="144" y="31"/>
                  <a:pt x="152" y="40"/>
                </a:cubicBezTo>
                <a:cubicBezTo>
                  <a:pt x="156" y="43"/>
                  <a:pt x="156" y="43"/>
                  <a:pt x="156" y="43"/>
                </a:cubicBezTo>
                <a:cubicBezTo>
                  <a:pt x="159" y="36"/>
                  <a:pt x="164" y="31"/>
                  <a:pt x="167" y="23"/>
                </a:cubicBezTo>
                <a:cubicBezTo>
                  <a:pt x="168" y="19"/>
                  <a:pt x="169" y="15"/>
                  <a:pt x="168" y="11"/>
                </a:cubicBezTo>
                <a:cubicBezTo>
                  <a:pt x="167" y="8"/>
                  <a:pt x="164" y="3"/>
                  <a:pt x="165" y="0"/>
                </a:cubicBezTo>
                <a:cubicBezTo>
                  <a:pt x="165" y="1"/>
                  <a:pt x="165" y="1"/>
                  <a:pt x="165" y="1"/>
                </a:cubicBezTo>
                <a:cubicBezTo>
                  <a:pt x="158" y="5"/>
                  <a:pt x="152" y="13"/>
                  <a:pt x="147" y="18"/>
                </a:cubicBezTo>
                <a:cubicBezTo>
                  <a:pt x="140" y="24"/>
                  <a:pt x="141" y="24"/>
                  <a:pt x="133" y="23"/>
                </a:cubicBezTo>
                <a:cubicBezTo>
                  <a:pt x="127" y="23"/>
                  <a:pt x="120" y="24"/>
                  <a:pt x="115" y="21"/>
                </a:cubicBezTo>
                <a:cubicBezTo>
                  <a:pt x="111" y="19"/>
                  <a:pt x="109" y="16"/>
                  <a:pt x="104" y="15"/>
                </a:cubicBezTo>
                <a:cubicBezTo>
                  <a:pt x="97" y="13"/>
                  <a:pt x="85" y="21"/>
                  <a:pt x="78" y="19"/>
                </a:cubicBezTo>
                <a:cubicBezTo>
                  <a:pt x="77" y="17"/>
                  <a:pt x="77" y="17"/>
                  <a:pt x="77" y="17"/>
                </a:cubicBezTo>
                <a:cubicBezTo>
                  <a:pt x="75" y="22"/>
                  <a:pt x="71" y="25"/>
                  <a:pt x="67" y="27"/>
                </a:cubicBezTo>
                <a:cubicBezTo>
                  <a:pt x="63" y="28"/>
                  <a:pt x="60" y="30"/>
                  <a:pt x="56" y="31"/>
                </a:cubicBezTo>
                <a:cubicBezTo>
                  <a:pt x="54" y="31"/>
                  <a:pt x="50" y="30"/>
                  <a:pt x="48" y="31"/>
                </a:cubicBezTo>
                <a:cubicBezTo>
                  <a:pt x="44" y="32"/>
                  <a:pt x="43" y="38"/>
                  <a:pt x="40" y="42"/>
                </a:cubicBezTo>
                <a:cubicBezTo>
                  <a:pt x="33" y="37"/>
                  <a:pt x="24" y="39"/>
                  <a:pt x="16" y="41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97" name="Freeform 532"/>
          <p:cNvSpPr>
            <a:spLocks/>
          </p:cNvSpPr>
          <p:nvPr userDrawn="1"/>
        </p:nvSpPr>
        <p:spPr bwMode="auto">
          <a:xfrm>
            <a:off x="5999884" y="3877310"/>
            <a:ext cx="157459" cy="184260"/>
          </a:xfrm>
          <a:custGeom>
            <a:avLst/>
            <a:gdLst>
              <a:gd name="T0" fmla="*/ 2147483646 w 169"/>
              <a:gd name="T1" fmla="*/ 2147483646 h 199"/>
              <a:gd name="T2" fmla="*/ 2147483646 w 169"/>
              <a:gd name="T3" fmla="*/ 2147483646 h 199"/>
              <a:gd name="T4" fmla="*/ 2147483646 w 169"/>
              <a:gd name="T5" fmla="*/ 2147483646 h 199"/>
              <a:gd name="T6" fmla="*/ 2147483646 w 169"/>
              <a:gd name="T7" fmla="*/ 2147483646 h 199"/>
              <a:gd name="T8" fmla="*/ 2147483646 w 169"/>
              <a:gd name="T9" fmla="*/ 2147483646 h 199"/>
              <a:gd name="T10" fmla="*/ 2147483646 w 169"/>
              <a:gd name="T11" fmla="*/ 2147483646 h 199"/>
              <a:gd name="T12" fmla="*/ 2147483646 w 169"/>
              <a:gd name="T13" fmla="*/ 2147483646 h 199"/>
              <a:gd name="T14" fmla="*/ 2147483646 w 169"/>
              <a:gd name="T15" fmla="*/ 2147483646 h 199"/>
              <a:gd name="T16" fmla="*/ 2147483646 w 169"/>
              <a:gd name="T17" fmla="*/ 2147483646 h 199"/>
              <a:gd name="T18" fmla="*/ 2147483646 w 169"/>
              <a:gd name="T19" fmla="*/ 2147483646 h 199"/>
              <a:gd name="T20" fmla="*/ 2147483646 w 169"/>
              <a:gd name="T21" fmla="*/ 2147483646 h 199"/>
              <a:gd name="T22" fmla="*/ 2147483646 w 169"/>
              <a:gd name="T23" fmla="*/ 2147483646 h 199"/>
              <a:gd name="T24" fmla="*/ 2147483646 w 169"/>
              <a:gd name="T25" fmla="*/ 2147483646 h 199"/>
              <a:gd name="T26" fmla="*/ 2147483646 w 169"/>
              <a:gd name="T27" fmla="*/ 2147483646 h 199"/>
              <a:gd name="T28" fmla="*/ 2147483646 w 169"/>
              <a:gd name="T29" fmla="*/ 2147483646 h 199"/>
              <a:gd name="T30" fmla="*/ 2147483646 w 169"/>
              <a:gd name="T31" fmla="*/ 2147483646 h 199"/>
              <a:gd name="T32" fmla="*/ 2147483646 w 169"/>
              <a:gd name="T33" fmla="*/ 2147483646 h 199"/>
              <a:gd name="T34" fmla="*/ 2147483646 w 169"/>
              <a:gd name="T35" fmla="*/ 2147483646 h 199"/>
              <a:gd name="T36" fmla="*/ 2147483646 w 169"/>
              <a:gd name="T37" fmla="*/ 2147483646 h 199"/>
              <a:gd name="T38" fmla="*/ 2147483646 w 169"/>
              <a:gd name="T39" fmla="*/ 2147483646 h 199"/>
              <a:gd name="T40" fmla="*/ 2147483646 w 169"/>
              <a:gd name="T41" fmla="*/ 2147483646 h 199"/>
              <a:gd name="T42" fmla="*/ 2147483646 w 169"/>
              <a:gd name="T43" fmla="*/ 2147483646 h 199"/>
              <a:gd name="T44" fmla="*/ 2147483646 w 169"/>
              <a:gd name="T45" fmla="*/ 2147483646 h 199"/>
              <a:gd name="T46" fmla="*/ 2147483646 w 169"/>
              <a:gd name="T47" fmla="*/ 2147483646 h 199"/>
              <a:gd name="T48" fmla="*/ 2147483646 w 169"/>
              <a:gd name="T49" fmla="*/ 2147483646 h 199"/>
              <a:gd name="T50" fmla="*/ 2147483646 w 169"/>
              <a:gd name="T51" fmla="*/ 2147483646 h 199"/>
              <a:gd name="T52" fmla="*/ 2147483646 w 169"/>
              <a:gd name="T53" fmla="*/ 2147483646 h 199"/>
              <a:gd name="T54" fmla="*/ 2147483646 w 169"/>
              <a:gd name="T55" fmla="*/ 2147483646 h 199"/>
              <a:gd name="T56" fmla="*/ 2147483646 w 169"/>
              <a:gd name="T57" fmla="*/ 2147483646 h 199"/>
              <a:gd name="T58" fmla="*/ 2147483646 w 169"/>
              <a:gd name="T59" fmla="*/ 2147483646 h 199"/>
              <a:gd name="T60" fmla="*/ 2147483646 w 169"/>
              <a:gd name="T61" fmla="*/ 2147483646 h 199"/>
              <a:gd name="T62" fmla="*/ 2147483646 w 169"/>
              <a:gd name="T63" fmla="*/ 2147483646 h 199"/>
              <a:gd name="T64" fmla="*/ 2147483646 w 169"/>
              <a:gd name="T65" fmla="*/ 2147483646 h 199"/>
              <a:gd name="T66" fmla="*/ 2147483646 w 169"/>
              <a:gd name="T67" fmla="*/ 2147483646 h 199"/>
              <a:gd name="T68" fmla="*/ 2147483646 w 169"/>
              <a:gd name="T69" fmla="*/ 2147483646 h 199"/>
              <a:gd name="T70" fmla="*/ 2147483646 w 169"/>
              <a:gd name="T71" fmla="*/ 2147483646 h 199"/>
              <a:gd name="T72" fmla="*/ 2147483646 w 169"/>
              <a:gd name="T73" fmla="*/ 2147483646 h 199"/>
              <a:gd name="T74" fmla="*/ 2147483646 w 169"/>
              <a:gd name="T75" fmla="*/ 2147483646 h 199"/>
              <a:gd name="T76" fmla="*/ 2147483646 w 169"/>
              <a:gd name="T77" fmla="*/ 2147483646 h 199"/>
              <a:gd name="T78" fmla="*/ 2147483646 w 169"/>
              <a:gd name="T79" fmla="*/ 2147483646 h 199"/>
              <a:gd name="T80" fmla="*/ 2147483646 w 169"/>
              <a:gd name="T81" fmla="*/ 2147483646 h 199"/>
              <a:gd name="T82" fmla="*/ 2147483646 w 169"/>
              <a:gd name="T83" fmla="*/ 2147483646 h 199"/>
              <a:gd name="T84" fmla="*/ 2147483646 w 169"/>
              <a:gd name="T85" fmla="*/ 2147483646 h 199"/>
              <a:gd name="T86" fmla="*/ 2147483646 w 169"/>
              <a:gd name="T87" fmla="*/ 2147483646 h 199"/>
              <a:gd name="T88" fmla="*/ 2147483646 w 169"/>
              <a:gd name="T89" fmla="*/ 2147483646 h 199"/>
              <a:gd name="T90" fmla="*/ 2147483646 w 169"/>
              <a:gd name="T91" fmla="*/ 2147483646 h 199"/>
              <a:gd name="T92" fmla="*/ 2147483646 w 169"/>
              <a:gd name="T93" fmla="*/ 2147483646 h 199"/>
              <a:gd name="T94" fmla="*/ 2147483646 w 169"/>
              <a:gd name="T95" fmla="*/ 2147483646 h 199"/>
              <a:gd name="T96" fmla="*/ 2147483646 w 169"/>
              <a:gd name="T97" fmla="*/ 2147483646 h 199"/>
              <a:gd name="T98" fmla="*/ 2147483646 w 169"/>
              <a:gd name="T99" fmla="*/ 2147483646 h 199"/>
              <a:gd name="T100" fmla="*/ 2147483646 w 169"/>
              <a:gd name="T101" fmla="*/ 2147483646 h 199"/>
              <a:gd name="T102" fmla="*/ 2147483646 w 169"/>
              <a:gd name="T103" fmla="*/ 2147483646 h 199"/>
              <a:gd name="T104" fmla="*/ 2147483646 w 169"/>
              <a:gd name="T105" fmla="*/ 2147483646 h 199"/>
              <a:gd name="T106" fmla="*/ 2147483646 w 169"/>
              <a:gd name="T107" fmla="*/ 2147483646 h 199"/>
              <a:gd name="T108" fmla="*/ 2147483646 w 169"/>
              <a:gd name="T109" fmla="*/ 2147483646 h 19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9"/>
              <a:gd name="T166" fmla="*/ 0 h 199"/>
              <a:gd name="T167" fmla="*/ 169 w 169"/>
              <a:gd name="T168" fmla="*/ 199 h 19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9" h="199">
                <a:moveTo>
                  <a:pt x="16" y="42"/>
                </a:moveTo>
                <a:cubicBezTo>
                  <a:pt x="16" y="50"/>
                  <a:pt x="20" y="58"/>
                  <a:pt x="14" y="66"/>
                </a:cubicBezTo>
                <a:cubicBezTo>
                  <a:pt x="11" y="69"/>
                  <a:pt x="10" y="72"/>
                  <a:pt x="8" y="75"/>
                </a:cubicBezTo>
                <a:cubicBezTo>
                  <a:pt x="6" y="76"/>
                  <a:pt x="3" y="78"/>
                  <a:pt x="1" y="80"/>
                </a:cubicBezTo>
                <a:cubicBezTo>
                  <a:pt x="0" y="80"/>
                  <a:pt x="0" y="80"/>
                  <a:pt x="0" y="80"/>
                </a:cubicBezTo>
                <a:cubicBezTo>
                  <a:pt x="1" y="81"/>
                  <a:pt x="1" y="82"/>
                  <a:pt x="1" y="86"/>
                </a:cubicBezTo>
                <a:cubicBezTo>
                  <a:pt x="0" y="94"/>
                  <a:pt x="2" y="97"/>
                  <a:pt x="6" y="99"/>
                </a:cubicBezTo>
                <a:cubicBezTo>
                  <a:pt x="11" y="101"/>
                  <a:pt x="11" y="100"/>
                  <a:pt x="15" y="103"/>
                </a:cubicBezTo>
                <a:cubicBezTo>
                  <a:pt x="18" y="106"/>
                  <a:pt x="17" y="106"/>
                  <a:pt x="20" y="113"/>
                </a:cubicBezTo>
                <a:cubicBezTo>
                  <a:pt x="23" y="120"/>
                  <a:pt x="22" y="120"/>
                  <a:pt x="26" y="122"/>
                </a:cubicBezTo>
                <a:cubicBezTo>
                  <a:pt x="29" y="124"/>
                  <a:pt x="29" y="130"/>
                  <a:pt x="34" y="128"/>
                </a:cubicBezTo>
                <a:cubicBezTo>
                  <a:pt x="39" y="127"/>
                  <a:pt x="41" y="130"/>
                  <a:pt x="45" y="128"/>
                </a:cubicBezTo>
                <a:cubicBezTo>
                  <a:pt x="49" y="127"/>
                  <a:pt x="53" y="127"/>
                  <a:pt x="57" y="128"/>
                </a:cubicBezTo>
                <a:cubicBezTo>
                  <a:pt x="61" y="128"/>
                  <a:pt x="66" y="126"/>
                  <a:pt x="68" y="130"/>
                </a:cubicBezTo>
                <a:cubicBezTo>
                  <a:pt x="70" y="134"/>
                  <a:pt x="68" y="138"/>
                  <a:pt x="73" y="136"/>
                </a:cubicBezTo>
                <a:cubicBezTo>
                  <a:pt x="78" y="134"/>
                  <a:pt x="80" y="130"/>
                  <a:pt x="83" y="137"/>
                </a:cubicBezTo>
                <a:cubicBezTo>
                  <a:pt x="83" y="137"/>
                  <a:pt x="70" y="141"/>
                  <a:pt x="68" y="139"/>
                </a:cubicBezTo>
                <a:cubicBezTo>
                  <a:pt x="66" y="138"/>
                  <a:pt x="64" y="139"/>
                  <a:pt x="61" y="136"/>
                </a:cubicBezTo>
                <a:cubicBezTo>
                  <a:pt x="57" y="132"/>
                  <a:pt x="56" y="134"/>
                  <a:pt x="54" y="134"/>
                </a:cubicBezTo>
                <a:cubicBezTo>
                  <a:pt x="51" y="133"/>
                  <a:pt x="44" y="130"/>
                  <a:pt x="42" y="129"/>
                </a:cubicBezTo>
                <a:cubicBezTo>
                  <a:pt x="41" y="128"/>
                  <a:pt x="40" y="131"/>
                  <a:pt x="39" y="130"/>
                </a:cubicBezTo>
                <a:cubicBezTo>
                  <a:pt x="37" y="129"/>
                  <a:pt x="37" y="130"/>
                  <a:pt x="35" y="131"/>
                </a:cubicBezTo>
                <a:cubicBezTo>
                  <a:pt x="32" y="132"/>
                  <a:pt x="32" y="133"/>
                  <a:pt x="31" y="133"/>
                </a:cubicBezTo>
                <a:cubicBezTo>
                  <a:pt x="29" y="133"/>
                  <a:pt x="26" y="143"/>
                  <a:pt x="25" y="147"/>
                </a:cubicBezTo>
                <a:cubicBezTo>
                  <a:pt x="24" y="151"/>
                  <a:pt x="27" y="148"/>
                  <a:pt x="30" y="150"/>
                </a:cubicBezTo>
                <a:cubicBezTo>
                  <a:pt x="32" y="151"/>
                  <a:pt x="35" y="154"/>
                  <a:pt x="39" y="155"/>
                </a:cubicBezTo>
                <a:cubicBezTo>
                  <a:pt x="43" y="155"/>
                  <a:pt x="41" y="161"/>
                  <a:pt x="41" y="162"/>
                </a:cubicBezTo>
                <a:cubicBezTo>
                  <a:pt x="41" y="164"/>
                  <a:pt x="40" y="168"/>
                  <a:pt x="39" y="173"/>
                </a:cubicBezTo>
                <a:cubicBezTo>
                  <a:pt x="39" y="178"/>
                  <a:pt x="42" y="181"/>
                  <a:pt x="44" y="182"/>
                </a:cubicBezTo>
                <a:cubicBezTo>
                  <a:pt x="46" y="183"/>
                  <a:pt x="46" y="174"/>
                  <a:pt x="47" y="172"/>
                </a:cubicBezTo>
                <a:cubicBezTo>
                  <a:pt x="47" y="170"/>
                  <a:pt x="51" y="176"/>
                  <a:pt x="54" y="176"/>
                </a:cubicBezTo>
                <a:cubicBezTo>
                  <a:pt x="56" y="177"/>
                  <a:pt x="56" y="181"/>
                  <a:pt x="56" y="183"/>
                </a:cubicBezTo>
                <a:cubicBezTo>
                  <a:pt x="56" y="186"/>
                  <a:pt x="58" y="194"/>
                  <a:pt x="61" y="196"/>
                </a:cubicBezTo>
                <a:cubicBezTo>
                  <a:pt x="65" y="199"/>
                  <a:pt x="63" y="191"/>
                  <a:pt x="62" y="185"/>
                </a:cubicBezTo>
                <a:cubicBezTo>
                  <a:pt x="60" y="178"/>
                  <a:pt x="64" y="181"/>
                  <a:pt x="66" y="180"/>
                </a:cubicBezTo>
                <a:cubicBezTo>
                  <a:pt x="68" y="179"/>
                  <a:pt x="67" y="182"/>
                  <a:pt x="69" y="183"/>
                </a:cubicBezTo>
                <a:cubicBezTo>
                  <a:pt x="70" y="184"/>
                  <a:pt x="71" y="188"/>
                  <a:pt x="75" y="189"/>
                </a:cubicBezTo>
                <a:cubicBezTo>
                  <a:pt x="79" y="191"/>
                  <a:pt x="78" y="189"/>
                  <a:pt x="78" y="183"/>
                </a:cubicBezTo>
                <a:cubicBezTo>
                  <a:pt x="79" y="177"/>
                  <a:pt x="77" y="179"/>
                  <a:pt x="76" y="172"/>
                </a:cubicBezTo>
                <a:cubicBezTo>
                  <a:pt x="74" y="165"/>
                  <a:pt x="75" y="167"/>
                  <a:pt x="73" y="162"/>
                </a:cubicBezTo>
                <a:cubicBezTo>
                  <a:pt x="71" y="158"/>
                  <a:pt x="73" y="158"/>
                  <a:pt x="75" y="158"/>
                </a:cubicBezTo>
                <a:cubicBezTo>
                  <a:pt x="78" y="159"/>
                  <a:pt x="77" y="162"/>
                  <a:pt x="78" y="163"/>
                </a:cubicBezTo>
                <a:cubicBezTo>
                  <a:pt x="79" y="165"/>
                  <a:pt x="83" y="162"/>
                  <a:pt x="84" y="160"/>
                </a:cubicBezTo>
                <a:cubicBezTo>
                  <a:pt x="85" y="158"/>
                  <a:pt x="84" y="151"/>
                  <a:pt x="82" y="152"/>
                </a:cubicBezTo>
                <a:cubicBezTo>
                  <a:pt x="79" y="152"/>
                  <a:pt x="79" y="146"/>
                  <a:pt x="79" y="144"/>
                </a:cubicBezTo>
                <a:cubicBezTo>
                  <a:pt x="79" y="141"/>
                  <a:pt x="82" y="142"/>
                  <a:pt x="84" y="142"/>
                </a:cubicBezTo>
                <a:cubicBezTo>
                  <a:pt x="87" y="141"/>
                  <a:pt x="87" y="141"/>
                  <a:pt x="87" y="141"/>
                </a:cubicBezTo>
                <a:cubicBezTo>
                  <a:pt x="87" y="141"/>
                  <a:pt x="92" y="147"/>
                  <a:pt x="96" y="148"/>
                </a:cubicBezTo>
                <a:cubicBezTo>
                  <a:pt x="100" y="148"/>
                  <a:pt x="99" y="149"/>
                  <a:pt x="103" y="151"/>
                </a:cubicBezTo>
                <a:cubicBezTo>
                  <a:pt x="107" y="153"/>
                  <a:pt x="109" y="150"/>
                  <a:pt x="109" y="150"/>
                </a:cubicBezTo>
                <a:cubicBezTo>
                  <a:pt x="109" y="150"/>
                  <a:pt x="100" y="142"/>
                  <a:pt x="99" y="139"/>
                </a:cubicBezTo>
                <a:cubicBezTo>
                  <a:pt x="98" y="137"/>
                  <a:pt x="96" y="133"/>
                  <a:pt x="96" y="131"/>
                </a:cubicBezTo>
                <a:cubicBezTo>
                  <a:pt x="97" y="128"/>
                  <a:pt x="103" y="130"/>
                  <a:pt x="92" y="123"/>
                </a:cubicBezTo>
                <a:cubicBezTo>
                  <a:pt x="80" y="115"/>
                  <a:pt x="77" y="113"/>
                  <a:pt x="75" y="114"/>
                </a:cubicBezTo>
                <a:cubicBezTo>
                  <a:pt x="74" y="114"/>
                  <a:pt x="71" y="113"/>
                  <a:pt x="71" y="113"/>
                </a:cubicBezTo>
                <a:cubicBezTo>
                  <a:pt x="71" y="113"/>
                  <a:pt x="66" y="111"/>
                  <a:pt x="66" y="110"/>
                </a:cubicBezTo>
                <a:cubicBezTo>
                  <a:pt x="67" y="108"/>
                  <a:pt x="70" y="107"/>
                  <a:pt x="74" y="108"/>
                </a:cubicBezTo>
                <a:cubicBezTo>
                  <a:pt x="79" y="109"/>
                  <a:pt x="81" y="112"/>
                  <a:pt x="83" y="113"/>
                </a:cubicBezTo>
                <a:cubicBezTo>
                  <a:pt x="85" y="114"/>
                  <a:pt x="88" y="117"/>
                  <a:pt x="92" y="118"/>
                </a:cubicBezTo>
                <a:cubicBezTo>
                  <a:pt x="96" y="120"/>
                  <a:pt x="97" y="122"/>
                  <a:pt x="99" y="125"/>
                </a:cubicBezTo>
                <a:cubicBezTo>
                  <a:pt x="101" y="129"/>
                  <a:pt x="101" y="134"/>
                  <a:pt x="105" y="137"/>
                </a:cubicBezTo>
                <a:cubicBezTo>
                  <a:pt x="110" y="139"/>
                  <a:pt x="109" y="140"/>
                  <a:pt x="111" y="139"/>
                </a:cubicBezTo>
                <a:cubicBezTo>
                  <a:pt x="114" y="138"/>
                  <a:pt x="117" y="142"/>
                  <a:pt x="117" y="138"/>
                </a:cubicBezTo>
                <a:cubicBezTo>
                  <a:pt x="118" y="135"/>
                  <a:pt x="124" y="128"/>
                  <a:pt x="116" y="129"/>
                </a:cubicBezTo>
                <a:cubicBezTo>
                  <a:pt x="108" y="130"/>
                  <a:pt x="107" y="130"/>
                  <a:pt x="106" y="125"/>
                </a:cubicBezTo>
                <a:cubicBezTo>
                  <a:pt x="105" y="121"/>
                  <a:pt x="105" y="118"/>
                  <a:pt x="103" y="117"/>
                </a:cubicBezTo>
                <a:cubicBezTo>
                  <a:pt x="101" y="116"/>
                  <a:pt x="104" y="116"/>
                  <a:pt x="99" y="114"/>
                </a:cubicBezTo>
                <a:cubicBezTo>
                  <a:pt x="95" y="113"/>
                  <a:pt x="88" y="116"/>
                  <a:pt x="86" y="107"/>
                </a:cubicBezTo>
                <a:cubicBezTo>
                  <a:pt x="84" y="99"/>
                  <a:pt x="80" y="106"/>
                  <a:pt x="76" y="99"/>
                </a:cubicBezTo>
                <a:cubicBezTo>
                  <a:pt x="72" y="93"/>
                  <a:pt x="71" y="85"/>
                  <a:pt x="78" y="92"/>
                </a:cubicBezTo>
                <a:cubicBezTo>
                  <a:pt x="85" y="99"/>
                  <a:pt x="88" y="103"/>
                  <a:pt x="86" y="96"/>
                </a:cubicBezTo>
                <a:cubicBezTo>
                  <a:pt x="84" y="89"/>
                  <a:pt x="78" y="82"/>
                  <a:pt x="74" y="82"/>
                </a:cubicBezTo>
                <a:cubicBezTo>
                  <a:pt x="70" y="81"/>
                  <a:pt x="71" y="78"/>
                  <a:pt x="69" y="73"/>
                </a:cubicBezTo>
                <a:cubicBezTo>
                  <a:pt x="67" y="68"/>
                  <a:pt x="60" y="66"/>
                  <a:pt x="63" y="60"/>
                </a:cubicBezTo>
                <a:cubicBezTo>
                  <a:pt x="66" y="54"/>
                  <a:pt x="62" y="47"/>
                  <a:pt x="68" y="48"/>
                </a:cubicBezTo>
                <a:cubicBezTo>
                  <a:pt x="75" y="49"/>
                  <a:pt x="76" y="45"/>
                  <a:pt x="77" y="53"/>
                </a:cubicBezTo>
                <a:cubicBezTo>
                  <a:pt x="78" y="61"/>
                  <a:pt x="79" y="62"/>
                  <a:pt x="83" y="64"/>
                </a:cubicBezTo>
                <a:cubicBezTo>
                  <a:pt x="86" y="65"/>
                  <a:pt x="78" y="73"/>
                  <a:pt x="84" y="75"/>
                </a:cubicBezTo>
                <a:cubicBezTo>
                  <a:pt x="91" y="78"/>
                  <a:pt x="92" y="78"/>
                  <a:pt x="93" y="76"/>
                </a:cubicBezTo>
                <a:cubicBezTo>
                  <a:pt x="93" y="73"/>
                  <a:pt x="90" y="68"/>
                  <a:pt x="90" y="64"/>
                </a:cubicBezTo>
                <a:cubicBezTo>
                  <a:pt x="90" y="61"/>
                  <a:pt x="94" y="72"/>
                  <a:pt x="97" y="70"/>
                </a:cubicBezTo>
                <a:cubicBezTo>
                  <a:pt x="101" y="68"/>
                  <a:pt x="99" y="62"/>
                  <a:pt x="96" y="62"/>
                </a:cubicBezTo>
                <a:cubicBezTo>
                  <a:pt x="93" y="62"/>
                  <a:pt x="92" y="58"/>
                  <a:pt x="95" y="58"/>
                </a:cubicBezTo>
                <a:cubicBezTo>
                  <a:pt x="97" y="58"/>
                  <a:pt x="97" y="57"/>
                  <a:pt x="101" y="61"/>
                </a:cubicBezTo>
                <a:cubicBezTo>
                  <a:pt x="105" y="66"/>
                  <a:pt x="108" y="70"/>
                  <a:pt x="109" y="66"/>
                </a:cubicBezTo>
                <a:cubicBezTo>
                  <a:pt x="111" y="62"/>
                  <a:pt x="109" y="56"/>
                  <a:pt x="106" y="55"/>
                </a:cubicBezTo>
                <a:cubicBezTo>
                  <a:pt x="104" y="55"/>
                  <a:pt x="100" y="53"/>
                  <a:pt x="98" y="50"/>
                </a:cubicBezTo>
                <a:cubicBezTo>
                  <a:pt x="97" y="47"/>
                  <a:pt x="91" y="45"/>
                  <a:pt x="96" y="44"/>
                </a:cubicBezTo>
                <a:cubicBezTo>
                  <a:pt x="102" y="44"/>
                  <a:pt x="101" y="41"/>
                  <a:pt x="105" y="44"/>
                </a:cubicBezTo>
                <a:cubicBezTo>
                  <a:pt x="108" y="46"/>
                  <a:pt x="110" y="43"/>
                  <a:pt x="110" y="43"/>
                </a:cubicBezTo>
                <a:cubicBezTo>
                  <a:pt x="110" y="43"/>
                  <a:pt x="113" y="38"/>
                  <a:pt x="118" y="40"/>
                </a:cubicBezTo>
                <a:cubicBezTo>
                  <a:pt x="123" y="42"/>
                  <a:pt x="120" y="45"/>
                  <a:pt x="126" y="40"/>
                </a:cubicBezTo>
                <a:cubicBezTo>
                  <a:pt x="131" y="36"/>
                  <a:pt x="141" y="36"/>
                  <a:pt x="143" y="37"/>
                </a:cubicBezTo>
                <a:cubicBezTo>
                  <a:pt x="144" y="38"/>
                  <a:pt x="140" y="40"/>
                  <a:pt x="146" y="40"/>
                </a:cubicBezTo>
                <a:cubicBezTo>
                  <a:pt x="152" y="40"/>
                  <a:pt x="144" y="31"/>
                  <a:pt x="152" y="40"/>
                </a:cubicBezTo>
                <a:cubicBezTo>
                  <a:pt x="156" y="43"/>
                  <a:pt x="156" y="43"/>
                  <a:pt x="156" y="43"/>
                </a:cubicBezTo>
                <a:cubicBezTo>
                  <a:pt x="159" y="36"/>
                  <a:pt x="164" y="31"/>
                  <a:pt x="167" y="23"/>
                </a:cubicBezTo>
                <a:cubicBezTo>
                  <a:pt x="168" y="19"/>
                  <a:pt x="169" y="15"/>
                  <a:pt x="168" y="11"/>
                </a:cubicBezTo>
                <a:cubicBezTo>
                  <a:pt x="167" y="8"/>
                  <a:pt x="164" y="3"/>
                  <a:pt x="165" y="0"/>
                </a:cubicBezTo>
                <a:cubicBezTo>
                  <a:pt x="165" y="1"/>
                  <a:pt x="165" y="1"/>
                  <a:pt x="165" y="1"/>
                </a:cubicBezTo>
                <a:cubicBezTo>
                  <a:pt x="158" y="5"/>
                  <a:pt x="152" y="13"/>
                  <a:pt x="147" y="18"/>
                </a:cubicBezTo>
                <a:cubicBezTo>
                  <a:pt x="140" y="24"/>
                  <a:pt x="141" y="24"/>
                  <a:pt x="133" y="23"/>
                </a:cubicBezTo>
                <a:cubicBezTo>
                  <a:pt x="127" y="23"/>
                  <a:pt x="120" y="24"/>
                  <a:pt x="115" y="21"/>
                </a:cubicBezTo>
                <a:cubicBezTo>
                  <a:pt x="111" y="19"/>
                  <a:pt x="109" y="16"/>
                  <a:pt x="104" y="15"/>
                </a:cubicBezTo>
                <a:cubicBezTo>
                  <a:pt x="97" y="13"/>
                  <a:pt x="85" y="21"/>
                  <a:pt x="78" y="19"/>
                </a:cubicBezTo>
                <a:cubicBezTo>
                  <a:pt x="77" y="17"/>
                  <a:pt x="77" y="17"/>
                  <a:pt x="77" y="17"/>
                </a:cubicBezTo>
                <a:cubicBezTo>
                  <a:pt x="75" y="22"/>
                  <a:pt x="71" y="25"/>
                  <a:pt x="67" y="27"/>
                </a:cubicBezTo>
                <a:cubicBezTo>
                  <a:pt x="63" y="28"/>
                  <a:pt x="60" y="30"/>
                  <a:pt x="56" y="31"/>
                </a:cubicBezTo>
                <a:cubicBezTo>
                  <a:pt x="54" y="31"/>
                  <a:pt x="50" y="30"/>
                  <a:pt x="48" y="31"/>
                </a:cubicBezTo>
                <a:cubicBezTo>
                  <a:pt x="44" y="32"/>
                  <a:pt x="43" y="38"/>
                  <a:pt x="40" y="42"/>
                </a:cubicBezTo>
                <a:cubicBezTo>
                  <a:pt x="33" y="37"/>
                  <a:pt x="24" y="39"/>
                  <a:pt x="16" y="41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98" name="Freeform 533"/>
          <p:cNvSpPr>
            <a:spLocks/>
          </p:cNvSpPr>
          <p:nvPr userDrawn="1"/>
        </p:nvSpPr>
        <p:spPr bwMode="auto">
          <a:xfrm>
            <a:off x="5999884" y="3652847"/>
            <a:ext cx="231163" cy="169185"/>
          </a:xfrm>
          <a:custGeom>
            <a:avLst/>
            <a:gdLst>
              <a:gd name="T0" fmla="*/ 2147483646 w 248"/>
              <a:gd name="T1" fmla="*/ 2147483646 h 181"/>
              <a:gd name="T2" fmla="*/ 2147483646 w 248"/>
              <a:gd name="T3" fmla="*/ 2147483646 h 181"/>
              <a:gd name="T4" fmla="*/ 2147483646 w 248"/>
              <a:gd name="T5" fmla="*/ 2147483646 h 181"/>
              <a:gd name="T6" fmla="*/ 2147483646 w 248"/>
              <a:gd name="T7" fmla="*/ 2147483646 h 181"/>
              <a:gd name="T8" fmla="*/ 2147483646 w 248"/>
              <a:gd name="T9" fmla="*/ 2147483646 h 181"/>
              <a:gd name="T10" fmla="*/ 2147483646 w 248"/>
              <a:gd name="T11" fmla="*/ 2147483646 h 181"/>
              <a:gd name="T12" fmla="*/ 2147483646 w 248"/>
              <a:gd name="T13" fmla="*/ 2147483646 h 181"/>
              <a:gd name="T14" fmla="*/ 2147483646 w 248"/>
              <a:gd name="T15" fmla="*/ 2147483646 h 181"/>
              <a:gd name="T16" fmla="*/ 2147483646 w 248"/>
              <a:gd name="T17" fmla="*/ 2147483646 h 181"/>
              <a:gd name="T18" fmla="*/ 2147483646 w 248"/>
              <a:gd name="T19" fmla="*/ 2147483646 h 181"/>
              <a:gd name="T20" fmla="*/ 2147483646 w 248"/>
              <a:gd name="T21" fmla="*/ 2147483646 h 181"/>
              <a:gd name="T22" fmla="*/ 2147483646 w 248"/>
              <a:gd name="T23" fmla="*/ 2147483646 h 181"/>
              <a:gd name="T24" fmla="*/ 2147483646 w 248"/>
              <a:gd name="T25" fmla="*/ 2147483646 h 181"/>
              <a:gd name="T26" fmla="*/ 2147483646 w 248"/>
              <a:gd name="T27" fmla="*/ 2147483646 h 181"/>
              <a:gd name="T28" fmla="*/ 2147483646 w 248"/>
              <a:gd name="T29" fmla="*/ 2147483646 h 181"/>
              <a:gd name="T30" fmla="*/ 2147483646 w 248"/>
              <a:gd name="T31" fmla="*/ 2147483646 h 181"/>
              <a:gd name="T32" fmla="*/ 2147483646 w 248"/>
              <a:gd name="T33" fmla="*/ 2147483646 h 181"/>
              <a:gd name="T34" fmla="*/ 2147483646 w 248"/>
              <a:gd name="T35" fmla="*/ 2147483646 h 181"/>
              <a:gd name="T36" fmla="*/ 2147483646 w 248"/>
              <a:gd name="T37" fmla="*/ 2147483646 h 181"/>
              <a:gd name="T38" fmla="*/ 2147483646 w 248"/>
              <a:gd name="T39" fmla="*/ 2147483646 h 181"/>
              <a:gd name="T40" fmla="*/ 2147483646 w 248"/>
              <a:gd name="T41" fmla="*/ 2147483646 h 181"/>
              <a:gd name="T42" fmla="*/ 2147483646 w 248"/>
              <a:gd name="T43" fmla="*/ 2147483646 h 181"/>
              <a:gd name="T44" fmla="*/ 2147483646 w 248"/>
              <a:gd name="T45" fmla="*/ 2147483646 h 181"/>
              <a:gd name="T46" fmla="*/ 0 w 248"/>
              <a:gd name="T47" fmla="*/ 2147483646 h 181"/>
              <a:gd name="T48" fmla="*/ 0 w 248"/>
              <a:gd name="T49" fmla="*/ 2147483646 h 181"/>
              <a:gd name="T50" fmla="*/ 2147483646 w 248"/>
              <a:gd name="T51" fmla="*/ 2147483646 h 181"/>
              <a:gd name="T52" fmla="*/ 2147483646 w 248"/>
              <a:gd name="T53" fmla="*/ 2147483646 h 181"/>
              <a:gd name="T54" fmla="*/ 2147483646 w 248"/>
              <a:gd name="T55" fmla="*/ 2147483646 h 181"/>
              <a:gd name="T56" fmla="*/ 2147483646 w 248"/>
              <a:gd name="T57" fmla="*/ 2147483646 h 181"/>
              <a:gd name="T58" fmla="*/ 2147483646 w 248"/>
              <a:gd name="T59" fmla="*/ 2147483646 h 181"/>
              <a:gd name="T60" fmla="*/ 2147483646 w 248"/>
              <a:gd name="T61" fmla="*/ 2147483646 h 181"/>
              <a:gd name="T62" fmla="*/ 2147483646 w 248"/>
              <a:gd name="T63" fmla="*/ 2147483646 h 181"/>
              <a:gd name="T64" fmla="*/ 2147483646 w 248"/>
              <a:gd name="T65" fmla="*/ 2147483646 h 181"/>
              <a:gd name="T66" fmla="*/ 2147483646 w 248"/>
              <a:gd name="T67" fmla="*/ 2147483646 h 181"/>
              <a:gd name="T68" fmla="*/ 2147483646 w 248"/>
              <a:gd name="T69" fmla="*/ 2147483646 h 181"/>
              <a:gd name="T70" fmla="*/ 2147483646 w 248"/>
              <a:gd name="T71" fmla="*/ 2147483646 h 181"/>
              <a:gd name="T72" fmla="*/ 2147483646 w 248"/>
              <a:gd name="T73" fmla="*/ 2147483646 h 181"/>
              <a:gd name="T74" fmla="*/ 2147483646 w 248"/>
              <a:gd name="T75" fmla="*/ 2147483646 h 181"/>
              <a:gd name="T76" fmla="*/ 2147483646 w 248"/>
              <a:gd name="T77" fmla="*/ 2147483646 h 181"/>
              <a:gd name="T78" fmla="*/ 2147483646 w 248"/>
              <a:gd name="T79" fmla="*/ 2147483646 h 181"/>
              <a:gd name="T80" fmla="*/ 2147483646 w 248"/>
              <a:gd name="T81" fmla="*/ 2147483646 h 181"/>
              <a:gd name="T82" fmla="*/ 2147483646 w 248"/>
              <a:gd name="T83" fmla="*/ 2147483646 h 181"/>
              <a:gd name="T84" fmla="*/ 2147483646 w 248"/>
              <a:gd name="T85" fmla="*/ 2147483646 h 181"/>
              <a:gd name="T86" fmla="*/ 2147483646 w 248"/>
              <a:gd name="T87" fmla="*/ 2147483646 h 181"/>
              <a:gd name="T88" fmla="*/ 2147483646 w 248"/>
              <a:gd name="T89" fmla="*/ 2147483646 h 181"/>
              <a:gd name="T90" fmla="*/ 2147483646 w 248"/>
              <a:gd name="T91" fmla="*/ 2147483646 h 181"/>
              <a:gd name="T92" fmla="*/ 2147483646 w 248"/>
              <a:gd name="T93" fmla="*/ 2147483646 h 181"/>
              <a:gd name="T94" fmla="*/ 2147483646 w 248"/>
              <a:gd name="T95" fmla="*/ 2147483646 h 181"/>
              <a:gd name="T96" fmla="*/ 2147483646 w 248"/>
              <a:gd name="T97" fmla="*/ 2147483646 h 181"/>
              <a:gd name="T98" fmla="*/ 2147483646 w 248"/>
              <a:gd name="T99" fmla="*/ 2147483646 h 181"/>
              <a:gd name="T100" fmla="*/ 2147483646 w 248"/>
              <a:gd name="T101" fmla="*/ 2147483646 h 181"/>
              <a:gd name="T102" fmla="*/ 2147483646 w 248"/>
              <a:gd name="T103" fmla="*/ 2147483646 h 181"/>
              <a:gd name="T104" fmla="*/ 2147483646 w 248"/>
              <a:gd name="T105" fmla="*/ 2147483646 h 181"/>
              <a:gd name="T106" fmla="*/ 2147483646 w 248"/>
              <a:gd name="T107" fmla="*/ 2147483646 h 181"/>
              <a:gd name="T108" fmla="*/ 2147483646 w 248"/>
              <a:gd name="T109" fmla="*/ 2147483646 h 181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48"/>
              <a:gd name="T166" fmla="*/ 0 h 181"/>
              <a:gd name="T167" fmla="*/ 248 w 248"/>
              <a:gd name="T168" fmla="*/ 181 h 181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48" h="181">
                <a:moveTo>
                  <a:pt x="247" y="121"/>
                </a:moveTo>
                <a:cubicBezTo>
                  <a:pt x="246" y="119"/>
                  <a:pt x="245" y="118"/>
                  <a:pt x="244" y="116"/>
                </a:cubicBezTo>
                <a:cubicBezTo>
                  <a:pt x="239" y="114"/>
                  <a:pt x="235" y="115"/>
                  <a:pt x="229" y="115"/>
                </a:cubicBezTo>
                <a:cubicBezTo>
                  <a:pt x="225" y="115"/>
                  <a:pt x="218" y="114"/>
                  <a:pt x="214" y="117"/>
                </a:cubicBezTo>
                <a:cubicBezTo>
                  <a:pt x="211" y="115"/>
                  <a:pt x="205" y="110"/>
                  <a:pt x="205" y="107"/>
                </a:cubicBezTo>
                <a:cubicBezTo>
                  <a:pt x="204" y="103"/>
                  <a:pt x="209" y="95"/>
                  <a:pt x="209" y="91"/>
                </a:cubicBezTo>
                <a:cubicBezTo>
                  <a:pt x="210" y="82"/>
                  <a:pt x="206" y="74"/>
                  <a:pt x="205" y="65"/>
                </a:cubicBezTo>
                <a:cubicBezTo>
                  <a:pt x="205" y="60"/>
                  <a:pt x="208" y="53"/>
                  <a:pt x="205" y="48"/>
                </a:cubicBezTo>
                <a:cubicBezTo>
                  <a:pt x="202" y="42"/>
                  <a:pt x="194" y="36"/>
                  <a:pt x="188" y="32"/>
                </a:cubicBezTo>
                <a:cubicBezTo>
                  <a:pt x="182" y="27"/>
                  <a:pt x="178" y="20"/>
                  <a:pt x="177" y="12"/>
                </a:cubicBezTo>
                <a:cubicBezTo>
                  <a:pt x="176" y="9"/>
                  <a:pt x="177" y="5"/>
                  <a:pt x="175" y="3"/>
                </a:cubicBezTo>
                <a:cubicBezTo>
                  <a:pt x="173" y="0"/>
                  <a:pt x="166" y="1"/>
                  <a:pt x="163" y="1"/>
                </a:cubicBezTo>
                <a:cubicBezTo>
                  <a:pt x="155" y="1"/>
                  <a:pt x="156" y="2"/>
                  <a:pt x="154" y="11"/>
                </a:cubicBezTo>
                <a:cubicBezTo>
                  <a:pt x="152" y="11"/>
                  <a:pt x="151" y="12"/>
                  <a:pt x="149" y="12"/>
                </a:cubicBezTo>
                <a:cubicBezTo>
                  <a:pt x="141" y="15"/>
                  <a:pt x="135" y="22"/>
                  <a:pt x="126" y="19"/>
                </a:cubicBezTo>
                <a:cubicBezTo>
                  <a:pt x="121" y="17"/>
                  <a:pt x="117" y="19"/>
                  <a:pt x="112" y="17"/>
                </a:cubicBezTo>
                <a:cubicBezTo>
                  <a:pt x="104" y="15"/>
                  <a:pt x="96" y="10"/>
                  <a:pt x="87" y="10"/>
                </a:cubicBezTo>
                <a:cubicBezTo>
                  <a:pt x="84" y="10"/>
                  <a:pt x="79" y="11"/>
                  <a:pt x="76" y="13"/>
                </a:cubicBezTo>
                <a:cubicBezTo>
                  <a:pt x="72" y="15"/>
                  <a:pt x="72" y="18"/>
                  <a:pt x="69" y="22"/>
                </a:cubicBezTo>
                <a:cubicBezTo>
                  <a:pt x="65" y="27"/>
                  <a:pt x="57" y="23"/>
                  <a:pt x="52" y="28"/>
                </a:cubicBezTo>
                <a:cubicBezTo>
                  <a:pt x="44" y="34"/>
                  <a:pt x="40" y="46"/>
                  <a:pt x="36" y="56"/>
                </a:cubicBezTo>
                <a:cubicBezTo>
                  <a:pt x="33" y="62"/>
                  <a:pt x="31" y="75"/>
                  <a:pt x="25" y="78"/>
                </a:cubicBezTo>
                <a:cubicBezTo>
                  <a:pt x="21" y="80"/>
                  <a:pt x="14" y="80"/>
                  <a:pt x="10" y="82"/>
                </a:cubicBezTo>
                <a:cubicBezTo>
                  <a:pt x="6" y="83"/>
                  <a:pt x="4" y="83"/>
                  <a:pt x="0" y="83"/>
                </a:cubicBezTo>
                <a:cubicBezTo>
                  <a:pt x="0" y="83"/>
                  <a:pt x="0" y="83"/>
                  <a:pt x="0" y="83"/>
                </a:cubicBezTo>
                <a:cubicBezTo>
                  <a:pt x="1" y="84"/>
                  <a:pt x="1" y="84"/>
                  <a:pt x="2" y="85"/>
                </a:cubicBezTo>
                <a:cubicBezTo>
                  <a:pt x="6" y="90"/>
                  <a:pt x="8" y="98"/>
                  <a:pt x="11" y="104"/>
                </a:cubicBezTo>
                <a:cubicBezTo>
                  <a:pt x="14" y="109"/>
                  <a:pt x="17" y="114"/>
                  <a:pt x="20" y="119"/>
                </a:cubicBezTo>
                <a:cubicBezTo>
                  <a:pt x="25" y="118"/>
                  <a:pt x="29" y="122"/>
                  <a:pt x="34" y="123"/>
                </a:cubicBezTo>
                <a:cubicBezTo>
                  <a:pt x="34" y="126"/>
                  <a:pt x="32" y="131"/>
                  <a:pt x="31" y="134"/>
                </a:cubicBezTo>
                <a:cubicBezTo>
                  <a:pt x="38" y="135"/>
                  <a:pt x="44" y="140"/>
                  <a:pt x="50" y="143"/>
                </a:cubicBezTo>
                <a:cubicBezTo>
                  <a:pt x="54" y="145"/>
                  <a:pt x="58" y="146"/>
                  <a:pt x="61" y="148"/>
                </a:cubicBezTo>
                <a:cubicBezTo>
                  <a:pt x="64" y="150"/>
                  <a:pt x="65" y="153"/>
                  <a:pt x="67" y="156"/>
                </a:cubicBezTo>
                <a:cubicBezTo>
                  <a:pt x="66" y="159"/>
                  <a:pt x="64" y="162"/>
                  <a:pt x="63" y="164"/>
                </a:cubicBezTo>
                <a:cubicBezTo>
                  <a:pt x="63" y="164"/>
                  <a:pt x="63" y="164"/>
                  <a:pt x="63" y="164"/>
                </a:cubicBezTo>
                <a:cubicBezTo>
                  <a:pt x="70" y="164"/>
                  <a:pt x="75" y="167"/>
                  <a:pt x="82" y="170"/>
                </a:cubicBezTo>
                <a:cubicBezTo>
                  <a:pt x="88" y="173"/>
                  <a:pt x="95" y="171"/>
                  <a:pt x="102" y="174"/>
                </a:cubicBezTo>
                <a:cubicBezTo>
                  <a:pt x="109" y="177"/>
                  <a:pt x="115" y="178"/>
                  <a:pt x="123" y="177"/>
                </a:cubicBezTo>
                <a:cubicBezTo>
                  <a:pt x="126" y="176"/>
                  <a:pt x="128" y="175"/>
                  <a:pt x="131" y="175"/>
                </a:cubicBezTo>
                <a:cubicBezTo>
                  <a:pt x="134" y="176"/>
                  <a:pt x="136" y="179"/>
                  <a:pt x="139" y="179"/>
                </a:cubicBezTo>
                <a:cubicBezTo>
                  <a:pt x="143" y="179"/>
                  <a:pt x="146" y="174"/>
                  <a:pt x="149" y="171"/>
                </a:cubicBezTo>
                <a:cubicBezTo>
                  <a:pt x="153" y="169"/>
                  <a:pt x="156" y="168"/>
                  <a:pt x="160" y="167"/>
                </a:cubicBezTo>
                <a:cubicBezTo>
                  <a:pt x="167" y="166"/>
                  <a:pt x="176" y="160"/>
                  <a:pt x="183" y="161"/>
                </a:cubicBezTo>
                <a:cubicBezTo>
                  <a:pt x="189" y="161"/>
                  <a:pt x="192" y="165"/>
                  <a:pt x="197" y="167"/>
                </a:cubicBezTo>
                <a:cubicBezTo>
                  <a:pt x="201" y="169"/>
                  <a:pt x="206" y="171"/>
                  <a:pt x="211" y="173"/>
                </a:cubicBezTo>
                <a:cubicBezTo>
                  <a:pt x="216" y="175"/>
                  <a:pt x="219" y="175"/>
                  <a:pt x="221" y="181"/>
                </a:cubicBezTo>
                <a:cubicBezTo>
                  <a:pt x="221" y="181"/>
                  <a:pt x="221" y="181"/>
                  <a:pt x="221" y="181"/>
                </a:cubicBezTo>
                <a:cubicBezTo>
                  <a:pt x="222" y="170"/>
                  <a:pt x="224" y="166"/>
                  <a:pt x="223" y="160"/>
                </a:cubicBezTo>
                <a:cubicBezTo>
                  <a:pt x="222" y="154"/>
                  <a:pt x="220" y="151"/>
                  <a:pt x="222" y="147"/>
                </a:cubicBezTo>
                <a:cubicBezTo>
                  <a:pt x="224" y="142"/>
                  <a:pt x="228" y="141"/>
                  <a:pt x="228" y="141"/>
                </a:cubicBezTo>
                <a:cubicBezTo>
                  <a:pt x="228" y="141"/>
                  <a:pt x="216" y="137"/>
                  <a:pt x="223" y="133"/>
                </a:cubicBezTo>
                <a:cubicBezTo>
                  <a:pt x="230" y="128"/>
                  <a:pt x="237" y="128"/>
                  <a:pt x="236" y="135"/>
                </a:cubicBezTo>
                <a:cubicBezTo>
                  <a:pt x="235" y="142"/>
                  <a:pt x="236" y="141"/>
                  <a:pt x="240" y="140"/>
                </a:cubicBezTo>
                <a:cubicBezTo>
                  <a:pt x="244" y="138"/>
                  <a:pt x="247" y="127"/>
                  <a:pt x="248" y="121"/>
                </a:cubicBezTo>
                <a:lnTo>
                  <a:pt x="247" y="12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199" name="Freeform 534"/>
          <p:cNvSpPr>
            <a:spLocks/>
          </p:cNvSpPr>
          <p:nvPr userDrawn="1"/>
        </p:nvSpPr>
        <p:spPr bwMode="auto">
          <a:xfrm>
            <a:off x="6160694" y="3644472"/>
            <a:ext cx="77055" cy="98829"/>
          </a:xfrm>
          <a:custGeom>
            <a:avLst/>
            <a:gdLst>
              <a:gd name="T0" fmla="*/ 0 w 84"/>
              <a:gd name="T1" fmla="*/ 2147483646 h 106"/>
              <a:gd name="T2" fmla="*/ 2147483646 w 84"/>
              <a:gd name="T3" fmla="*/ 2147483646 h 106"/>
              <a:gd name="T4" fmla="*/ 2147483646 w 84"/>
              <a:gd name="T5" fmla="*/ 2147483646 h 106"/>
              <a:gd name="T6" fmla="*/ 2147483646 w 84"/>
              <a:gd name="T7" fmla="*/ 2147483646 h 106"/>
              <a:gd name="T8" fmla="*/ 2147483646 w 84"/>
              <a:gd name="T9" fmla="*/ 2147483646 h 106"/>
              <a:gd name="T10" fmla="*/ 2147483646 w 84"/>
              <a:gd name="T11" fmla="*/ 2147483646 h 106"/>
              <a:gd name="T12" fmla="*/ 2147483646 w 84"/>
              <a:gd name="T13" fmla="*/ 2147483646 h 106"/>
              <a:gd name="T14" fmla="*/ 2147483646 w 84"/>
              <a:gd name="T15" fmla="*/ 2147483646 h 106"/>
              <a:gd name="T16" fmla="*/ 2147483646 w 84"/>
              <a:gd name="T17" fmla="*/ 2147483646 h 106"/>
              <a:gd name="T18" fmla="*/ 2147483646 w 84"/>
              <a:gd name="T19" fmla="*/ 2147483646 h 106"/>
              <a:gd name="T20" fmla="*/ 2147483646 w 84"/>
              <a:gd name="T21" fmla="*/ 2147483646 h 106"/>
              <a:gd name="T22" fmla="*/ 2147483646 w 84"/>
              <a:gd name="T23" fmla="*/ 2147483646 h 106"/>
              <a:gd name="T24" fmla="*/ 2147483646 w 84"/>
              <a:gd name="T25" fmla="*/ 2147483646 h 106"/>
              <a:gd name="T26" fmla="*/ 2147483646 w 84"/>
              <a:gd name="T27" fmla="*/ 2147483646 h 106"/>
              <a:gd name="T28" fmla="*/ 2147483646 w 84"/>
              <a:gd name="T29" fmla="*/ 2147483646 h 106"/>
              <a:gd name="T30" fmla="*/ 2147483646 w 84"/>
              <a:gd name="T31" fmla="*/ 2147483646 h 106"/>
              <a:gd name="T32" fmla="*/ 2147483646 w 84"/>
              <a:gd name="T33" fmla="*/ 2147483646 h 106"/>
              <a:gd name="T34" fmla="*/ 2147483646 w 84"/>
              <a:gd name="T35" fmla="*/ 2147483646 h 106"/>
              <a:gd name="T36" fmla="*/ 2147483646 w 84"/>
              <a:gd name="T37" fmla="*/ 2147483646 h 106"/>
              <a:gd name="T38" fmla="*/ 2147483646 w 84"/>
              <a:gd name="T39" fmla="*/ 2147483646 h 106"/>
              <a:gd name="T40" fmla="*/ 2147483646 w 84"/>
              <a:gd name="T41" fmla="*/ 2147483646 h 106"/>
              <a:gd name="T42" fmla="*/ 0 w 84"/>
              <a:gd name="T43" fmla="*/ 2147483646 h 10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4"/>
              <a:gd name="T67" fmla="*/ 0 h 106"/>
              <a:gd name="T68" fmla="*/ 84 w 84"/>
              <a:gd name="T69" fmla="*/ 106 h 10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4" h="106">
                <a:moveTo>
                  <a:pt x="0" y="11"/>
                </a:moveTo>
                <a:cubicBezTo>
                  <a:pt x="1" y="10"/>
                  <a:pt x="1" y="6"/>
                  <a:pt x="2" y="5"/>
                </a:cubicBezTo>
                <a:cubicBezTo>
                  <a:pt x="4" y="3"/>
                  <a:pt x="6" y="3"/>
                  <a:pt x="8" y="3"/>
                </a:cubicBezTo>
                <a:cubicBezTo>
                  <a:pt x="17" y="1"/>
                  <a:pt x="18" y="0"/>
                  <a:pt x="25" y="4"/>
                </a:cubicBezTo>
                <a:cubicBezTo>
                  <a:pt x="32" y="8"/>
                  <a:pt x="39" y="9"/>
                  <a:pt x="46" y="12"/>
                </a:cubicBezTo>
                <a:cubicBezTo>
                  <a:pt x="51" y="14"/>
                  <a:pt x="58" y="16"/>
                  <a:pt x="60" y="20"/>
                </a:cubicBezTo>
                <a:cubicBezTo>
                  <a:pt x="61" y="23"/>
                  <a:pt x="61" y="28"/>
                  <a:pt x="63" y="31"/>
                </a:cubicBezTo>
                <a:cubicBezTo>
                  <a:pt x="64" y="35"/>
                  <a:pt x="66" y="39"/>
                  <a:pt x="67" y="43"/>
                </a:cubicBezTo>
                <a:cubicBezTo>
                  <a:pt x="69" y="49"/>
                  <a:pt x="72" y="54"/>
                  <a:pt x="76" y="59"/>
                </a:cubicBezTo>
                <a:cubicBezTo>
                  <a:pt x="80" y="63"/>
                  <a:pt x="82" y="64"/>
                  <a:pt x="82" y="69"/>
                </a:cubicBezTo>
                <a:cubicBezTo>
                  <a:pt x="82" y="73"/>
                  <a:pt x="84" y="78"/>
                  <a:pt x="83" y="82"/>
                </a:cubicBezTo>
                <a:cubicBezTo>
                  <a:pt x="78" y="83"/>
                  <a:pt x="75" y="82"/>
                  <a:pt x="69" y="81"/>
                </a:cubicBezTo>
                <a:cubicBezTo>
                  <a:pt x="64" y="81"/>
                  <a:pt x="58" y="80"/>
                  <a:pt x="55" y="85"/>
                </a:cubicBezTo>
                <a:cubicBezTo>
                  <a:pt x="53" y="89"/>
                  <a:pt x="54" y="98"/>
                  <a:pt x="50" y="102"/>
                </a:cubicBezTo>
                <a:cubicBezTo>
                  <a:pt x="47" y="105"/>
                  <a:pt x="39" y="105"/>
                  <a:pt x="36" y="106"/>
                </a:cubicBezTo>
                <a:cubicBezTo>
                  <a:pt x="38" y="101"/>
                  <a:pt x="38" y="101"/>
                  <a:pt x="38" y="101"/>
                </a:cubicBezTo>
                <a:cubicBezTo>
                  <a:pt x="39" y="92"/>
                  <a:pt x="34" y="84"/>
                  <a:pt x="34" y="75"/>
                </a:cubicBezTo>
                <a:cubicBezTo>
                  <a:pt x="34" y="70"/>
                  <a:pt x="36" y="63"/>
                  <a:pt x="34" y="58"/>
                </a:cubicBezTo>
                <a:cubicBezTo>
                  <a:pt x="31" y="52"/>
                  <a:pt x="23" y="46"/>
                  <a:pt x="17" y="42"/>
                </a:cubicBezTo>
                <a:cubicBezTo>
                  <a:pt x="11" y="37"/>
                  <a:pt x="7" y="30"/>
                  <a:pt x="6" y="22"/>
                </a:cubicBezTo>
                <a:cubicBezTo>
                  <a:pt x="5" y="19"/>
                  <a:pt x="6" y="15"/>
                  <a:pt x="4" y="13"/>
                </a:cubicBezTo>
                <a:cubicBezTo>
                  <a:pt x="3" y="12"/>
                  <a:pt x="2" y="11"/>
                  <a:pt x="0" y="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00" name="Freeform 535"/>
          <p:cNvSpPr>
            <a:spLocks/>
          </p:cNvSpPr>
          <p:nvPr userDrawn="1"/>
        </p:nvSpPr>
        <p:spPr bwMode="auto">
          <a:xfrm>
            <a:off x="5902730" y="3641122"/>
            <a:ext cx="160809" cy="100505"/>
          </a:xfrm>
          <a:custGeom>
            <a:avLst/>
            <a:gdLst>
              <a:gd name="T0" fmla="*/ 2147483646 w 173"/>
              <a:gd name="T1" fmla="*/ 2147483646 h 109"/>
              <a:gd name="T2" fmla="*/ 2147483646 w 173"/>
              <a:gd name="T3" fmla="*/ 2147483646 h 109"/>
              <a:gd name="T4" fmla="*/ 2147483646 w 173"/>
              <a:gd name="T5" fmla="*/ 2147483646 h 109"/>
              <a:gd name="T6" fmla="*/ 2147483646 w 173"/>
              <a:gd name="T7" fmla="*/ 2147483646 h 109"/>
              <a:gd name="T8" fmla="*/ 2147483646 w 173"/>
              <a:gd name="T9" fmla="*/ 2147483646 h 109"/>
              <a:gd name="T10" fmla="*/ 2147483646 w 173"/>
              <a:gd name="T11" fmla="*/ 2147483646 h 109"/>
              <a:gd name="T12" fmla="*/ 2147483646 w 173"/>
              <a:gd name="T13" fmla="*/ 2147483646 h 109"/>
              <a:gd name="T14" fmla="*/ 0 w 173"/>
              <a:gd name="T15" fmla="*/ 2147483646 h 109"/>
              <a:gd name="T16" fmla="*/ 0 w 173"/>
              <a:gd name="T17" fmla="*/ 2147483646 h 109"/>
              <a:gd name="T18" fmla="*/ 2147483646 w 173"/>
              <a:gd name="T19" fmla="*/ 2147483646 h 109"/>
              <a:gd name="T20" fmla="*/ 2147483646 w 173"/>
              <a:gd name="T21" fmla="*/ 2147483646 h 109"/>
              <a:gd name="T22" fmla="*/ 2147483646 w 173"/>
              <a:gd name="T23" fmla="*/ 2147483646 h 109"/>
              <a:gd name="T24" fmla="*/ 2147483646 w 173"/>
              <a:gd name="T25" fmla="*/ 2147483646 h 109"/>
              <a:gd name="T26" fmla="*/ 2147483646 w 173"/>
              <a:gd name="T27" fmla="*/ 2147483646 h 109"/>
              <a:gd name="T28" fmla="*/ 2147483646 w 173"/>
              <a:gd name="T29" fmla="*/ 2147483646 h 109"/>
              <a:gd name="T30" fmla="*/ 2147483646 w 173"/>
              <a:gd name="T31" fmla="*/ 2147483646 h 109"/>
              <a:gd name="T32" fmla="*/ 2147483646 w 173"/>
              <a:gd name="T33" fmla="*/ 2147483646 h 109"/>
              <a:gd name="T34" fmla="*/ 2147483646 w 173"/>
              <a:gd name="T35" fmla="*/ 2147483646 h 109"/>
              <a:gd name="T36" fmla="*/ 2147483646 w 173"/>
              <a:gd name="T37" fmla="*/ 2147483646 h 109"/>
              <a:gd name="T38" fmla="*/ 2147483646 w 173"/>
              <a:gd name="T39" fmla="*/ 2147483646 h 109"/>
              <a:gd name="T40" fmla="*/ 2147483646 w 173"/>
              <a:gd name="T41" fmla="*/ 2147483646 h 109"/>
              <a:gd name="T42" fmla="*/ 2147483646 w 173"/>
              <a:gd name="T43" fmla="*/ 0 h 109"/>
              <a:gd name="T44" fmla="*/ 2147483646 w 173"/>
              <a:gd name="T45" fmla="*/ 2147483646 h 109"/>
              <a:gd name="T46" fmla="*/ 2147483646 w 173"/>
              <a:gd name="T47" fmla="*/ 2147483646 h 109"/>
              <a:gd name="T48" fmla="*/ 2147483646 w 173"/>
              <a:gd name="T49" fmla="*/ 2147483646 h 109"/>
              <a:gd name="T50" fmla="*/ 2147483646 w 173"/>
              <a:gd name="T51" fmla="*/ 2147483646 h 109"/>
              <a:gd name="T52" fmla="*/ 2147483646 w 173"/>
              <a:gd name="T53" fmla="*/ 2147483646 h 109"/>
              <a:gd name="T54" fmla="*/ 2147483646 w 173"/>
              <a:gd name="T55" fmla="*/ 2147483646 h 109"/>
              <a:gd name="T56" fmla="*/ 2147483646 w 173"/>
              <a:gd name="T57" fmla="*/ 2147483646 h 109"/>
              <a:gd name="T58" fmla="*/ 2147483646 w 173"/>
              <a:gd name="T59" fmla="*/ 2147483646 h 109"/>
              <a:gd name="T60" fmla="*/ 2147483646 w 173"/>
              <a:gd name="T61" fmla="*/ 2147483646 h 109"/>
              <a:gd name="T62" fmla="*/ 2147483646 w 173"/>
              <a:gd name="T63" fmla="*/ 2147483646 h 109"/>
              <a:gd name="T64" fmla="*/ 2147483646 w 173"/>
              <a:gd name="T65" fmla="*/ 2147483646 h 109"/>
              <a:gd name="T66" fmla="*/ 2147483646 w 173"/>
              <a:gd name="T67" fmla="*/ 2147483646 h 109"/>
              <a:gd name="T68" fmla="*/ 2147483646 w 173"/>
              <a:gd name="T69" fmla="*/ 2147483646 h 109"/>
              <a:gd name="T70" fmla="*/ 2147483646 w 173"/>
              <a:gd name="T71" fmla="*/ 2147483646 h 10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73"/>
              <a:gd name="T109" fmla="*/ 0 h 109"/>
              <a:gd name="T110" fmla="*/ 173 w 173"/>
              <a:gd name="T111" fmla="*/ 109 h 10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73" h="109">
                <a:moveTo>
                  <a:pt x="98" y="97"/>
                </a:moveTo>
                <a:cubicBezTo>
                  <a:pt x="95" y="97"/>
                  <a:pt x="89" y="96"/>
                  <a:pt x="86" y="97"/>
                </a:cubicBezTo>
                <a:cubicBezTo>
                  <a:pt x="82" y="100"/>
                  <a:pt x="82" y="104"/>
                  <a:pt x="76" y="105"/>
                </a:cubicBezTo>
                <a:cubicBezTo>
                  <a:pt x="71" y="106"/>
                  <a:pt x="64" y="109"/>
                  <a:pt x="59" y="109"/>
                </a:cubicBezTo>
                <a:cubicBezTo>
                  <a:pt x="55" y="109"/>
                  <a:pt x="48" y="100"/>
                  <a:pt x="45" y="109"/>
                </a:cubicBezTo>
                <a:cubicBezTo>
                  <a:pt x="36" y="104"/>
                  <a:pt x="29" y="97"/>
                  <a:pt x="22" y="90"/>
                </a:cubicBezTo>
                <a:cubicBezTo>
                  <a:pt x="18" y="86"/>
                  <a:pt x="15" y="84"/>
                  <a:pt x="11" y="80"/>
                </a:cubicBezTo>
                <a:cubicBezTo>
                  <a:pt x="7" y="76"/>
                  <a:pt x="4" y="70"/>
                  <a:pt x="0" y="65"/>
                </a:cubicBezTo>
                <a:cubicBezTo>
                  <a:pt x="0" y="65"/>
                  <a:pt x="0" y="65"/>
                  <a:pt x="0" y="65"/>
                </a:cubicBezTo>
                <a:cubicBezTo>
                  <a:pt x="3" y="60"/>
                  <a:pt x="9" y="57"/>
                  <a:pt x="12" y="52"/>
                </a:cubicBezTo>
                <a:cubicBezTo>
                  <a:pt x="14" y="48"/>
                  <a:pt x="11" y="46"/>
                  <a:pt x="11" y="43"/>
                </a:cubicBezTo>
                <a:cubicBezTo>
                  <a:pt x="12" y="39"/>
                  <a:pt x="17" y="37"/>
                  <a:pt x="19" y="33"/>
                </a:cubicBezTo>
                <a:cubicBezTo>
                  <a:pt x="21" y="28"/>
                  <a:pt x="18" y="23"/>
                  <a:pt x="17" y="18"/>
                </a:cubicBezTo>
                <a:cubicBezTo>
                  <a:pt x="18" y="18"/>
                  <a:pt x="18" y="18"/>
                  <a:pt x="18" y="18"/>
                </a:cubicBezTo>
                <a:cubicBezTo>
                  <a:pt x="26" y="21"/>
                  <a:pt x="33" y="29"/>
                  <a:pt x="40" y="34"/>
                </a:cubicBezTo>
                <a:cubicBezTo>
                  <a:pt x="48" y="39"/>
                  <a:pt x="60" y="36"/>
                  <a:pt x="70" y="35"/>
                </a:cubicBezTo>
                <a:cubicBezTo>
                  <a:pt x="69" y="31"/>
                  <a:pt x="71" y="24"/>
                  <a:pt x="75" y="22"/>
                </a:cubicBezTo>
                <a:cubicBezTo>
                  <a:pt x="76" y="21"/>
                  <a:pt x="79" y="22"/>
                  <a:pt x="81" y="21"/>
                </a:cubicBezTo>
                <a:cubicBezTo>
                  <a:pt x="84" y="21"/>
                  <a:pt x="86" y="19"/>
                  <a:pt x="88" y="18"/>
                </a:cubicBezTo>
                <a:cubicBezTo>
                  <a:pt x="91" y="16"/>
                  <a:pt x="94" y="13"/>
                  <a:pt x="96" y="14"/>
                </a:cubicBezTo>
                <a:cubicBezTo>
                  <a:pt x="100" y="15"/>
                  <a:pt x="104" y="21"/>
                  <a:pt x="107" y="23"/>
                </a:cubicBezTo>
                <a:cubicBezTo>
                  <a:pt x="107" y="15"/>
                  <a:pt x="112" y="6"/>
                  <a:pt x="115" y="0"/>
                </a:cubicBezTo>
                <a:cubicBezTo>
                  <a:pt x="117" y="3"/>
                  <a:pt x="120" y="6"/>
                  <a:pt x="122" y="10"/>
                </a:cubicBezTo>
                <a:cubicBezTo>
                  <a:pt x="126" y="8"/>
                  <a:pt x="126" y="7"/>
                  <a:pt x="130" y="7"/>
                </a:cubicBezTo>
                <a:cubicBezTo>
                  <a:pt x="134" y="8"/>
                  <a:pt x="137" y="9"/>
                  <a:pt x="141" y="9"/>
                </a:cubicBezTo>
                <a:cubicBezTo>
                  <a:pt x="145" y="8"/>
                  <a:pt x="146" y="8"/>
                  <a:pt x="149" y="9"/>
                </a:cubicBezTo>
                <a:cubicBezTo>
                  <a:pt x="152" y="10"/>
                  <a:pt x="154" y="11"/>
                  <a:pt x="158" y="11"/>
                </a:cubicBezTo>
                <a:cubicBezTo>
                  <a:pt x="159" y="13"/>
                  <a:pt x="159" y="13"/>
                  <a:pt x="159" y="13"/>
                </a:cubicBezTo>
                <a:cubicBezTo>
                  <a:pt x="163" y="21"/>
                  <a:pt x="170" y="28"/>
                  <a:pt x="173" y="36"/>
                </a:cubicBezTo>
                <a:cubicBezTo>
                  <a:pt x="173" y="37"/>
                  <a:pt x="173" y="37"/>
                  <a:pt x="173" y="37"/>
                </a:cubicBezTo>
                <a:cubicBezTo>
                  <a:pt x="169" y="40"/>
                  <a:pt x="162" y="37"/>
                  <a:pt x="157" y="42"/>
                </a:cubicBezTo>
                <a:cubicBezTo>
                  <a:pt x="149" y="48"/>
                  <a:pt x="145" y="60"/>
                  <a:pt x="141" y="70"/>
                </a:cubicBezTo>
                <a:cubicBezTo>
                  <a:pt x="138" y="76"/>
                  <a:pt x="136" y="89"/>
                  <a:pt x="130" y="92"/>
                </a:cubicBezTo>
                <a:cubicBezTo>
                  <a:pt x="126" y="94"/>
                  <a:pt x="119" y="94"/>
                  <a:pt x="115" y="96"/>
                </a:cubicBezTo>
                <a:cubicBezTo>
                  <a:pt x="111" y="97"/>
                  <a:pt x="109" y="97"/>
                  <a:pt x="105" y="97"/>
                </a:cubicBezTo>
                <a:lnTo>
                  <a:pt x="98" y="9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01" name="Freeform 536"/>
          <p:cNvSpPr>
            <a:spLocks/>
          </p:cNvSpPr>
          <p:nvPr userDrawn="1"/>
        </p:nvSpPr>
        <p:spPr bwMode="auto">
          <a:xfrm>
            <a:off x="5919480" y="3602593"/>
            <a:ext cx="134008" cy="73704"/>
          </a:xfrm>
          <a:custGeom>
            <a:avLst/>
            <a:gdLst>
              <a:gd name="T0" fmla="*/ 2147483646 w 143"/>
              <a:gd name="T1" fmla="*/ 2147483646 h 79"/>
              <a:gd name="T2" fmla="*/ 2147483646 w 143"/>
              <a:gd name="T3" fmla="*/ 2147483646 h 79"/>
              <a:gd name="T4" fmla="*/ 2147483646 w 143"/>
              <a:gd name="T5" fmla="*/ 2147483646 h 79"/>
              <a:gd name="T6" fmla="*/ 2147483646 w 143"/>
              <a:gd name="T7" fmla="*/ 2147483646 h 79"/>
              <a:gd name="T8" fmla="*/ 2147483646 w 143"/>
              <a:gd name="T9" fmla="*/ 2147483646 h 79"/>
              <a:gd name="T10" fmla="*/ 2147483646 w 143"/>
              <a:gd name="T11" fmla="*/ 2147483646 h 79"/>
              <a:gd name="T12" fmla="*/ 2147483646 w 143"/>
              <a:gd name="T13" fmla="*/ 2147483646 h 79"/>
              <a:gd name="T14" fmla="*/ 2147483646 w 143"/>
              <a:gd name="T15" fmla="*/ 2147483646 h 79"/>
              <a:gd name="T16" fmla="*/ 2147483646 w 143"/>
              <a:gd name="T17" fmla="*/ 2147483646 h 79"/>
              <a:gd name="T18" fmla="*/ 2147483646 w 143"/>
              <a:gd name="T19" fmla="*/ 2147483646 h 79"/>
              <a:gd name="T20" fmla="*/ 2147483646 w 143"/>
              <a:gd name="T21" fmla="*/ 2147483646 h 79"/>
              <a:gd name="T22" fmla="*/ 2147483646 w 143"/>
              <a:gd name="T23" fmla="*/ 2147483646 h 79"/>
              <a:gd name="T24" fmla="*/ 2147483646 w 143"/>
              <a:gd name="T25" fmla="*/ 2147483646 h 79"/>
              <a:gd name="T26" fmla="*/ 2147483646 w 143"/>
              <a:gd name="T27" fmla="*/ 2147483646 h 79"/>
              <a:gd name="T28" fmla="*/ 2147483646 w 143"/>
              <a:gd name="T29" fmla="*/ 2147483646 h 79"/>
              <a:gd name="T30" fmla="*/ 2147483646 w 143"/>
              <a:gd name="T31" fmla="*/ 2147483646 h 79"/>
              <a:gd name="T32" fmla="*/ 2147483646 w 143"/>
              <a:gd name="T33" fmla="*/ 2147483646 h 79"/>
              <a:gd name="T34" fmla="*/ 2147483646 w 143"/>
              <a:gd name="T35" fmla="*/ 2147483646 h 79"/>
              <a:gd name="T36" fmla="*/ 2147483646 w 143"/>
              <a:gd name="T37" fmla="*/ 2147483646 h 79"/>
              <a:gd name="T38" fmla="*/ 2147483646 w 143"/>
              <a:gd name="T39" fmla="*/ 2147483646 h 79"/>
              <a:gd name="T40" fmla="*/ 2147483646 w 143"/>
              <a:gd name="T41" fmla="*/ 2147483646 h 79"/>
              <a:gd name="T42" fmla="*/ 2147483646 w 143"/>
              <a:gd name="T43" fmla="*/ 2147483646 h 79"/>
              <a:gd name="T44" fmla="*/ 2147483646 w 143"/>
              <a:gd name="T45" fmla="*/ 2147483646 h 79"/>
              <a:gd name="T46" fmla="*/ 2147483646 w 143"/>
              <a:gd name="T47" fmla="*/ 2147483646 h 79"/>
              <a:gd name="T48" fmla="*/ 2147483646 w 143"/>
              <a:gd name="T49" fmla="*/ 2147483646 h 79"/>
              <a:gd name="T50" fmla="*/ 2147483646 w 143"/>
              <a:gd name="T51" fmla="*/ 2147483646 h 79"/>
              <a:gd name="T52" fmla="*/ 2147483646 w 143"/>
              <a:gd name="T53" fmla="*/ 2147483646 h 79"/>
              <a:gd name="T54" fmla="*/ 2147483646 w 143"/>
              <a:gd name="T55" fmla="*/ 2147483646 h 79"/>
              <a:gd name="T56" fmla="*/ 2147483646 w 143"/>
              <a:gd name="T57" fmla="*/ 2147483646 h 79"/>
              <a:gd name="T58" fmla="*/ 2147483646 w 143"/>
              <a:gd name="T59" fmla="*/ 2147483646 h 79"/>
              <a:gd name="T60" fmla="*/ 2147483646 w 143"/>
              <a:gd name="T61" fmla="*/ 2147483646 h 79"/>
              <a:gd name="T62" fmla="*/ 2147483646 w 143"/>
              <a:gd name="T63" fmla="*/ 2147483646 h 79"/>
              <a:gd name="T64" fmla="*/ 2147483646 w 143"/>
              <a:gd name="T65" fmla="*/ 2147483646 h 79"/>
              <a:gd name="T66" fmla="*/ 2147483646 w 143"/>
              <a:gd name="T67" fmla="*/ 2147483646 h 79"/>
              <a:gd name="T68" fmla="*/ 0 w 143"/>
              <a:gd name="T69" fmla="*/ 2147483646 h 79"/>
              <a:gd name="T70" fmla="*/ 2147483646 w 143"/>
              <a:gd name="T71" fmla="*/ 2147483646 h 7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43"/>
              <a:gd name="T109" fmla="*/ 0 h 79"/>
              <a:gd name="T110" fmla="*/ 143 w 143"/>
              <a:gd name="T111" fmla="*/ 79 h 7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43" h="79">
                <a:moveTo>
                  <a:pt x="1" y="36"/>
                </a:moveTo>
                <a:cubicBezTo>
                  <a:pt x="1" y="34"/>
                  <a:pt x="3" y="28"/>
                  <a:pt x="5" y="26"/>
                </a:cubicBezTo>
                <a:cubicBezTo>
                  <a:pt x="8" y="22"/>
                  <a:pt x="15" y="24"/>
                  <a:pt x="20" y="24"/>
                </a:cubicBezTo>
                <a:cubicBezTo>
                  <a:pt x="23" y="24"/>
                  <a:pt x="24" y="24"/>
                  <a:pt x="27" y="22"/>
                </a:cubicBezTo>
                <a:cubicBezTo>
                  <a:pt x="30" y="19"/>
                  <a:pt x="29" y="13"/>
                  <a:pt x="31" y="9"/>
                </a:cubicBezTo>
                <a:cubicBezTo>
                  <a:pt x="35" y="4"/>
                  <a:pt x="47" y="12"/>
                  <a:pt x="50" y="6"/>
                </a:cubicBezTo>
                <a:cubicBezTo>
                  <a:pt x="50" y="6"/>
                  <a:pt x="50" y="6"/>
                  <a:pt x="50" y="6"/>
                </a:cubicBezTo>
                <a:cubicBezTo>
                  <a:pt x="53" y="9"/>
                  <a:pt x="57" y="12"/>
                  <a:pt x="58" y="12"/>
                </a:cubicBezTo>
                <a:cubicBezTo>
                  <a:pt x="64" y="14"/>
                  <a:pt x="63" y="2"/>
                  <a:pt x="69" y="1"/>
                </a:cubicBezTo>
                <a:cubicBezTo>
                  <a:pt x="71" y="4"/>
                  <a:pt x="71" y="13"/>
                  <a:pt x="74" y="15"/>
                </a:cubicBezTo>
                <a:cubicBezTo>
                  <a:pt x="78" y="17"/>
                  <a:pt x="79" y="13"/>
                  <a:pt x="82" y="12"/>
                </a:cubicBezTo>
                <a:cubicBezTo>
                  <a:pt x="86" y="10"/>
                  <a:pt x="90" y="11"/>
                  <a:pt x="94" y="10"/>
                </a:cubicBezTo>
                <a:cubicBezTo>
                  <a:pt x="100" y="8"/>
                  <a:pt x="103" y="10"/>
                  <a:pt x="108" y="10"/>
                </a:cubicBezTo>
                <a:cubicBezTo>
                  <a:pt x="107" y="2"/>
                  <a:pt x="117" y="8"/>
                  <a:pt x="120" y="7"/>
                </a:cubicBezTo>
                <a:cubicBezTo>
                  <a:pt x="124" y="5"/>
                  <a:pt x="125" y="0"/>
                  <a:pt x="129" y="3"/>
                </a:cubicBezTo>
                <a:cubicBezTo>
                  <a:pt x="129" y="3"/>
                  <a:pt x="130" y="7"/>
                  <a:pt x="131" y="8"/>
                </a:cubicBezTo>
                <a:cubicBezTo>
                  <a:pt x="133" y="10"/>
                  <a:pt x="136" y="13"/>
                  <a:pt x="139" y="16"/>
                </a:cubicBezTo>
                <a:cubicBezTo>
                  <a:pt x="140" y="16"/>
                  <a:pt x="141" y="18"/>
                  <a:pt x="143" y="19"/>
                </a:cubicBezTo>
                <a:cubicBezTo>
                  <a:pt x="142" y="20"/>
                  <a:pt x="142" y="20"/>
                  <a:pt x="142" y="20"/>
                </a:cubicBezTo>
                <a:cubicBezTo>
                  <a:pt x="142" y="22"/>
                  <a:pt x="141" y="25"/>
                  <a:pt x="140" y="27"/>
                </a:cubicBezTo>
                <a:cubicBezTo>
                  <a:pt x="138" y="34"/>
                  <a:pt x="137" y="42"/>
                  <a:pt x="140" y="51"/>
                </a:cubicBezTo>
                <a:cubicBezTo>
                  <a:pt x="139" y="51"/>
                  <a:pt x="139" y="51"/>
                  <a:pt x="139" y="51"/>
                </a:cubicBezTo>
                <a:cubicBezTo>
                  <a:pt x="136" y="51"/>
                  <a:pt x="134" y="50"/>
                  <a:pt x="131" y="49"/>
                </a:cubicBezTo>
                <a:cubicBezTo>
                  <a:pt x="128" y="48"/>
                  <a:pt x="127" y="48"/>
                  <a:pt x="123" y="49"/>
                </a:cubicBezTo>
                <a:cubicBezTo>
                  <a:pt x="118" y="49"/>
                  <a:pt x="116" y="48"/>
                  <a:pt x="112" y="47"/>
                </a:cubicBezTo>
                <a:cubicBezTo>
                  <a:pt x="108" y="47"/>
                  <a:pt x="107" y="48"/>
                  <a:pt x="104" y="50"/>
                </a:cubicBezTo>
                <a:cubicBezTo>
                  <a:pt x="102" y="46"/>
                  <a:pt x="99" y="43"/>
                  <a:pt x="97" y="40"/>
                </a:cubicBezTo>
                <a:cubicBezTo>
                  <a:pt x="94" y="46"/>
                  <a:pt x="89" y="55"/>
                  <a:pt x="89" y="63"/>
                </a:cubicBezTo>
                <a:cubicBezTo>
                  <a:pt x="86" y="61"/>
                  <a:pt x="82" y="55"/>
                  <a:pt x="78" y="54"/>
                </a:cubicBezTo>
                <a:cubicBezTo>
                  <a:pt x="76" y="53"/>
                  <a:pt x="73" y="56"/>
                  <a:pt x="70" y="58"/>
                </a:cubicBezTo>
                <a:cubicBezTo>
                  <a:pt x="68" y="59"/>
                  <a:pt x="66" y="61"/>
                  <a:pt x="63" y="61"/>
                </a:cubicBezTo>
                <a:cubicBezTo>
                  <a:pt x="61" y="62"/>
                  <a:pt x="58" y="61"/>
                  <a:pt x="57" y="62"/>
                </a:cubicBezTo>
                <a:cubicBezTo>
                  <a:pt x="53" y="64"/>
                  <a:pt x="51" y="71"/>
                  <a:pt x="51" y="75"/>
                </a:cubicBezTo>
                <a:cubicBezTo>
                  <a:pt x="42" y="76"/>
                  <a:pt x="30" y="79"/>
                  <a:pt x="22" y="74"/>
                </a:cubicBezTo>
                <a:cubicBezTo>
                  <a:pt x="15" y="69"/>
                  <a:pt x="8" y="61"/>
                  <a:pt x="0" y="58"/>
                </a:cubicBezTo>
                <a:cubicBezTo>
                  <a:pt x="2" y="52"/>
                  <a:pt x="1" y="43"/>
                  <a:pt x="1" y="36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02" name="Freeform 537"/>
          <p:cNvSpPr>
            <a:spLocks/>
          </p:cNvSpPr>
          <p:nvPr userDrawn="1"/>
        </p:nvSpPr>
        <p:spPr bwMode="auto">
          <a:xfrm>
            <a:off x="5919480" y="3602593"/>
            <a:ext cx="134008" cy="73704"/>
          </a:xfrm>
          <a:custGeom>
            <a:avLst/>
            <a:gdLst>
              <a:gd name="T0" fmla="*/ 2147483646 w 143"/>
              <a:gd name="T1" fmla="*/ 2147483646 h 79"/>
              <a:gd name="T2" fmla="*/ 2147483646 w 143"/>
              <a:gd name="T3" fmla="*/ 2147483646 h 79"/>
              <a:gd name="T4" fmla="*/ 2147483646 w 143"/>
              <a:gd name="T5" fmla="*/ 2147483646 h 79"/>
              <a:gd name="T6" fmla="*/ 2147483646 w 143"/>
              <a:gd name="T7" fmla="*/ 2147483646 h 79"/>
              <a:gd name="T8" fmla="*/ 2147483646 w 143"/>
              <a:gd name="T9" fmla="*/ 2147483646 h 79"/>
              <a:gd name="T10" fmla="*/ 2147483646 w 143"/>
              <a:gd name="T11" fmla="*/ 2147483646 h 79"/>
              <a:gd name="T12" fmla="*/ 2147483646 w 143"/>
              <a:gd name="T13" fmla="*/ 2147483646 h 79"/>
              <a:gd name="T14" fmla="*/ 2147483646 w 143"/>
              <a:gd name="T15" fmla="*/ 2147483646 h 79"/>
              <a:gd name="T16" fmla="*/ 2147483646 w 143"/>
              <a:gd name="T17" fmla="*/ 2147483646 h 79"/>
              <a:gd name="T18" fmla="*/ 2147483646 w 143"/>
              <a:gd name="T19" fmla="*/ 2147483646 h 79"/>
              <a:gd name="T20" fmla="*/ 2147483646 w 143"/>
              <a:gd name="T21" fmla="*/ 2147483646 h 79"/>
              <a:gd name="T22" fmla="*/ 2147483646 w 143"/>
              <a:gd name="T23" fmla="*/ 2147483646 h 79"/>
              <a:gd name="T24" fmla="*/ 2147483646 w 143"/>
              <a:gd name="T25" fmla="*/ 2147483646 h 79"/>
              <a:gd name="T26" fmla="*/ 2147483646 w 143"/>
              <a:gd name="T27" fmla="*/ 2147483646 h 79"/>
              <a:gd name="T28" fmla="*/ 2147483646 w 143"/>
              <a:gd name="T29" fmla="*/ 2147483646 h 79"/>
              <a:gd name="T30" fmla="*/ 2147483646 w 143"/>
              <a:gd name="T31" fmla="*/ 2147483646 h 79"/>
              <a:gd name="T32" fmla="*/ 2147483646 w 143"/>
              <a:gd name="T33" fmla="*/ 2147483646 h 79"/>
              <a:gd name="T34" fmla="*/ 2147483646 w 143"/>
              <a:gd name="T35" fmla="*/ 2147483646 h 79"/>
              <a:gd name="T36" fmla="*/ 2147483646 w 143"/>
              <a:gd name="T37" fmla="*/ 2147483646 h 79"/>
              <a:gd name="T38" fmla="*/ 2147483646 w 143"/>
              <a:gd name="T39" fmla="*/ 2147483646 h 79"/>
              <a:gd name="T40" fmla="*/ 2147483646 w 143"/>
              <a:gd name="T41" fmla="*/ 2147483646 h 79"/>
              <a:gd name="T42" fmla="*/ 2147483646 w 143"/>
              <a:gd name="T43" fmla="*/ 2147483646 h 79"/>
              <a:gd name="T44" fmla="*/ 2147483646 w 143"/>
              <a:gd name="T45" fmla="*/ 2147483646 h 79"/>
              <a:gd name="T46" fmla="*/ 2147483646 w 143"/>
              <a:gd name="T47" fmla="*/ 2147483646 h 79"/>
              <a:gd name="T48" fmla="*/ 2147483646 w 143"/>
              <a:gd name="T49" fmla="*/ 2147483646 h 79"/>
              <a:gd name="T50" fmla="*/ 2147483646 w 143"/>
              <a:gd name="T51" fmla="*/ 2147483646 h 79"/>
              <a:gd name="T52" fmla="*/ 2147483646 w 143"/>
              <a:gd name="T53" fmla="*/ 2147483646 h 79"/>
              <a:gd name="T54" fmla="*/ 2147483646 w 143"/>
              <a:gd name="T55" fmla="*/ 2147483646 h 79"/>
              <a:gd name="T56" fmla="*/ 2147483646 w 143"/>
              <a:gd name="T57" fmla="*/ 2147483646 h 79"/>
              <a:gd name="T58" fmla="*/ 2147483646 w 143"/>
              <a:gd name="T59" fmla="*/ 2147483646 h 79"/>
              <a:gd name="T60" fmla="*/ 2147483646 w 143"/>
              <a:gd name="T61" fmla="*/ 2147483646 h 79"/>
              <a:gd name="T62" fmla="*/ 2147483646 w 143"/>
              <a:gd name="T63" fmla="*/ 2147483646 h 79"/>
              <a:gd name="T64" fmla="*/ 2147483646 w 143"/>
              <a:gd name="T65" fmla="*/ 2147483646 h 79"/>
              <a:gd name="T66" fmla="*/ 2147483646 w 143"/>
              <a:gd name="T67" fmla="*/ 2147483646 h 79"/>
              <a:gd name="T68" fmla="*/ 0 w 143"/>
              <a:gd name="T69" fmla="*/ 2147483646 h 79"/>
              <a:gd name="T70" fmla="*/ 2147483646 w 143"/>
              <a:gd name="T71" fmla="*/ 2147483646 h 7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43"/>
              <a:gd name="T109" fmla="*/ 0 h 79"/>
              <a:gd name="T110" fmla="*/ 143 w 143"/>
              <a:gd name="T111" fmla="*/ 79 h 7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43" h="79">
                <a:moveTo>
                  <a:pt x="1" y="36"/>
                </a:moveTo>
                <a:cubicBezTo>
                  <a:pt x="1" y="34"/>
                  <a:pt x="3" y="28"/>
                  <a:pt x="5" y="26"/>
                </a:cubicBezTo>
                <a:cubicBezTo>
                  <a:pt x="8" y="22"/>
                  <a:pt x="15" y="24"/>
                  <a:pt x="20" y="24"/>
                </a:cubicBezTo>
                <a:cubicBezTo>
                  <a:pt x="23" y="24"/>
                  <a:pt x="24" y="24"/>
                  <a:pt x="27" y="22"/>
                </a:cubicBezTo>
                <a:cubicBezTo>
                  <a:pt x="30" y="19"/>
                  <a:pt x="29" y="13"/>
                  <a:pt x="31" y="9"/>
                </a:cubicBezTo>
                <a:cubicBezTo>
                  <a:pt x="35" y="4"/>
                  <a:pt x="47" y="12"/>
                  <a:pt x="50" y="6"/>
                </a:cubicBezTo>
                <a:cubicBezTo>
                  <a:pt x="50" y="6"/>
                  <a:pt x="50" y="6"/>
                  <a:pt x="50" y="6"/>
                </a:cubicBezTo>
                <a:cubicBezTo>
                  <a:pt x="53" y="9"/>
                  <a:pt x="57" y="12"/>
                  <a:pt x="58" y="12"/>
                </a:cubicBezTo>
                <a:cubicBezTo>
                  <a:pt x="64" y="14"/>
                  <a:pt x="63" y="2"/>
                  <a:pt x="69" y="1"/>
                </a:cubicBezTo>
                <a:cubicBezTo>
                  <a:pt x="71" y="4"/>
                  <a:pt x="71" y="13"/>
                  <a:pt x="74" y="15"/>
                </a:cubicBezTo>
                <a:cubicBezTo>
                  <a:pt x="78" y="17"/>
                  <a:pt x="79" y="13"/>
                  <a:pt x="82" y="12"/>
                </a:cubicBezTo>
                <a:cubicBezTo>
                  <a:pt x="86" y="10"/>
                  <a:pt x="90" y="11"/>
                  <a:pt x="94" y="10"/>
                </a:cubicBezTo>
                <a:cubicBezTo>
                  <a:pt x="100" y="8"/>
                  <a:pt x="103" y="10"/>
                  <a:pt x="108" y="10"/>
                </a:cubicBezTo>
                <a:cubicBezTo>
                  <a:pt x="107" y="2"/>
                  <a:pt x="117" y="8"/>
                  <a:pt x="120" y="7"/>
                </a:cubicBezTo>
                <a:cubicBezTo>
                  <a:pt x="124" y="5"/>
                  <a:pt x="125" y="0"/>
                  <a:pt x="129" y="3"/>
                </a:cubicBezTo>
                <a:cubicBezTo>
                  <a:pt x="129" y="3"/>
                  <a:pt x="130" y="7"/>
                  <a:pt x="131" y="8"/>
                </a:cubicBezTo>
                <a:cubicBezTo>
                  <a:pt x="133" y="10"/>
                  <a:pt x="136" y="13"/>
                  <a:pt x="139" y="16"/>
                </a:cubicBezTo>
                <a:cubicBezTo>
                  <a:pt x="140" y="16"/>
                  <a:pt x="141" y="18"/>
                  <a:pt x="143" y="19"/>
                </a:cubicBezTo>
                <a:cubicBezTo>
                  <a:pt x="142" y="20"/>
                  <a:pt x="142" y="20"/>
                  <a:pt x="142" y="20"/>
                </a:cubicBezTo>
                <a:cubicBezTo>
                  <a:pt x="142" y="22"/>
                  <a:pt x="141" y="25"/>
                  <a:pt x="140" y="27"/>
                </a:cubicBezTo>
                <a:cubicBezTo>
                  <a:pt x="138" y="34"/>
                  <a:pt x="137" y="42"/>
                  <a:pt x="140" y="51"/>
                </a:cubicBezTo>
                <a:cubicBezTo>
                  <a:pt x="139" y="51"/>
                  <a:pt x="139" y="51"/>
                  <a:pt x="139" y="51"/>
                </a:cubicBezTo>
                <a:cubicBezTo>
                  <a:pt x="136" y="51"/>
                  <a:pt x="134" y="50"/>
                  <a:pt x="131" y="49"/>
                </a:cubicBezTo>
                <a:cubicBezTo>
                  <a:pt x="128" y="48"/>
                  <a:pt x="127" y="48"/>
                  <a:pt x="123" y="49"/>
                </a:cubicBezTo>
                <a:cubicBezTo>
                  <a:pt x="118" y="49"/>
                  <a:pt x="116" y="48"/>
                  <a:pt x="112" y="47"/>
                </a:cubicBezTo>
                <a:cubicBezTo>
                  <a:pt x="108" y="47"/>
                  <a:pt x="107" y="48"/>
                  <a:pt x="104" y="50"/>
                </a:cubicBezTo>
                <a:cubicBezTo>
                  <a:pt x="102" y="46"/>
                  <a:pt x="99" y="43"/>
                  <a:pt x="97" y="40"/>
                </a:cubicBezTo>
                <a:cubicBezTo>
                  <a:pt x="94" y="46"/>
                  <a:pt x="89" y="55"/>
                  <a:pt x="89" y="63"/>
                </a:cubicBezTo>
                <a:cubicBezTo>
                  <a:pt x="86" y="61"/>
                  <a:pt x="82" y="55"/>
                  <a:pt x="78" y="54"/>
                </a:cubicBezTo>
                <a:cubicBezTo>
                  <a:pt x="76" y="53"/>
                  <a:pt x="73" y="56"/>
                  <a:pt x="70" y="58"/>
                </a:cubicBezTo>
                <a:cubicBezTo>
                  <a:pt x="68" y="59"/>
                  <a:pt x="66" y="61"/>
                  <a:pt x="63" y="61"/>
                </a:cubicBezTo>
                <a:cubicBezTo>
                  <a:pt x="61" y="62"/>
                  <a:pt x="58" y="61"/>
                  <a:pt x="57" y="62"/>
                </a:cubicBezTo>
                <a:cubicBezTo>
                  <a:pt x="53" y="64"/>
                  <a:pt x="51" y="71"/>
                  <a:pt x="51" y="75"/>
                </a:cubicBezTo>
                <a:cubicBezTo>
                  <a:pt x="42" y="76"/>
                  <a:pt x="30" y="79"/>
                  <a:pt x="22" y="74"/>
                </a:cubicBezTo>
                <a:cubicBezTo>
                  <a:pt x="15" y="69"/>
                  <a:pt x="8" y="61"/>
                  <a:pt x="0" y="58"/>
                </a:cubicBezTo>
                <a:cubicBezTo>
                  <a:pt x="2" y="52"/>
                  <a:pt x="1" y="43"/>
                  <a:pt x="1" y="36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03" name="Freeform 538"/>
          <p:cNvSpPr>
            <a:spLocks/>
          </p:cNvSpPr>
          <p:nvPr userDrawn="1"/>
        </p:nvSpPr>
        <p:spPr bwMode="auto">
          <a:xfrm>
            <a:off x="5854152" y="3391532"/>
            <a:ext cx="242888" cy="229488"/>
          </a:xfrm>
          <a:custGeom>
            <a:avLst/>
            <a:gdLst>
              <a:gd name="T0" fmla="*/ 2147483646 w 261"/>
              <a:gd name="T1" fmla="*/ 2147483646 h 245"/>
              <a:gd name="T2" fmla="*/ 2147483646 w 261"/>
              <a:gd name="T3" fmla="*/ 2147483646 h 245"/>
              <a:gd name="T4" fmla="*/ 2147483646 w 261"/>
              <a:gd name="T5" fmla="*/ 2147483646 h 245"/>
              <a:gd name="T6" fmla="*/ 2147483646 w 261"/>
              <a:gd name="T7" fmla="*/ 2147483646 h 245"/>
              <a:gd name="T8" fmla="*/ 2147483646 w 261"/>
              <a:gd name="T9" fmla="*/ 2147483646 h 245"/>
              <a:gd name="T10" fmla="*/ 2147483646 w 261"/>
              <a:gd name="T11" fmla="*/ 2147483646 h 245"/>
              <a:gd name="T12" fmla="*/ 2147483646 w 261"/>
              <a:gd name="T13" fmla="*/ 2147483646 h 245"/>
              <a:gd name="T14" fmla="*/ 2147483646 w 261"/>
              <a:gd name="T15" fmla="*/ 2147483646 h 245"/>
              <a:gd name="T16" fmla="*/ 2147483646 w 261"/>
              <a:gd name="T17" fmla="*/ 2147483646 h 245"/>
              <a:gd name="T18" fmla="*/ 2147483646 w 261"/>
              <a:gd name="T19" fmla="*/ 2147483646 h 245"/>
              <a:gd name="T20" fmla="*/ 2147483646 w 261"/>
              <a:gd name="T21" fmla="*/ 2147483646 h 245"/>
              <a:gd name="T22" fmla="*/ 2147483646 w 261"/>
              <a:gd name="T23" fmla="*/ 2147483646 h 245"/>
              <a:gd name="T24" fmla="*/ 2147483646 w 261"/>
              <a:gd name="T25" fmla="*/ 2147483646 h 245"/>
              <a:gd name="T26" fmla="*/ 2147483646 w 261"/>
              <a:gd name="T27" fmla="*/ 2147483646 h 245"/>
              <a:gd name="T28" fmla="*/ 2147483646 w 261"/>
              <a:gd name="T29" fmla="*/ 2147483646 h 245"/>
              <a:gd name="T30" fmla="*/ 2147483646 w 261"/>
              <a:gd name="T31" fmla="*/ 2147483646 h 245"/>
              <a:gd name="T32" fmla="*/ 2147483646 w 261"/>
              <a:gd name="T33" fmla="*/ 2147483646 h 245"/>
              <a:gd name="T34" fmla="*/ 2147483646 w 261"/>
              <a:gd name="T35" fmla="*/ 2147483646 h 245"/>
              <a:gd name="T36" fmla="*/ 2147483646 w 261"/>
              <a:gd name="T37" fmla="*/ 2147483646 h 245"/>
              <a:gd name="T38" fmla="*/ 2147483646 w 261"/>
              <a:gd name="T39" fmla="*/ 2147483646 h 245"/>
              <a:gd name="T40" fmla="*/ 2147483646 w 261"/>
              <a:gd name="T41" fmla="*/ 2147483646 h 245"/>
              <a:gd name="T42" fmla="*/ 2147483646 w 261"/>
              <a:gd name="T43" fmla="*/ 2147483646 h 245"/>
              <a:gd name="T44" fmla="*/ 2147483646 w 261"/>
              <a:gd name="T45" fmla="*/ 2147483646 h 245"/>
              <a:gd name="T46" fmla="*/ 2147483646 w 261"/>
              <a:gd name="T47" fmla="*/ 2147483646 h 245"/>
              <a:gd name="T48" fmla="*/ 2147483646 w 261"/>
              <a:gd name="T49" fmla="*/ 2147483646 h 245"/>
              <a:gd name="T50" fmla="*/ 2147483646 w 261"/>
              <a:gd name="T51" fmla="*/ 2147483646 h 245"/>
              <a:gd name="T52" fmla="*/ 2147483646 w 261"/>
              <a:gd name="T53" fmla="*/ 2147483646 h 245"/>
              <a:gd name="T54" fmla="*/ 2147483646 w 261"/>
              <a:gd name="T55" fmla="*/ 2147483646 h 245"/>
              <a:gd name="T56" fmla="*/ 2147483646 w 261"/>
              <a:gd name="T57" fmla="*/ 2147483646 h 245"/>
              <a:gd name="T58" fmla="*/ 2147483646 w 261"/>
              <a:gd name="T59" fmla="*/ 2147483646 h 245"/>
              <a:gd name="T60" fmla="*/ 2147483646 w 261"/>
              <a:gd name="T61" fmla="*/ 2147483646 h 245"/>
              <a:gd name="T62" fmla="*/ 2147483646 w 261"/>
              <a:gd name="T63" fmla="*/ 2147483646 h 245"/>
              <a:gd name="T64" fmla="*/ 2147483646 w 261"/>
              <a:gd name="T65" fmla="*/ 2147483646 h 245"/>
              <a:gd name="T66" fmla="*/ 2147483646 w 261"/>
              <a:gd name="T67" fmla="*/ 2147483646 h 245"/>
              <a:gd name="T68" fmla="*/ 2147483646 w 261"/>
              <a:gd name="T69" fmla="*/ 2147483646 h 24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61"/>
              <a:gd name="T106" fmla="*/ 0 h 245"/>
              <a:gd name="T107" fmla="*/ 261 w 261"/>
              <a:gd name="T108" fmla="*/ 245 h 24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61" h="245">
                <a:moveTo>
                  <a:pt x="8" y="55"/>
                </a:moveTo>
                <a:cubicBezTo>
                  <a:pt x="9" y="54"/>
                  <a:pt x="9" y="50"/>
                  <a:pt x="9" y="49"/>
                </a:cubicBezTo>
                <a:cubicBezTo>
                  <a:pt x="10" y="48"/>
                  <a:pt x="10" y="45"/>
                  <a:pt x="12" y="44"/>
                </a:cubicBezTo>
                <a:cubicBezTo>
                  <a:pt x="14" y="43"/>
                  <a:pt x="18" y="39"/>
                  <a:pt x="18" y="39"/>
                </a:cubicBezTo>
                <a:cubicBezTo>
                  <a:pt x="18" y="39"/>
                  <a:pt x="33" y="31"/>
                  <a:pt x="42" y="32"/>
                </a:cubicBezTo>
                <a:cubicBezTo>
                  <a:pt x="52" y="32"/>
                  <a:pt x="56" y="27"/>
                  <a:pt x="58" y="22"/>
                </a:cubicBezTo>
                <a:cubicBezTo>
                  <a:pt x="61" y="17"/>
                  <a:pt x="67" y="15"/>
                  <a:pt x="73" y="12"/>
                </a:cubicBezTo>
                <a:cubicBezTo>
                  <a:pt x="79" y="9"/>
                  <a:pt x="82" y="5"/>
                  <a:pt x="89" y="5"/>
                </a:cubicBezTo>
                <a:cubicBezTo>
                  <a:pt x="96" y="4"/>
                  <a:pt x="99" y="1"/>
                  <a:pt x="102" y="2"/>
                </a:cubicBezTo>
                <a:cubicBezTo>
                  <a:pt x="106" y="2"/>
                  <a:pt x="106" y="0"/>
                  <a:pt x="112" y="4"/>
                </a:cubicBezTo>
                <a:cubicBezTo>
                  <a:pt x="117" y="7"/>
                  <a:pt x="113" y="2"/>
                  <a:pt x="115" y="9"/>
                </a:cubicBezTo>
                <a:cubicBezTo>
                  <a:pt x="116" y="17"/>
                  <a:pt x="115" y="24"/>
                  <a:pt x="124" y="24"/>
                </a:cubicBezTo>
                <a:cubicBezTo>
                  <a:pt x="134" y="24"/>
                  <a:pt x="139" y="24"/>
                  <a:pt x="143" y="19"/>
                </a:cubicBezTo>
                <a:cubicBezTo>
                  <a:pt x="158" y="19"/>
                  <a:pt x="158" y="19"/>
                  <a:pt x="158" y="19"/>
                </a:cubicBezTo>
                <a:cubicBezTo>
                  <a:pt x="164" y="18"/>
                  <a:pt x="171" y="19"/>
                  <a:pt x="177" y="21"/>
                </a:cubicBezTo>
                <a:cubicBezTo>
                  <a:pt x="187" y="24"/>
                  <a:pt x="200" y="31"/>
                  <a:pt x="211" y="29"/>
                </a:cubicBezTo>
                <a:cubicBezTo>
                  <a:pt x="217" y="29"/>
                  <a:pt x="221" y="25"/>
                  <a:pt x="227" y="28"/>
                </a:cubicBezTo>
                <a:cubicBezTo>
                  <a:pt x="231" y="29"/>
                  <a:pt x="242" y="36"/>
                  <a:pt x="244" y="40"/>
                </a:cubicBezTo>
                <a:cubicBezTo>
                  <a:pt x="246" y="46"/>
                  <a:pt x="241" y="56"/>
                  <a:pt x="244" y="63"/>
                </a:cubicBezTo>
                <a:cubicBezTo>
                  <a:pt x="247" y="69"/>
                  <a:pt x="251" y="73"/>
                  <a:pt x="253" y="80"/>
                </a:cubicBezTo>
                <a:cubicBezTo>
                  <a:pt x="255" y="87"/>
                  <a:pt x="255" y="96"/>
                  <a:pt x="251" y="101"/>
                </a:cubicBezTo>
                <a:cubicBezTo>
                  <a:pt x="248" y="105"/>
                  <a:pt x="242" y="106"/>
                  <a:pt x="238" y="110"/>
                </a:cubicBezTo>
                <a:cubicBezTo>
                  <a:pt x="234" y="114"/>
                  <a:pt x="235" y="115"/>
                  <a:pt x="234" y="121"/>
                </a:cubicBezTo>
                <a:cubicBezTo>
                  <a:pt x="243" y="120"/>
                  <a:pt x="245" y="125"/>
                  <a:pt x="244" y="133"/>
                </a:cubicBezTo>
                <a:cubicBezTo>
                  <a:pt x="244" y="144"/>
                  <a:pt x="243" y="150"/>
                  <a:pt x="247" y="159"/>
                </a:cubicBezTo>
                <a:cubicBezTo>
                  <a:pt x="252" y="171"/>
                  <a:pt x="261" y="187"/>
                  <a:pt x="257" y="199"/>
                </a:cubicBezTo>
                <a:cubicBezTo>
                  <a:pt x="254" y="206"/>
                  <a:pt x="251" y="204"/>
                  <a:pt x="246" y="209"/>
                </a:cubicBezTo>
                <a:cubicBezTo>
                  <a:pt x="240" y="214"/>
                  <a:pt x="237" y="220"/>
                  <a:pt x="231" y="225"/>
                </a:cubicBezTo>
                <a:cubicBezTo>
                  <a:pt x="226" y="229"/>
                  <a:pt x="219" y="233"/>
                  <a:pt x="216" y="238"/>
                </a:cubicBezTo>
                <a:cubicBezTo>
                  <a:pt x="213" y="245"/>
                  <a:pt x="213" y="245"/>
                  <a:pt x="213" y="245"/>
                </a:cubicBezTo>
                <a:cubicBezTo>
                  <a:pt x="210" y="243"/>
                  <a:pt x="210" y="243"/>
                  <a:pt x="209" y="242"/>
                </a:cubicBezTo>
                <a:cubicBezTo>
                  <a:pt x="206" y="239"/>
                  <a:pt x="203" y="236"/>
                  <a:pt x="201" y="234"/>
                </a:cubicBezTo>
                <a:cubicBezTo>
                  <a:pt x="200" y="233"/>
                  <a:pt x="199" y="229"/>
                  <a:pt x="199" y="229"/>
                </a:cubicBezTo>
                <a:cubicBezTo>
                  <a:pt x="195" y="226"/>
                  <a:pt x="194" y="231"/>
                  <a:pt x="190" y="233"/>
                </a:cubicBezTo>
                <a:cubicBezTo>
                  <a:pt x="187" y="234"/>
                  <a:pt x="177" y="228"/>
                  <a:pt x="178" y="236"/>
                </a:cubicBezTo>
                <a:cubicBezTo>
                  <a:pt x="173" y="236"/>
                  <a:pt x="170" y="234"/>
                  <a:pt x="164" y="236"/>
                </a:cubicBezTo>
                <a:cubicBezTo>
                  <a:pt x="160" y="237"/>
                  <a:pt x="156" y="236"/>
                  <a:pt x="152" y="238"/>
                </a:cubicBezTo>
                <a:cubicBezTo>
                  <a:pt x="149" y="239"/>
                  <a:pt x="148" y="243"/>
                  <a:pt x="144" y="241"/>
                </a:cubicBezTo>
                <a:cubicBezTo>
                  <a:pt x="141" y="239"/>
                  <a:pt x="141" y="230"/>
                  <a:pt x="139" y="227"/>
                </a:cubicBezTo>
                <a:cubicBezTo>
                  <a:pt x="133" y="228"/>
                  <a:pt x="134" y="240"/>
                  <a:pt x="128" y="238"/>
                </a:cubicBezTo>
                <a:cubicBezTo>
                  <a:pt x="126" y="238"/>
                  <a:pt x="115" y="227"/>
                  <a:pt x="115" y="225"/>
                </a:cubicBezTo>
                <a:cubicBezTo>
                  <a:pt x="114" y="223"/>
                  <a:pt x="119" y="218"/>
                  <a:pt x="116" y="215"/>
                </a:cubicBezTo>
                <a:cubicBezTo>
                  <a:pt x="115" y="213"/>
                  <a:pt x="112" y="214"/>
                  <a:pt x="110" y="214"/>
                </a:cubicBezTo>
                <a:cubicBezTo>
                  <a:pt x="107" y="215"/>
                  <a:pt x="105" y="218"/>
                  <a:pt x="102" y="216"/>
                </a:cubicBezTo>
                <a:cubicBezTo>
                  <a:pt x="100" y="214"/>
                  <a:pt x="99" y="205"/>
                  <a:pt x="98" y="202"/>
                </a:cubicBezTo>
                <a:cubicBezTo>
                  <a:pt x="94" y="202"/>
                  <a:pt x="92" y="208"/>
                  <a:pt x="88" y="208"/>
                </a:cubicBezTo>
                <a:cubicBezTo>
                  <a:pt x="89" y="206"/>
                  <a:pt x="91" y="198"/>
                  <a:pt x="89" y="196"/>
                </a:cubicBezTo>
                <a:cubicBezTo>
                  <a:pt x="88" y="194"/>
                  <a:pt x="84" y="196"/>
                  <a:pt x="82" y="196"/>
                </a:cubicBezTo>
                <a:cubicBezTo>
                  <a:pt x="80" y="196"/>
                  <a:pt x="73" y="195"/>
                  <a:pt x="71" y="197"/>
                </a:cubicBezTo>
                <a:cubicBezTo>
                  <a:pt x="70" y="199"/>
                  <a:pt x="71" y="207"/>
                  <a:pt x="71" y="209"/>
                </a:cubicBezTo>
                <a:cubicBezTo>
                  <a:pt x="67" y="208"/>
                  <a:pt x="63" y="204"/>
                  <a:pt x="59" y="202"/>
                </a:cubicBezTo>
                <a:cubicBezTo>
                  <a:pt x="60" y="198"/>
                  <a:pt x="61" y="193"/>
                  <a:pt x="60" y="189"/>
                </a:cubicBezTo>
                <a:cubicBezTo>
                  <a:pt x="56" y="189"/>
                  <a:pt x="54" y="191"/>
                  <a:pt x="50" y="192"/>
                </a:cubicBezTo>
                <a:cubicBezTo>
                  <a:pt x="50" y="189"/>
                  <a:pt x="48" y="191"/>
                  <a:pt x="47" y="190"/>
                </a:cubicBezTo>
                <a:cubicBezTo>
                  <a:pt x="46" y="189"/>
                  <a:pt x="45" y="186"/>
                  <a:pt x="44" y="185"/>
                </a:cubicBezTo>
                <a:cubicBezTo>
                  <a:pt x="41" y="183"/>
                  <a:pt x="37" y="186"/>
                  <a:pt x="34" y="188"/>
                </a:cubicBezTo>
                <a:cubicBezTo>
                  <a:pt x="31" y="183"/>
                  <a:pt x="35" y="176"/>
                  <a:pt x="30" y="171"/>
                </a:cubicBezTo>
                <a:cubicBezTo>
                  <a:pt x="27" y="169"/>
                  <a:pt x="24" y="170"/>
                  <a:pt x="23" y="168"/>
                </a:cubicBezTo>
                <a:cubicBezTo>
                  <a:pt x="23" y="166"/>
                  <a:pt x="23" y="166"/>
                  <a:pt x="23" y="166"/>
                </a:cubicBezTo>
                <a:cubicBezTo>
                  <a:pt x="24" y="162"/>
                  <a:pt x="22" y="157"/>
                  <a:pt x="22" y="153"/>
                </a:cubicBezTo>
                <a:cubicBezTo>
                  <a:pt x="22" y="144"/>
                  <a:pt x="14" y="139"/>
                  <a:pt x="15" y="131"/>
                </a:cubicBezTo>
                <a:cubicBezTo>
                  <a:pt x="15" y="127"/>
                  <a:pt x="15" y="126"/>
                  <a:pt x="15" y="123"/>
                </a:cubicBezTo>
                <a:cubicBezTo>
                  <a:pt x="14" y="122"/>
                  <a:pt x="13" y="121"/>
                  <a:pt x="13" y="119"/>
                </a:cubicBezTo>
                <a:cubicBezTo>
                  <a:pt x="13" y="118"/>
                  <a:pt x="15" y="116"/>
                  <a:pt x="14" y="115"/>
                </a:cubicBezTo>
                <a:cubicBezTo>
                  <a:pt x="14" y="113"/>
                  <a:pt x="12" y="113"/>
                  <a:pt x="11" y="111"/>
                </a:cubicBezTo>
                <a:cubicBezTo>
                  <a:pt x="10" y="109"/>
                  <a:pt x="12" y="106"/>
                  <a:pt x="12" y="103"/>
                </a:cubicBezTo>
                <a:cubicBezTo>
                  <a:pt x="12" y="97"/>
                  <a:pt x="3" y="96"/>
                  <a:pt x="0" y="91"/>
                </a:cubicBezTo>
                <a:cubicBezTo>
                  <a:pt x="5" y="86"/>
                  <a:pt x="10" y="79"/>
                  <a:pt x="11" y="72"/>
                </a:cubicBezTo>
                <a:cubicBezTo>
                  <a:pt x="11" y="69"/>
                  <a:pt x="12" y="66"/>
                  <a:pt x="12" y="64"/>
                </a:cubicBezTo>
                <a:cubicBezTo>
                  <a:pt x="12" y="61"/>
                  <a:pt x="7" y="57"/>
                  <a:pt x="8" y="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04" name="Freeform 539"/>
          <p:cNvSpPr>
            <a:spLocks/>
          </p:cNvSpPr>
          <p:nvPr userDrawn="1"/>
        </p:nvSpPr>
        <p:spPr bwMode="auto">
          <a:xfrm>
            <a:off x="5988160" y="3374782"/>
            <a:ext cx="78729" cy="45228"/>
          </a:xfrm>
          <a:custGeom>
            <a:avLst/>
            <a:gdLst>
              <a:gd name="T0" fmla="*/ 2147483646 w 86"/>
              <a:gd name="T1" fmla="*/ 0 h 48"/>
              <a:gd name="T2" fmla="*/ 2147483646 w 86"/>
              <a:gd name="T3" fmla="*/ 2147483646 h 48"/>
              <a:gd name="T4" fmla="*/ 2147483646 w 86"/>
              <a:gd name="T5" fmla="*/ 2147483646 h 48"/>
              <a:gd name="T6" fmla="*/ 2147483646 w 86"/>
              <a:gd name="T7" fmla="*/ 2147483646 h 48"/>
              <a:gd name="T8" fmla="*/ 2147483646 w 86"/>
              <a:gd name="T9" fmla="*/ 2147483646 h 48"/>
              <a:gd name="T10" fmla="*/ 2147483646 w 86"/>
              <a:gd name="T11" fmla="*/ 2147483646 h 48"/>
              <a:gd name="T12" fmla="*/ 2147483646 w 86"/>
              <a:gd name="T13" fmla="*/ 2147483646 h 48"/>
              <a:gd name="T14" fmla="*/ 2147483646 w 86"/>
              <a:gd name="T15" fmla="*/ 2147483646 h 48"/>
              <a:gd name="T16" fmla="*/ 2147483646 w 86"/>
              <a:gd name="T17" fmla="*/ 2147483646 h 48"/>
              <a:gd name="T18" fmla="*/ 2147483646 w 86"/>
              <a:gd name="T19" fmla="*/ 2147483646 h 48"/>
              <a:gd name="T20" fmla="*/ 2147483646 w 86"/>
              <a:gd name="T21" fmla="*/ 2147483646 h 48"/>
              <a:gd name="T22" fmla="*/ 0 w 86"/>
              <a:gd name="T23" fmla="*/ 2147483646 h 48"/>
              <a:gd name="T24" fmla="*/ 2147483646 w 86"/>
              <a:gd name="T25" fmla="*/ 2147483646 h 48"/>
              <a:gd name="T26" fmla="*/ 2147483646 w 86"/>
              <a:gd name="T27" fmla="*/ 2147483646 h 48"/>
              <a:gd name="T28" fmla="*/ 2147483646 w 86"/>
              <a:gd name="T29" fmla="*/ 2147483646 h 48"/>
              <a:gd name="T30" fmla="*/ 2147483646 w 86"/>
              <a:gd name="T31" fmla="*/ 2147483646 h 48"/>
              <a:gd name="T32" fmla="*/ 2147483646 w 86"/>
              <a:gd name="T33" fmla="*/ 2147483646 h 48"/>
              <a:gd name="T34" fmla="*/ 2147483646 w 86"/>
              <a:gd name="T35" fmla="*/ 2147483646 h 48"/>
              <a:gd name="T36" fmla="*/ 2147483646 w 86"/>
              <a:gd name="T37" fmla="*/ 2147483646 h 48"/>
              <a:gd name="T38" fmla="*/ 2147483646 w 86"/>
              <a:gd name="T39" fmla="*/ 2147483646 h 48"/>
              <a:gd name="T40" fmla="*/ 2147483646 w 86"/>
              <a:gd name="T41" fmla="*/ 2147483646 h 48"/>
              <a:gd name="T42" fmla="*/ 2147483646 w 86"/>
              <a:gd name="T43" fmla="*/ 2147483646 h 48"/>
              <a:gd name="T44" fmla="*/ 2147483646 w 86"/>
              <a:gd name="T45" fmla="*/ 2147483646 h 48"/>
              <a:gd name="T46" fmla="*/ 2147483646 w 86"/>
              <a:gd name="T47" fmla="*/ 0 h 4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6"/>
              <a:gd name="T73" fmla="*/ 0 h 48"/>
              <a:gd name="T74" fmla="*/ 86 w 86"/>
              <a:gd name="T75" fmla="*/ 48 h 4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6" h="48">
                <a:moveTo>
                  <a:pt x="41" y="0"/>
                </a:moveTo>
                <a:cubicBezTo>
                  <a:pt x="45" y="3"/>
                  <a:pt x="49" y="3"/>
                  <a:pt x="52" y="5"/>
                </a:cubicBezTo>
                <a:cubicBezTo>
                  <a:pt x="54" y="6"/>
                  <a:pt x="56" y="9"/>
                  <a:pt x="58" y="10"/>
                </a:cubicBezTo>
                <a:cubicBezTo>
                  <a:pt x="65" y="13"/>
                  <a:pt x="72" y="7"/>
                  <a:pt x="78" y="11"/>
                </a:cubicBezTo>
                <a:cubicBezTo>
                  <a:pt x="86" y="17"/>
                  <a:pt x="79" y="21"/>
                  <a:pt x="78" y="28"/>
                </a:cubicBezTo>
                <a:cubicBezTo>
                  <a:pt x="78" y="32"/>
                  <a:pt x="80" y="41"/>
                  <a:pt x="82" y="45"/>
                </a:cubicBezTo>
                <a:cubicBezTo>
                  <a:pt x="81" y="45"/>
                  <a:pt x="81" y="45"/>
                  <a:pt x="81" y="45"/>
                </a:cubicBezTo>
                <a:cubicBezTo>
                  <a:pt x="77" y="44"/>
                  <a:pt x="73" y="47"/>
                  <a:pt x="68" y="47"/>
                </a:cubicBezTo>
                <a:cubicBezTo>
                  <a:pt x="57" y="48"/>
                  <a:pt x="44" y="42"/>
                  <a:pt x="34" y="39"/>
                </a:cubicBezTo>
                <a:cubicBezTo>
                  <a:pt x="28" y="37"/>
                  <a:pt x="21" y="36"/>
                  <a:pt x="15" y="36"/>
                </a:cubicBezTo>
                <a:cubicBezTo>
                  <a:pt x="10" y="37"/>
                  <a:pt x="6" y="39"/>
                  <a:pt x="1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4" y="32"/>
                  <a:pt x="5" y="29"/>
                  <a:pt x="13" y="30"/>
                </a:cubicBezTo>
                <a:cubicBezTo>
                  <a:pt x="20" y="30"/>
                  <a:pt x="20" y="25"/>
                  <a:pt x="17" y="25"/>
                </a:cubicBezTo>
                <a:cubicBezTo>
                  <a:pt x="14" y="24"/>
                  <a:pt x="10" y="23"/>
                  <a:pt x="8" y="24"/>
                </a:cubicBezTo>
                <a:cubicBezTo>
                  <a:pt x="5" y="26"/>
                  <a:pt x="6" y="18"/>
                  <a:pt x="9" y="16"/>
                </a:cubicBezTo>
                <a:cubicBezTo>
                  <a:pt x="11" y="14"/>
                  <a:pt x="12" y="12"/>
                  <a:pt x="16" y="14"/>
                </a:cubicBezTo>
                <a:cubicBezTo>
                  <a:pt x="21" y="16"/>
                  <a:pt x="23" y="13"/>
                  <a:pt x="26" y="13"/>
                </a:cubicBezTo>
                <a:cubicBezTo>
                  <a:pt x="29" y="13"/>
                  <a:pt x="29" y="15"/>
                  <a:pt x="32" y="16"/>
                </a:cubicBezTo>
                <a:cubicBezTo>
                  <a:pt x="34" y="18"/>
                  <a:pt x="37" y="17"/>
                  <a:pt x="37" y="17"/>
                </a:cubicBezTo>
                <a:cubicBezTo>
                  <a:pt x="37" y="17"/>
                  <a:pt x="40" y="15"/>
                  <a:pt x="39" y="10"/>
                </a:cubicBezTo>
                <a:cubicBezTo>
                  <a:pt x="38" y="5"/>
                  <a:pt x="38" y="2"/>
                  <a:pt x="38" y="2"/>
                </a:cubicBezTo>
                <a:cubicBezTo>
                  <a:pt x="41" y="1"/>
                  <a:pt x="41" y="1"/>
                  <a:pt x="41" y="1"/>
                </a:cubicBezTo>
                <a:lnTo>
                  <a:pt x="4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05" name="Freeform 540"/>
          <p:cNvSpPr>
            <a:spLocks/>
          </p:cNvSpPr>
          <p:nvPr userDrawn="1"/>
        </p:nvSpPr>
        <p:spPr bwMode="auto">
          <a:xfrm>
            <a:off x="6019985" y="3326204"/>
            <a:ext cx="134008" cy="113907"/>
          </a:xfrm>
          <a:custGeom>
            <a:avLst/>
            <a:gdLst>
              <a:gd name="T0" fmla="*/ 2147483646 w 144"/>
              <a:gd name="T1" fmla="*/ 2147483646 h 122"/>
              <a:gd name="T2" fmla="*/ 2147483646 w 144"/>
              <a:gd name="T3" fmla="*/ 2147483646 h 122"/>
              <a:gd name="T4" fmla="*/ 2147483646 w 144"/>
              <a:gd name="T5" fmla="*/ 2147483646 h 122"/>
              <a:gd name="T6" fmla="*/ 2147483646 w 144"/>
              <a:gd name="T7" fmla="*/ 2147483646 h 122"/>
              <a:gd name="T8" fmla="*/ 2147483646 w 144"/>
              <a:gd name="T9" fmla="*/ 2147483646 h 122"/>
              <a:gd name="T10" fmla="*/ 2147483646 w 144"/>
              <a:gd name="T11" fmla="*/ 2147483646 h 122"/>
              <a:gd name="T12" fmla="*/ 2147483646 w 144"/>
              <a:gd name="T13" fmla="*/ 2147483646 h 122"/>
              <a:gd name="T14" fmla="*/ 2147483646 w 144"/>
              <a:gd name="T15" fmla="*/ 2147483646 h 122"/>
              <a:gd name="T16" fmla="*/ 2147483646 w 144"/>
              <a:gd name="T17" fmla="*/ 2147483646 h 122"/>
              <a:gd name="T18" fmla="*/ 2147483646 w 144"/>
              <a:gd name="T19" fmla="*/ 2147483646 h 122"/>
              <a:gd name="T20" fmla="*/ 2147483646 w 144"/>
              <a:gd name="T21" fmla="*/ 2147483646 h 122"/>
              <a:gd name="T22" fmla="*/ 2147483646 w 144"/>
              <a:gd name="T23" fmla="*/ 2147483646 h 122"/>
              <a:gd name="T24" fmla="*/ 2147483646 w 144"/>
              <a:gd name="T25" fmla="*/ 2147483646 h 122"/>
              <a:gd name="T26" fmla="*/ 2147483646 w 144"/>
              <a:gd name="T27" fmla="*/ 2147483646 h 122"/>
              <a:gd name="T28" fmla="*/ 2147483646 w 144"/>
              <a:gd name="T29" fmla="*/ 2147483646 h 122"/>
              <a:gd name="T30" fmla="*/ 2147483646 w 144"/>
              <a:gd name="T31" fmla="*/ 2147483646 h 122"/>
              <a:gd name="T32" fmla="*/ 2147483646 w 144"/>
              <a:gd name="T33" fmla="*/ 2147483646 h 122"/>
              <a:gd name="T34" fmla="*/ 2147483646 w 144"/>
              <a:gd name="T35" fmla="*/ 2147483646 h 122"/>
              <a:gd name="T36" fmla="*/ 2147483646 w 144"/>
              <a:gd name="T37" fmla="*/ 2147483646 h 122"/>
              <a:gd name="T38" fmla="*/ 2147483646 w 144"/>
              <a:gd name="T39" fmla="*/ 2147483646 h 122"/>
              <a:gd name="T40" fmla="*/ 2147483646 w 144"/>
              <a:gd name="T41" fmla="*/ 2147483646 h 122"/>
              <a:gd name="T42" fmla="*/ 0 w 144"/>
              <a:gd name="T43" fmla="*/ 2147483646 h 122"/>
              <a:gd name="T44" fmla="*/ 0 w 144"/>
              <a:gd name="T45" fmla="*/ 2147483646 h 122"/>
              <a:gd name="T46" fmla="*/ 0 w 144"/>
              <a:gd name="T47" fmla="*/ 2147483646 h 122"/>
              <a:gd name="T48" fmla="*/ 2147483646 w 144"/>
              <a:gd name="T49" fmla="*/ 2147483646 h 122"/>
              <a:gd name="T50" fmla="*/ 2147483646 w 144"/>
              <a:gd name="T51" fmla="*/ 2147483646 h 122"/>
              <a:gd name="T52" fmla="*/ 2147483646 w 144"/>
              <a:gd name="T53" fmla="*/ 2147483646 h 122"/>
              <a:gd name="T54" fmla="*/ 2147483646 w 144"/>
              <a:gd name="T55" fmla="*/ 2147483646 h 122"/>
              <a:gd name="T56" fmla="*/ 2147483646 w 144"/>
              <a:gd name="T57" fmla="*/ 2147483646 h 122"/>
              <a:gd name="T58" fmla="*/ 2147483646 w 144"/>
              <a:gd name="T59" fmla="*/ 2147483646 h 122"/>
              <a:gd name="T60" fmla="*/ 2147483646 w 144"/>
              <a:gd name="T61" fmla="*/ 2147483646 h 122"/>
              <a:gd name="T62" fmla="*/ 2147483646 w 144"/>
              <a:gd name="T63" fmla="*/ 2147483646 h 122"/>
              <a:gd name="T64" fmla="*/ 2147483646 w 144"/>
              <a:gd name="T65" fmla="*/ 2147483646 h 122"/>
              <a:gd name="T66" fmla="*/ 2147483646 w 144"/>
              <a:gd name="T67" fmla="*/ 2147483646 h 122"/>
              <a:gd name="T68" fmla="*/ 2147483646 w 144"/>
              <a:gd name="T69" fmla="*/ 2147483646 h 122"/>
              <a:gd name="T70" fmla="*/ 2147483646 w 144"/>
              <a:gd name="T71" fmla="*/ 2147483646 h 122"/>
              <a:gd name="T72" fmla="*/ 2147483646 w 144"/>
              <a:gd name="T73" fmla="*/ 2147483646 h 122"/>
              <a:gd name="T74" fmla="*/ 2147483646 w 144"/>
              <a:gd name="T75" fmla="*/ 2147483646 h 12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44"/>
              <a:gd name="T115" fmla="*/ 0 h 122"/>
              <a:gd name="T116" fmla="*/ 144 w 144"/>
              <a:gd name="T117" fmla="*/ 122 h 122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44" h="122">
                <a:moveTo>
                  <a:pt x="66" y="122"/>
                </a:moveTo>
                <a:cubicBezTo>
                  <a:pt x="72" y="118"/>
                  <a:pt x="79" y="122"/>
                  <a:pt x="86" y="119"/>
                </a:cubicBezTo>
                <a:cubicBezTo>
                  <a:pt x="88" y="118"/>
                  <a:pt x="92" y="113"/>
                  <a:pt x="93" y="112"/>
                </a:cubicBezTo>
                <a:cubicBezTo>
                  <a:pt x="96" y="109"/>
                  <a:pt x="99" y="105"/>
                  <a:pt x="101" y="103"/>
                </a:cubicBezTo>
                <a:cubicBezTo>
                  <a:pt x="111" y="106"/>
                  <a:pt x="112" y="107"/>
                  <a:pt x="113" y="94"/>
                </a:cubicBezTo>
                <a:cubicBezTo>
                  <a:pt x="113" y="88"/>
                  <a:pt x="110" y="73"/>
                  <a:pt x="120" y="76"/>
                </a:cubicBezTo>
                <a:cubicBezTo>
                  <a:pt x="120" y="70"/>
                  <a:pt x="123" y="65"/>
                  <a:pt x="128" y="63"/>
                </a:cubicBezTo>
                <a:cubicBezTo>
                  <a:pt x="131" y="62"/>
                  <a:pt x="134" y="64"/>
                  <a:pt x="137" y="61"/>
                </a:cubicBezTo>
                <a:cubicBezTo>
                  <a:pt x="139" y="60"/>
                  <a:pt x="140" y="56"/>
                  <a:pt x="142" y="53"/>
                </a:cubicBezTo>
                <a:cubicBezTo>
                  <a:pt x="141" y="50"/>
                  <a:pt x="138" y="49"/>
                  <a:pt x="135" y="48"/>
                </a:cubicBezTo>
                <a:cubicBezTo>
                  <a:pt x="138" y="43"/>
                  <a:pt x="144" y="35"/>
                  <a:pt x="141" y="29"/>
                </a:cubicBezTo>
                <a:cubicBezTo>
                  <a:pt x="139" y="26"/>
                  <a:pt x="128" y="17"/>
                  <a:pt x="125" y="15"/>
                </a:cubicBezTo>
                <a:cubicBezTo>
                  <a:pt x="119" y="11"/>
                  <a:pt x="110" y="13"/>
                  <a:pt x="103" y="10"/>
                </a:cubicBezTo>
                <a:cubicBezTo>
                  <a:pt x="99" y="8"/>
                  <a:pt x="99" y="6"/>
                  <a:pt x="96" y="4"/>
                </a:cubicBezTo>
                <a:cubicBezTo>
                  <a:pt x="91" y="0"/>
                  <a:pt x="93" y="2"/>
                  <a:pt x="90" y="2"/>
                </a:cubicBezTo>
                <a:cubicBezTo>
                  <a:pt x="89" y="2"/>
                  <a:pt x="86" y="4"/>
                  <a:pt x="85" y="4"/>
                </a:cubicBezTo>
                <a:cubicBezTo>
                  <a:pt x="84" y="5"/>
                  <a:pt x="82" y="3"/>
                  <a:pt x="81" y="3"/>
                </a:cubicBezTo>
                <a:cubicBezTo>
                  <a:pt x="78" y="2"/>
                  <a:pt x="75" y="2"/>
                  <a:pt x="72" y="2"/>
                </a:cubicBezTo>
                <a:cubicBezTo>
                  <a:pt x="64" y="2"/>
                  <a:pt x="56" y="3"/>
                  <a:pt x="47" y="3"/>
                </a:cubicBezTo>
                <a:cubicBezTo>
                  <a:pt x="43" y="3"/>
                  <a:pt x="38" y="5"/>
                  <a:pt x="34" y="4"/>
                </a:cubicBezTo>
                <a:cubicBezTo>
                  <a:pt x="31" y="4"/>
                  <a:pt x="29" y="2"/>
                  <a:pt x="26" y="2"/>
                </a:cubicBezTo>
                <a:cubicBezTo>
                  <a:pt x="17" y="2"/>
                  <a:pt x="9" y="14"/>
                  <a:pt x="0" y="12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22"/>
                  <a:pt x="1" y="26"/>
                  <a:pt x="5" y="31"/>
                </a:cubicBezTo>
                <a:cubicBezTo>
                  <a:pt x="9" y="36"/>
                  <a:pt x="7" y="37"/>
                  <a:pt x="7" y="37"/>
                </a:cubicBezTo>
                <a:cubicBezTo>
                  <a:pt x="7" y="37"/>
                  <a:pt x="5" y="42"/>
                  <a:pt x="5" y="46"/>
                </a:cubicBezTo>
                <a:cubicBezTo>
                  <a:pt x="5" y="50"/>
                  <a:pt x="7" y="53"/>
                  <a:pt x="7" y="53"/>
                </a:cubicBezTo>
                <a:cubicBezTo>
                  <a:pt x="6" y="53"/>
                  <a:pt x="6" y="53"/>
                  <a:pt x="6" y="53"/>
                </a:cubicBezTo>
                <a:cubicBezTo>
                  <a:pt x="10" y="55"/>
                  <a:pt x="14" y="56"/>
                  <a:pt x="17" y="58"/>
                </a:cubicBezTo>
                <a:cubicBezTo>
                  <a:pt x="19" y="59"/>
                  <a:pt x="21" y="62"/>
                  <a:pt x="23" y="63"/>
                </a:cubicBezTo>
                <a:cubicBezTo>
                  <a:pt x="30" y="65"/>
                  <a:pt x="37" y="60"/>
                  <a:pt x="43" y="64"/>
                </a:cubicBezTo>
                <a:cubicBezTo>
                  <a:pt x="51" y="70"/>
                  <a:pt x="44" y="74"/>
                  <a:pt x="43" y="81"/>
                </a:cubicBezTo>
                <a:cubicBezTo>
                  <a:pt x="43" y="85"/>
                  <a:pt x="45" y="94"/>
                  <a:pt x="47" y="98"/>
                </a:cubicBezTo>
                <a:cubicBezTo>
                  <a:pt x="49" y="99"/>
                  <a:pt x="49" y="99"/>
                  <a:pt x="49" y="99"/>
                </a:cubicBezTo>
                <a:cubicBezTo>
                  <a:pt x="53" y="100"/>
                  <a:pt x="64" y="107"/>
                  <a:pt x="66" y="111"/>
                </a:cubicBezTo>
                <a:cubicBezTo>
                  <a:pt x="66" y="113"/>
                  <a:pt x="66" y="116"/>
                  <a:pt x="66" y="119"/>
                </a:cubicBezTo>
                <a:lnTo>
                  <a:pt x="66" y="1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06" name="Freeform 541"/>
          <p:cNvSpPr>
            <a:spLocks/>
          </p:cNvSpPr>
          <p:nvPr userDrawn="1"/>
        </p:nvSpPr>
        <p:spPr bwMode="auto">
          <a:xfrm>
            <a:off x="6013286" y="3244125"/>
            <a:ext cx="184260" cy="108881"/>
          </a:xfrm>
          <a:custGeom>
            <a:avLst/>
            <a:gdLst>
              <a:gd name="T0" fmla="*/ 2147483646 w 198"/>
              <a:gd name="T1" fmla="*/ 2147483646 h 117"/>
              <a:gd name="T2" fmla="*/ 2147483646 w 198"/>
              <a:gd name="T3" fmla="*/ 2147483646 h 117"/>
              <a:gd name="T4" fmla="*/ 2147483646 w 198"/>
              <a:gd name="T5" fmla="*/ 2147483646 h 117"/>
              <a:gd name="T6" fmla="*/ 2147483646 w 198"/>
              <a:gd name="T7" fmla="*/ 2147483646 h 117"/>
              <a:gd name="T8" fmla="*/ 2147483646 w 198"/>
              <a:gd name="T9" fmla="*/ 2147483646 h 117"/>
              <a:gd name="T10" fmla="*/ 2147483646 w 198"/>
              <a:gd name="T11" fmla="*/ 2147483646 h 117"/>
              <a:gd name="T12" fmla="*/ 2147483646 w 198"/>
              <a:gd name="T13" fmla="*/ 2147483646 h 117"/>
              <a:gd name="T14" fmla="*/ 2147483646 w 198"/>
              <a:gd name="T15" fmla="*/ 2147483646 h 117"/>
              <a:gd name="T16" fmla="*/ 2147483646 w 198"/>
              <a:gd name="T17" fmla="*/ 2147483646 h 117"/>
              <a:gd name="T18" fmla="*/ 2147483646 w 198"/>
              <a:gd name="T19" fmla="*/ 2147483646 h 117"/>
              <a:gd name="T20" fmla="*/ 2147483646 w 198"/>
              <a:gd name="T21" fmla="*/ 2147483646 h 117"/>
              <a:gd name="T22" fmla="*/ 2147483646 w 198"/>
              <a:gd name="T23" fmla="*/ 2147483646 h 117"/>
              <a:gd name="T24" fmla="*/ 2147483646 w 198"/>
              <a:gd name="T25" fmla="*/ 2147483646 h 117"/>
              <a:gd name="T26" fmla="*/ 2147483646 w 198"/>
              <a:gd name="T27" fmla="*/ 2147483646 h 117"/>
              <a:gd name="T28" fmla="*/ 2147483646 w 198"/>
              <a:gd name="T29" fmla="*/ 2147483646 h 117"/>
              <a:gd name="T30" fmla="*/ 2147483646 w 198"/>
              <a:gd name="T31" fmla="*/ 2147483646 h 117"/>
              <a:gd name="T32" fmla="*/ 2147483646 w 198"/>
              <a:gd name="T33" fmla="*/ 2147483646 h 117"/>
              <a:gd name="T34" fmla="*/ 2147483646 w 198"/>
              <a:gd name="T35" fmla="*/ 2147483646 h 117"/>
              <a:gd name="T36" fmla="*/ 2147483646 w 198"/>
              <a:gd name="T37" fmla="*/ 2147483646 h 117"/>
              <a:gd name="T38" fmla="*/ 2147483646 w 198"/>
              <a:gd name="T39" fmla="*/ 2147483646 h 117"/>
              <a:gd name="T40" fmla="*/ 2147483646 w 198"/>
              <a:gd name="T41" fmla="*/ 2147483646 h 117"/>
              <a:gd name="T42" fmla="*/ 2147483646 w 198"/>
              <a:gd name="T43" fmla="*/ 2147483646 h 117"/>
              <a:gd name="T44" fmla="*/ 2147483646 w 198"/>
              <a:gd name="T45" fmla="*/ 2147483646 h 117"/>
              <a:gd name="T46" fmla="*/ 2147483646 w 198"/>
              <a:gd name="T47" fmla="*/ 2147483646 h 117"/>
              <a:gd name="T48" fmla="*/ 2147483646 w 198"/>
              <a:gd name="T49" fmla="*/ 2147483646 h 117"/>
              <a:gd name="T50" fmla="*/ 2147483646 w 198"/>
              <a:gd name="T51" fmla="*/ 2147483646 h 117"/>
              <a:gd name="T52" fmla="*/ 2147483646 w 198"/>
              <a:gd name="T53" fmla="*/ 2147483646 h 117"/>
              <a:gd name="T54" fmla="*/ 2147483646 w 198"/>
              <a:gd name="T55" fmla="*/ 2147483646 h 117"/>
              <a:gd name="T56" fmla="*/ 2147483646 w 198"/>
              <a:gd name="T57" fmla="*/ 2147483646 h 117"/>
              <a:gd name="T58" fmla="*/ 2147483646 w 198"/>
              <a:gd name="T59" fmla="*/ 2147483646 h 117"/>
              <a:gd name="T60" fmla="*/ 2147483646 w 198"/>
              <a:gd name="T61" fmla="*/ 2147483646 h 117"/>
              <a:gd name="T62" fmla="*/ 2147483646 w 198"/>
              <a:gd name="T63" fmla="*/ 2147483646 h 117"/>
              <a:gd name="T64" fmla="*/ 2147483646 w 198"/>
              <a:gd name="T65" fmla="*/ 2147483646 h 117"/>
              <a:gd name="T66" fmla="*/ 2147483646 w 198"/>
              <a:gd name="T67" fmla="*/ 2147483646 h 117"/>
              <a:gd name="T68" fmla="*/ 2147483646 w 198"/>
              <a:gd name="T69" fmla="*/ 2147483646 h 117"/>
              <a:gd name="T70" fmla="*/ 2147483646 w 198"/>
              <a:gd name="T71" fmla="*/ 2147483646 h 117"/>
              <a:gd name="T72" fmla="*/ 2147483646 w 198"/>
              <a:gd name="T73" fmla="*/ 2147483646 h 117"/>
              <a:gd name="T74" fmla="*/ 2147483646 w 198"/>
              <a:gd name="T75" fmla="*/ 2147483646 h 117"/>
              <a:gd name="T76" fmla="*/ 2147483646 w 198"/>
              <a:gd name="T77" fmla="*/ 2147483646 h 117"/>
              <a:gd name="T78" fmla="*/ 2147483646 w 198"/>
              <a:gd name="T79" fmla="*/ 2147483646 h 117"/>
              <a:gd name="T80" fmla="*/ 2147483646 w 198"/>
              <a:gd name="T81" fmla="*/ 2147483646 h 117"/>
              <a:gd name="T82" fmla="*/ 2147483646 w 198"/>
              <a:gd name="T83" fmla="*/ 2147483646 h 11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98"/>
              <a:gd name="T127" fmla="*/ 0 h 117"/>
              <a:gd name="T128" fmla="*/ 198 w 198"/>
              <a:gd name="T129" fmla="*/ 117 h 11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98" h="117">
                <a:moveTo>
                  <a:pt x="149" y="117"/>
                </a:moveTo>
                <a:cubicBezTo>
                  <a:pt x="154" y="116"/>
                  <a:pt x="159" y="112"/>
                  <a:pt x="164" y="112"/>
                </a:cubicBezTo>
                <a:cubicBezTo>
                  <a:pt x="168" y="112"/>
                  <a:pt x="170" y="117"/>
                  <a:pt x="174" y="117"/>
                </a:cubicBezTo>
                <a:cubicBezTo>
                  <a:pt x="181" y="116"/>
                  <a:pt x="184" y="104"/>
                  <a:pt x="189" y="99"/>
                </a:cubicBezTo>
                <a:cubicBezTo>
                  <a:pt x="192" y="97"/>
                  <a:pt x="192" y="96"/>
                  <a:pt x="193" y="96"/>
                </a:cubicBezTo>
                <a:cubicBezTo>
                  <a:pt x="188" y="89"/>
                  <a:pt x="183" y="80"/>
                  <a:pt x="185" y="71"/>
                </a:cubicBezTo>
                <a:cubicBezTo>
                  <a:pt x="187" y="63"/>
                  <a:pt x="194" y="63"/>
                  <a:pt x="198" y="57"/>
                </a:cubicBezTo>
                <a:cubicBezTo>
                  <a:pt x="194" y="53"/>
                  <a:pt x="193" y="43"/>
                  <a:pt x="191" y="37"/>
                </a:cubicBezTo>
                <a:cubicBezTo>
                  <a:pt x="189" y="31"/>
                  <a:pt x="197" y="7"/>
                  <a:pt x="189" y="4"/>
                </a:cubicBezTo>
                <a:cubicBezTo>
                  <a:pt x="183" y="3"/>
                  <a:pt x="181" y="21"/>
                  <a:pt x="176" y="24"/>
                </a:cubicBezTo>
                <a:cubicBezTo>
                  <a:pt x="172" y="27"/>
                  <a:pt x="171" y="27"/>
                  <a:pt x="167" y="27"/>
                </a:cubicBezTo>
                <a:cubicBezTo>
                  <a:pt x="164" y="27"/>
                  <a:pt x="162" y="24"/>
                  <a:pt x="158" y="25"/>
                </a:cubicBezTo>
                <a:cubicBezTo>
                  <a:pt x="155" y="26"/>
                  <a:pt x="155" y="30"/>
                  <a:pt x="150" y="29"/>
                </a:cubicBezTo>
                <a:cubicBezTo>
                  <a:pt x="147" y="28"/>
                  <a:pt x="144" y="24"/>
                  <a:pt x="141" y="22"/>
                </a:cubicBezTo>
                <a:cubicBezTo>
                  <a:pt x="138" y="21"/>
                  <a:pt x="135" y="20"/>
                  <a:pt x="132" y="18"/>
                </a:cubicBezTo>
                <a:cubicBezTo>
                  <a:pt x="126" y="15"/>
                  <a:pt x="122" y="10"/>
                  <a:pt x="117" y="7"/>
                </a:cubicBezTo>
                <a:cubicBezTo>
                  <a:pt x="106" y="0"/>
                  <a:pt x="102" y="9"/>
                  <a:pt x="93" y="15"/>
                </a:cubicBezTo>
                <a:cubicBezTo>
                  <a:pt x="93" y="18"/>
                  <a:pt x="93" y="18"/>
                  <a:pt x="93" y="18"/>
                </a:cubicBezTo>
                <a:cubicBezTo>
                  <a:pt x="93" y="22"/>
                  <a:pt x="94" y="27"/>
                  <a:pt x="94" y="33"/>
                </a:cubicBezTo>
                <a:cubicBezTo>
                  <a:pt x="94" y="45"/>
                  <a:pt x="93" y="44"/>
                  <a:pt x="89" y="52"/>
                </a:cubicBezTo>
                <a:cubicBezTo>
                  <a:pt x="84" y="60"/>
                  <a:pt x="76" y="57"/>
                  <a:pt x="68" y="56"/>
                </a:cubicBezTo>
                <a:cubicBezTo>
                  <a:pt x="60" y="55"/>
                  <a:pt x="63" y="49"/>
                  <a:pt x="62" y="44"/>
                </a:cubicBezTo>
                <a:cubicBezTo>
                  <a:pt x="61" y="39"/>
                  <a:pt x="56" y="38"/>
                  <a:pt x="52" y="35"/>
                </a:cubicBezTo>
                <a:cubicBezTo>
                  <a:pt x="49" y="32"/>
                  <a:pt x="49" y="31"/>
                  <a:pt x="47" y="27"/>
                </a:cubicBezTo>
                <a:cubicBezTo>
                  <a:pt x="45" y="22"/>
                  <a:pt x="42" y="25"/>
                  <a:pt x="37" y="28"/>
                </a:cubicBezTo>
                <a:cubicBezTo>
                  <a:pt x="32" y="31"/>
                  <a:pt x="30" y="30"/>
                  <a:pt x="24" y="34"/>
                </a:cubicBezTo>
                <a:cubicBezTo>
                  <a:pt x="18" y="38"/>
                  <a:pt x="16" y="42"/>
                  <a:pt x="16" y="50"/>
                </a:cubicBezTo>
                <a:cubicBezTo>
                  <a:pt x="16" y="58"/>
                  <a:pt x="13" y="64"/>
                  <a:pt x="7" y="71"/>
                </a:cubicBezTo>
                <a:cubicBezTo>
                  <a:pt x="0" y="78"/>
                  <a:pt x="3" y="85"/>
                  <a:pt x="4" y="90"/>
                </a:cubicBezTo>
                <a:cubicBezTo>
                  <a:pt x="5" y="94"/>
                  <a:pt x="8" y="98"/>
                  <a:pt x="8" y="98"/>
                </a:cubicBezTo>
                <a:cubicBezTo>
                  <a:pt x="8" y="99"/>
                  <a:pt x="8" y="99"/>
                  <a:pt x="8" y="99"/>
                </a:cubicBezTo>
                <a:cubicBezTo>
                  <a:pt x="17" y="101"/>
                  <a:pt x="25" y="89"/>
                  <a:pt x="34" y="89"/>
                </a:cubicBezTo>
                <a:cubicBezTo>
                  <a:pt x="37" y="89"/>
                  <a:pt x="39" y="91"/>
                  <a:pt x="42" y="91"/>
                </a:cubicBezTo>
                <a:cubicBezTo>
                  <a:pt x="46" y="92"/>
                  <a:pt x="51" y="90"/>
                  <a:pt x="55" y="90"/>
                </a:cubicBezTo>
                <a:cubicBezTo>
                  <a:pt x="64" y="90"/>
                  <a:pt x="72" y="89"/>
                  <a:pt x="80" y="89"/>
                </a:cubicBezTo>
                <a:cubicBezTo>
                  <a:pt x="83" y="89"/>
                  <a:pt x="86" y="90"/>
                  <a:pt x="89" y="90"/>
                </a:cubicBezTo>
                <a:cubicBezTo>
                  <a:pt x="90" y="90"/>
                  <a:pt x="92" y="92"/>
                  <a:pt x="93" y="91"/>
                </a:cubicBezTo>
                <a:cubicBezTo>
                  <a:pt x="95" y="91"/>
                  <a:pt x="97" y="89"/>
                  <a:pt x="98" y="89"/>
                </a:cubicBezTo>
                <a:cubicBezTo>
                  <a:pt x="101" y="89"/>
                  <a:pt x="99" y="87"/>
                  <a:pt x="104" y="91"/>
                </a:cubicBezTo>
                <a:cubicBezTo>
                  <a:pt x="107" y="94"/>
                  <a:pt x="107" y="96"/>
                  <a:pt x="111" y="97"/>
                </a:cubicBezTo>
                <a:cubicBezTo>
                  <a:pt x="118" y="100"/>
                  <a:pt x="127" y="98"/>
                  <a:pt x="133" y="102"/>
                </a:cubicBezTo>
                <a:cubicBezTo>
                  <a:pt x="136" y="104"/>
                  <a:pt x="147" y="113"/>
                  <a:pt x="149" y="117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07" name="Freeform 542"/>
          <p:cNvSpPr>
            <a:spLocks/>
          </p:cNvSpPr>
          <p:nvPr userDrawn="1"/>
        </p:nvSpPr>
        <p:spPr bwMode="auto">
          <a:xfrm>
            <a:off x="6013286" y="3244125"/>
            <a:ext cx="184260" cy="108881"/>
          </a:xfrm>
          <a:custGeom>
            <a:avLst/>
            <a:gdLst>
              <a:gd name="T0" fmla="*/ 2147483646 w 198"/>
              <a:gd name="T1" fmla="*/ 2147483646 h 117"/>
              <a:gd name="T2" fmla="*/ 2147483646 w 198"/>
              <a:gd name="T3" fmla="*/ 2147483646 h 117"/>
              <a:gd name="T4" fmla="*/ 2147483646 w 198"/>
              <a:gd name="T5" fmla="*/ 2147483646 h 117"/>
              <a:gd name="T6" fmla="*/ 2147483646 w 198"/>
              <a:gd name="T7" fmla="*/ 2147483646 h 117"/>
              <a:gd name="T8" fmla="*/ 2147483646 w 198"/>
              <a:gd name="T9" fmla="*/ 2147483646 h 117"/>
              <a:gd name="T10" fmla="*/ 2147483646 w 198"/>
              <a:gd name="T11" fmla="*/ 2147483646 h 117"/>
              <a:gd name="T12" fmla="*/ 2147483646 w 198"/>
              <a:gd name="T13" fmla="*/ 2147483646 h 117"/>
              <a:gd name="T14" fmla="*/ 2147483646 w 198"/>
              <a:gd name="T15" fmla="*/ 2147483646 h 117"/>
              <a:gd name="T16" fmla="*/ 2147483646 w 198"/>
              <a:gd name="T17" fmla="*/ 2147483646 h 117"/>
              <a:gd name="T18" fmla="*/ 2147483646 w 198"/>
              <a:gd name="T19" fmla="*/ 2147483646 h 117"/>
              <a:gd name="T20" fmla="*/ 2147483646 w 198"/>
              <a:gd name="T21" fmla="*/ 2147483646 h 117"/>
              <a:gd name="T22" fmla="*/ 2147483646 w 198"/>
              <a:gd name="T23" fmla="*/ 2147483646 h 117"/>
              <a:gd name="T24" fmla="*/ 2147483646 w 198"/>
              <a:gd name="T25" fmla="*/ 2147483646 h 117"/>
              <a:gd name="T26" fmla="*/ 2147483646 w 198"/>
              <a:gd name="T27" fmla="*/ 2147483646 h 117"/>
              <a:gd name="T28" fmla="*/ 2147483646 w 198"/>
              <a:gd name="T29" fmla="*/ 2147483646 h 117"/>
              <a:gd name="T30" fmla="*/ 2147483646 w 198"/>
              <a:gd name="T31" fmla="*/ 2147483646 h 117"/>
              <a:gd name="T32" fmla="*/ 2147483646 w 198"/>
              <a:gd name="T33" fmla="*/ 2147483646 h 117"/>
              <a:gd name="T34" fmla="*/ 2147483646 w 198"/>
              <a:gd name="T35" fmla="*/ 2147483646 h 117"/>
              <a:gd name="T36" fmla="*/ 2147483646 w 198"/>
              <a:gd name="T37" fmla="*/ 2147483646 h 117"/>
              <a:gd name="T38" fmla="*/ 2147483646 w 198"/>
              <a:gd name="T39" fmla="*/ 2147483646 h 117"/>
              <a:gd name="T40" fmla="*/ 2147483646 w 198"/>
              <a:gd name="T41" fmla="*/ 2147483646 h 117"/>
              <a:gd name="T42" fmla="*/ 2147483646 w 198"/>
              <a:gd name="T43" fmla="*/ 2147483646 h 117"/>
              <a:gd name="T44" fmla="*/ 2147483646 w 198"/>
              <a:gd name="T45" fmla="*/ 2147483646 h 117"/>
              <a:gd name="T46" fmla="*/ 2147483646 w 198"/>
              <a:gd name="T47" fmla="*/ 2147483646 h 117"/>
              <a:gd name="T48" fmla="*/ 2147483646 w 198"/>
              <a:gd name="T49" fmla="*/ 2147483646 h 117"/>
              <a:gd name="T50" fmla="*/ 2147483646 w 198"/>
              <a:gd name="T51" fmla="*/ 2147483646 h 117"/>
              <a:gd name="T52" fmla="*/ 2147483646 w 198"/>
              <a:gd name="T53" fmla="*/ 2147483646 h 117"/>
              <a:gd name="T54" fmla="*/ 2147483646 w 198"/>
              <a:gd name="T55" fmla="*/ 2147483646 h 117"/>
              <a:gd name="T56" fmla="*/ 2147483646 w 198"/>
              <a:gd name="T57" fmla="*/ 2147483646 h 117"/>
              <a:gd name="T58" fmla="*/ 2147483646 w 198"/>
              <a:gd name="T59" fmla="*/ 2147483646 h 117"/>
              <a:gd name="T60" fmla="*/ 2147483646 w 198"/>
              <a:gd name="T61" fmla="*/ 2147483646 h 117"/>
              <a:gd name="T62" fmla="*/ 2147483646 w 198"/>
              <a:gd name="T63" fmla="*/ 2147483646 h 117"/>
              <a:gd name="T64" fmla="*/ 2147483646 w 198"/>
              <a:gd name="T65" fmla="*/ 2147483646 h 117"/>
              <a:gd name="T66" fmla="*/ 2147483646 w 198"/>
              <a:gd name="T67" fmla="*/ 2147483646 h 117"/>
              <a:gd name="T68" fmla="*/ 2147483646 w 198"/>
              <a:gd name="T69" fmla="*/ 2147483646 h 117"/>
              <a:gd name="T70" fmla="*/ 2147483646 w 198"/>
              <a:gd name="T71" fmla="*/ 2147483646 h 117"/>
              <a:gd name="T72" fmla="*/ 2147483646 w 198"/>
              <a:gd name="T73" fmla="*/ 2147483646 h 117"/>
              <a:gd name="T74" fmla="*/ 2147483646 w 198"/>
              <a:gd name="T75" fmla="*/ 2147483646 h 117"/>
              <a:gd name="T76" fmla="*/ 2147483646 w 198"/>
              <a:gd name="T77" fmla="*/ 2147483646 h 117"/>
              <a:gd name="T78" fmla="*/ 2147483646 w 198"/>
              <a:gd name="T79" fmla="*/ 2147483646 h 117"/>
              <a:gd name="T80" fmla="*/ 2147483646 w 198"/>
              <a:gd name="T81" fmla="*/ 2147483646 h 117"/>
              <a:gd name="T82" fmla="*/ 2147483646 w 198"/>
              <a:gd name="T83" fmla="*/ 2147483646 h 11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98"/>
              <a:gd name="T127" fmla="*/ 0 h 117"/>
              <a:gd name="T128" fmla="*/ 198 w 198"/>
              <a:gd name="T129" fmla="*/ 117 h 11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98" h="117">
                <a:moveTo>
                  <a:pt x="149" y="117"/>
                </a:moveTo>
                <a:cubicBezTo>
                  <a:pt x="154" y="116"/>
                  <a:pt x="159" y="112"/>
                  <a:pt x="164" y="112"/>
                </a:cubicBezTo>
                <a:cubicBezTo>
                  <a:pt x="168" y="112"/>
                  <a:pt x="170" y="117"/>
                  <a:pt x="174" y="117"/>
                </a:cubicBezTo>
                <a:cubicBezTo>
                  <a:pt x="181" y="116"/>
                  <a:pt x="184" y="104"/>
                  <a:pt x="189" y="99"/>
                </a:cubicBezTo>
                <a:cubicBezTo>
                  <a:pt x="192" y="97"/>
                  <a:pt x="192" y="96"/>
                  <a:pt x="193" y="96"/>
                </a:cubicBezTo>
                <a:cubicBezTo>
                  <a:pt x="188" y="89"/>
                  <a:pt x="183" y="80"/>
                  <a:pt x="185" y="71"/>
                </a:cubicBezTo>
                <a:cubicBezTo>
                  <a:pt x="187" y="63"/>
                  <a:pt x="194" y="63"/>
                  <a:pt x="198" y="57"/>
                </a:cubicBezTo>
                <a:cubicBezTo>
                  <a:pt x="194" y="53"/>
                  <a:pt x="193" y="43"/>
                  <a:pt x="191" y="37"/>
                </a:cubicBezTo>
                <a:cubicBezTo>
                  <a:pt x="189" y="31"/>
                  <a:pt x="197" y="7"/>
                  <a:pt x="189" y="4"/>
                </a:cubicBezTo>
                <a:cubicBezTo>
                  <a:pt x="183" y="3"/>
                  <a:pt x="181" y="21"/>
                  <a:pt x="176" y="24"/>
                </a:cubicBezTo>
                <a:cubicBezTo>
                  <a:pt x="172" y="27"/>
                  <a:pt x="171" y="27"/>
                  <a:pt x="167" y="27"/>
                </a:cubicBezTo>
                <a:cubicBezTo>
                  <a:pt x="164" y="27"/>
                  <a:pt x="162" y="24"/>
                  <a:pt x="158" y="25"/>
                </a:cubicBezTo>
                <a:cubicBezTo>
                  <a:pt x="155" y="26"/>
                  <a:pt x="155" y="30"/>
                  <a:pt x="150" y="29"/>
                </a:cubicBezTo>
                <a:cubicBezTo>
                  <a:pt x="147" y="28"/>
                  <a:pt x="144" y="24"/>
                  <a:pt x="141" y="22"/>
                </a:cubicBezTo>
                <a:cubicBezTo>
                  <a:pt x="138" y="21"/>
                  <a:pt x="135" y="20"/>
                  <a:pt x="132" y="18"/>
                </a:cubicBezTo>
                <a:cubicBezTo>
                  <a:pt x="126" y="15"/>
                  <a:pt x="122" y="10"/>
                  <a:pt x="117" y="7"/>
                </a:cubicBezTo>
                <a:cubicBezTo>
                  <a:pt x="106" y="0"/>
                  <a:pt x="102" y="9"/>
                  <a:pt x="93" y="15"/>
                </a:cubicBezTo>
                <a:cubicBezTo>
                  <a:pt x="93" y="18"/>
                  <a:pt x="93" y="18"/>
                  <a:pt x="93" y="18"/>
                </a:cubicBezTo>
                <a:cubicBezTo>
                  <a:pt x="93" y="22"/>
                  <a:pt x="94" y="27"/>
                  <a:pt x="94" y="33"/>
                </a:cubicBezTo>
                <a:cubicBezTo>
                  <a:pt x="94" y="45"/>
                  <a:pt x="93" y="44"/>
                  <a:pt x="89" y="52"/>
                </a:cubicBezTo>
                <a:cubicBezTo>
                  <a:pt x="84" y="60"/>
                  <a:pt x="76" y="57"/>
                  <a:pt x="68" y="56"/>
                </a:cubicBezTo>
                <a:cubicBezTo>
                  <a:pt x="60" y="55"/>
                  <a:pt x="63" y="49"/>
                  <a:pt x="62" y="44"/>
                </a:cubicBezTo>
                <a:cubicBezTo>
                  <a:pt x="61" y="39"/>
                  <a:pt x="56" y="38"/>
                  <a:pt x="52" y="35"/>
                </a:cubicBezTo>
                <a:cubicBezTo>
                  <a:pt x="49" y="32"/>
                  <a:pt x="49" y="31"/>
                  <a:pt x="47" y="27"/>
                </a:cubicBezTo>
                <a:cubicBezTo>
                  <a:pt x="45" y="22"/>
                  <a:pt x="42" y="25"/>
                  <a:pt x="37" y="28"/>
                </a:cubicBezTo>
                <a:cubicBezTo>
                  <a:pt x="32" y="31"/>
                  <a:pt x="30" y="30"/>
                  <a:pt x="24" y="34"/>
                </a:cubicBezTo>
                <a:cubicBezTo>
                  <a:pt x="18" y="38"/>
                  <a:pt x="16" y="42"/>
                  <a:pt x="16" y="50"/>
                </a:cubicBezTo>
                <a:cubicBezTo>
                  <a:pt x="16" y="58"/>
                  <a:pt x="13" y="64"/>
                  <a:pt x="7" y="71"/>
                </a:cubicBezTo>
                <a:cubicBezTo>
                  <a:pt x="0" y="78"/>
                  <a:pt x="3" y="85"/>
                  <a:pt x="4" y="90"/>
                </a:cubicBezTo>
                <a:cubicBezTo>
                  <a:pt x="5" y="94"/>
                  <a:pt x="8" y="98"/>
                  <a:pt x="8" y="98"/>
                </a:cubicBezTo>
                <a:cubicBezTo>
                  <a:pt x="8" y="99"/>
                  <a:pt x="8" y="99"/>
                  <a:pt x="8" y="99"/>
                </a:cubicBezTo>
                <a:cubicBezTo>
                  <a:pt x="17" y="101"/>
                  <a:pt x="25" y="89"/>
                  <a:pt x="34" y="89"/>
                </a:cubicBezTo>
                <a:cubicBezTo>
                  <a:pt x="37" y="89"/>
                  <a:pt x="39" y="91"/>
                  <a:pt x="42" y="91"/>
                </a:cubicBezTo>
                <a:cubicBezTo>
                  <a:pt x="46" y="92"/>
                  <a:pt x="51" y="90"/>
                  <a:pt x="55" y="90"/>
                </a:cubicBezTo>
                <a:cubicBezTo>
                  <a:pt x="64" y="90"/>
                  <a:pt x="72" y="89"/>
                  <a:pt x="80" y="89"/>
                </a:cubicBezTo>
                <a:cubicBezTo>
                  <a:pt x="83" y="89"/>
                  <a:pt x="86" y="90"/>
                  <a:pt x="89" y="90"/>
                </a:cubicBezTo>
                <a:cubicBezTo>
                  <a:pt x="90" y="90"/>
                  <a:pt x="92" y="92"/>
                  <a:pt x="93" y="91"/>
                </a:cubicBezTo>
                <a:cubicBezTo>
                  <a:pt x="95" y="91"/>
                  <a:pt x="97" y="89"/>
                  <a:pt x="98" y="89"/>
                </a:cubicBezTo>
                <a:cubicBezTo>
                  <a:pt x="101" y="89"/>
                  <a:pt x="99" y="87"/>
                  <a:pt x="104" y="91"/>
                </a:cubicBezTo>
                <a:cubicBezTo>
                  <a:pt x="107" y="94"/>
                  <a:pt x="107" y="96"/>
                  <a:pt x="111" y="97"/>
                </a:cubicBezTo>
                <a:cubicBezTo>
                  <a:pt x="118" y="100"/>
                  <a:pt x="127" y="98"/>
                  <a:pt x="133" y="102"/>
                </a:cubicBezTo>
                <a:cubicBezTo>
                  <a:pt x="136" y="104"/>
                  <a:pt x="147" y="113"/>
                  <a:pt x="149" y="117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08" name="Freeform 543"/>
          <p:cNvSpPr>
            <a:spLocks/>
          </p:cNvSpPr>
          <p:nvPr userDrawn="1"/>
        </p:nvSpPr>
        <p:spPr bwMode="auto">
          <a:xfrm>
            <a:off x="6071913" y="3173771"/>
            <a:ext cx="117256" cy="98831"/>
          </a:xfrm>
          <a:custGeom>
            <a:avLst/>
            <a:gdLst>
              <a:gd name="T0" fmla="*/ 2147483646 w 125"/>
              <a:gd name="T1" fmla="*/ 2147483646 h 105"/>
              <a:gd name="T2" fmla="*/ 2147483646 w 125"/>
              <a:gd name="T3" fmla="*/ 2147483646 h 105"/>
              <a:gd name="T4" fmla="*/ 2147483646 w 125"/>
              <a:gd name="T5" fmla="*/ 2147483646 h 105"/>
              <a:gd name="T6" fmla="*/ 2147483646 w 125"/>
              <a:gd name="T7" fmla="*/ 2147483646 h 105"/>
              <a:gd name="T8" fmla="*/ 2147483646 w 125"/>
              <a:gd name="T9" fmla="*/ 2147483646 h 105"/>
              <a:gd name="T10" fmla="*/ 2147483646 w 125"/>
              <a:gd name="T11" fmla="*/ 2147483646 h 105"/>
              <a:gd name="T12" fmla="*/ 2147483646 w 125"/>
              <a:gd name="T13" fmla="*/ 2147483646 h 105"/>
              <a:gd name="T14" fmla="*/ 2147483646 w 125"/>
              <a:gd name="T15" fmla="*/ 2147483646 h 105"/>
              <a:gd name="T16" fmla="*/ 2147483646 w 125"/>
              <a:gd name="T17" fmla="*/ 2147483646 h 105"/>
              <a:gd name="T18" fmla="*/ 2147483646 w 125"/>
              <a:gd name="T19" fmla="*/ 2147483646 h 105"/>
              <a:gd name="T20" fmla="*/ 2147483646 w 125"/>
              <a:gd name="T21" fmla="*/ 2147483646 h 105"/>
              <a:gd name="T22" fmla="*/ 2147483646 w 125"/>
              <a:gd name="T23" fmla="*/ 2147483646 h 105"/>
              <a:gd name="T24" fmla="*/ 2147483646 w 125"/>
              <a:gd name="T25" fmla="*/ 2147483646 h 105"/>
              <a:gd name="T26" fmla="*/ 2147483646 w 125"/>
              <a:gd name="T27" fmla="*/ 2147483646 h 105"/>
              <a:gd name="T28" fmla="*/ 2147483646 w 125"/>
              <a:gd name="T29" fmla="*/ 2147483646 h 105"/>
              <a:gd name="T30" fmla="*/ 2147483646 w 125"/>
              <a:gd name="T31" fmla="*/ 2147483646 h 105"/>
              <a:gd name="T32" fmla="*/ 2147483646 w 125"/>
              <a:gd name="T33" fmla="*/ 2147483646 h 105"/>
              <a:gd name="T34" fmla="*/ 2147483646 w 125"/>
              <a:gd name="T35" fmla="*/ 2147483646 h 105"/>
              <a:gd name="T36" fmla="*/ 2147483646 w 125"/>
              <a:gd name="T37" fmla="*/ 2147483646 h 105"/>
              <a:gd name="T38" fmla="*/ 2147483646 w 125"/>
              <a:gd name="T39" fmla="*/ 2147483646 h 105"/>
              <a:gd name="T40" fmla="*/ 2147483646 w 125"/>
              <a:gd name="T41" fmla="*/ 2147483646 h 105"/>
              <a:gd name="T42" fmla="*/ 2147483646 w 125"/>
              <a:gd name="T43" fmla="*/ 2147483646 h 105"/>
              <a:gd name="T44" fmla="*/ 2147483646 w 125"/>
              <a:gd name="T45" fmla="*/ 2147483646 h 105"/>
              <a:gd name="T46" fmla="*/ 2147483646 w 125"/>
              <a:gd name="T47" fmla="*/ 2147483646 h 105"/>
              <a:gd name="T48" fmla="*/ 2147483646 w 125"/>
              <a:gd name="T49" fmla="*/ 2147483646 h 105"/>
              <a:gd name="T50" fmla="*/ 2147483646 w 125"/>
              <a:gd name="T51" fmla="*/ 2147483646 h 105"/>
              <a:gd name="T52" fmla="*/ 2147483646 w 125"/>
              <a:gd name="T53" fmla="*/ 2147483646 h 105"/>
              <a:gd name="T54" fmla="*/ 2147483646 w 125"/>
              <a:gd name="T55" fmla="*/ 2147483646 h 105"/>
              <a:gd name="T56" fmla="*/ 2147483646 w 125"/>
              <a:gd name="T57" fmla="*/ 2147483646 h 105"/>
              <a:gd name="T58" fmla="*/ 2147483646 w 125"/>
              <a:gd name="T59" fmla="*/ 2147483646 h 105"/>
              <a:gd name="T60" fmla="*/ 2147483646 w 125"/>
              <a:gd name="T61" fmla="*/ 2147483646 h 105"/>
              <a:gd name="T62" fmla="*/ 2147483646 w 125"/>
              <a:gd name="T63" fmla="*/ 2147483646 h 105"/>
              <a:gd name="T64" fmla="*/ 2147483646 w 125"/>
              <a:gd name="T65" fmla="*/ 2147483646 h 105"/>
              <a:gd name="T66" fmla="*/ 2147483646 w 125"/>
              <a:gd name="T67" fmla="*/ 2147483646 h 105"/>
              <a:gd name="T68" fmla="*/ 2147483646 w 125"/>
              <a:gd name="T69" fmla="*/ 2147483646 h 105"/>
              <a:gd name="T70" fmla="*/ 2147483646 w 125"/>
              <a:gd name="T71" fmla="*/ 2147483646 h 105"/>
              <a:gd name="T72" fmla="*/ 2147483646 w 125"/>
              <a:gd name="T73" fmla="*/ 2147483646 h 105"/>
              <a:gd name="T74" fmla="*/ 2147483646 w 125"/>
              <a:gd name="T75" fmla="*/ 2147483646 h 105"/>
              <a:gd name="T76" fmla="*/ 2147483646 w 125"/>
              <a:gd name="T77" fmla="*/ 2147483646 h 105"/>
              <a:gd name="T78" fmla="*/ 2147483646 w 125"/>
              <a:gd name="T79" fmla="*/ 2147483646 h 105"/>
              <a:gd name="T80" fmla="*/ 2147483646 w 125"/>
              <a:gd name="T81" fmla="*/ 2147483646 h 105"/>
              <a:gd name="T82" fmla="*/ 2147483646 w 125"/>
              <a:gd name="T83" fmla="*/ 2147483646 h 105"/>
              <a:gd name="T84" fmla="*/ 2147483646 w 125"/>
              <a:gd name="T85" fmla="*/ 2147483646 h 105"/>
              <a:gd name="T86" fmla="*/ 2147483646 w 125"/>
              <a:gd name="T87" fmla="*/ 2147483646 h 105"/>
              <a:gd name="T88" fmla="*/ 2147483646 w 125"/>
              <a:gd name="T89" fmla="*/ 2147483646 h 105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5"/>
              <a:gd name="T136" fmla="*/ 0 h 105"/>
              <a:gd name="T137" fmla="*/ 125 w 125"/>
              <a:gd name="T138" fmla="*/ 105 h 105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5" h="105">
                <a:moveTo>
                  <a:pt x="29" y="90"/>
                </a:moveTo>
                <a:cubicBezTo>
                  <a:pt x="29" y="87"/>
                  <a:pt x="29" y="82"/>
                  <a:pt x="30" y="79"/>
                </a:cubicBezTo>
                <a:cubicBezTo>
                  <a:pt x="32" y="72"/>
                  <a:pt x="36" y="71"/>
                  <a:pt x="33" y="66"/>
                </a:cubicBezTo>
                <a:cubicBezTo>
                  <a:pt x="29" y="61"/>
                  <a:pt x="27" y="68"/>
                  <a:pt x="26" y="72"/>
                </a:cubicBezTo>
                <a:cubicBezTo>
                  <a:pt x="24" y="76"/>
                  <a:pt x="21" y="71"/>
                  <a:pt x="18" y="68"/>
                </a:cubicBezTo>
                <a:cubicBezTo>
                  <a:pt x="16" y="66"/>
                  <a:pt x="13" y="69"/>
                  <a:pt x="12" y="66"/>
                </a:cubicBezTo>
                <a:cubicBezTo>
                  <a:pt x="10" y="63"/>
                  <a:pt x="9" y="55"/>
                  <a:pt x="9" y="55"/>
                </a:cubicBezTo>
                <a:cubicBezTo>
                  <a:pt x="9" y="55"/>
                  <a:pt x="0" y="55"/>
                  <a:pt x="3" y="53"/>
                </a:cubicBezTo>
                <a:cubicBezTo>
                  <a:pt x="5" y="51"/>
                  <a:pt x="9" y="51"/>
                  <a:pt x="11" y="49"/>
                </a:cubicBezTo>
                <a:cubicBezTo>
                  <a:pt x="13" y="48"/>
                  <a:pt x="7" y="48"/>
                  <a:pt x="6" y="46"/>
                </a:cubicBezTo>
                <a:cubicBezTo>
                  <a:pt x="5" y="43"/>
                  <a:pt x="9" y="40"/>
                  <a:pt x="8" y="36"/>
                </a:cubicBezTo>
                <a:cubicBezTo>
                  <a:pt x="7" y="33"/>
                  <a:pt x="2" y="29"/>
                  <a:pt x="6" y="26"/>
                </a:cubicBezTo>
                <a:cubicBezTo>
                  <a:pt x="9" y="23"/>
                  <a:pt x="13" y="19"/>
                  <a:pt x="18" y="18"/>
                </a:cubicBezTo>
                <a:cubicBezTo>
                  <a:pt x="23" y="16"/>
                  <a:pt x="28" y="13"/>
                  <a:pt x="29" y="10"/>
                </a:cubicBezTo>
                <a:cubicBezTo>
                  <a:pt x="31" y="8"/>
                  <a:pt x="30" y="4"/>
                  <a:pt x="36" y="7"/>
                </a:cubicBezTo>
                <a:cubicBezTo>
                  <a:pt x="41" y="10"/>
                  <a:pt x="39" y="7"/>
                  <a:pt x="45" y="8"/>
                </a:cubicBezTo>
                <a:cubicBezTo>
                  <a:pt x="50" y="8"/>
                  <a:pt x="50" y="6"/>
                  <a:pt x="53" y="8"/>
                </a:cubicBezTo>
                <a:cubicBezTo>
                  <a:pt x="57" y="9"/>
                  <a:pt x="58" y="0"/>
                  <a:pt x="63" y="2"/>
                </a:cubicBezTo>
                <a:cubicBezTo>
                  <a:pt x="69" y="3"/>
                  <a:pt x="70" y="3"/>
                  <a:pt x="73" y="3"/>
                </a:cubicBezTo>
                <a:cubicBezTo>
                  <a:pt x="77" y="3"/>
                  <a:pt x="76" y="1"/>
                  <a:pt x="81" y="3"/>
                </a:cubicBezTo>
                <a:cubicBezTo>
                  <a:pt x="86" y="5"/>
                  <a:pt x="84" y="7"/>
                  <a:pt x="88" y="7"/>
                </a:cubicBezTo>
                <a:cubicBezTo>
                  <a:pt x="92" y="8"/>
                  <a:pt x="99" y="9"/>
                  <a:pt x="105" y="10"/>
                </a:cubicBezTo>
                <a:cubicBezTo>
                  <a:pt x="111" y="10"/>
                  <a:pt x="110" y="12"/>
                  <a:pt x="115" y="10"/>
                </a:cubicBezTo>
                <a:cubicBezTo>
                  <a:pt x="116" y="10"/>
                  <a:pt x="117" y="9"/>
                  <a:pt x="117" y="9"/>
                </a:cubicBezTo>
                <a:cubicBezTo>
                  <a:pt x="119" y="9"/>
                  <a:pt x="119" y="9"/>
                  <a:pt x="119" y="9"/>
                </a:cubicBezTo>
                <a:cubicBezTo>
                  <a:pt x="122" y="14"/>
                  <a:pt x="125" y="19"/>
                  <a:pt x="122" y="25"/>
                </a:cubicBezTo>
                <a:cubicBezTo>
                  <a:pt x="122" y="27"/>
                  <a:pt x="121" y="29"/>
                  <a:pt x="120" y="31"/>
                </a:cubicBezTo>
                <a:cubicBezTo>
                  <a:pt x="117" y="32"/>
                  <a:pt x="117" y="32"/>
                  <a:pt x="117" y="32"/>
                </a:cubicBezTo>
                <a:cubicBezTo>
                  <a:pt x="114" y="33"/>
                  <a:pt x="113" y="35"/>
                  <a:pt x="110" y="33"/>
                </a:cubicBezTo>
                <a:cubicBezTo>
                  <a:pt x="107" y="31"/>
                  <a:pt x="104" y="26"/>
                  <a:pt x="101" y="32"/>
                </a:cubicBezTo>
                <a:cubicBezTo>
                  <a:pt x="98" y="38"/>
                  <a:pt x="93" y="37"/>
                  <a:pt x="98" y="43"/>
                </a:cubicBezTo>
                <a:cubicBezTo>
                  <a:pt x="102" y="49"/>
                  <a:pt x="102" y="45"/>
                  <a:pt x="104" y="54"/>
                </a:cubicBezTo>
                <a:cubicBezTo>
                  <a:pt x="106" y="63"/>
                  <a:pt x="106" y="61"/>
                  <a:pt x="111" y="68"/>
                </a:cubicBezTo>
                <a:cubicBezTo>
                  <a:pt x="116" y="76"/>
                  <a:pt x="115" y="68"/>
                  <a:pt x="121" y="76"/>
                </a:cubicBezTo>
                <a:cubicBezTo>
                  <a:pt x="122" y="77"/>
                  <a:pt x="123" y="77"/>
                  <a:pt x="123" y="78"/>
                </a:cubicBezTo>
                <a:cubicBezTo>
                  <a:pt x="125" y="79"/>
                  <a:pt x="125" y="79"/>
                  <a:pt x="125" y="79"/>
                </a:cubicBezTo>
                <a:cubicBezTo>
                  <a:pt x="119" y="78"/>
                  <a:pt x="117" y="96"/>
                  <a:pt x="112" y="99"/>
                </a:cubicBezTo>
                <a:cubicBezTo>
                  <a:pt x="108" y="102"/>
                  <a:pt x="107" y="102"/>
                  <a:pt x="103" y="102"/>
                </a:cubicBezTo>
                <a:cubicBezTo>
                  <a:pt x="100" y="102"/>
                  <a:pt x="98" y="99"/>
                  <a:pt x="94" y="100"/>
                </a:cubicBezTo>
                <a:cubicBezTo>
                  <a:pt x="91" y="101"/>
                  <a:pt x="91" y="105"/>
                  <a:pt x="86" y="104"/>
                </a:cubicBezTo>
                <a:cubicBezTo>
                  <a:pt x="83" y="103"/>
                  <a:pt x="80" y="99"/>
                  <a:pt x="77" y="97"/>
                </a:cubicBezTo>
                <a:cubicBezTo>
                  <a:pt x="74" y="96"/>
                  <a:pt x="71" y="95"/>
                  <a:pt x="68" y="93"/>
                </a:cubicBezTo>
                <a:cubicBezTo>
                  <a:pt x="62" y="90"/>
                  <a:pt x="58" y="85"/>
                  <a:pt x="54" y="82"/>
                </a:cubicBezTo>
                <a:cubicBezTo>
                  <a:pt x="42" y="75"/>
                  <a:pt x="38" y="83"/>
                  <a:pt x="30" y="89"/>
                </a:cubicBezTo>
                <a:lnTo>
                  <a:pt x="29" y="9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09" name="Freeform 544"/>
          <p:cNvSpPr>
            <a:spLocks/>
          </p:cNvSpPr>
          <p:nvPr userDrawn="1"/>
        </p:nvSpPr>
        <p:spPr bwMode="auto">
          <a:xfrm>
            <a:off x="6046788" y="3497065"/>
            <a:ext cx="433849" cy="269689"/>
          </a:xfrm>
          <a:custGeom>
            <a:avLst/>
            <a:gdLst>
              <a:gd name="T0" fmla="*/ 2147483646 w 464"/>
              <a:gd name="T1" fmla="*/ 2147483646 h 288"/>
              <a:gd name="T2" fmla="*/ 2147483646 w 464"/>
              <a:gd name="T3" fmla="*/ 2147483646 h 288"/>
              <a:gd name="T4" fmla="*/ 2147483646 w 464"/>
              <a:gd name="T5" fmla="*/ 2147483646 h 288"/>
              <a:gd name="T6" fmla="*/ 2147483646 w 464"/>
              <a:gd name="T7" fmla="*/ 2147483646 h 288"/>
              <a:gd name="T8" fmla="*/ 2147483646 w 464"/>
              <a:gd name="T9" fmla="*/ 2147483646 h 288"/>
              <a:gd name="T10" fmla="*/ 2147483646 w 464"/>
              <a:gd name="T11" fmla="*/ 2147483646 h 288"/>
              <a:gd name="T12" fmla="*/ 2147483646 w 464"/>
              <a:gd name="T13" fmla="*/ 2147483646 h 288"/>
              <a:gd name="T14" fmla="*/ 2147483646 w 464"/>
              <a:gd name="T15" fmla="*/ 2147483646 h 288"/>
              <a:gd name="T16" fmla="*/ 2147483646 w 464"/>
              <a:gd name="T17" fmla="*/ 2147483646 h 288"/>
              <a:gd name="T18" fmla="*/ 2147483646 w 464"/>
              <a:gd name="T19" fmla="*/ 2147483646 h 288"/>
              <a:gd name="T20" fmla="*/ 2147483646 w 464"/>
              <a:gd name="T21" fmla="*/ 2147483646 h 288"/>
              <a:gd name="T22" fmla="*/ 2147483646 w 464"/>
              <a:gd name="T23" fmla="*/ 2147483646 h 288"/>
              <a:gd name="T24" fmla="*/ 2147483646 w 464"/>
              <a:gd name="T25" fmla="*/ 2147483646 h 288"/>
              <a:gd name="T26" fmla="*/ 2147483646 w 464"/>
              <a:gd name="T27" fmla="*/ 2147483646 h 288"/>
              <a:gd name="T28" fmla="*/ 2147483646 w 464"/>
              <a:gd name="T29" fmla="*/ 2147483646 h 288"/>
              <a:gd name="T30" fmla="*/ 2147483646 w 464"/>
              <a:gd name="T31" fmla="*/ 2147483646 h 288"/>
              <a:gd name="T32" fmla="*/ 2147483646 w 464"/>
              <a:gd name="T33" fmla="*/ 2147483646 h 288"/>
              <a:gd name="T34" fmla="*/ 2147483646 w 464"/>
              <a:gd name="T35" fmla="*/ 2147483646 h 288"/>
              <a:gd name="T36" fmla="*/ 2147483646 w 464"/>
              <a:gd name="T37" fmla="*/ 2147483646 h 288"/>
              <a:gd name="T38" fmla="*/ 2147483646 w 464"/>
              <a:gd name="T39" fmla="*/ 2147483646 h 288"/>
              <a:gd name="T40" fmla="*/ 2147483646 w 464"/>
              <a:gd name="T41" fmla="*/ 2147483646 h 288"/>
              <a:gd name="T42" fmla="*/ 2147483646 w 464"/>
              <a:gd name="T43" fmla="*/ 2147483646 h 288"/>
              <a:gd name="T44" fmla="*/ 2147483646 w 464"/>
              <a:gd name="T45" fmla="*/ 2147483646 h 288"/>
              <a:gd name="T46" fmla="*/ 2147483646 w 464"/>
              <a:gd name="T47" fmla="*/ 2147483646 h 288"/>
              <a:gd name="T48" fmla="*/ 2147483646 w 464"/>
              <a:gd name="T49" fmla="*/ 2147483646 h 288"/>
              <a:gd name="T50" fmla="*/ 2147483646 w 464"/>
              <a:gd name="T51" fmla="*/ 2147483646 h 288"/>
              <a:gd name="T52" fmla="*/ 2147483646 w 464"/>
              <a:gd name="T53" fmla="*/ 2147483646 h 288"/>
              <a:gd name="T54" fmla="*/ 2147483646 w 464"/>
              <a:gd name="T55" fmla="*/ 2147483646 h 288"/>
              <a:gd name="T56" fmla="*/ 2147483646 w 464"/>
              <a:gd name="T57" fmla="*/ 2147483646 h 288"/>
              <a:gd name="T58" fmla="*/ 2147483646 w 464"/>
              <a:gd name="T59" fmla="*/ 2147483646 h 288"/>
              <a:gd name="T60" fmla="*/ 2147483646 w 464"/>
              <a:gd name="T61" fmla="*/ 2147483646 h 288"/>
              <a:gd name="T62" fmla="*/ 2147483646 w 464"/>
              <a:gd name="T63" fmla="*/ 2147483646 h 288"/>
              <a:gd name="T64" fmla="*/ 2147483646 w 464"/>
              <a:gd name="T65" fmla="*/ 2147483646 h 288"/>
              <a:gd name="T66" fmla="*/ 2147483646 w 464"/>
              <a:gd name="T67" fmla="*/ 2147483646 h 288"/>
              <a:gd name="T68" fmla="*/ 2147483646 w 464"/>
              <a:gd name="T69" fmla="*/ 2147483646 h 288"/>
              <a:gd name="T70" fmla="*/ 2147483646 w 464"/>
              <a:gd name="T71" fmla="*/ 2147483646 h 288"/>
              <a:gd name="T72" fmla="*/ 2147483646 w 464"/>
              <a:gd name="T73" fmla="*/ 2147483646 h 288"/>
              <a:gd name="T74" fmla="*/ 2147483646 w 464"/>
              <a:gd name="T75" fmla="*/ 2147483646 h 288"/>
              <a:gd name="T76" fmla="*/ 2147483646 w 464"/>
              <a:gd name="T77" fmla="*/ 2147483646 h 288"/>
              <a:gd name="T78" fmla="*/ 2147483646 w 464"/>
              <a:gd name="T79" fmla="*/ 2147483646 h 288"/>
              <a:gd name="T80" fmla="*/ 2147483646 w 464"/>
              <a:gd name="T81" fmla="*/ 2147483646 h 288"/>
              <a:gd name="T82" fmla="*/ 2147483646 w 464"/>
              <a:gd name="T83" fmla="*/ 2147483646 h 288"/>
              <a:gd name="T84" fmla="*/ 2147483646 w 464"/>
              <a:gd name="T85" fmla="*/ 2147483646 h 288"/>
              <a:gd name="T86" fmla="*/ 2147483646 w 464"/>
              <a:gd name="T87" fmla="*/ 2147483646 h 288"/>
              <a:gd name="T88" fmla="*/ 2147483646 w 464"/>
              <a:gd name="T89" fmla="*/ 2147483646 h 288"/>
              <a:gd name="T90" fmla="*/ 2147483646 w 464"/>
              <a:gd name="T91" fmla="*/ 2147483646 h 288"/>
              <a:gd name="T92" fmla="*/ 2147483646 w 464"/>
              <a:gd name="T93" fmla="*/ 2147483646 h 288"/>
              <a:gd name="T94" fmla="*/ 2147483646 w 464"/>
              <a:gd name="T95" fmla="*/ 2147483646 h 288"/>
              <a:gd name="T96" fmla="*/ 2147483646 w 464"/>
              <a:gd name="T97" fmla="*/ 2147483646 h 28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64"/>
              <a:gd name="T148" fmla="*/ 0 h 288"/>
              <a:gd name="T149" fmla="*/ 464 w 464"/>
              <a:gd name="T150" fmla="*/ 288 h 28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64" h="288">
                <a:moveTo>
                  <a:pt x="19" y="189"/>
                </a:moveTo>
                <a:cubicBezTo>
                  <a:pt x="22" y="185"/>
                  <a:pt x="22" y="182"/>
                  <a:pt x="26" y="180"/>
                </a:cubicBezTo>
                <a:cubicBezTo>
                  <a:pt x="29" y="178"/>
                  <a:pt x="34" y="177"/>
                  <a:pt x="37" y="177"/>
                </a:cubicBezTo>
                <a:cubicBezTo>
                  <a:pt x="46" y="177"/>
                  <a:pt x="54" y="182"/>
                  <a:pt x="62" y="184"/>
                </a:cubicBezTo>
                <a:cubicBezTo>
                  <a:pt x="67" y="186"/>
                  <a:pt x="71" y="184"/>
                  <a:pt x="76" y="186"/>
                </a:cubicBezTo>
                <a:cubicBezTo>
                  <a:pt x="85" y="189"/>
                  <a:pt x="91" y="183"/>
                  <a:pt x="99" y="179"/>
                </a:cubicBezTo>
                <a:cubicBezTo>
                  <a:pt x="101" y="179"/>
                  <a:pt x="102" y="178"/>
                  <a:pt x="104" y="178"/>
                </a:cubicBezTo>
                <a:cubicBezTo>
                  <a:pt x="106" y="169"/>
                  <a:pt x="105" y="168"/>
                  <a:pt x="113" y="168"/>
                </a:cubicBezTo>
                <a:cubicBezTo>
                  <a:pt x="121" y="168"/>
                  <a:pt x="121" y="168"/>
                  <a:pt x="121" y="168"/>
                </a:cubicBezTo>
                <a:cubicBezTo>
                  <a:pt x="122" y="167"/>
                  <a:pt x="122" y="163"/>
                  <a:pt x="123" y="162"/>
                </a:cubicBezTo>
                <a:cubicBezTo>
                  <a:pt x="125" y="160"/>
                  <a:pt x="127" y="160"/>
                  <a:pt x="129" y="160"/>
                </a:cubicBezTo>
                <a:cubicBezTo>
                  <a:pt x="138" y="158"/>
                  <a:pt x="139" y="157"/>
                  <a:pt x="146" y="161"/>
                </a:cubicBezTo>
                <a:cubicBezTo>
                  <a:pt x="153" y="165"/>
                  <a:pt x="161" y="166"/>
                  <a:pt x="167" y="169"/>
                </a:cubicBezTo>
                <a:cubicBezTo>
                  <a:pt x="172" y="171"/>
                  <a:pt x="179" y="173"/>
                  <a:pt x="181" y="177"/>
                </a:cubicBezTo>
                <a:cubicBezTo>
                  <a:pt x="182" y="180"/>
                  <a:pt x="183" y="185"/>
                  <a:pt x="184" y="188"/>
                </a:cubicBezTo>
                <a:cubicBezTo>
                  <a:pt x="185" y="192"/>
                  <a:pt x="187" y="196"/>
                  <a:pt x="188" y="200"/>
                </a:cubicBezTo>
                <a:cubicBezTo>
                  <a:pt x="190" y="206"/>
                  <a:pt x="193" y="211"/>
                  <a:pt x="198" y="216"/>
                </a:cubicBezTo>
                <a:cubicBezTo>
                  <a:pt x="201" y="220"/>
                  <a:pt x="203" y="221"/>
                  <a:pt x="203" y="226"/>
                </a:cubicBezTo>
                <a:cubicBezTo>
                  <a:pt x="204" y="230"/>
                  <a:pt x="205" y="235"/>
                  <a:pt x="205" y="239"/>
                </a:cubicBezTo>
                <a:cubicBezTo>
                  <a:pt x="199" y="241"/>
                  <a:pt x="196" y="239"/>
                  <a:pt x="190" y="238"/>
                </a:cubicBezTo>
                <a:cubicBezTo>
                  <a:pt x="185" y="238"/>
                  <a:pt x="179" y="237"/>
                  <a:pt x="176" y="242"/>
                </a:cubicBezTo>
                <a:cubicBezTo>
                  <a:pt x="174" y="246"/>
                  <a:pt x="175" y="255"/>
                  <a:pt x="171" y="259"/>
                </a:cubicBezTo>
                <a:cubicBezTo>
                  <a:pt x="168" y="262"/>
                  <a:pt x="161" y="262"/>
                  <a:pt x="157" y="263"/>
                </a:cubicBezTo>
                <a:cubicBezTo>
                  <a:pt x="157" y="265"/>
                  <a:pt x="157" y="265"/>
                  <a:pt x="157" y="265"/>
                </a:cubicBezTo>
                <a:cubicBezTo>
                  <a:pt x="155" y="268"/>
                  <a:pt x="154" y="272"/>
                  <a:pt x="155" y="274"/>
                </a:cubicBezTo>
                <a:cubicBezTo>
                  <a:pt x="155" y="277"/>
                  <a:pt x="161" y="282"/>
                  <a:pt x="164" y="284"/>
                </a:cubicBezTo>
                <a:cubicBezTo>
                  <a:pt x="168" y="281"/>
                  <a:pt x="175" y="282"/>
                  <a:pt x="179" y="282"/>
                </a:cubicBezTo>
                <a:cubicBezTo>
                  <a:pt x="185" y="282"/>
                  <a:pt x="189" y="281"/>
                  <a:pt x="194" y="283"/>
                </a:cubicBezTo>
                <a:cubicBezTo>
                  <a:pt x="195" y="285"/>
                  <a:pt x="196" y="286"/>
                  <a:pt x="197" y="288"/>
                </a:cubicBezTo>
                <a:cubicBezTo>
                  <a:pt x="198" y="285"/>
                  <a:pt x="198" y="285"/>
                  <a:pt x="198" y="285"/>
                </a:cubicBezTo>
                <a:cubicBezTo>
                  <a:pt x="197" y="283"/>
                  <a:pt x="196" y="282"/>
                  <a:pt x="194" y="276"/>
                </a:cubicBezTo>
                <a:cubicBezTo>
                  <a:pt x="192" y="269"/>
                  <a:pt x="193" y="259"/>
                  <a:pt x="196" y="259"/>
                </a:cubicBezTo>
                <a:cubicBezTo>
                  <a:pt x="199" y="258"/>
                  <a:pt x="200" y="276"/>
                  <a:pt x="205" y="273"/>
                </a:cubicBezTo>
                <a:cubicBezTo>
                  <a:pt x="209" y="269"/>
                  <a:pt x="211" y="263"/>
                  <a:pt x="215" y="262"/>
                </a:cubicBezTo>
                <a:cubicBezTo>
                  <a:pt x="218" y="261"/>
                  <a:pt x="222" y="255"/>
                  <a:pt x="219" y="255"/>
                </a:cubicBezTo>
                <a:cubicBezTo>
                  <a:pt x="217" y="255"/>
                  <a:pt x="209" y="251"/>
                  <a:pt x="211" y="249"/>
                </a:cubicBezTo>
                <a:cubicBezTo>
                  <a:pt x="213" y="248"/>
                  <a:pt x="227" y="248"/>
                  <a:pt x="229" y="245"/>
                </a:cubicBezTo>
                <a:cubicBezTo>
                  <a:pt x="232" y="242"/>
                  <a:pt x="233" y="233"/>
                  <a:pt x="237" y="234"/>
                </a:cubicBezTo>
                <a:cubicBezTo>
                  <a:pt x="241" y="235"/>
                  <a:pt x="243" y="239"/>
                  <a:pt x="245" y="239"/>
                </a:cubicBezTo>
                <a:cubicBezTo>
                  <a:pt x="248" y="239"/>
                  <a:pt x="246" y="231"/>
                  <a:pt x="251" y="233"/>
                </a:cubicBezTo>
                <a:cubicBezTo>
                  <a:pt x="255" y="235"/>
                  <a:pt x="254" y="237"/>
                  <a:pt x="259" y="236"/>
                </a:cubicBezTo>
                <a:cubicBezTo>
                  <a:pt x="265" y="235"/>
                  <a:pt x="266" y="230"/>
                  <a:pt x="270" y="231"/>
                </a:cubicBezTo>
                <a:cubicBezTo>
                  <a:pt x="274" y="232"/>
                  <a:pt x="261" y="248"/>
                  <a:pt x="261" y="248"/>
                </a:cubicBezTo>
                <a:cubicBezTo>
                  <a:pt x="261" y="248"/>
                  <a:pt x="258" y="247"/>
                  <a:pt x="257" y="249"/>
                </a:cubicBezTo>
                <a:cubicBezTo>
                  <a:pt x="255" y="251"/>
                  <a:pt x="255" y="253"/>
                  <a:pt x="263" y="252"/>
                </a:cubicBezTo>
                <a:cubicBezTo>
                  <a:pt x="271" y="250"/>
                  <a:pt x="269" y="243"/>
                  <a:pt x="273" y="252"/>
                </a:cubicBezTo>
                <a:cubicBezTo>
                  <a:pt x="277" y="260"/>
                  <a:pt x="274" y="253"/>
                  <a:pt x="280" y="253"/>
                </a:cubicBezTo>
                <a:cubicBezTo>
                  <a:pt x="285" y="254"/>
                  <a:pt x="284" y="251"/>
                  <a:pt x="288" y="251"/>
                </a:cubicBezTo>
                <a:cubicBezTo>
                  <a:pt x="292" y="252"/>
                  <a:pt x="293" y="245"/>
                  <a:pt x="296" y="249"/>
                </a:cubicBezTo>
                <a:cubicBezTo>
                  <a:pt x="298" y="254"/>
                  <a:pt x="293" y="259"/>
                  <a:pt x="298" y="257"/>
                </a:cubicBezTo>
                <a:cubicBezTo>
                  <a:pt x="304" y="255"/>
                  <a:pt x="297" y="253"/>
                  <a:pt x="304" y="251"/>
                </a:cubicBezTo>
                <a:cubicBezTo>
                  <a:pt x="310" y="249"/>
                  <a:pt x="309" y="253"/>
                  <a:pt x="313" y="255"/>
                </a:cubicBezTo>
                <a:cubicBezTo>
                  <a:pt x="317" y="257"/>
                  <a:pt x="314" y="253"/>
                  <a:pt x="319" y="255"/>
                </a:cubicBezTo>
                <a:cubicBezTo>
                  <a:pt x="323" y="256"/>
                  <a:pt x="326" y="251"/>
                  <a:pt x="328" y="252"/>
                </a:cubicBezTo>
                <a:cubicBezTo>
                  <a:pt x="331" y="253"/>
                  <a:pt x="334" y="251"/>
                  <a:pt x="337" y="249"/>
                </a:cubicBezTo>
                <a:cubicBezTo>
                  <a:pt x="341" y="248"/>
                  <a:pt x="339" y="235"/>
                  <a:pt x="346" y="238"/>
                </a:cubicBezTo>
                <a:cubicBezTo>
                  <a:pt x="354" y="241"/>
                  <a:pt x="348" y="232"/>
                  <a:pt x="357" y="235"/>
                </a:cubicBezTo>
                <a:cubicBezTo>
                  <a:pt x="366" y="238"/>
                  <a:pt x="365" y="238"/>
                  <a:pt x="367" y="234"/>
                </a:cubicBezTo>
                <a:cubicBezTo>
                  <a:pt x="369" y="229"/>
                  <a:pt x="373" y="230"/>
                  <a:pt x="376" y="231"/>
                </a:cubicBezTo>
                <a:cubicBezTo>
                  <a:pt x="380" y="233"/>
                  <a:pt x="384" y="230"/>
                  <a:pt x="388" y="227"/>
                </a:cubicBezTo>
                <a:cubicBezTo>
                  <a:pt x="391" y="224"/>
                  <a:pt x="388" y="214"/>
                  <a:pt x="396" y="215"/>
                </a:cubicBezTo>
                <a:cubicBezTo>
                  <a:pt x="404" y="216"/>
                  <a:pt x="406" y="214"/>
                  <a:pt x="411" y="214"/>
                </a:cubicBezTo>
                <a:cubicBezTo>
                  <a:pt x="414" y="214"/>
                  <a:pt x="414" y="211"/>
                  <a:pt x="415" y="209"/>
                </a:cubicBezTo>
                <a:cubicBezTo>
                  <a:pt x="415" y="207"/>
                  <a:pt x="415" y="207"/>
                  <a:pt x="415" y="207"/>
                </a:cubicBezTo>
                <a:cubicBezTo>
                  <a:pt x="424" y="197"/>
                  <a:pt x="431" y="185"/>
                  <a:pt x="446" y="192"/>
                </a:cubicBezTo>
                <a:cubicBezTo>
                  <a:pt x="448" y="183"/>
                  <a:pt x="457" y="182"/>
                  <a:pt x="460" y="174"/>
                </a:cubicBezTo>
                <a:cubicBezTo>
                  <a:pt x="463" y="167"/>
                  <a:pt x="455" y="162"/>
                  <a:pt x="461" y="155"/>
                </a:cubicBezTo>
                <a:cubicBezTo>
                  <a:pt x="461" y="154"/>
                  <a:pt x="460" y="152"/>
                  <a:pt x="460" y="151"/>
                </a:cubicBezTo>
                <a:cubicBezTo>
                  <a:pt x="458" y="151"/>
                  <a:pt x="456" y="151"/>
                  <a:pt x="455" y="151"/>
                </a:cubicBezTo>
                <a:cubicBezTo>
                  <a:pt x="456" y="143"/>
                  <a:pt x="464" y="129"/>
                  <a:pt x="460" y="122"/>
                </a:cubicBezTo>
                <a:cubicBezTo>
                  <a:pt x="455" y="111"/>
                  <a:pt x="437" y="114"/>
                  <a:pt x="428" y="113"/>
                </a:cubicBezTo>
                <a:cubicBezTo>
                  <a:pt x="428" y="108"/>
                  <a:pt x="429" y="103"/>
                  <a:pt x="429" y="98"/>
                </a:cubicBezTo>
                <a:cubicBezTo>
                  <a:pt x="423" y="96"/>
                  <a:pt x="416" y="92"/>
                  <a:pt x="409" y="92"/>
                </a:cubicBezTo>
                <a:cubicBezTo>
                  <a:pt x="405" y="91"/>
                  <a:pt x="401" y="97"/>
                  <a:pt x="397" y="95"/>
                </a:cubicBezTo>
                <a:cubicBezTo>
                  <a:pt x="393" y="93"/>
                  <a:pt x="395" y="86"/>
                  <a:pt x="393" y="85"/>
                </a:cubicBezTo>
                <a:cubicBezTo>
                  <a:pt x="384" y="77"/>
                  <a:pt x="385" y="83"/>
                  <a:pt x="372" y="84"/>
                </a:cubicBezTo>
                <a:cubicBezTo>
                  <a:pt x="364" y="85"/>
                  <a:pt x="359" y="82"/>
                  <a:pt x="350" y="86"/>
                </a:cubicBezTo>
                <a:cubicBezTo>
                  <a:pt x="349" y="70"/>
                  <a:pt x="337" y="60"/>
                  <a:pt x="341" y="46"/>
                </a:cubicBezTo>
                <a:cubicBezTo>
                  <a:pt x="333" y="40"/>
                  <a:pt x="315" y="44"/>
                  <a:pt x="309" y="38"/>
                </a:cubicBezTo>
                <a:cubicBezTo>
                  <a:pt x="303" y="32"/>
                  <a:pt x="308" y="9"/>
                  <a:pt x="307" y="1"/>
                </a:cubicBezTo>
                <a:cubicBezTo>
                  <a:pt x="299" y="0"/>
                  <a:pt x="285" y="2"/>
                  <a:pt x="281" y="11"/>
                </a:cubicBezTo>
                <a:cubicBezTo>
                  <a:pt x="271" y="0"/>
                  <a:pt x="268" y="7"/>
                  <a:pt x="257" y="9"/>
                </a:cubicBezTo>
                <a:cubicBezTo>
                  <a:pt x="248" y="11"/>
                  <a:pt x="237" y="10"/>
                  <a:pt x="228" y="8"/>
                </a:cubicBezTo>
                <a:cubicBezTo>
                  <a:pt x="222" y="22"/>
                  <a:pt x="217" y="36"/>
                  <a:pt x="212" y="51"/>
                </a:cubicBezTo>
                <a:cubicBezTo>
                  <a:pt x="197" y="42"/>
                  <a:pt x="196" y="19"/>
                  <a:pt x="175" y="41"/>
                </a:cubicBezTo>
                <a:cubicBezTo>
                  <a:pt x="171" y="39"/>
                  <a:pt x="169" y="34"/>
                  <a:pt x="168" y="30"/>
                </a:cubicBezTo>
                <a:cubicBezTo>
                  <a:pt x="151" y="28"/>
                  <a:pt x="133" y="30"/>
                  <a:pt x="116" y="30"/>
                </a:cubicBezTo>
                <a:cubicBezTo>
                  <a:pt x="103" y="29"/>
                  <a:pt x="72" y="7"/>
                  <a:pt x="70" y="32"/>
                </a:cubicBezTo>
                <a:cubicBezTo>
                  <a:pt x="57" y="20"/>
                  <a:pt x="50" y="46"/>
                  <a:pt x="39" y="41"/>
                </a:cubicBezTo>
                <a:cubicBezTo>
                  <a:pt x="40" y="46"/>
                  <a:pt x="40" y="46"/>
                  <a:pt x="40" y="46"/>
                </a:cubicBezTo>
                <a:cubicBezTo>
                  <a:pt x="45" y="58"/>
                  <a:pt x="54" y="74"/>
                  <a:pt x="50" y="86"/>
                </a:cubicBezTo>
                <a:cubicBezTo>
                  <a:pt x="48" y="93"/>
                  <a:pt x="44" y="91"/>
                  <a:pt x="39" y="96"/>
                </a:cubicBezTo>
                <a:cubicBezTo>
                  <a:pt x="33" y="101"/>
                  <a:pt x="30" y="107"/>
                  <a:pt x="24" y="112"/>
                </a:cubicBezTo>
                <a:cubicBezTo>
                  <a:pt x="20" y="116"/>
                  <a:pt x="12" y="120"/>
                  <a:pt x="9" y="125"/>
                </a:cubicBezTo>
                <a:cubicBezTo>
                  <a:pt x="6" y="129"/>
                  <a:pt x="5" y="136"/>
                  <a:pt x="3" y="140"/>
                </a:cubicBezTo>
                <a:cubicBezTo>
                  <a:pt x="1" y="148"/>
                  <a:pt x="0" y="159"/>
                  <a:pt x="4" y="166"/>
                </a:cubicBezTo>
                <a:cubicBezTo>
                  <a:pt x="8" y="174"/>
                  <a:pt x="17" y="187"/>
                  <a:pt x="18" y="190"/>
                </a:cubicBezTo>
                <a:cubicBezTo>
                  <a:pt x="18" y="190"/>
                  <a:pt x="19" y="189"/>
                  <a:pt x="19" y="18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10" name="Freeform 545"/>
          <p:cNvSpPr>
            <a:spLocks/>
          </p:cNvSpPr>
          <p:nvPr userDrawn="1"/>
        </p:nvSpPr>
        <p:spPr bwMode="auto">
          <a:xfrm>
            <a:off x="6071914" y="3334579"/>
            <a:ext cx="229487" cy="211061"/>
          </a:xfrm>
          <a:custGeom>
            <a:avLst/>
            <a:gdLst>
              <a:gd name="T0" fmla="*/ 2147483646 w 246"/>
              <a:gd name="T1" fmla="*/ 2147483646 h 225"/>
              <a:gd name="T2" fmla="*/ 2147483646 w 246"/>
              <a:gd name="T3" fmla="*/ 2147483646 h 225"/>
              <a:gd name="T4" fmla="*/ 2147483646 w 246"/>
              <a:gd name="T5" fmla="*/ 2147483646 h 225"/>
              <a:gd name="T6" fmla="*/ 2147483646 w 246"/>
              <a:gd name="T7" fmla="*/ 2147483646 h 225"/>
              <a:gd name="T8" fmla="*/ 2147483646 w 246"/>
              <a:gd name="T9" fmla="*/ 2147483646 h 225"/>
              <a:gd name="T10" fmla="*/ 2147483646 w 246"/>
              <a:gd name="T11" fmla="*/ 2147483646 h 225"/>
              <a:gd name="T12" fmla="*/ 2147483646 w 246"/>
              <a:gd name="T13" fmla="*/ 2147483646 h 225"/>
              <a:gd name="T14" fmla="*/ 2147483646 w 246"/>
              <a:gd name="T15" fmla="*/ 2147483646 h 225"/>
              <a:gd name="T16" fmla="*/ 2147483646 w 246"/>
              <a:gd name="T17" fmla="*/ 2147483646 h 225"/>
              <a:gd name="T18" fmla="*/ 2147483646 w 246"/>
              <a:gd name="T19" fmla="*/ 2147483646 h 225"/>
              <a:gd name="T20" fmla="*/ 2147483646 w 246"/>
              <a:gd name="T21" fmla="*/ 2147483646 h 225"/>
              <a:gd name="T22" fmla="*/ 2147483646 w 246"/>
              <a:gd name="T23" fmla="*/ 2147483646 h 225"/>
              <a:gd name="T24" fmla="*/ 2147483646 w 246"/>
              <a:gd name="T25" fmla="*/ 2147483646 h 225"/>
              <a:gd name="T26" fmla="*/ 2147483646 w 246"/>
              <a:gd name="T27" fmla="*/ 2147483646 h 225"/>
              <a:gd name="T28" fmla="*/ 2147483646 w 246"/>
              <a:gd name="T29" fmla="*/ 2147483646 h 225"/>
              <a:gd name="T30" fmla="*/ 2147483646 w 246"/>
              <a:gd name="T31" fmla="*/ 2147483646 h 225"/>
              <a:gd name="T32" fmla="*/ 0 w 246"/>
              <a:gd name="T33" fmla="*/ 2147483646 h 225"/>
              <a:gd name="T34" fmla="*/ 2147483646 w 246"/>
              <a:gd name="T35" fmla="*/ 2147483646 h 225"/>
              <a:gd name="T36" fmla="*/ 2147483646 w 246"/>
              <a:gd name="T37" fmla="*/ 2147483646 h 225"/>
              <a:gd name="T38" fmla="*/ 2147483646 w 246"/>
              <a:gd name="T39" fmla="*/ 2147483646 h 225"/>
              <a:gd name="T40" fmla="*/ 2147483646 w 246"/>
              <a:gd name="T41" fmla="*/ 2147483646 h 225"/>
              <a:gd name="T42" fmla="*/ 2147483646 w 246"/>
              <a:gd name="T43" fmla="*/ 2147483646 h 225"/>
              <a:gd name="T44" fmla="*/ 2147483646 w 246"/>
              <a:gd name="T45" fmla="*/ 2147483646 h 225"/>
              <a:gd name="T46" fmla="*/ 2147483646 w 246"/>
              <a:gd name="T47" fmla="*/ 2147483646 h 225"/>
              <a:gd name="T48" fmla="*/ 2147483646 w 246"/>
              <a:gd name="T49" fmla="*/ 2147483646 h 225"/>
              <a:gd name="T50" fmla="*/ 2147483646 w 246"/>
              <a:gd name="T51" fmla="*/ 2147483646 h 225"/>
              <a:gd name="T52" fmla="*/ 2147483646 w 246"/>
              <a:gd name="T53" fmla="*/ 2147483646 h 225"/>
              <a:gd name="T54" fmla="*/ 2147483646 w 246"/>
              <a:gd name="T55" fmla="*/ 2147483646 h 225"/>
              <a:gd name="T56" fmla="*/ 2147483646 w 246"/>
              <a:gd name="T57" fmla="*/ 2147483646 h 225"/>
              <a:gd name="T58" fmla="*/ 2147483646 w 246"/>
              <a:gd name="T59" fmla="*/ 2147483646 h 225"/>
              <a:gd name="T60" fmla="*/ 2147483646 w 246"/>
              <a:gd name="T61" fmla="*/ 2147483646 h 225"/>
              <a:gd name="T62" fmla="*/ 2147483646 w 246"/>
              <a:gd name="T63" fmla="*/ 2147483646 h 225"/>
              <a:gd name="T64" fmla="*/ 2147483646 w 246"/>
              <a:gd name="T65" fmla="*/ 2147483646 h 225"/>
              <a:gd name="T66" fmla="*/ 2147483646 w 246"/>
              <a:gd name="T67" fmla="*/ 2147483646 h 225"/>
              <a:gd name="T68" fmla="*/ 2147483646 w 246"/>
              <a:gd name="T69" fmla="*/ 2147483646 h 225"/>
              <a:gd name="T70" fmla="*/ 2147483646 w 246"/>
              <a:gd name="T71" fmla="*/ 2147483646 h 225"/>
              <a:gd name="T72" fmla="*/ 2147483646 w 246"/>
              <a:gd name="T73" fmla="*/ 0 h 225"/>
              <a:gd name="T74" fmla="*/ 2147483646 w 246"/>
              <a:gd name="T75" fmla="*/ 2147483646 h 225"/>
              <a:gd name="T76" fmla="*/ 2147483646 w 246"/>
              <a:gd name="T77" fmla="*/ 0 h 225"/>
              <a:gd name="T78" fmla="*/ 2147483646 w 246"/>
              <a:gd name="T79" fmla="*/ 2147483646 h 225"/>
              <a:gd name="T80" fmla="*/ 2147483646 w 246"/>
              <a:gd name="T81" fmla="*/ 2147483646 h 225"/>
              <a:gd name="T82" fmla="*/ 2147483646 w 246"/>
              <a:gd name="T83" fmla="*/ 2147483646 h 225"/>
              <a:gd name="T84" fmla="*/ 2147483646 w 246"/>
              <a:gd name="T85" fmla="*/ 2147483646 h 22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46"/>
              <a:gd name="T130" fmla="*/ 0 h 225"/>
              <a:gd name="T131" fmla="*/ 246 w 246"/>
              <a:gd name="T132" fmla="*/ 225 h 22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46" h="225">
                <a:moveTo>
                  <a:pt x="85" y="19"/>
                </a:moveTo>
                <a:cubicBezTo>
                  <a:pt x="88" y="25"/>
                  <a:pt x="82" y="33"/>
                  <a:pt x="79" y="38"/>
                </a:cubicBezTo>
                <a:cubicBezTo>
                  <a:pt x="82" y="39"/>
                  <a:pt x="85" y="40"/>
                  <a:pt x="86" y="43"/>
                </a:cubicBezTo>
                <a:cubicBezTo>
                  <a:pt x="84" y="46"/>
                  <a:pt x="83" y="50"/>
                  <a:pt x="81" y="51"/>
                </a:cubicBezTo>
                <a:cubicBezTo>
                  <a:pt x="78" y="54"/>
                  <a:pt x="75" y="52"/>
                  <a:pt x="72" y="53"/>
                </a:cubicBezTo>
                <a:cubicBezTo>
                  <a:pt x="67" y="55"/>
                  <a:pt x="64" y="60"/>
                  <a:pt x="64" y="66"/>
                </a:cubicBezTo>
                <a:cubicBezTo>
                  <a:pt x="54" y="63"/>
                  <a:pt x="57" y="78"/>
                  <a:pt x="57" y="84"/>
                </a:cubicBezTo>
                <a:cubicBezTo>
                  <a:pt x="56" y="97"/>
                  <a:pt x="55" y="96"/>
                  <a:pt x="45" y="93"/>
                </a:cubicBezTo>
                <a:cubicBezTo>
                  <a:pt x="43" y="95"/>
                  <a:pt x="40" y="99"/>
                  <a:pt x="37" y="102"/>
                </a:cubicBezTo>
                <a:cubicBezTo>
                  <a:pt x="36" y="104"/>
                  <a:pt x="32" y="108"/>
                  <a:pt x="30" y="109"/>
                </a:cubicBezTo>
                <a:cubicBezTo>
                  <a:pt x="23" y="112"/>
                  <a:pt x="16" y="108"/>
                  <a:pt x="10" y="112"/>
                </a:cubicBezTo>
                <a:cubicBezTo>
                  <a:pt x="10" y="112"/>
                  <a:pt x="8" y="119"/>
                  <a:pt x="10" y="124"/>
                </a:cubicBezTo>
                <a:cubicBezTo>
                  <a:pt x="12" y="128"/>
                  <a:pt x="10" y="124"/>
                  <a:pt x="10" y="124"/>
                </a:cubicBezTo>
                <a:cubicBezTo>
                  <a:pt x="13" y="130"/>
                  <a:pt x="17" y="134"/>
                  <a:pt x="19" y="141"/>
                </a:cubicBezTo>
                <a:cubicBezTo>
                  <a:pt x="21" y="148"/>
                  <a:pt x="21" y="157"/>
                  <a:pt x="17" y="162"/>
                </a:cubicBezTo>
                <a:cubicBezTo>
                  <a:pt x="14" y="166"/>
                  <a:pt x="8" y="167"/>
                  <a:pt x="4" y="171"/>
                </a:cubicBezTo>
                <a:cubicBezTo>
                  <a:pt x="0" y="175"/>
                  <a:pt x="1" y="176"/>
                  <a:pt x="0" y="182"/>
                </a:cubicBezTo>
                <a:cubicBezTo>
                  <a:pt x="9" y="181"/>
                  <a:pt x="11" y="186"/>
                  <a:pt x="10" y="194"/>
                </a:cubicBezTo>
                <a:cubicBezTo>
                  <a:pt x="10" y="202"/>
                  <a:pt x="9" y="208"/>
                  <a:pt x="11" y="215"/>
                </a:cubicBezTo>
                <a:cubicBezTo>
                  <a:pt x="12" y="215"/>
                  <a:pt x="12" y="215"/>
                  <a:pt x="12" y="215"/>
                </a:cubicBezTo>
                <a:cubicBezTo>
                  <a:pt x="23" y="220"/>
                  <a:pt x="30" y="193"/>
                  <a:pt x="43" y="206"/>
                </a:cubicBezTo>
                <a:cubicBezTo>
                  <a:pt x="45" y="181"/>
                  <a:pt x="76" y="203"/>
                  <a:pt x="89" y="204"/>
                </a:cubicBezTo>
                <a:cubicBezTo>
                  <a:pt x="106" y="204"/>
                  <a:pt x="124" y="202"/>
                  <a:pt x="141" y="204"/>
                </a:cubicBezTo>
                <a:cubicBezTo>
                  <a:pt x="141" y="208"/>
                  <a:pt x="144" y="213"/>
                  <a:pt x="148" y="215"/>
                </a:cubicBezTo>
                <a:cubicBezTo>
                  <a:pt x="169" y="193"/>
                  <a:pt x="170" y="216"/>
                  <a:pt x="185" y="225"/>
                </a:cubicBezTo>
                <a:cubicBezTo>
                  <a:pt x="190" y="210"/>
                  <a:pt x="195" y="196"/>
                  <a:pt x="201" y="182"/>
                </a:cubicBezTo>
                <a:cubicBezTo>
                  <a:pt x="207" y="183"/>
                  <a:pt x="214" y="184"/>
                  <a:pt x="220" y="184"/>
                </a:cubicBezTo>
                <a:cubicBezTo>
                  <a:pt x="221" y="182"/>
                  <a:pt x="221" y="182"/>
                  <a:pt x="221" y="182"/>
                </a:cubicBezTo>
                <a:cubicBezTo>
                  <a:pt x="221" y="180"/>
                  <a:pt x="219" y="179"/>
                  <a:pt x="220" y="176"/>
                </a:cubicBezTo>
                <a:cubicBezTo>
                  <a:pt x="211" y="172"/>
                  <a:pt x="215" y="157"/>
                  <a:pt x="212" y="148"/>
                </a:cubicBezTo>
                <a:cubicBezTo>
                  <a:pt x="224" y="143"/>
                  <a:pt x="239" y="134"/>
                  <a:pt x="246" y="123"/>
                </a:cubicBezTo>
                <a:cubicBezTo>
                  <a:pt x="246" y="122"/>
                  <a:pt x="245" y="121"/>
                  <a:pt x="245" y="120"/>
                </a:cubicBezTo>
                <a:cubicBezTo>
                  <a:pt x="234" y="121"/>
                  <a:pt x="239" y="113"/>
                  <a:pt x="235" y="110"/>
                </a:cubicBezTo>
                <a:cubicBezTo>
                  <a:pt x="229" y="106"/>
                  <a:pt x="220" y="110"/>
                  <a:pt x="215" y="107"/>
                </a:cubicBezTo>
                <a:cubicBezTo>
                  <a:pt x="206" y="102"/>
                  <a:pt x="203" y="75"/>
                  <a:pt x="201" y="65"/>
                </a:cubicBezTo>
                <a:cubicBezTo>
                  <a:pt x="196" y="40"/>
                  <a:pt x="203" y="0"/>
                  <a:pt x="168" y="23"/>
                </a:cubicBezTo>
                <a:cubicBezTo>
                  <a:pt x="163" y="9"/>
                  <a:pt x="160" y="8"/>
                  <a:pt x="150" y="0"/>
                </a:cubicBezTo>
                <a:cubicBezTo>
                  <a:pt x="146" y="2"/>
                  <a:pt x="142" y="4"/>
                  <a:pt x="139" y="8"/>
                </a:cubicBezTo>
                <a:cubicBezTo>
                  <a:pt x="135" y="5"/>
                  <a:pt x="131" y="1"/>
                  <a:pt x="127" y="0"/>
                </a:cubicBezTo>
                <a:cubicBezTo>
                  <a:pt x="125" y="2"/>
                  <a:pt x="125" y="2"/>
                  <a:pt x="125" y="2"/>
                </a:cubicBezTo>
                <a:cubicBezTo>
                  <a:pt x="120" y="8"/>
                  <a:pt x="116" y="19"/>
                  <a:pt x="110" y="20"/>
                </a:cubicBezTo>
                <a:cubicBezTo>
                  <a:pt x="106" y="20"/>
                  <a:pt x="104" y="15"/>
                  <a:pt x="100" y="15"/>
                </a:cubicBezTo>
                <a:cubicBezTo>
                  <a:pt x="95" y="15"/>
                  <a:pt x="90" y="19"/>
                  <a:pt x="85" y="20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11" name="Freeform 546"/>
          <p:cNvSpPr>
            <a:spLocks/>
          </p:cNvSpPr>
          <p:nvPr userDrawn="1"/>
        </p:nvSpPr>
        <p:spPr bwMode="auto">
          <a:xfrm>
            <a:off x="6071914" y="3334579"/>
            <a:ext cx="229487" cy="211061"/>
          </a:xfrm>
          <a:custGeom>
            <a:avLst/>
            <a:gdLst>
              <a:gd name="T0" fmla="*/ 2147483646 w 246"/>
              <a:gd name="T1" fmla="*/ 2147483646 h 225"/>
              <a:gd name="T2" fmla="*/ 2147483646 w 246"/>
              <a:gd name="T3" fmla="*/ 2147483646 h 225"/>
              <a:gd name="T4" fmla="*/ 2147483646 w 246"/>
              <a:gd name="T5" fmla="*/ 2147483646 h 225"/>
              <a:gd name="T6" fmla="*/ 2147483646 w 246"/>
              <a:gd name="T7" fmla="*/ 2147483646 h 225"/>
              <a:gd name="T8" fmla="*/ 2147483646 w 246"/>
              <a:gd name="T9" fmla="*/ 2147483646 h 225"/>
              <a:gd name="T10" fmla="*/ 2147483646 w 246"/>
              <a:gd name="T11" fmla="*/ 2147483646 h 225"/>
              <a:gd name="T12" fmla="*/ 2147483646 w 246"/>
              <a:gd name="T13" fmla="*/ 2147483646 h 225"/>
              <a:gd name="T14" fmla="*/ 2147483646 w 246"/>
              <a:gd name="T15" fmla="*/ 2147483646 h 225"/>
              <a:gd name="T16" fmla="*/ 2147483646 w 246"/>
              <a:gd name="T17" fmla="*/ 2147483646 h 225"/>
              <a:gd name="T18" fmla="*/ 2147483646 w 246"/>
              <a:gd name="T19" fmla="*/ 2147483646 h 225"/>
              <a:gd name="T20" fmla="*/ 2147483646 w 246"/>
              <a:gd name="T21" fmla="*/ 2147483646 h 225"/>
              <a:gd name="T22" fmla="*/ 2147483646 w 246"/>
              <a:gd name="T23" fmla="*/ 2147483646 h 225"/>
              <a:gd name="T24" fmla="*/ 2147483646 w 246"/>
              <a:gd name="T25" fmla="*/ 2147483646 h 225"/>
              <a:gd name="T26" fmla="*/ 2147483646 w 246"/>
              <a:gd name="T27" fmla="*/ 2147483646 h 225"/>
              <a:gd name="T28" fmla="*/ 2147483646 w 246"/>
              <a:gd name="T29" fmla="*/ 2147483646 h 225"/>
              <a:gd name="T30" fmla="*/ 2147483646 w 246"/>
              <a:gd name="T31" fmla="*/ 2147483646 h 225"/>
              <a:gd name="T32" fmla="*/ 0 w 246"/>
              <a:gd name="T33" fmla="*/ 2147483646 h 225"/>
              <a:gd name="T34" fmla="*/ 2147483646 w 246"/>
              <a:gd name="T35" fmla="*/ 2147483646 h 225"/>
              <a:gd name="T36" fmla="*/ 2147483646 w 246"/>
              <a:gd name="T37" fmla="*/ 2147483646 h 225"/>
              <a:gd name="T38" fmla="*/ 2147483646 w 246"/>
              <a:gd name="T39" fmla="*/ 2147483646 h 225"/>
              <a:gd name="T40" fmla="*/ 2147483646 w 246"/>
              <a:gd name="T41" fmla="*/ 2147483646 h 225"/>
              <a:gd name="T42" fmla="*/ 2147483646 w 246"/>
              <a:gd name="T43" fmla="*/ 2147483646 h 225"/>
              <a:gd name="T44" fmla="*/ 2147483646 w 246"/>
              <a:gd name="T45" fmla="*/ 2147483646 h 225"/>
              <a:gd name="T46" fmla="*/ 2147483646 w 246"/>
              <a:gd name="T47" fmla="*/ 2147483646 h 225"/>
              <a:gd name="T48" fmla="*/ 2147483646 w 246"/>
              <a:gd name="T49" fmla="*/ 2147483646 h 225"/>
              <a:gd name="T50" fmla="*/ 2147483646 w 246"/>
              <a:gd name="T51" fmla="*/ 2147483646 h 225"/>
              <a:gd name="T52" fmla="*/ 2147483646 w 246"/>
              <a:gd name="T53" fmla="*/ 2147483646 h 225"/>
              <a:gd name="T54" fmla="*/ 2147483646 w 246"/>
              <a:gd name="T55" fmla="*/ 2147483646 h 225"/>
              <a:gd name="T56" fmla="*/ 2147483646 w 246"/>
              <a:gd name="T57" fmla="*/ 2147483646 h 225"/>
              <a:gd name="T58" fmla="*/ 2147483646 w 246"/>
              <a:gd name="T59" fmla="*/ 2147483646 h 225"/>
              <a:gd name="T60" fmla="*/ 2147483646 w 246"/>
              <a:gd name="T61" fmla="*/ 2147483646 h 225"/>
              <a:gd name="T62" fmla="*/ 2147483646 w 246"/>
              <a:gd name="T63" fmla="*/ 2147483646 h 225"/>
              <a:gd name="T64" fmla="*/ 2147483646 w 246"/>
              <a:gd name="T65" fmla="*/ 2147483646 h 225"/>
              <a:gd name="T66" fmla="*/ 2147483646 w 246"/>
              <a:gd name="T67" fmla="*/ 2147483646 h 225"/>
              <a:gd name="T68" fmla="*/ 2147483646 w 246"/>
              <a:gd name="T69" fmla="*/ 2147483646 h 225"/>
              <a:gd name="T70" fmla="*/ 2147483646 w 246"/>
              <a:gd name="T71" fmla="*/ 2147483646 h 225"/>
              <a:gd name="T72" fmla="*/ 2147483646 w 246"/>
              <a:gd name="T73" fmla="*/ 0 h 225"/>
              <a:gd name="T74" fmla="*/ 2147483646 w 246"/>
              <a:gd name="T75" fmla="*/ 2147483646 h 225"/>
              <a:gd name="T76" fmla="*/ 2147483646 w 246"/>
              <a:gd name="T77" fmla="*/ 0 h 225"/>
              <a:gd name="T78" fmla="*/ 2147483646 w 246"/>
              <a:gd name="T79" fmla="*/ 2147483646 h 225"/>
              <a:gd name="T80" fmla="*/ 2147483646 w 246"/>
              <a:gd name="T81" fmla="*/ 2147483646 h 225"/>
              <a:gd name="T82" fmla="*/ 2147483646 w 246"/>
              <a:gd name="T83" fmla="*/ 2147483646 h 225"/>
              <a:gd name="T84" fmla="*/ 2147483646 w 246"/>
              <a:gd name="T85" fmla="*/ 2147483646 h 22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46"/>
              <a:gd name="T130" fmla="*/ 0 h 225"/>
              <a:gd name="T131" fmla="*/ 246 w 246"/>
              <a:gd name="T132" fmla="*/ 225 h 22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46" h="225">
                <a:moveTo>
                  <a:pt x="85" y="19"/>
                </a:moveTo>
                <a:cubicBezTo>
                  <a:pt x="88" y="25"/>
                  <a:pt x="82" y="33"/>
                  <a:pt x="79" y="38"/>
                </a:cubicBezTo>
                <a:cubicBezTo>
                  <a:pt x="82" y="39"/>
                  <a:pt x="85" y="40"/>
                  <a:pt x="86" y="43"/>
                </a:cubicBezTo>
                <a:cubicBezTo>
                  <a:pt x="84" y="46"/>
                  <a:pt x="83" y="50"/>
                  <a:pt x="81" y="51"/>
                </a:cubicBezTo>
                <a:cubicBezTo>
                  <a:pt x="78" y="54"/>
                  <a:pt x="75" y="52"/>
                  <a:pt x="72" y="53"/>
                </a:cubicBezTo>
                <a:cubicBezTo>
                  <a:pt x="67" y="55"/>
                  <a:pt x="64" y="60"/>
                  <a:pt x="64" y="66"/>
                </a:cubicBezTo>
                <a:cubicBezTo>
                  <a:pt x="54" y="63"/>
                  <a:pt x="57" y="78"/>
                  <a:pt x="57" y="84"/>
                </a:cubicBezTo>
                <a:cubicBezTo>
                  <a:pt x="56" y="97"/>
                  <a:pt x="55" y="96"/>
                  <a:pt x="45" y="93"/>
                </a:cubicBezTo>
                <a:cubicBezTo>
                  <a:pt x="43" y="95"/>
                  <a:pt x="40" y="99"/>
                  <a:pt x="37" y="102"/>
                </a:cubicBezTo>
                <a:cubicBezTo>
                  <a:pt x="36" y="104"/>
                  <a:pt x="32" y="108"/>
                  <a:pt x="30" y="109"/>
                </a:cubicBezTo>
                <a:cubicBezTo>
                  <a:pt x="23" y="112"/>
                  <a:pt x="16" y="108"/>
                  <a:pt x="10" y="112"/>
                </a:cubicBezTo>
                <a:cubicBezTo>
                  <a:pt x="10" y="112"/>
                  <a:pt x="8" y="119"/>
                  <a:pt x="10" y="124"/>
                </a:cubicBezTo>
                <a:cubicBezTo>
                  <a:pt x="12" y="128"/>
                  <a:pt x="10" y="124"/>
                  <a:pt x="10" y="124"/>
                </a:cubicBezTo>
                <a:cubicBezTo>
                  <a:pt x="13" y="130"/>
                  <a:pt x="17" y="134"/>
                  <a:pt x="19" y="141"/>
                </a:cubicBezTo>
                <a:cubicBezTo>
                  <a:pt x="21" y="148"/>
                  <a:pt x="21" y="157"/>
                  <a:pt x="17" y="162"/>
                </a:cubicBezTo>
                <a:cubicBezTo>
                  <a:pt x="14" y="166"/>
                  <a:pt x="8" y="167"/>
                  <a:pt x="4" y="171"/>
                </a:cubicBezTo>
                <a:cubicBezTo>
                  <a:pt x="0" y="175"/>
                  <a:pt x="1" y="176"/>
                  <a:pt x="0" y="182"/>
                </a:cubicBezTo>
                <a:cubicBezTo>
                  <a:pt x="9" y="181"/>
                  <a:pt x="11" y="186"/>
                  <a:pt x="10" y="194"/>
                </a:cubicBezTo>
                <a:cubicBezTo>
                  <a:pt x="10" y="202"/>
                  <a:pt x="9" y="208"/>
                  <a:pt x="11" y="215"/>
                </a:cubicBezTo>
                <a:cubicBezTo>
                  <a:pt x="12" y="215"/>
                  <a:pt x="12" y="215"/>
                  <a:pt x="12" y="215"/>
                </a:cubicBezTo>
                <a:cubicBezTo>
                  <a:pt x="23" y="220"/>
                  <a:pt x="30" y="193"/>
                  <a:pt x="43" y="206"/>
                </a:cubicBezTo>
                <a:cubicBezTo>
                  <a:pt x="45" y="181"/>
                  <a:pt x="76" y="203"/>
                  <a:pt x="89" y="204"/>
                </a:cubicBezTo>
                <a:cubicBezTo>
                  <a:pt x="106" y="204"/>
                  <a:pt x="124" y="202"/>
                  <a:pt x="141" y="204"/>
                </a:cubicBezTo>
                <a:cubicBezTo>
                  <a:pt x="141" y="208"/>
                  <a:pt x="144" y="213"/>
                  <a:pt x="148" y="215"/>
                </a:cubicBezTo>
                <a:cubicBezTo>
                  <a:pt x="169" y="193"/>
                  <a:pt x="170" y="216"/>
                  <a:pt x="185" y="225"/>
                </a:cubicBezTo>
                <a:cubicBezTo>
                  <a:pt x="190" y="210"/>
                  <a:pt x="195" y="196"/>
                  <a:pt x="201" y="182"/>
                </a:cubicBezTo>
                <a:cubicBezTo>
                  <a:pt x="207" y="183"/>
                  <a:pt x="214" y="184"/>
                  <a:pt x="220" y="184"/>
                </a:cubicBezTo>
                <a:cubicBezTo>
                  <a:pt x="221" y="182"/>
                  <a:pt x="221" y="182"/>
                  <a:pt x="221" y="182"/>
                </a:cubicBezTo>
                <a:cubicBezTo>
                  <a:pt x="221" y="180"/>
                  <a:pt x="219" y="179"/>
                  <a:pt x="220" y="176"/>
                </a:cubicBezTo>
                <a:cubicBezTo>
                  <a:pt x="211" y="172"/>
                  <a:pt x="215" y="157"/>
                  <a:pt x="212" y="148"/>
                </a:cubicBezTo>
                <a:cubicBezTo>
                  <a:pt x="224" y="143"/>
                  <a:pt x="239" y="134"/>
                  <a:pt x="246" y="123"/>
                </a:cubicBezTo>
                <a:cubicBezTo>
                  <a:pt x="246" y="122"/>
                  <a:pt x="245" y="121"/>
                  <a:pt x="245" y="120"/>
                </a:cubicBezTo>
                <a:cubicBezTo>
                  <a:pt x="234" y="121"/>
                  <a:pt x="239" y="113"/>
                  <a:pt x="235" y="110"/>
                </a:cubicBezTo>
                <a:cubicBezTo>
                  <a:pt x="229" y="106"/>
                  <a:pt x="220" y="110"/>
                  <a:pt x="215" y="107"/>
                </a:cubicBezTo>
                <a:cubicBezTo>
                  <a:pt x="206" y="102"/>
                  <a:pt x="203" y="75"/>
                  <a:pt x="201" y="65"/>
                </a:cubicBezTo>
                <a:cubicBezTo>
                  <a:pt x="196" y="40"/>
                  <a:pt x="203" y="0"/>
                  <a:pt x="168" y="23"/>
                </a:cubicBezTo>
                <a:cubicBezTo>
                  <a:pt x="163" y="9"/>
                  <a:pt x="160" y="8"/>
                  <a:pt x="150" y="0"/>
                </a:cubicBezTo>
                <a:cubicBezTo>
                  <a:pt x="146" y="2"/>
                  <a:pt x="142" y="4"/>
                  <a:pt x="139" y="8"/>
                </a:cubicBezTo>
                <a:cubicBezTo>
                  <a:pt x="135" y="5"/>
                  <a:pt x="131" y="1"/>
                  <a:pt x="127" y="0"/>
                </a:cubicBezTo>
                <a:cubicBezTo>
                  <a:pt x="125" y="2"/>
                  <a:pt x="125" y="2"/>
                  <a:pt x="125" y="2"/>
                </a:cubicBezTo>
                <a:cubicBezTo>
                  <a:pt x="120" y="8"/>
                  <a:pt x="116" y="19"/>
                  <a:pt x="110" y="20"/>
                </a:cubicBezTo>
                <a:cubicBezTo>
                  <a:pt x="106" y="20"/>
                  <a:pt x="104" y="15"/>
                  <a:pt x="100" y="15"/>
                </a:cubicBezTo>
                <a:cubicBezTo>
                  <a:pt x="95" y="15"/>
                  <a:pt x="90" y="19"/>
                  <a:pt x="85" y="20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12" name="Freeform 547"/>
          <p:cNvSpPr>
            <a:spLocks/>
          </p:cNvSpPr>
          <p:nvPr userDrawn="1"/>
        </p:nvSpPr>
        <p:spPr bwMode="auto">
          <a:xfrm>
            <a:off x="5679943" y="3701425"/>
            <a:ext cx="286440" cy="316592"/>
          </a:xfrm>
          <a:custGeom>
            <a:avLst/>
            <a:gdLst>
              <a:gd name="T0" fmla="*/ 2147483646 w 308"/>
              <a:gd name="T1" fmla="*/ 2147483646 h 338"/>
              <a:gd name="T2" fmla="*/ 2147483646 w 308"/>
              <a:gd name="T3" fmla="*/ 2147483646 h 338"/>
              <a:gd name="T4" fmla="*/ 2147483646 w 308"/>
              <a:gd name="T5" fmla="*/ 2147483646 h 338"/>
              <a:gd name="T6" fmla="*/ 2147483646 w 308"/>
              <a:gd name="T7" fmla="*/ 2147483646 h 338"/>
              <a:gd name="T8" fmla="*/ 2147483646 w 308"/>
              <a:gd name="T9" fmla="*/ 2147483646 h 338"/>
              <a:gd name="T10" fmla="*/ 2147483646 w 308"/>
              <a:gd name="T11" fmla="*/ 2147483646 h 338"/>
              <a:gd name="T12" fmla="*/ 2147483646 w 308"/>
              <a:gd name="T13" fmla="*/ 2147483646 h 338"/>
              <a:gd name="T14" fmla="*/ 2147483646 w 308"/>
              <a:gd name="T15" fmla="*/ 2147483646 h 338"/>
              <a:gd name="T16" fmla="*/ 2147483646 w 308"/>
              <a:gd name="T17" fmla="*/ 2147483646 h 338"/>
              <a:gd name="T18" fmla="*/ 2147483646 w 308"/>
              <a:gd name="T19" fmla="*/ 2147483646 h 338"/>
              <a:gd name="T20" fmla="*/ 2147483646 w 308"/>
              <a:gd name="T21" fmla="*/ 2147483646 h 338"/>
              <a:gd name="T22" fmla="*/ 2147483646 w 308"/>
              <a:gd name="T23" fmla="*/ 2147483646 h 338"/>
              <a:gd name="T24" fmla="*/ 2147483646 w 308"/>
              <a:gd name="T25" fmla="*/ 2147483646 h 338"/>
              <a:gd name="T26" fmla="*/ 2147483646 w 308"/>
              <a:gd name="T27" fmla="*/ 2147483646 h 338"/>
              <a:gd name="T28" fmla="*/ 2147483646 w 308"/>
              <a:gd name="T29" fmla="*/ 2147483646 h 338"/>
              <a:gd name="T30" fmla="*/ 2147483646 w 308"/>
              <a:gd name="T31" fmla="*/ 2147483646 h 338"/>
              <a:gd name="T32" fmla="*/ 2147483646 w 308"/>
              <a:gd name="T33" fmla="*/ 2147483646 h 338"/>
              <a:gd name="T34" fmla="*/ 2147483646 w 308"/>
              <a:gd name="T35" fmla="*/ 2147483646 h 338"/>
              <a:gd name="T36" fmla="*/ 2147483646 w 308"/>
              <a:gd name="T37" fmla="*/ 2147483646 h 338"/>
              <a:gd name="T38" fmla="*/ 2147483646 w 308"/>
              <a:gd name="T39" fmla="*/ 2147483646 h 338"/>
              <a:gd name="T40" fmla="*/ 2147483646 w 308"/>
              <a:gd name="T41" fmla="*/ 2147483646 h 338"/>
              <a:gd name="T42" fmla="*/ 2147483646 w 308"/>
              <a:gd name="T43" fmla="*/ 2147483646 h 338"/>
              <a:gd name="T44" fmla="*/ 2147483646 w 308"/>
              <a:gd name="T45" fmla="*/ 2147483646 h 338"/>
              <a:gd name="T46" fmla="*/ 2147483646 w 308"/>
              <a:gd name="T47" fmla="*/ 2147483646 h 338"/>
              <a:gd name="T48" fmla="*/ 2147483646 w 308"/>
              <a:gd name="T49" fmla="*/ 2147483646 h 338"/>
              <a:gd name="T50" fmla="*/ 2147483646 w 308"/>
              <a:gd name="T51" fmla="*/ 2147483646 h 338"/>
              <a:gd name="T52" fmla="*/ 2147483646 w 308"/>
              <a:gd name="T53" fmla="*/ 2147483646 h 338"/>
              <a:gd name="T54" fmla="*/ 2147483646 w 308"/>
              <a:gd name="T55" fmla="*/ 2147483646 h 338"/>
              <a:gd name="T56" fmla="*/ 2147483646 w 308"/>
              <a:gd name="T57" fmla="*/ 2147483646 h 338"/>
              <a:gd name="T58" fmla="*/ 2147483646 w 308"/>
              <a:gd name="T59" fmla="*/ 2147483646 h 338"/>
              <a:gd name="T60" fmla="*/ 2147483646 w 308"/>
              <a:gd name="T61" fmla="*/ 2147483646 h 338"/>
              <a:gd name="T62" fmla="*/ 2147483646 w 308"/>
              <a:gd name="T63" fmla="*/ 2147483646 h 338"/>
              <a:gd name="T64" fmla="*/ 2147483646 w 308"/>
              <a:gd name="T65" fmla="*/ 2147483646 h 338"/>
              <a:gd name="T66" fmla="*/ 2147483646 w 308"/>
              <a:gd name="T67" fmla="*/ 2147483646 h 338"/>
              <a:gd name="T68" fmla="*/ 2147483646 w 308"/>
              <a:gd name="T69" fmla="*/ 2147483646 h 338"/>
              <a:gd name="T70" fmla="*/ 2147483646 w 308"/>
              <a:gd name="T71" fmla="*/ 2147483646 h 338"/>
              <a:gd name="T72" fmla="*/ 2147483646 w 308"/>
              <a:gd name="T73" fmla="*/ 2147483646 h 338"/>
              <a:gd name="T74" fmla="*/ 2147483646 w 308"/>
              <a:gd name="T75" fmla="*/ 2147483646 h 338"/>
              <a:gd name="T76" fmla="*/ 2147483646 w 308"/>
              <a:gd name="T77" fmla="*/ 2147483646 h 338"/>
              <a:gd name="T78" fmla="*/ 2147483646 w 308"/>
              <a:gd name="T79" fmla="*/ 2147483646 h 338"/>
              <a:gd name="T80" fmla="*/ 2147483646 w 308"/>
              <a:gd name="T81" fmla="*/ 2147483646 h 338"/>
              <a:gd name="T82" fmla="*/ 2147483646 w 308"/>
              <a:gd name="T83" fmla="*/ 2147483646 h 338"/>
              <a:gd name="T84" fmla="*/ 2147483646 w 308"/>
              <a:gd name="T85" fmla="*/ 2147483646 h 338"/>
              <a:gd name="T86" fmla="*/ 2147483646 w 308"/>
              <a:gd name="T87" fmla="*/ 2147483646 h 338"/>
              <a:gd name="T88" fmla="*/ 2147483646 w 308"/>
              <a:gd name="T89" fmla="*/ 2147483646 h 33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08"/>
              <a:gd name="T136" fmla="*/ 0 h 338"/>
              <a:gd name="T137" fmla="*/ 308 w 308"/>
              <a:gd name="T138" fmla="*/ 338 h 33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08" h="338">
                <a:moveTo>
                  <a:pt x="175" y="47"/>
                </a:moveTo>
                <a:cubicBezTo>
                  <a:pt x="174" y="44"/>
                  <a:pt x="172" y="41"/>
                  <a:pt x="173" y="39"/>
                </a:cubicBezTo>
                <a:cubicBezTo>
                  <a:pt x="173" y="37"/>
                  <a:pt x="176" y="36"/>
                  <a:pt x="176" y="34"/>
                </a:cubicBezTo>
                <a:cubicBezTo>
                  <a:pt x="170" y="33"/>
                  <a:pt x="172" y="26"/>
                  <a:pt x="173" y="23"/>
                </a:cubicBezTo>
                <a:cubicBezTo>
                  <a:pt x="174" y="20"/>
                  <a:pt x="175" y="20"/>
                  <a:pt x="174" y="19"/>
                </a:cubicBezTo>
                <a:cubicBezTo>
                  <a:pt x="173" y="18"/>
                  <a:pt x="171" y="18"/>
                  <a:pt x="169" y="17"/>
                </a:cubicBezTo>
                <a:cubicBezTo>
                  <a:pt x="167" y="16"/>
                  <a:pt x="165" y="14"/>
                  <a:pt x="163" y="13"/>
                </a:cubicBezTo>
                <a:cubicBezTo>
                  <a:pt x="160" y="12"/>
                  <a:pt x="160" y="12"/>
                  <a:pt x="158" y="12"/>
                </a:cubicBezTo>
                <a:cubicBezTo>
                  <a:pt x="154" y="13"/>
                  <a:pt x="152" y="14"/>
                  <a:pt x="148" y="13"/>
                </a:cubicBezTo>
                <a:cubicBezTo>
                  <a:pt x="143" y="12"/>
                  <a:pt x="140" y="6"/>
                  <a:pt x="137" y="2"/>
                </a:cubicBezTo>
                <a:cubicBezTo>
                  <a:pt x="136" y="1"/>
                  <a:pt x="135" y="0"/>
                  <a:pt x="134" y="0"/>
                </a:cubicBezTo>
                <a:cubicBezTo>
                  <a:pt x="133" y="0"/>
                  <a:pt x="132" y="1"/>
                  <a:pt x="131" y="1"/>
                </a:cubicBezTo>
                <a:cubicBezTo>
                  <a:pt x="129" y="1"/>
                  <a:pt x="128" y="0"/>
                  <a:pt x="126" y="0"/>
                </a:cubicBezTo>
                <a:cubicBezTo>
                  <a:pt x="121" y="0"/>
                  <a:pt x="117" y="4"/>
                  <a:pt x="113" y="6"/>
                </a:cubicBezTo>
                <a:cubicBezTo>
                  <a:pt x="108" y="9"/>
                  <a:pt x="105" y="8"/>
                  <a:pt x="101" y="6"/>
                </a:cubicBezTo>
                <a:cubicBezTo>
                  <a:pt x="98" y="5"/>
                  <a:pt x="96" y="5"/>
                  <a:pt x="94" y="5"/>
                </a:cubicBezTo>
                <a:cubicBezTo>
                  <a:pt x="93" y="5"/>
                  <a:pt x="93" y="5"/>
                  <a:pt x="93" y="5"/>
                </a:cubicBezTo>
                <a:cubicBezTo>
                  <a:pt x="95" y="7"/>
                  <a:pt x="99" y="11"/>
                  <a:pt x="98" y="12"/>
                </a:cubicBezTo>
                <a:cubicBezTo>
                  <a:pt x="98" y="13"/>
                  <a:pt x="95" y="15"/>
                  <a:pt x="95" y="15"/>
                </a:cubicBezTo>
                <a:cubicBezTo>
                  <a:pt x="92" y="18"/>
                  <a:pt x="90" y="22"/>
                  <a:pt x="88" y="25"/>
                </a:cubicBezTo>
                <a:cubicBezTo>
                  <a:pt x="87" y="26"/>
                  <a:pt x="86" y="27"/>
                  <a:pt x="85" y="28"/>
                </a:cubicBezTo>
                <a:cubicBezTo>
                  <a:pt x="85" y="28"/>
                  <a:pt x="84" y="30"/>
                  <a:pt x="84" y="30"/>
                </a:cubicBezTo>
                <a:cubicBezTo>
                  <a:pt x="81" y="32"/>
                  <a:pt x="74" y="28"/>
                  <a:pt x="71" y="28"/>
                </a:cubicBezTo>
                <a:cubicBezTo>
                  <a:pt x="68" y="28"/>
                  <a:pt x="66" y="29"/>
                  <a:pt x="63" y="30"/>
                </a:cubicBezTo>
                <a:cubicBezTo>
                  <a:pt x="61" y="30"/>
                  <a:pt x="59" y="30"/>
                  <a:pt x="57" y="29"/>
                </a:cubicBezTo>
                <a:cubicBezTo>
                  <a:pt x="60" y="32"/>
                  <a:pt x="59" y="40"/>
                  <a:pt x="56" y="42"/>
                </a:cubicBezTo>
                <a:cubicBezTo>
                  <a:pt x="53" y="40"/>
                  <a:pt x="51" y="34"/>
                  <a:pt x="48" y="31"/>
                </a:cubicBezTo>
                <a:cubicBezTo>
                  <a:pt x="45" y="27"/>
                  <a:pt x="42" y="26"/>
                  <a:pt x="38" y="25"/>
                </a:cubicBezTo>
                <a:cubicBezTo>
                  <a:pt x="37" y="30"/>
                  <a:pt x="36" y="37"/>
                  <a:pt x="30" y="38"/>
                </a:cubicBezTo>
                <a:cubicBezTo>
                  <a:pt x="28" y="39"/>
                  <a:pt x="26" y="38"/>
                  <a:pt x="24" y="38"/>
                </a:cubicBezTo>
                <a:cubicBezTo>
                  <a:pt x="22" y="39"/>
                  <a:pt x="20" y="40"/>
                  <a:pt x="18" y="40"/>
                </a:cubicBezTo>
                <a:cubicBezTo>
                  <a:pt x="17" y="41"/>
                  <a:pt x="16" y="41"/>
                  <a:pt x="15" y="41"/>
                </a:cubicBezTo>
                <a:cubicBezTo>
                  <a:pt x="13" y="41"/>
                  <a:pt x="14" y="40"/>
                  <a:pt x="13" y="41"/>
                </a:cubicBezTo>
                <a:cubicBezTo>
                  <a:pt x="11" y="43"/>
                  <a:pt x="10" y="44"/>
                  <a:pt x="9" y="46"/>
                </a:cubicBezTo>
                <a:cubicBezTo>
                  <a:pt x="9" y="47"/>
                  <a:pt x="9" y="47"/>
                  <a:pt x="9" y="47"/>
                </a:cubicBezTo>
                <a:cubicBezTo>
                  <a:pt x="9" y="48"/>
                  <a:pt x="10" y="48"/>
                  <a:pt x="10" y="49"/>
                </a:cubicBezTo>
                <a:cubicBezTo>
                  <a:pt x="12" y="56"/>
                  <a:pt x="12" y="59"/>
                  <a:pt x="9" y="66"/>
                </a:cubicBezTo>
                <a:cubicBezTo>
                  <a:pt x="6" y="76"/>
                  <a:pt x="0" y="83"/>
                  <a:pt x="7" y="93"/>
                </a:cubicBezTo>
                <a:cubicBezTo>
                  <a:pt x="8" y="94"/>
                  <a:pt x="10" y="94"/>
                  <a:pt x="11" y="97"/>
                </a:cubicBezTo>
                <a:cubicBezTo>
                  <a:pt x="12" y="99"/>
                  <a:pt x="9" y="101"/>
                  <a:pt x="10" y="103"/>
                </a:cubicBezTo>
                <a:cubicBezTo>
                  <a:pt x="12" y="106"/>
                  <a:pt x="18" y="104"/>
                  <a:pt x="21" y="106"/>
                </a:cubicBezTo>
                <a:cubicBezTo>
                  <a:pt x="28" y="110"/>
                  <a:pt x="26" y="120"/>
                  <a:pt x="22" y="125"/>
                </a:cubicBezTo>
                <a:cubicBezTo>
                  <a:pt x="23" y="125"/>
                  <a:pt x="23" y="125"/>
                  <a:pt x="23" y="125"/>
                </a:cubicBezTo>
                <a:cubicBezTo>
                  <a:pt x="24" y="125"/>
                  <a:pt x="25" y="125"/>
                  <a:pt x="26" y="125"/>
                </a:cubicBezTo>
                <a:cubicBezTo>
                  <a:pt x="32" y="125"/>
                  <a:pt x="40" y="117"/>
                  <a:pt x="44" y="110"/>
                </a:cubicBezTo>
                <a:cubicBezTo>
                  <a:pt x="48" y="103"/>
                  <a:pt x="56" y="105"/>
                  <a:pt x="61" y="104"/>
                </a:cubicBezTo>
                <a:cubicBezTo>
                  <a:pt x="67" y="104"/>
                  <a:pt x="65" y="100"/>
                  <a:pt x="72" y="108"/>
                </a:cubicBezTo>
                <a:cubicBezTo>
                  <a:pt x="78" y="115"/>
                  <a:pt x="85" y="114"/>
                  <a:pt x="87" y="116"/>
                </a:cubicBezTo>
                <a:cubicBezTo>
                  <a:pt x="90" y="118"/>
                  <a:pt x="90" y="118"/>
                  <a:pt x="92" y="130"/>
                </a:cubicBezTo>
                <a:cubicBezTo>
                  <a:pt x="94" y="142"/>
                  <a:pt x="101" y="144"/>
                  <a:pt x="96" y="151"/>
                </a:cubicBezTo>
                <a:cubicBezTo>
                  <a:pt x="91" y="159"/>
                  <a:pt x="88" y="164"/>
                  <a:pt x="95" y="162"/>
                </a:cubicBezTo>
                <a:cubicBezTo>
                  <a:pt x="101" y="161"/>
                  <a:pt x="107" y="163"/>
                  <a:pt x="111" y="168"/>
                </a:cubicBezTo>
                <a:cubicBezTo>
                  <a:pt x="115" y="173"/>
                  <a:pt x="144" y="212"/>
                  <a:pt x="161" y="216"/>
                </a:cubicBezTo>
                <a:cubicBezTo>
                  <a:pt x="178" y="220"/>
                  <a:pt x="174" y="209"/>
                  <a:pt x="181" y="218"/>
                </a:cubicBezTo>
                <a:cubicBezTo>
                  <a:pt x="188" y="227"/>
                  <a:pt x="199" y="226"/>
                  <a:pt x="197" y="232"/>
                </a:cubicBezTo>
                <a:cubicBezTo>
                  <a:pt x="195" y="239"/>
                  <a:pt x="206" y="231"/>
                  <a:pt x="205" y="238"/>
                </a:cubicBezTo>
                <a:cubicBezTo>
                  <a:pt x="203" y="245"/>
                  <a:pt x="205" y="250"/>
                  <a:pt x="213" y="254"/>
                </a:cubicBezTo>
                <a:cubicBezTo>
                  <a:pt x="220" y="258"/>
                  <a:pt x="226" y="251"/>
                  <a:pt x="229" y="260"/>
                </a:cubicBezTo>
                <a:cubicBezTo>
                  <a:pt x="232" y="269"/>
                  <a:pt x="235" y="274"/>
                  <a:pt x="240" y="282"/>
                </a:cubicBezTo>
                <a:cubicBezTo>
                  <a:pt x="244" y="290"/>
                  <a:pt x="247" y="293"/>
                  <a:pt x="242" y="296"/>
                </a:cubicBezTo>
                <a:cubicBezTo>
                  <a:pt x="237" y="300"/>
                  <a:pt x="231" y="299"/>
                  <a:pt x="234" y="305"/>
                </a:cubicBezTo>
                <a:cubicBezTo>
                  <a:pt x="238" y="310"/>
                  <a:pt x="235" y="309"/>
                  <a:pt x="232" y="314"/>
                </a:cubicBezTo>
                <a:cubicBezTo>
                  <a:pt x="229" y="319"/>
                  <a:pt x="233" y="338"/>
                  <a:pt x="240" y="329"/>
                </a:cubicBezTo>
                <a:cubicBezTo>
                  <a:pt x="247" y="321"/>
                  <a:pt x="248" y="319"/>
                  <a:pt x="252" y="315"/>
                </a:cubicBezTo>
                <a:cubicBezTo>
                  <a:pt x="257" y="310"/>
                  <a:pt x="257" y="304"/>
                  <a:pt x="257" y="298"/>
                </a:cubicBezTo>
                <a:cubicBezTo>
                  <a:pt x="257" y="292"/>
                  <a:pt x="263" y="291"/>
                  <a:pt x="267" y="289"/>
                </a:cubicBezTo>
                <a:cubicBezTo>
                  <a:pt x="272" y="288"/>
                  <a:pt x="276" y="287"/>
                  <a:pt x="267" y="276"/>
                </a:cubicBezTo>
                <a:cubicBezTo>
                  <a:pt x="259" y="265"/>
                  <a:pt x="250" y="267"/>
                  <a:pt x="251" y="262"/>
                </a:cubicBezTo>
                <a:cubicBezTo>
                  <a:pt x="253" y="257"/>
                  <a:pt x="259" y="255"/>
                  <a:pt x="257" y="249"/>
                </a:cubicBezTo>
                <a:cubicBezTo>
                  <a:pt x="256" y="243"/>
                  <a:pt x="259" y="244"/>
                  <a:pt x="265" y="240"/>
                </a:cubicBezTo>
                <a:cubicBezTo>
                  <a:pt x="270" y="237"/>
                  <a:pt x="276" y="231"/>
                  <a:pt x="275" y="238"/>
                </a:cubicBezTo>
                <a:cubicBezTo>
                  <a:pt x="274" y="245"/>
                  <a:pt x="275" y="244"/>
                  <a:pt x="281" y="245"/>
                </a:cubicBezTo>
                <a:cubicBezTo>
                  <a:pt x="286" y="247"/>
                  <a:pt x="288" y="242"/>
                  <a:pt x="290" y="250"/>
                </a:cubicBezTo>
                <a:cubicBezTo>
                  <a:pt x="293" y="258"/>
                  <a:pt x="293" y="263"/>
                  <a:pt x="298" y="261"/>
                </a:cubicBezTo>
                <a:cubicBezTo>
                  <a:pt x="303" y="258"/>
                  <a:pt x="308" y="256"/>
                  <a:pt x="300" y="245"/>
                </a:cubicBezTo>
                <a:cubicBezTo>
                  <a:pt x="292" y="235"/>
                  <a:pt x="284" y="229"/>
                  <a:pt x="281" y="230"/>
                </a:cubicBezTo>
                <a:cubicBezTo>
                  <a:pt x="278" y="230"/>
                  <a:pt x="275" y="223"/>
                  <a:pt x="267" y="218"/>
                </a:cubicBezTo>
                <a:cubicBezTo>
                  <a:pt x="260" y="213"/>
                  <a:pt x="251" y="212"/>
                  <a:pt x="245" y="209"/>
                </a:cubicBezTo>
                <a:cubicBezTo>
                  <a:pt x="240" y="206"/>
                  <a:pt x="235" y="205"/>
                  <a:pt x="239" y="199"/>
                </a:cubicBezTo>
                <a:cubicBezTo>
                  <a:pt x="242" y="193"/>
                  <a:pt x="245" y="182"/>
                  <a:pt x="239" y="185"/>
                </a:cubicBezTo>
                <a:cubicBezTo>
                  <a:pt x="233" y="187"/>
                  <a:pt x="233" y="182"/>
                  <a:pt x="229" y="186"/>
                </a:cubicBezTo>
                <a:cubicBezTo>
                  <a:pt x="225" y="190"/>
                  <a:pt x="224" y="195"/>
                  <a:pt x="217" y="188"/>
                </a:cubicBezTo>
                <a:cubicBezTo>
                  <a:pt x="210" y="181"/>
                  <a:pt x="192" y="171"/>
                  <a:pt x="181" y="141"/>
                </a:cubicBezTo>
                <a:cubicBezTo>
                  <a:pt x="178" y="132"/>
                  <a:pt x="168" y="129"/>
                  <a:pt x="161" y="121"/>
                </a:cubicBezTo>
                <a:cubicBezTo>
                  <a:pt x="153" y="112"/>
                  <a:pt x="140" y="93"/>
                  <a:pt x="145" y="87"/>
                </a:cubicBezTo>
                <a:cubicBezTo>
                  <a:pt x="151" y="81"/>
                  <a:pt x="148" y="81"/>
                  <a:pt x="145" y="73"/>
                </a:cubicBezTo>
                <a:cubicBezTo>
                  <a:pt x="141" y="64"/>
                  <a:pt x="141" y="61"/>
                  <a:pt x="148" y="59"/>
                </a:cubicBezTo>
                <a:cubicBezTo>
                  <a:pt x="155" y="57"/>
                  <a:pt x="157" y="55"/>
                  <a:pt x="163" y="54"/>
                </a:cubicBezTo>
                <a:cubicBezTo>
                  <a:pt x="167" y="53"/>
                  <a:pt x="171" y="49"/>
                  <a:pt x="174" y="47"/>
                </a:cubicBezTo>
                <a:lnTo>
                  <a:pt x="175" y="4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13" name="Freeform 548"/>
          <p:cNvSpPr>
            <a:spLocks/>
          </p:cNvSpPr>
          <p:nvPr userDrawn="1"/>
        </p:nvSpPr>
        <p:spPr bwMode="auto">
          <a:xfrm>
            <a:off x="5658165" y="3671273"/>
            <a:ext cx="113907" cy="73704"/>
          </a:xfrm>
          <a:custGeom>
            <a:avLst/>
            <a:gdLst>
              <a:gd name="T0" fmla="*/ 2147483646 w 121"/>
              <a:gd name="T1" fmla="*/ 2147483646 h 78"/>
              <a:gd name="T2" fmla="*/ 2147483646 w 121"/>
              <a:gd name="T3" fmla="*/ 2147483646 h 78"/>
              <a:gd name="T4" fmla="*/ 2147483646 w 121"/>
              <a:gd name="T5" fmla="*/ 2147483646 h 78"/>
              <a:gd name="T6" fmla="*/ 2147483646 w 121"/>
              <a:gd name="T7" fmla="*/ 2147483646 h 78"/>
              <a:gd name="T8" fmla="*/ 2147483646 w 121"/>
              <a:gd name="T9" fmla="*/ 2147483646 h 78"/>
              <a:gd name="T10" fmla="*/ 2147483646 w 121"/>
              <a:gd name="T11" fmla="*/ 2147483646 h 78"/>
              <a:gd name="T12" fmla="*/ 2147483646 w 121"/>
              <a:gd name="T13" fmla="*/ 2147483646 h 78"/>
              <a:gd name="T14" fmla="*/ 2147483646 w 121"/>
              <a:gd name="T15" fmla="*/ 2147483646 h 78"/>
              <a:gd name="T16" fmla="*/ 2147483646 w 121"/>
              <a:gd name="T17" fmla="*/ 2147483646 h 78"/>
              <a:gd name="T18" fmla="*/ 2147483646 w 121"/>
              <a:gd name="T19" fmla="*/ 2147483646 h 78"/>
              <a:gd name="T20" fmla="*/ 2147483646 w 121"/>
              <a:gd name="T21" fmla="*/ 2147483646 h 78"/>
              <a:gd name="T22" fmla="*/ 2147483646 w 121"/>
              <a:gd name="T23" fmla="*/ 2147483646 h 78"/>
              <a:gd name="T24" fmla="*/ 2147483646 w 121"/>
              <a:gd name="T25" fmla="*/ 2147483646 h 78"/>
              <a:gd name="T26" fmla="*/ 2147483646 w 121"/>
              <a:gd name="T27" fmla="*/ 2147483646 h 78"/>
              <a:gd name="T28" fmla="*/ 2147483646 w 121"/>
              <a:gd name="T29" fmla="*/ 2147483646 h 78"/>
              <a:gd name="T30" fmla="*/ 2147483646 w 121"/>
              <a:gd name="T31" fmla="*/ 2147483646 h 78"/>
              <a:gd name="T32" fmla="*/ 2147483646 w 121"/>
              <a:gd name="T33" fmla="*/ 2147483646 h 78"/>
              <a:gd name="T34" fmla="*/ 2147483646 w 121"/>
              <a:gd name="T35" fmla="*/ 2147483646 h 78"/>
              <a:gd name="T36" fmla="*/ 2147483646 w 121"/>
              <a:gd name="T37" fmla="*/ 2147483646 h 78"/>
              <a:gd name="T38" fmla="*/ 2147483646 w 121"/>
              <a:gd name="T39" fmla="*/ 2147483646 h 78"/>
              <a:gd name="T40" fmla="*/ 2147483646 w 121"/>
              <a:gd name="T41" fmla="*/ 2147483646 h 78"/>
              <a:gd name="T42" fmla="*/ 2147483646 w 121"/>
              <a:gd name="T43" fmla="*/ 2147483646 h 78"/>
              <a:gd name="T44" fmla="*/ 2147483646 w 121"/>
              <a:gd name="T45" fmla="*/ 2147483646 h 78"/>
              <a:gd name="T46" fmla="*/ 2147483646 w 121"/>
              <a:gd name="T47" fmla="*/ 2147483646 h 78"/>
              <a:gd name="T48" fmla="*/ 2147483646 w 121"/>
              <a:gd name="T49" fmla="*/ 2147483646 h 78"/>
              <a:gd name="T50" fmla="*/ 2147483646 w 121"/>
              <a:gd name="T51" fmla="*/ 2147483646 h 78"/>
              <a:gd name="T52" fmla="*/ 2147483646 w 121"/>
              <a:gd name="T53" fmla="*/ 2147483646 h 78"/>
              <a:gd name="T54" fmla="*/ 2147483646 w 121"/>
              <a:gd name="T55" fmla="*/ 2147483646 h 78"/>
              <a:gd name="T56" fmla="*/ 2147483646 w 121"/>
              <a:gd name="T57" fmla="*/ 2147483646 h 78"/>
              <a:gd name="T58" fmla="*/ 2147483646 w 121"/>
              <a:gd name="T59" fmla="*/ 2147483646 h 78"/>
              <a:gd name="T60" fmla="*/ 2147483646 w 121"/>
              <a:gd name="T61" fmla="*/ 2147483646 h 78"/>
              <a:gd name="T62" fmla="*/ 2147483646 w 121"/>
              <a:gd name="T63" fmla="*/ 2147483646 h 78"/>
              <a:gd name="T64" fmla="*/ 2147483646 w 121"/>
              <a:gd name="T65" fmla="*/ 2147483646 h 78"/>
              <a:gd name="T66" fmla="*/ 2147483646 w 121"/>
              <a:gd name="T67" fmla="*/ 2147483646 h 78"/>
              <a:gd name="T68" fmla="*/ 2147483646 w 121"/>
              <a:gd name="T69" fmla="*/ 2147483646 h 78"/>
              <a:gd name="T70" fmla="*/ 2147483646 w 121"/>
              <a:gd name="T71" fmla="*/ 2147483646 h 78"/>
              <a:gd name="T72" fmla="*/ 2147483646 w 121"/>
              <a:gd name="T73" fmla="*/ 2147483646 h 78"/>
              <a:gd name="T74" fmla="*/ 2147483646 w 121"/>
              <a:gd name="T75" fmla="*/ 2147483646 h 78"/>
              <a:gd name="T76" fmla="*/ 2147483646 w 121"/>
              <a:gd name="T77" fmla="*/ 2147483646 h 78"/>
              <a:gd name="T78" fmla="*/ 2147483646 w 121"/>
              <a:gd name="T79" fmla="*/ 2147483646 h 78"/>
              <a:gd name="T80" fmla="*/ 2147483646 w 121"/>
              <a:gd name="T81" fmla="*/ 2147483646 h 7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21"/>
              <a:gd name="T124" fmla="*/ 0 h 78"/>
              <a:gd name="T125" fmla="*/ 121 w 121"/>
              <a:gd name="T126" fmla="*/ 78 h 7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21" h="78">
                <a:moveTo>
                  <a:pt x="38" y="10"/>
                </a:moveTo>
                <a:cubicBezTo>
                  <a:pt x="37" y="12"/>
                  <a:pt x="36" y="13"/>
                  <a:pt x="33" y="14"/>
                </a:cubicBezTo>
                <a:cubicBezTo>
                  <a:pt x="30" y="16"/>
                  <a:pt x="27" y="15"/>
                  <a:pt x="24" y="18"/>
                </a:cubicBezTo>
                <a:cubicBezTo>
                  <a:pt x="21" y="21"/>
                  <a:pt x="21" y="27"/>
                  <a:pt x="20" y="31"/>
                </a:cubicBezTo>
                <a:cubicBezTo>
                  <a:pt x="17" y="38"/>
                  <a:pt x="12" y="45"/>
                  <a:pt x="8" y="51"/>
                </a:cubicBezTo>
                <a:cubicBezTo>
                  <a:pt x="4" y="56"/>
                  <a:pt x="0" y="63"/>
                  <a:pt x="9" y="65"/>
                </a:cubicBezTo>
                <a:cubicBezTo>
                  <a:pt x="15" y="66"/>
                  <a:pt x="24" y="55"/>
                  <a:pt x="29" y="62"/>
                </a:cubicBezTo>
                <a:cubicBezTo>
                  <a:pt x="31" y="65"/>
                  <a:pt x="31" y="72"/>
                  <a:pt x="31" y="77"/>
                </a:cubicBezTo>
                <a:cubicBezTo>
                  <a:pt x="31" y="78"/>
                  <a:pt x="31" y="78"/>
                  <a:pt x="31" y="78"/>
                </a:cubicBezTo>
                <a:cubicBezTo>
                  <a:pt x="33" y="76"/>
                  <a:pt x="33" y="75"/>
                  <a:pt x="35" y="73"/>
                </a:cubicBezTo>
                <a:cubicBezTo>
                  <a:pt x="36" y="72"/>
                  <a:pt x="35" y="73"/>
                  <a:pt x="37" y="73"/>
                </a:cubicBezTo>
                <a:cubicBezTo>
                  <a:pt x="38" y="73"/>
                  <a:pt x="39" y="73"/>
                  <a:pt x="40" y="72"/>
                </a:cubicBezTo>
                <a:cubicBezTo>
                  <a:pt x="42" y="72"/>
                  <a:pt x="44" y="71"/>
                  <a:pt x="46" y="70"/>
                </a:cubicBezTo>
                <a:cubicBezTo>
                  <a:pt x="48" y="70"/>
                  <a:pt x="50" y="71"/>
                  <a:pt x="52" y="70"/>
                </a:cubicBezTo>
                <a:cubicBezTo>
                  <a:pt x="58" y="69"/>
                  <a:pt x="59" y="62"/>
                  <a:pt x="60" y="57"/>
                </a:cubicBezTo>
                <a:cubicBezTo>
                  <a:pt x="64" y="58"/>
                  <a:pt x="67" y="59"/>
                  <a:pt x="70" y="63"/>
                </a:cubicBezTo>
                <a:cubicBezTo>
                  <a:pt x="73" y="66"/>
                  <a:pt x="75" y="72"/>
                  <a:pt x="78" y="74"/>
                </a:cubicBezTo>
                <a:cubicBezTo>
                  <a:pt x="81" y="72"/>
                  <a:pt x="82" y="64"/>
                  <a:pt x="79" y="62"/>
                </a:cubicBezTo>
                <a:cubicBezTo>
                  <a:pt x="81" y="62"/>
                  <a:pt x="83" y="62"/>
                  <a:pt x="85" y="62"/>
                </a:cubicBezTo>
                <a:cubicBezTo>
                  <a:pt x="88" y="61"/>
                  <a:pt x="90" y="60"/>
                  <a:pt x="93" y="60"/>
                </a:cubicBezTo>
                <a:cubicBezTo>
                  <a:pt x="96" y="60"/>
                  <a:pt x="103" y="64"/>
                  <a:pt x="106" y="62"/>
                </a:cubicBezTo>
                <a:cubicBezTo>
                  <a:pt x="106" y="62"/>
                  <a:pt x="107" y="60"/>
                  <a:pt x="107" y="60"/>
                </a:cubicBezTo>
                <a:cubicBezTo>
                  <a:pt x="108" y="59"/>
                  <a:pt x="109" y="58"/>
                  <a:pt x="110" y="57"/>
                </a:cubicBezTo>
                <a:cubicBezTo>
                  <a:pt x="112" y="54"/>
                  <a:pt x="114" y="50"/>
                  <a:pt x="117" y="47"/>
                </a:cubicBezTo>
                <a:cubicBezTo>
                  <a:pt x="117" y="47"/>
                  <a:pt x="120" y="45"/>
                  <a:pt x="120" y="44"/>
                </a:cubicBezTo>
                <a:cubicBezTo>
                  <a:pt x="121" y="42"/>
                  <a:pt x="115" y="36"/>
                  <a:pt x="114" y="36"/>
                </a:cubicBezTo>
                <a:cubicBezTo>
                  <a:pt x="111" y="36"/>
                  <a:pt x="110" y="42"/>
                  <a:pt x="107" y="41"/>
                </a:cubicBezTo>
                <a:cubicBezTo>
                  <a:pt x="105" y="41"/>
                  <a:pt x="104" y="36"/>
                  <a:pt x="103" y="35"/>
                </a:cubicBezTo>
                <a:cubicBezTo>
                  <a:pt x="101" y="32"/>
                  <a:pt x="97" y="33"/>
                  <a:pt x="94" y="33"/>
                </a:cubicBezTo>
                <a:cubicBezTo>
                  <a:pt x="94" y="28"/>
                  <a:pt x="98" y="23"/>
                  <a:pt x="99" y="18"/>
                </a:cubicBezTo>
                <a:cubicBezTo>
                  <a:pt x="100" y="15"/>
                  <a:pt x="99" y="15"/>
                  <a:pt x="96" y="14"/>
                </a:cubicBezTo>
                <a:cubicBezTo>
                  <a:pt x="93" y="12"/>
                  <a:pt x="90" y="13"/>
                  <a:pt x="87" y="11"/>
                </a:cubicBezTo>
                <a:cubicBezTo>
                  <a:pt x="84" y="10"/>
                  <a:pt x="84" y="6"/>
                  <a:pt x="82" y="3"/>
                </a:cubicBezTo>
                <a:cubicBezTo>
                  <a:pt x="80" y="0"/>
                  <a:pt x="78" y="4"/>
                  <a:pt x="75" y="5"/>
                </a:cubicBezTo>
                <a:cubicBezTo>
                  <a:pt x="74" y="6"/>
                  <a:pt x="71" y="8"/>
                  <a:pt x="70" y="8"/>
                </a:cubicBezTo>
                <a:cubicBezTo>
                  <a:pt x="68" y="8"/>
                  <a:pt x="66" y="7"/>
                  <a:pt x="64" y="8"/>
                </a:cubicBezTo>
                <a:cubicBezTo>
                  <a:pt x="61" y="9"/>
                  <a:pt x="59" y="12"/>
                  <a:pt x="55" y="11"/>
                </a:cubicBezTo>
                <a:cubicBezTo>
                  <a:pt x="53" y="10"/>
                  <a:pt x="48" y="9"/>
                  <a:pt x="47" y="13"/>
                </a:cubicBezTo>
                <a:cubicBezTo>
                  <a:pt x="44" y="11"/>
                  <a:pt x="41" y="10"/>
                  <a:pt x="38" y="8"/>
                </a:cubicBezTo>
                <a:cubicBezTo>
                  <a:pt x="37" y="8"/>
                  <a:pt x="38" y="8"/>
                  <a:pt x="38" y="8"/>
                </a:cubicBezTo>
                <a:lnTo>
                  <a:pt x="38" y="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14" name="Freeform 549"/>
          <p:cNvSpPr>
            <a:spLocks/>
          </p:cNvSpPr>
          <p:nvPr userDrawn="1"/>
        </p:nvSpPr>
        <p:spPr bwMode="auto">
          <a:xfrm>
            <a:off x="5653141" y="3587519"/>
            <a:ext cx="23451" cy="31827"/>
          </a:xfrm>
          <a:custGeom>
            <a:avLst/>
            <a:gdLst>
              <a:gd name="T0" fmla="*/ 2147483646 w 25"/>
              <a:gd name="T1" fmla="*/ 2147483646 h 34"/>
              <a:gd name="T2" fmla="*/ 2147483646 w 25"/>
              <a:gd name="T3" fmla="*/ 2147483646 h 34"/>
              <a:gd name="T4" fmla="*/ 2147483646 w 25"/>
              <a:gd name="T5" fmla="*/ 2147483646 h 34"/>
              <a:gd name="T6" fmla="*/ 2147483646 w 25"/>
              <a:gd name="T7" fmla="*/ 2147483646 h 34"/>
              <a:gd name="T8" fmla="*/ 2147483646 w 25"/>
              <a:gd name="T9" fmla="*/ 0 h 34"/>
              <a:gd name="T10" fmla="*/ 2147483646 w 25"/>
              <a:gd name="T11" fmla="*/ 2147483646 h 34"/>
              <a:gd name="T12" fmla="*/ 2147483646 w 25"/>
              <a:gd name="T13" fmla="*/ 2147483646 h 34"/>
              <a:gd name="T14" fmla="*/ 0 w 25"/>
              <a:gd name="T15" fmla="*/ 2147483646 h 34"/>
              <a:gd name="T16" fmla="*/ 2147483646 w 25"/>
              <a:gd name="T17" fmla="*/ 2147483646 h 34"/>
              <a:gd name="T18" fmla="*/ 2147483646 w 25"/>
              <a:gd name="T19" fmla="*/ 2147483646 h 34"/>
              <a:gd name="T20" fmla="*/ 2147483646 w 25"/>
              <a:gd name="T21" fmla="*/ 2147483646 h 34"/>
              <a:gd name="T22" fmla="*/ 2147483646 w 25"/>
              <a:gd name="T23" fmla="*/ 2147483646 h 34"/>
              <a:gd name="T24" fmla="*/ 2147483646 w 25"/>
              <a:gd name="T25" fmla="*/ 2147483646 h 34"/>
              <a:gd name="T26" fmla="*/ 2147483646 w 25"/>
              <a:gd name="T27" fmla="*/ 2147483646 h 3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5"/>
              <a:gd name="T43" fmla="*/ 0 h 34"/>
              <a:gd name="T44" fmla="*/ 25 w 25"/>
              <a:gd name="T45" fmla="*/ 34 h 3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5" h="34">
                <a:moveTo>
                  <a:pt x="25" y="32"/>
                </a:moveTo>
                <a:cubicBezTo>
                  <a:pt x="25" y="30"/>
                  <a:pt x="25" y="29"/>
                  <a:pt x="25" y="27"/>
                </a:cubicBezTo>
                <a:cubicBezTo>
                  <a:pt x="25" y="23"/>
                  <a:pt x="24" y="23"/>
                  <a:pt x="22" y="18"/>
                </a:cubicBezTo>
                <a:cubicBezTo>
                  <a:pt x="21" y="15"/>
                  <a:pt x="23" y="12"/>
                  <a:pt x="21" y="8"/>
                </a:cubicBezTo>
                <a:cubicBezTo>
                  <a:pt x="20" y="5"/>
                  <a:pt x="16" y="3"/>
                  <a:pt x="13" y="0"/>
                </a:cubicBezTo>
                <a:cubicBezTo>
                  <a:pt x="9" y="4"/>
                  <a:pt x="5" y="8"/>
                  <a:pt x="2" y="13"/>
                </a:cubicBezTo>
                <a:cubicBezTo>
                  <a:pt x="1" y="16"/>
                  <a:pt x="1" y="19"/>
                  <a:pt x="1" y="22"/>
                </a:cubicBezTo>
                <a:cubicBezTo>
                  <a:pt x="2" y="25"/>
                  <a:pt x="1" y="25"/>
                  <a:pt x="0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7" y="28"/>
                  <a:pt x="11" y="26"/>
                  <a:pt x="16" y="27"/>
                </a:cubicBezTo>
                <a:cubicBezTo>
                  <a:pt x="20" y="28"/>
                  <a:pt x="20" y="30"/>
                  <a:pt x="23" y="33"/>
                </a:cubicBezTo>
                <a:cubicBezTo>
                  <a:pt x="23" y="33"/>
                  <a:pt x="23" y="33"/>
                  <a:pt x="24" y="33"/>
                </a:cubicBezTo>
                <a:cubicBezTo>
                  <a:pt x="25" y="34"/>
                  <a:pt x="25" y="34"/>
                  <a:pt x="25" y="34"/>
                </a:cubicBezTo>
                <a:lnTo>
                  <a:pt x="25" y="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15" name="Freeform 550"/>
          <p:cNvSpPr>
            <a:spLocks/>
          </p:cNvSpPr>
          <p:nvPr userDrawn="1"/>
        </p:nvSpPr>
        <p:spPr bwMode="auto">
          <a:xfrm>
            <a:off x="5706745" y="3299403"/>
            <a:ext cx="72028" cy="90455"/>
          </a:xfrm>
          <a:custGeom>
            <a:avLst/>
            <a:gdLst>
              <a:gd name="T0" fmla="*/ 2147483646 w 77"/>
              <a:gd name="T1" fmla="*/ 2147483646 h 96"/>
              <a:gd name="T2" fmla="*/ 2147483646 w 77"/>
              <a:gd name="T3" fmla="*/ 2147483646 h 96"/>
              <a:gd name="T4" fmla="*/ 2147483646 w 77"/>
              <a:gd name="T5" fmla="*/ 2147483646 h 96"/>
              <a:gd name="T6" fmla="*/ 2147483646 w 77"/>
              <a:gd name="T7" fmla="*/ 2147483646 h 96"/>
              <a:gd name="T8" fmla="*/ 2147483646 w 77"/>
              <a:gd name="T9" fmla="*/ 2147483646 h 96"/>
              <a:gd name="T10" fmla="*/ 2147483646 w 77"/>
              <a:gd name="T11" fmla="*/ 2147483646 h 96"/>
              <a:gd name="T12" fmla="*/ 2147483646 w 77"/>
              <a:gd name="T13" fmla="*/ 2147483646 h 96"/>
              <a:gd name="T14" fmla="*/ 2147483646 w 77"/>
              <a:gd name="T15" fmla="*/ 2147483646 h 96"/>
              <a:gd name="T16" fmla="*/ 2147483646 w 77"/>
              <a:gd name="T17" fmla="*/ 2147483646 h 96"/>
              <a:gd name="T18" fmla="*/ 2147483646 w 77"/>
              <a:gd name="T19" fmla="*/ 2147483646 h 96"/>
              <a:gd name="T20" fmla="*/ 2147483646 w 77"/>
              <a:gd name="T21" fmla="*/ 2147483646 h 96"/>
              <a:gd name="T22" fmla="*/ 2147483646 w 77"/>
              <a:gd name="T23" fmla="*/ 2147483646 h 96"/>
              <a:gd name="T24" fmla="*/ 2147483646 w 77"/>
              <a:gd name="T25" fmla="*/ 2147483646 h 96"/>
              <a:gd name="T26" fmla="*/ 2147483646 w 77"/>
              <a:gd name="T27" fmla="*/ 2147483646 h 96"/>
              <a:gd name="T28" fmla="*/ 2147483646 w 77"/>
              <a:gd name="T29" fmla="*/ 2147483646 h 96"/>
              <a:gd name="T30" fmla="*/ 2147483646 w 77"/>
              <a:gd name="T31" fmla="*/ 2147483646 h 96"/>
              <a:gd name="T32" fmla="*/ 2147483646 w 77"/>
              <a:gd name="T33" fmla="*/ 2147483646 h 96"/>
              <a:gd name="T34" fmla="*/ 2147483646 w 77"/>
              <a:gd name="T35" fmla="*/ 2147483646 h 96"/>
              <a:gd name="T36" fmla="*/ 2147483646 w 77"/>
              <a:gd name="T37" fmla="*/ 2147483646 h 96"/>
              <a:gd name="T38" fmla="*/ 2147483646 w 77"/>
              <a:gd name="T39" fmla="*/ 2147483646 h 96"/>
              <a:gd name="T40" fmla="*/ 2147483646 w 77"/>
              <a:gd name="T41" fmla="*/ 2147483646 h 96"/>
              <a:gd name="T42" fmla="*/ 2147483646 w 77"/>
              <a:gd name="T43" fmla="*/ 2147483646 h 96"/>
              <a:gd name="T44" fmla="*/ 2147483646 w 77"/>
              <a:gd name="T45" fmla="*/ 2147483646 h 96"/>
              <a:gd name="T46" fmla="*/ 2147483646 w 77"/>
              <a:gd name="T47" fmla="*/ 2147483646 h 96"/>
              <a:gd name="T48" fmla="*/ 2147483646 w 77"/>
              <a:gd name="T49" fmla="*/ 2147483646 h 96"/>
              <a:gd name="T50" fmla="*/ 2147483646 w 77"/>
              <a:gd name="T51" fmla="*/ 2147483646 h 96"/>
              <a:gd name="T52" fmla="*/ 2147483646 w 77"/>
              <a:gd name="T53" fmla="*/ 2147483646 h 96"/>
              <a:gd name="T54" fmla="*/ 2147483646 w 77"/>
              <a:gd name="T55" fmla="*/ 2147483646 h 96"/>
              <a:gd name="T56" fmla="*/ 2147483646 w 77"/>
              <a:gd name="T57" fmla="*/ 2147483646 h 96"/>
              <a:gd name="T58" fmla="*/ 2147483646 w 77"/>
              <a:gd name="T59" fmla="*/ 2147483646 h 96"/>
              <a:gd name="T60" fmla="*/ 2147483646 w 77"/>
              <a:gd name="T61" fmla="*/ 2147483646 h 96"/>
              <a:gd name="T62" fmla="*/ 2147483646 w 77"/>
              <a:gd name="T63" fmla="*/ 2147483646 h 96"/>
              <a:gd name="T64" fmla="*/ 2147483646 w 77"/>
              <a:gd name="T65" fmla="*/ 2147483646 h 96"/>
              <a:gd name="T66" fmla="*/ 2147483646 w 77"/>
              <a:gd name="T67" fmla="*/ 2147483646 h 96"/>
              <a:gd name="T68" fmla="*/ 2147483646 w 77"/>
              <a:gd name="T69" fmla="*/ 2147483646 h 96"/>
              <a:gd name="T70" fmla="*/ 2147483646 w 77"/>
              <a:gd name="T71" fmla="*/ 2147483646 h 96"/>
              <a:gd name="T72" fmla="*/ 2147483646 w 77"/>
              <a:gd name="T73" fmla="*/ 2147483646 h 96"/>
              <a:gd name="T74" fmla="*/ 2147483646 w 77"/>
              <a:gd name="T75" fmla="*/ 2147483646 h 96"/>
              <a:gd name="T76" fmla="*/ 2147483646 w 77"/>
              <a:gd name="T77" fmla="*/ 2147483646 h 96"/>
              <a:gd name="T78" fmla="*/ 2147483646 w 77"/>
              <a:gd name="T79" fmla="*/ 2147483646 h 96"/>
              <a:gd name="T80" fmla="*/ 2147483646 w 77"/>
              <a:gd name="T81" fmla="*/ 2147483646 h 96"/>
              <a:gd name="T82" fmla="*/ 2147483646 w 77"/>
              <a:gd name="T83" fmla="*/ 2147483646 h 96"/>
              <a:gd name="T84" fmla="*/ 2147483646 w 77"/>
              <a:gd name="T85" fmla="*/ 2147483646 h 96"/>
              <a:gd name="T86" fmla="*/ 2147483646 w 77"/>
              <a:gd name="T87" fmla="*/ 2147483646 h 96"/>
              <a:gd name="T88" fmla="*/ 2147483646 w 77"/>
              <a:gd name="T89" fmla="*/ 2147483646 h 96"/>
              <a:gd name="T90" fmla="*/ 2147483646 w 77"/>
              <a:gd name="T91" fmla="*/ 2147483646 h 96"/>
              <a:gd name="T92" fmla="*/ 2147483646 w 77"/>
              <a:gd name="T93" fmla="*/ 2147483646 h 96"/>
              <a:gd name="T94" fmla="*/ 2147483646 w 77"/>
              <a:gd name="T95" fmla="*/ 2147483646 h 96"/>
              <a:gd name="T96" fmla="*/ 2147483646 w 77"/>
              <a:gd name="T97" fmla="*/ 2147483646 h 96"/>
              <a:gd name="T98" fmla="*/ 2147483646 w 77"/>
              <a:gd name="T99" fmla="*/ 2147483646 h 96"/>
              <a:gd name="T100" fmla="*/ 2147483646 w 77"/>
              <a:gd name="T101" fmla="*/ 2147483646 h 96"/>
              <a:gd name="T102" fmla="*/ 2147483646 w 77"/>
              <a:gd name="T103" fmla="*/ 2147483646 h 9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77"/>
              <a:gd name="T157" fmla="*/ 0 h 96"/>
              <a:gd name="T158" fmla="*/ 77 w 77"/>
              <a:gd name="T159" fmla="*/ 96 h 9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77" h="96">
                <a:moveTo>
                  <a:pt x="34" y="94"/>
                </a:moveTo>
                <a:cubicBezTo>
                  <a:pt x="33" y="94"/>
                  <a:pt x="30" y="95"/>
                  <a:pt x="29" y="96"/>
                </a:cubicBezTo>
                <a:cubicBezTo>
                  <a:pt x="27" y="96"/>
                  <a:pt x="25" y="96"/>
                  <a:pt x="23" y="96"/>
                </a:cubicBezTo>
                <a:cubicBezTo>
                  <a:pt x="22" y="96"/>
                  <a:pt x="20" y="96"/>
                  <a:pt x="19" y="96"/>
                </a:cubicBezTo>
                <a:cubicBezTo>
                  <a:pt x="18" y="95"/>
                  <a:pt x="18" y="95"/>
                  <a:pt x="18" y="95"/>
                </a:cubicBezTo>
                <a:cubicBezTo>
                  <a:pt x="19" y="95"/>
                  <a:pt x="19" y="95"/>
                  <a:pt x="19" y="95"/>
                </a:cubicBezTo>
                <a:cubicBezTo>
                  <a:pt x="20" y="92"/>
                  <a:pt x="21" y="90"/>
                  <a:pt x="20" y="88"/>
                </a:cubicBezTo>
                <a:cubicBezTo>
                  <a:pt x="18" y="86"/>
                  <a:pt x="14" y="87"/>
                  <a:pt x="15" y="83"/>
                </a:cubicBezTo>
                <a:cubicBezTo>
                  <a:pt x="15" y="78"/>
                  <a:pt x="18" y="73"/>
                  <a:pt x="15" y="75"/>
                </a:cubicBezTo>
                <a:cubicBezTo>
                  <a:pt x="12" y="76"/>
                  <a:pt x="9" y="79"/>
                  <a:pt x="9" y="78"/>
                </a:cubicBezTo>
                <a:cubicBezTo>
                  <a:pt x="8" y="77"/>
                  <a:pt x="8" y="68"/>
                  <a:pt x="7" y="71"/>
                </a:cubicBezTo>
                <a:cubicBezTo>
                  <a:pt x="5" y="74"/>
                  <a:pt x="2" y="76"/>
                  <a:pt x="2" y="72"/>
                </a:cubicBezTo>
                <a:cubicBezTo>
                  <a:pt x="3" y="69"/>
                  <a:pt x="5" y="68"/>
                  <a:pt x="4" y="66"/>
                </a:cubicBezTo>
                <a:cubicBezTo>
                  <a:pt x="3" y="63"/>
                  <a:pt x="2" y="61"/>
                  <a:pt x="3" y="59"/>
                </a:cubicBezTo>
                <a:cubicBezTo>
                  <a:pt x="4" y="58"/>
                  <a:pt x="2" y="54"/>
                  <a:pt x="3" y="53"/>
                </a:cubicBezTo>
                <a:cubicBezTo>
                  <a:pt x="5" y="52"/>
                  <a:pt x="8" y="50"/>
                  <a:pt x="7" y="48"/>
                </a:cubicBezTo>
                <a:cubicBezTo>
                  <a:pt x="7" y="45"/>
                  <a:pt x="8" y="44"/>
                  <a:pt x="5" y="43"/>
                </a:cubicBezTo>
                <a:cubicBezTo>
                  <a:pt x="3" y="41"/>
                  <a:pt x="2" y="38"/>
                  <a:pt x="2" y="38"/>
                </a:cubicBezTo>
                <a:cubicBezTo>
                  <a:pt x="2" y="38"/>
                  <a:pt x="3" y="34"/>
                  <a:pt x="2" y="29"/>
                </a:cubicBezTo>
                <a:cubicBezTo>
                  <a:pt x="0" y="24"/>
                  <a:pt x="0" y="15"/>
                  <a:pt x="3" y="17"/>
                </a:cubicBezTo>
                <a:cubicBezTo>
                  <a:pt x="6" y="18"/>
                  <a:pt x="5" y="17"/>
                  <a:pt x="9" y="21"/>
                </a:cubicBezTo>
                <a:cubicBezTo>
                  <a:pt x="12" y="24"/>
                  <a:pt x="7" y="31"/>
                  <a:pt x="16" y="26"/>
                </a:cubicBezTo>
                <a:cubicBezTo>
                  <a:pt x="25" y="21"/>
                  <a:pt x="26" y="12"/>
                  <a:pt x="27" y="19"/>
                </a:cubicBezTo>
                <a:cubicBezTo>
                  <a:pt x="28" y="26"/>
                  <a:pt x="31" y="28"/>
                  <a:pt x="32" y="26"/>
                </a:cubicBezTo>
                <a:cubicBezTo>
                  <a:pt x="34" y="24"/>
                  <a:pt x="38" y="20"/>
                  <a:pt x="35" y="18"/>
                </a:cubicBezTo>
                <a:cubicBezTo>
                  <a:pt x="32" y="16"/>
                  <a:pt x="31" y="12"/>
                  <a:pt x="31" y="12"/>
                </a:cubicBezTo>
                <a:cubicBezTo>
                  <a:pt x="31" y="12"/>
                  <a:pt x="31" y="6"/>
                  <a:pt x="34" y="6"/>
                </a:cubicBezTo>
                <a:cubicBezTo>
                  <a:pt x="36" y="6"/>
                  <a:pt x="35" y="5"/>
                  <a:pt x="38" y="6"/>
                </a:cubicBezTo>
                <a:cubicBezTo>
                  <a:pt x="40" y="8"/>
                  <a:pt x="41" y="6"/>
                  <a:pt x="43" y="5"/>
                </a:cubicBezTo>
                <a:cubicBezTo>
                  <a:pt x="45" y="5"/>
                  <a:pt x="44" y="0"/>
                  <a:pt x="47" y="3"/>
                </a:cubicBezTo>
                <a:cubicBezTo>
                  <a:pt x="50" y="5"/>
                  <a:pt x="51" y="5"/>
                  <a:pt x="51" y="5"/>
                </a:cubicBezTo>
                <a:cubicBezTo>
                  <a:pt x="54" y="4"/>
                  <a:pt x="54" y="4"/>
                  <a:pt x="54" y="4"/>
                </a:cubicBezTo>
                <a:cubicBezTo>
                  <a:pt x="54" y="4"/>
                  <a:pt x="54" y="8"/>
                  <a:pt x="57" y="11"/>
                </a:cubicBezTo>
                <a:cubicBezTo>
                  <a:pt x="60" y="14"/>
                  <a:pt x="55" y="22"/>
                  <a:pt x="55" y="24"/>
                </a:cubicBezTo>
                <a:cubicBezTo>
                  <a:pt x="54" y="25"/>
                  <a:pt x="49" y="27"/>
                  <a:pt x="54" y="27"/>
                </a:cubicBezTo>
                <a:cubicBezTo>
                  <a:pt x="60" y="26"/>
                  <a:pt x="56" y="21"/>
                  <a:pt x="63" y="25"/>
                </a:cubicBezTo>
                <a:cubicBezTo>
                  <a:pt x="70" y="28"/>
                  <a:pt x="66" y="29"/>
                  <a:pt x="70" y="29"/>
                </a:cubicBezTo>
                <a:cubicBezTo>
                  <a:pt x="75" y="29"/>
                  <a:pt x="74" y="25"/>
                  <a:pt x="75" y="29"/>
                </a:cubicBezTo>
                <a:cubicBezTo>
                  <a:pt x="76" y="33"/>
                  <a:pt x="77" y="36"/>
                  <a:pt x="74" y="38"/>
                </a:cubicBezTo>
                <a:cubicBezTo>
                  <a:pt x="71" y="40"/>
                  <a:pt x="67" y="42"/>
                  <a:pt x="67" y="42"/>
                </a:cubicBezTo>
                <a:cubicBezTo>
                  <a:pt x="60" y="44"/>
                  <a:pt x="60" y="44"/>
                  <a:pt x="60" y="44"/>
                </a:cubicBezTo>
                <a:cubicBezTo>
                  <a:pt x="60" y="44"/>
                  <a:pt x="54" y="41"/>
                  <a:pt x="57" y="46"/>
                </a:cubicBezTo>
                <a:cubicBezTo>
                  <a:pt x="60" y="50"/>
                  <a:pt x="66" y="50"/>
                  <a:pt x="58" y="54"/>
                </a:cubicBezTo>
                <a:cubicBezTo>
                  <a:pt x="51" y="58"/>
                  <a:pt x="48" y="52"/>
                  <a:pt x="48" y="56"/>
                </a:cubicBezTo>
                <a:cubicBezTo>
                  <a:pt x="49" y="60"/>
                  <a:pt x="47" y="60"/>
                  <a:pt x="45" y="62"/>
                </a:cubicBezTo>
                <a:cubicBezTo>
                  <a:pt x="43" y="64"/>
                  <a:pt x="42" y="58"/>
                  <a:pt x="44" y="63"/>
                </a:cubicBezTo>
                <a:cubicBezTo>
                  <a:pt x="46" y="68"/>
                  <a:pt x="49" y="68"/>
                  <a:pt x="46" y="72"/>
                </a:cubicBezTo>
                <a:cubicBezTo>
                  <a:pt x="42" y="76"/>
                  <a:pt x="36" y="75"/>
                  <a:pt x="37" y="79"/>
                </a:cubicBezTo>
                <a:cubicBezTo>
                  <a:pt x="39" y="82"/>
                  <a:pt x="45" y="77"/>
                  <a:pt x="40" y="84"/>
                </a:cubicBezTo>
                <a:cubicBezTo>
                  <a:pt x="38" y="89"/>
                  <a:pt x="36" y="90"/>
                  <a:pt x="36" y="92"/>
                </a:cubicBezTo>
                <a:cubicBezTo>
                  <a:pt x="36" y="92"/>
                  <a:pt x="36" y="92"/>
                  <a:pt x="36" y="93"/>
                </a:cubicBezTo>
                <a:lnTo>
                  <a:pt x="34" y="9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16" name="Freeform 551"/>
          <p:cNvSpPr>
            <a:spLocks/>
          </p:cNvSpPr>
          <p:nvPr userDrawn="1"/>
        </p:nvSpPr>
        <p:spPr bwMode="auto">
          <a:xfrm>
            <a:off x="5659842" y="3384832"/>
            <a:ext cx="216087" cy="306543"/>
          </a:xfrm>
          <a:custGeom>
            <a:avLst/>
            <a:gdLst>
              <a:gd name="T0" fmla="*/ 2147483646 w 232"/>
              <a:gd name="T1" fmla="*/ 2147483646 h 327"/>
              <a:gd name="T2" fmla="*/ 2147483646 w 232"/>
              <a:gd name="T3" fmla="*/ 2147483646 h 327"/>
              <a:gd name="T4" fmla="*/ 2147483646 w 232"/>
              <a:gd name="T5" fmla="*/ 2147483646 h 327"/>
              <a:gd name="T6" fmla="*/ 0 w 232"/>
              <a:gd name="T7" fmla="*/ 2147483646 h 327"/>
              <a:gd name="T8" fmla="*/ 2147483646 w 232"/>
              <a:gd name="T9" fmla="*/ 2147483646 h 327"/>
              <a:gd name="T10" fmla="*/ 2147483646 w 232"/>
              <a:gd name="T11" fmla="*/ 2147483646 h 327"/>
              <a:gd name="T12" fmla="*/ 2147483646 w 232"/>
              <a:gd name="T13" fmla="*/ 2147483646 h 327"/>
              <a:gd name="T14" fmla="*/ 2147483646 w 232"/>
              <a:gd name="T15" fmla="*/ 2147483646 h 327"/>
              <a:gd name="T16" fmla="*/ 2147483646 w 232"/>
              <a:gd name="T17" fmla="*/ 2147483646 h 327"/>
              <a:gd name="T18" fmla="*/ 2147483646 w 232"/>
              <a:gd name="T19" fmla="*/ 2147483646 h 327"/>
              <a:gd name="T20" fmla="*/ 2147483646 w 232"/>
              <a:gd name="T21" fmla="*/ 2147483646 h 327"/>
              <a:gd name="T22" fmla="*/ 2147483646 w 232"/>
              <a:gd name="T23" fmla="*/ 2147483646 h 327"/>
              <a:gd name="T24" fmla="*/ 2147483646 w 232"/>
              <a:gd name="T25" fmla="*/ 2147483646 h 327"/>
              <a:gd name="T26" fmla="*/ 2147483646 w 232"/>
              <a:gd name="T27" fmla="*/ 2147483646 h 327"/>
              <a:gd name="T28" fmla="*/ 2147483646 w 232"/>
              <a:gd name="T29" fmla="*/ 2147483646 h 327"/>
              <a:gd name="T30" fmla="*/ 2147483646 w 232"/>
              <a:gd name="T31" fmla="*/ 2147483646 h 327"/>
              <a:gd name="T32" fmla="*/ 2147483646 w 232"/>
              <a:gd name="T33" fmla="*/ 2147483646 h 327"/>
              <a:gd name="T34" fmla="*/ 2147483646 w 232"/>
              <a:gd name="T35" fmla="*/ 2147483646 h 327"/>
              <a:gd name="T36" fmla="*/ 2147483646 w 232"/>
              <a:gd name="T37" fmla="*/ 2147483646 h 327"/>
              <a:gd name="T38" fmla="*/ 2147483646 w 232"/>
              <a:gd name="T39" fmla="*/ 2147483646 h 327"/>
              <a:gd name="T40" fmla="*/ 2147483646 w 232"/>
              <a:gd name="T41" fmla="*/ 2147483646 h 327"/>
              <a:gd name="T42" fmla="*/ 2147483646 w 232"/>
              <a:gd name="T43" fmla="*/ 2147483646 h 327"/>
              <a:gd name="T44" fmla="*/ 2147483646 w 232"/>
              <a:gd name="T45" fmla="*/ 2147483646 h 327"/>
              <a:gd name="T46" fmla="*/ 2147483646 w 232"/>
              <a:gd name="T47" fmla="*/ 2147483646 h 327"/>
              <a:gd name="T48" fmla="*/ 2147483646 w 232"/>
              <a:gd name="T49" fmla="*/ 2147483646 h 327"/>
              <a:gd name="T50" fmla="*/ 2147483646 w 232"/>
              <a:gd name="T51" fmla="*/ 2147483646 h 327"/>
              <a:gd name="T52" fmla="*/ 2147483646 w 232"/>
              <a:gd name="T53" fmla="*/ 2147483646 h 327"/>
              <a:gd name="T54" fmla="*/ 2147483646 w 232"/>
              <a:gd name="T55" fmla="*/ 2147483646 h 327"/>
              <a:gd name="T56" fmla="*/ 2147483646 w 232"/>
              <a:gd name="T57" fmla="*/ 2147483646 h 327"/>
              <a:gd name="T58" fmla="*/ 2147483646 w 232"/>
              <a:gd name="T59" fmla="*/ 2147483646 h 327"/>
              <a:gd name="T60" fmla="*/ 2147483646 w 232"/>
              <a:gd name="T61" fmla="*/ 2147483646 h 327"/>
              <a:gd name="T62" fmla="*/ 2147483646 w 232"/>
              <a:gd name="T63" fmla="*/ 2147483646 h 327"/>
              <a:gd name="T64" fmla="*/ 2147483646 w 232"/>
              <a:gd name="T65" fmla="*/ 2147483646 h 327"/>
              <a:gd name="T66" fmla="*/ 2147483646 w 232"/>
              <a:gd name="T67" fmla="*/ 2147483646 h 327"/>
              <a:gd name="T68" fmla="*/ 2147483646 w 232"/>
              <a:gd name="T69" fmla="*/ 2147483646 h 327"/>
              <a:gd name="T70" fmla="*/ 2147483646 w 232"/>
              <a:gd name="T71" fmla="*/ 2147483646 h 327"/>
              <a:gd name="T72" fmla="*/ 2147483646 w 232"/>
              <a:gd name="T73" fmla="*/ 2147483646 h 327"/>
              <a:gd name="T74" fmla="*/ 2147483646 w 232"/>
              <a:gd name="T75" fmla="*/ 2147483646 h 327"/>
              <a:gd name="T76" fmla="*/ 2147483646 w 232"/>
              <a:gd name="T77" fmla="*/ 2147483646 h 327"/>
              <a:gd name="T78" fmla="*/ 2147483646 w 232"/>
              <a:gd name="T79" fmla="*/ 2147483646 h 327"/>
              <a:gd name="T80" fmla="*/ 2147483646 w 232"/>
              <a:gd name="T81" fmla="*/ 2147483646 h 327"/>
              <a:gd name="T82" fmla="*/ 2147483646 w 232"/>
              <a:gd name="T83" fmla="*/ 2147483646 h 327"/>
              <a:gd name="T84" fmla="*/ 2147483646 w 232"/>
              <a:gd name="T85" fmla="*/ 2147483646 h 327"/>
              <a:gd name="T86" fmla="*/ 2147483646 w 232"/>
              <a:gd name="T87" fmla="*/ 2147483646 h 327"/>
              <a:gd name="T88" fmla="*/ 2147483646 w 232"/>
              <a:gd name="T89" fmla="*/ 2147483646 h 327"/>
              <a:gd name="T90" fmla="*/ 2147483646 w 232"/>
              <a:gd name="T91" fmla="*/ 2147483646 h 327"/>
              <a:gd name="T92" fmla="*/ 2147483646 w 232"/>
              <a:gd name="T93" fmla="*/ 2147483646 h 327"/>
              <a:gd name="T94" fmla="*/ 2147483646 w 232"/>
              <a:gd name="T95" fmla="*/ 2147483646 h 327"/>
              <a:gd name="T96" fmla="*/ 2147483646 w 232"/>
              <a:gd name="T97" fmla="*/ 2147483646 h 327"/>
              <a:gd name="T98" fmla="*/ 2147483646 w 232"/>
              <a:gd name="T99" fmla="*/ 2147483646 h 327"/>
              <a:gd name="T100" fmla="*/ 2147483646 w 232"/>
              <a:gd name="T101" fmla="*/ 2147483646 h 327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32"/>
              <a:gd name="T154" fmla="*/ 0 h 327"/>
              <a:gd name="T155" fmla="*/ 232 w 232"/>
              <a:gd name="T156" fmla="*/ 327 h 327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32" h="327">
                <a:moveTo>
                  <a:pt x="18" y="248"/>
                </a:moveTo>
                <a:cubicBezTo>
                  <a:pt x="18" y="248"/>
                  <a:pt x="18" y="245"/>
                  <a:pt x="18" y="243"/>
                </a:cubicBezTo>
                <a:cubicBezTo>
                  <a:pt x="18" y="239"/>
                  <a:pt x="17" y="239"/>
                  <a:pt x="15" y="234"/>
                </a:cubicBezTo>
                <a:cubicBezTo>
                  <a:pt x="14" y="231"/>
                  <a:pt x="16" y="228"/>
                  <a:pt x="14" y="224"/>
                </a:cubicBezTo>
                <a:cubicBezTo>
                  <a:pt x="13" y="221"/>
                  <a:pt x="9" y="219"/>
                  <a:pt x="6" y="216"/>
                </a:cubicBezTo>
                <a:cubicBezTo>
                  <a:pt x="6" y="216"/>
                  <a:pt x="6" y="216"/>
                  <a:pt x="6" y="216"/>
                </a:cubicBezTo>
                <a:cubicBezTo>
                  <a:pt x="5" y="210"/>
                  <a:pt x="6" y="209"/>
                  <a:pt x="9" y="204"/>
                </a:cubicBezTo>
                <a:cubicBezTo>
                  <a:pt x="12" y="200"/>
                  <a:pt x="6" y="193"/>
                  <a:pt x="6" y="193"/>
                </a:cubicBezTo>
                <a:cubicBezTo>
                  <a:pt x="6" y="193"/>
                  <a:pt x="6" y="193"/>
                  <a:pt x="6" y="193"/>
                </a:cubicBezTo>
                <a:cubicBezTo>
                  <a:pt x="6" y="193"/>
                  <a:pt x="6" y="193"/>
                  <a:pt x="6" y="193"/>
                </a:cubicBezTo>
                <a:cubicBezTo>
                  <a:pt x="6" y="189"/>
                  <a:pt x="4" y="186"/>
                  <a:pt x="3" y="183"/>
                </a:cubicBezTo>
                <a:cubicBezTo>
                  <a:pt x="2" y="181"/>
                  <a:pt x="0" y="179"/>
                  <a:pt x="0" y="177"/>
                </a:cubicBezTo>
                <a:cubicBezTo>
                  <a:pt x="3" y="175"/>
                  <a:pt x="5" y="173"/>
                  <a:pt x="6" y="171"/>
                </a:cubicBezTo>
                <a:cubicBezTo>
                  <a:pt x="4" y="168"/>
                  <a:pt x="2" y="160"/>
                  <a:pt x="1" y="156"/>
                </a:cubicBezTo>
                <a:cubicBezTo>
                  <a:pt x="0" y="153"/>
                  <a:pt x="3" y="148"/>
                  <a:pt x="7" y="150"/>
                </a:cubicBezTo>
                <a:cubicBezTo>
                  <a:pt x="7" y="148"/>
                  <a:pt x="6" y="145"/>
                  <a:pt x="7" y="145"/>
                </a:cubicBezTo>
                <a:cubicBezTo>
                  <a:pt x="9" y="144"/>
                  <a:pt x="9" y="146"/>
                  <a:pt x="11" y="146"/>
                </a:cubicBezTo>
                <a:cubicBezTo>
                  <a:pt x="12" y="146"/>
                  <a:pt x="13" y="143"/>
                  <a:pt x="15" y="143"/>
                </a:cubicBezTo>
                <a:cubicBezTo>
                  <a:pt x="17" y="142"/>
                  <a:pt x="18" y="144"/>
                  <a:pt x="19" y="145"/>
                </a:cubicBezTo>
                <a:cubicBezTo>
                  <a:pt x="22" y="138"/>
                  <a:pt x="26" y="130"/>
                  <a:pt x="31" y="125"/>
                </a:cubicBezTo>
                <a:cubicBezTo>
                  <a:pt x="28" y="122"/>
                  <a:pt x="24" y="118"/>
                  <a:pt x="25" y="114"/>
                </a:cubicBezTo>
                <a:cubicBezTo>
                  <a:pt x="25" y="110"/>
                  <a:pt x="29" y="107"/>
                  <a:pt x="30" y="103"/>
                </a:cubicBezTo>
                <a:cubicBezTo>
                  <a:pt x="32" y="100"/>
                  <a:pt x="31" y="101"/>
                  <a:pt x="30" y="98"/>
                </a:cubicBezTo>
                <a:cubicBezTo>
                  <a:pt x="28" y="92"/>
                  <a:pt x="31" y="91"/>
                  <a:pt x="34" y="86"/>
                </a:cubicBezTo>
                <a:cubicBezTo>
                  <a:pt x="34" y="86"/>
                  <a:pt x="34" y="84"/>
                  <a:pt x="35" y="83"/>
                </a:cubicBezTo>
                <a:cubicBezTo>
                  <a:pt x="35" y="80"/>
                  <a:pt x="35" y="80"/>
                  <a:pt x="35" y="80"/>
                </a:cubicBezTo>
                <a:cubicBezTo>
                  <a:pt x="36" y="80"/>
                  <a:pt x="36" y="80"/>
                  <a:pt x="36" y="80"/>
                </a:cubicBezTo>
                <a:cubicBezTo>
                  <a:pt x="34" y="79"/>
                  <a:pt x="34" y="79"/>
                  <a:pt x="34" y="79"/>
                </a:cubicBezTo>
                <a:cubicBezTo>
                  <a:pt x="32" y="77"/>
                  <a:pt x="30" y="78"/>
                  <a:pt x="30" y="75"/>
                </a:cubicBezTo>
                <a:cubicBezTo>
                  <a:pt x="30" y="72"/>
                  <a:pt x="29" y="69"/>
                  <a:pt x="33" y="67"/>
                </a:cubicBezTo>
                <a:cubicBezTo>
                  <a:pt x="37" y="65"/>
                  <a:pt x="36" y="65"/>
                  <a:pt x="40" y="64"/>
                </a:cubicBezTo>
                <a:cubicBezTo>
                  <a:pt x="44" y="63"/>
                  <a:pt x="46" y="63"/>
                  <a:pt x="49" y="64"/>
                </a:cubicBezTo>
                <a:cubicBezTo>
                  <a:pt x="52" y="64"/>
                  <a:pt x="55" y="61"/>
                  <a:pt x="55" y="65"/>
                </a:cubicBezTo>
                <a:cubicBezTo>
                  <a:pt x="55" y="69"/>
                  <a:pt x="50" y="74"/>
                  <a:pt x="54" y="76"/>
                </a:cubicBezTo>
                <a:cubicBezTo>
                  <a:pt x="58" y="78"/>
                  <a:pt x="61" y="75"/>
                  <a:pt x="62" y="74"/>
                </a:cubicBezTo>
                <a:cubicBezTo>
                  <a:pt x="64" y="72"/>
                  <a:pt x="62" y="65"/>
                  <a:pt x="62" y="65"/>
                </a:cubicBezTo>
                <a:cubicBezTo>
                  <a:pt x="70" y="59"/>
                  <a:pt x="70" y="59"/>
                  <a:pt x="70" y="59"/>
                </a:cubicBezTo>
                <a:cubicBezTo>
                  <a:pt x="70" y="59"/>
                  <a:pt x="66" y="53"/>
                  <a:pt x="74" y="54"/>
                </a:cubicBezTo>
                <a:cubicBezTo>
                  <a:pt x="82" y="55"/>
                  <a:pt x="81" y="48"/>
                  <a:pt x="79" y="46"/>
                </a:cubicBezTo>
                <a:cubicBezTo>
                  <a:pt x="78" y="45"/>
                  <a:pt x="72" y="43"/>
                  <a:pt x="71" y="40"/>
                </a:cubicBezTo>
                <a:cubicBezTo>
                  <a:pt x="70" y="37"/>
                  <a:pt x="72" y="28"/>
                  <a:pt x="75" y="29"/>
                </a:cubicBezTo>
                <a:cubicBezTo>
                  <a:pt x="79" y="30"/>
                  <a:pt x="81" y="27"/>
                  <a:pt x="79" y="26"/>
                </a:cubicBezTo>
                <a:cubicBezTo>
                  <a:pt x="78" y="24"/>
                  <a:pt x="75" y="17"/>
                  <a:pt x="72" y="15"/>
                </a:cubicBezTo>
                <a:cubicBezTo>
                  <a:pt x="69" y="12"/>
                  <a:pt x="65" y="8"/>
                  <a:pt x="67" y="6"/>
                </a:cubicBezTo>
                <a:cubicBezTo>
                  <a:pt x="67" y="5"/>
                  <a:pt x="68" y="5"/>
                  <a:pt x="68" y="4"/>
                </a:cubicBezTo>
                <a:cubicBezTo>
                  <a:pt x="69" y="3"/>
                  <a:pt x="69" y="3"/>
                  <a:pt x="69" y="3"/>
                </a:cubicBezTo>
                <a:cubicBezTo>
                  <a:pt x="69" y="3"/>
                  <a:pt x="78" y="6"/>
                  <a:pt x="87" y="1"/>
                </a:cubicBezTo>
                <a:cubicBezTo>
                  <a:pt x="87" y="1"/>
                  <a:pt x="87" y="1"/>
                  <a:pt x="88" y="2"/>
                </a:cubicBezTo>
                <a:cubicBezTo>
                  <a:pt x="89" y="2"/>
                  <a:pt x="88" y="1"/>
                  <a:pt x="90" y="2"/>
                </a:cubicBezTo>
                <a:cubicBezTo>
                  <a:pt x="92" y="3"/>
                  <a:pt x="94" y="0"/>
                  <a:pt x="94" y="0"/>
                </a:cubicBezTo>
                <a:cubicBezTo>
                  <a:pt x="94" y="0"/>
                  <a:pt x="94" y="0"/>
                  <a:pt x="97" y="1"/>
                </a:cubicBezTo>
                <a:cubicBezTo>
                  <a:pt x="100" y="3"/>
                  <a:pt x="99" y="8"/>
                  <a:pt x="99" y="8"/>
                </a:cubicBezTo>
                <a:cubicBezTo>
                  <a:pt x="94" y="9"/>
                  <a:pt x="94" y="9"/>
                  <a:pt x="94" y="9"/>
                </a:cubicBezTo>
                <a:cubicBezTo>
                  <a:pt x="91" y="11"/>
                  <a:pt x="91" y="11"/>
                  <a:pt x="91" y="11"/>
                </a:cubicBezTo>
                <a:cubicBezTo>
                  <a:pt x="91" y="11"/>
                  <a:pt x="95" y="10"/>
                  <a:pt x="98" y="12"/>
                </a:cubicBezTo>
                <a:cubicBezTo>
                  <a:pt x="101" y="14"/>
                  <a:pt x="100" y="17"/>
                  <a:pt x="100" y="17"/>
                </a:cubicBezTo>
                <a:cubicBezTo>
                  <a:pt x="101" y="23"/>
                  <a:pt x="101" y="23"/>
                  <a:pt x="101" y="23"/>
                </a:cubicBezTo>
                <a:cubicBezTo>
                  <a:pt x="101" y="23"/>
                  <a:pt x="97" y="29"/>
                  <a:pt x="100" y="28"/>
                </a:cubicBezTo>
                <a:cubicBezTo>
                  <a:pt x="103" y="27"/>
                  <a:pt x="104" y="26"/>
                  <a:pt x="106" y="30"/>
                </a:cubicBezTo>
                <a:cubicBezTo>
                  <a:pt x="107" y="33"/>
                  <a:pt x="110" y="36"/>
                  <a:pt x="111" y="34"/>
                </a:cubicBezTo>
                <a:cubicBezTo>
                  <a:pt x="113" y="32"/>
                  <a:pt x="115" y="31"/>
                  <a:pt x="117" y="33"/>
                </a:cubicBezTo>
                <a:cubicBezTo>
                  <a:pt x="119" y="36"/>
                  <a:pt x="118" y="40"/>
                  <a:pt x="121" y="37"/>
                </a:cubicBezTo>
                <a:cubicBezTo>
                  <a:pt x="123" y="35"/>
                  <a:pt x="123" y="33"/>
                  <a:pt x="126" y="33"/>
                </a:cubicBezTo>
                <a:cubicBezTo>
                  <a:pt x="128" y="33"/>
                  <a:pt x="129" y="32"/>
                  <a:pt x="130" y="34"/>
                </a:cubicBezTo>
                <a:cubicBezTo>
                  <a:pt x="131" y="36"/>
                  <a:pt x="131" y="39"/>
                  <a:pt x="127" y="42"/>
                </a:cubicBezTo>
                <a:cubicBezTo>
                  <a:pt x="123" y="45"/>
                  <a:pt x="121" y="44"/>
                  <a:pt x="122" y="49"/>
                </a:cubicBezTo>
                <a:cubicBezTo>
                  <a:pt x="123" y="54"/>
                  <a:pt x="119" y="59"/>
                  <a:pt x="124" y="55"/>
                </a:cubicBezTo>
                <a:cubicBezTo>
                  <a:pt x="128" y="52"/>
                  <a:pt x="130" y="50"/>
                  <a:pt x="130" y="50"/>
                </a:cubicBezTo>
                <a:cubicBezTo>
                  <a:pt x="130" y="50"/>
                  <a:pt x="132" y="49"/>
                  <a:pt x="135" y="51"/>
                </a:cubicBezTo>
                <a:cubicBezTo>
                  <a:pt x="138" y="52"/>
                  <a:pt x="140" y="58"/>
                  <a:pt x="142" y="52"/>
                </a:cubicBezTo>
                <a:cubicBezTo>
                  <a:pt x="144" y="47"/>
                  <a:pt x="145" y="44"/>
                  <a:pt x="147" y="42"/>
                </a:cubicBezTo>
                <a:cubicBezTo>
                  <a:pt x="149" y="41"/>
                  <a:pt x="152" y="40"/>
                  <a:pt x="154" y="39"/>
                </a:cubicBezTo>
                <a:cubicBezTo>
                  <a:pt x="156" y="38"/>
                  <a:pt x="161" y="40"/>
                  <a:pt x="162" y="35"/>
                </a:cubicBezTo>
                <a:cubicBezTo>
                  <a:pt x="164" y="31"/>
                  <a:pt x="166" y="29"/>
                  <a:pt x="169" y="31"/>
                </a:cubicBezTo>
                <a:cubicBezTo>
                  <a:pt x="172" y="32"/>
                  <a:pt x="167" y="34"/>
                  <a:pt x="167" y="35"/>
                </a:cubicBezTo>
                <a:cubicBezTo>
                  <a:pt x="168" y="37"/>
                  <a:pt x="171" y="38"/>
                  <a:pt x="173" y="36"/>
                </a:cubicBezTo>
                <a:cubicBezTo>
                  <a:pt x="175" y="35"/>
                  <a:pt x="179" y="33"/>
                  <a:pt x="180" y="32"/>
                </a:cubicBezTo>
                <a:cubicBezTo>
                  <a:pt x="181" y="32"/>
                  <a:pt x="181" y="34"/>
                  <a:pt x="184" y="37"/>
                </a:cubicBezTo>
                <a:cubicBezTo>
                  <a:pt x="187" y="39"/>
                  <a:pt x="190" y="40"/>
                  <a:pt x="191" y="40"/>
                </a:cubicBezTo>
                <a:cubicBezTo>
                  <a:pt x="192" y="40"/>
                  <a:pt x="189" y="42"/>
                  <a:pt x="193" y="43"/>
                </a:cubicBezTo>
                <a:cubicBezTo>
                  <a:pt x="197" y="44"/>
                  <a:pt x="200" y="49"/>
                  <a:pt x="200" y="51"/>
                </a:cubicBezTo>
                <a:cubicBezTo>
                  <a:pt x="199" y="54"/>
                  <a:pt x="196" y="54"/>
                  <a:pt x="197" y="56"/>
                </a:cubicBezTo>
                <a:cubicBezTo>
                  <a:pt x="198" y="58"/>
                  <a:pt x="201" y="60"/>
                  <a:pt x="204" y="59"/>
                </a:cubicBezTo>
                <a:cubicBezTo>
                  <a:pt x="207" y="58"/>
                  <a:pt x="210" y="57"/>
                  <a:pt x="211" y="59"/>
                </a:cubicBezTo>
                <a:cubicBezTo>
                  <a:pt x="212" y="60"/>
                  <a:pt x="213" y="62"/>
                  <a:pt x="214" y="62"/>
                </a:cubicBezTo>
                <a:cubicBezTo>
                  <a:pt x="215" y="62"/>
                  <a:pt x="215" y="62"/>
                  <a:pt x="215" y="62"/>
                </a:cubicBezTo>
                <a:cubicBezTo>
                  <a:pt x="216" y="63"/>
                  <a:pt x="216" y="63"/>
                  <a:pt x="216" y="63"/>
                </a:cubicBezTo>
                <a:cubicBezTo>
                  <a:pt x="217" y="65"/>
                  <a:pt x="220" y="69"/>
                  <a:pt x="220" y="71"/>
                </a:cubicBezTo>
                <a:cubicBezTo>
                  <a:pt x="220" y="73"/>
                  <a:pt x="219" y="76"/>
                  <a:pt x="219" y="78"/>
                </a:cubicBezTo>
                <a:cubicBezTo>
                  <a:pt x="219" y="86"/>
                  <a:pt x="213" y="93"/>
                  <a:pt x="208" y="98"/>
                </a:cubicBezTo>
                <a:cubicBezTo>
                  <a:pt x="211" y="103"/>
                  <a:pt x="221" y="104"/>
                  <a:pt x="220" y="110"/>
                </a:cubicBezTo>
                <a:cubicBezTo>
                  <a:pt x="220" y="113"/>
                  <a:pt x="218" y="116"/>
                  <a:pt x="219" y="118"/>
                </a:cubicBezTo>
                <a:cubicBezTo>
                  <a:pt x="220" y="120"/>
                  <a:pt x="222" y="120"/>
                  <a:pt x="223" y="122"/>
                </a:cubicBezTo>
                <a:cubicBezTo>
                  <a:pt x="223" y="123"/>
                  <a:pt x="221" y="125"/>
                  <a:pt x="221" y="126"/>
                </a:cubicBezTo>
                <a:cubicBezTo>
                  <a:pt x="221" y="128"/>
                  <a:pt x="222" y="129"/>
                  <a:pt x="223" y="130"/>
                </a:cubicBezTo>
                <a:cubicBezTo>
                  <a:pt x="223" y="133"/>
                  <a:pt x="223" y="134"/>
                  <a:pt x="223" y="138"/>
                </a:cubicBezTo>
                <a:cubicBezTo>
                  <a:pt x="222" y="146"/>
                  <a:pt x="230" y="151"/>
                  <a:pt x="231" y="160"/>
                </a:cubicBezTo>
                <a:cubicBezTo>
                  <a:pt x="231" y="164"/>
                  <a:pt x="232" y="169"/>
                  <a:pt x="232" y="173"/>
                </a:cubicBezTo>
                <a:cubicBezTo>
                  <a:pt x="231" y="176"/>
                  <a:pt x="229" y="177"/>
                  <a:pt x="227" y="179"/>
                </a:cubicBezTo>
                <a:cubicBezTo>
                  <a:pt x="225" y="182"/>
                  <a:pt x="224" y="185"/>
                  <a:pt x="223" y="189"/>
                </a:cubicBezTo>
                <a:cubicBezTo>
                  <a:pt x="218" y="186"/>
                  <a:pt x="215" y="182"/>
                  <a:pt x="210" y="180"/>
                </a:cubicBezTo>
                <a:cubicBezTo>
                  <a:pt x="206" y="188"/>
                  <a:pt x="199" y="195"/>
                  <a:pt x="191" y="198"/>
                </a:cubicBezTo>
                <a:cubicBezTo>
                  <a:pt x="185" y="200"/>
                  <a:pt x="180" y="206"/>
                  <a:pt x="173" y="208"/>
                </a:cubicBezTo>
                <a:cubicBezTo>
                  <a:pt x="169" y="210"/>
                  <a:pt x="164" y="211"/>
                  <a:pt x="160" y="212"/>
                </a:cubicBezTo>
                <a:cubicBezTo>
                  <a:pt x="164" y="219"/>
                  <a:pt x="168" y="227"/>
                  <a:pt x="171" y="235"/>
                </a:cubicBezTo>
                <a:cubicBezTo>
                  <a:pt x="174" y="240"/>
                  <a:pt x="177" y="242"/>
                  <a:pt x="183" y="243"/>
                </a:cubicBezTo>
                <a:cubicBezTo>
                  <a:pt x="183" y="247"/>
                  <a:pt x="181" y="252"/>
                  <a:pt x="182" y="257"/>
                </a:cubicBezTo>
                <a:cubicBezTo>
                  <a:pt x="184" y="255"/>
                  <a:pt x="188" y="253"/>
                  <a:pt x="191" y="253"/>
                </a:cubicBezTo>
                <a:cubicBezTo>
                  <a:pt x="192" y="257"/>
                  <a:pt x="191" y="263"/>
                  <a:pt x="194" y="265"/>
                </a:cubicBezTo>
                <a:cubicBezTo>
                  <a:pt x="195" y="266"/>
                  <a:pt x="197" y="267"/>
                  <a:pt x="199" y="268"/>
                </a:cubicBezTo>
                <a:cubicBezTo>
                  <a:pt x="200" y="270"/>
                  <a:pt x="200" y="271"/>
                  <a:pt x="201" y="272"/>
                </a:cubicBezTo>
                <a:cubicBezTo>
                  <a:pt x="201" y="273"/>
                  <a:pt x="201" y="273"/>
                  <a:pt x="201" y="273"/>
                </a:cubicBezTo>
                <a:cubicBezTo>
                  <a:pt x="201" y="273"/>
                  <a:pt x="201" y="273"/>
                  <a:pt x="201" y="273"/>
                </a:cubicBezTo>
                <a:cubicBezTo>
                  <a:pt x="198" y="277"/>
                  <a:pt x="195" y="282"/>
                  <a:pt x="195" y="287"/>
                </a:cubicBezTo>
                <a:cubicBezTo>
                  <a:pt x="195" y="286"/>
                  <a:pt x="194" y="285"/>
                  <a:pt x="193" y="285"/>
                </a:cubicBezTo>
                <a:cubicBezTo>
                  <a:pt x="191" y="284"/>
                  <a:pt x="190" y="285"/>
                  <a:pt x="189" y="287"/>
                </a:cubicBezTo>
                <a:cubicBezTo>
                  <a:pt x="185" y="290"/>
                  <a:pt x="179" y="294"/>
                  <a:pt x="177" y="298"/>
                </a:cubicBezTo>
                <a:cubicBezTo>
                  <a:pt x="180" y="300"/>
                  <a:pt x="182" y="301"/>
                  <a:pt x="183" y="304"/>
                </a:cubicBezTo>
                <a:cubicBezTo>
                  <a:pt x="184" y="307"/>
                  <a:pt x="186" y="311"/>
                  <a:pt x="186" y="315"/>
                </a:cubicBezTo>
                <a:cubicBezTo>
                  <a:pt x="184" y="314"/>
                  <a:pt x="182" y="313"/>
                  <a:pt x="180" y="312"/>
                </a:cubicBezTo>
                <a:cubicBezTo>
                  <a:pt x="179" y="312"/>
                  <a:pt x="178" y="311"/>
                  <a:pt x="177" y="312"/>
                </a:cubicBezTo>
                <a:cubicBezTo>
                  <a:pt x="176" y="312"/>
                  <a:pt x="175" y="313"/>
                  <a:pt x="175" y="313"/>
                </a:cubicBezTo>
                <a:cubicBezTo>
                  <a:pt x="172" y="314"/>
                  <a:pt x="170" y="313"/>
                  <a:pt x="167" y="312"/>
                </a:cubicBezTo>
                <a:cubicBezTo>
                  <a:pt x="165" y="310"/>
                  <a:pt x="164" y="310"/>
                  <a:pt x="161" y="311"/>
                </a:cubicBezTo>
                <a:cubicBezTo>
                  <a:pt x="156" y="313"/>
                  <a:pt x="152" y="316"/>
                  <a:pt x="148" y="319"/>
                </a:cubicBezTo>
                <a:cubicBezTo>
                  <a:pt x="144" y="321"/>
                  <a:pt x="139" y="327"/>
                  <a:pt x="135" y="324"/>
                </a:cubicBezTo>
                <a:cubicBezTo>
                  <a:pt x="133" y="323"/>
                  <a:pt x="127" y="316"/>
                  <a:pt x="124" y="317"/>
                </a:cubicBezTo>
                <a:cubicBezTo>
                  <a:pt x="123" y="317"/>
                  <a:pt x="122" y="320"/>
                  <a:pt x="122" y="320"/>
                </a:cubicBezTo>
                <a:cubicBezTo>
                  <a:pt x="120" y="322"/>
                  <a:pt x="119" y="324"/>
                  <a:pt x="117" y="325"/>
                </a:cubicBezTo>
                <a:cubicBezTo>
                  <a:pt x="116" y="325"/>
                  <a:pt x="113" y="327"/>
                  <a:pt x="112" y="327"/>
                </a:cubicBezTo>
                <a:cubicBezTo>
                  <a:pt x="110" y="327"/>
                  <a:pt x="109" y="325"/>
                  <a:pt x="108" y="324"/>
                </a:cubicBezTo>
                <a:cubicBezTo>
                  <a:pt x="106" y="323"/>
                  <a:pt x="104" y="321"/>
                  <a:pt x="102" y="321"/>
                </a:cubicBezTo>
                <a:cubicBezTo>
                  <a:pt x="101" y="320"/>
                  <a:pt x="97" y="321"/>
                  <a:pt x="95" y="321"/>
                </a:cubicBezTo>
                <a:cubicBezTo>
                  <a:pt x="94" y="320"/>
                  <a:pt x="94" y="320"/>
                  <a:pt x="94" y="320"/>
                </a:cubicBezTo>
                <a:cubicBezTo>
                  <a:pt x="92" y="319"/>
                  <a:pt x="89" y="320"/>
                  <a:pt x="86" y="318"/>
                </a:cubicBezTo>
                <a:cubicBezTo>
                  <a:pt x="83" y="317"/>
                  <a:pt x="83" y="313"/>
                  <a:pt x="81" y="310"/>
                </a:cubicBezTo>
                <a:cubicBezTo>
                  <a:pt x="79" y="308"/>
                  <a:pt x="78" y="311"/>
                  <a:pt x="75" y="312"/>
                </a:cubicBezTo>
                <a:cubicBezTo>
                  <a:pt x="73" y="313"/>
                  <a:pt x="71" y="315"/>
                  <a:pt x="69" y="315"/>
                </a:cubicBezTo>
                <a:cubicBezTo>
                  <a:pt x="67" y="315"/>
                  <a:pt x="65" y="314"/>
                  <a:pt x="64" y="315"/>
                </a:cubicBezTo>
                <a:cubicBezTo>
                  <a:pt x="60" y="316"/>
                  <a:pt x="59" y="319"/>
                  <a:pt x="54" y="318"/>
                </a:cubicBezTo>
                <a:cubicBezTo>
                  <a:pt x="52" y="317"/>
                  <a:pt x="48" y="316"/>
                  <a:pt x="46" y="320"/>
                </a:cubicBezTo>
                <a:cubicBezTo>
                  <a:pt x="43" y="318"/>
                  <a:pt x="41" y="317"/>
                  <a:pt x="38" y="316"/>
                </a:cubicBezTo>
                <a:cubicBezTo>
                  <a:pt x="37" y="315"/>
                  <a:pt x="37" y="315"/>
                  <a:pt x="37" y="315"/>
                </a:cubicBezTo>
                <a:cubicBezTo>
                  <a:pt x="38" y="314"/>
                  <a:pt x="38" y="314"/>
                  <a:pt x="38" y="314"/>
                </a:cubicBezTo>
                <a:cubicBezTo>
                  <a:pt x="38" y="310"/>
                  <a:pt x="38" y="306"/>
                  <a:pt x="38" y="301"/>
                </a:cubicBezTo>
                <a:cubicBezTo>
                  <a:pt x="38" y="296"/>
                  <a:pt x="38" y="290"/>
                  <a:pt x="40" y="285"/>
                </a:cubicBezTo>
                <a:cubicBezTo>
                  <a:pt x="42" y="278"/>
                  <a:pt x="46" y="274"/>
                  <a:pt x="49" y="269"/>
                </a:cubicBezTo>
                <a:cubicBezTo>
                  <a:pt x="51" y="265"/>
                  <a:pt x="54" y="259"/>
                  <a:pt x="51" y="257"/>
                </a:cubicBezTo>
                <a:cubicBezTo>
                  <a:pt x="51" y="257"/>
                  <a:pt x="44" y="257"/>
                  <a:pt x="43" y="256"/>
                </a:cubicBezTo>
                <a:cubicBezTo>
                  <a:pt x="37" y="255"/>
                  <a:pt x="32" y="252"/>
                  <a:pt x="26" y="251"/>
                </a:cubicBezTo>
                <a:cubicBezTo>
                  <a:pt x="23" y="251"/>
                  <a:pt x="21" y="251"/>
                  <a:pt x="19" y="250"/>
                </a:cubicBezTo>
                <a:cubicBezTo>
                  <a:pt x="18" y="250"/>
                  <a:pt x="18" y="250"/>
                  <a:pt x="18" y="250"/>
                </a:cubicBezTo>
                <a:lnTo>
                  <a:pt x="18" y="24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17" name="Freeform 552"/>
          <p:cNvSpPr>
            <a:spLocks/>
          </p:cNvSpPr>
          <p:nvPr userDrawn="1"/>
        </p:nvSpPr>
        <p:spPr bwMode="auto">
          <a:xfrm>
            <a:off x="5780448" y="2631040"/>
            <a:ext cx="314917" cy="753792"/>
          </a:xfrm>
          <a:custGeom>
            <a:avLst/>
            <a:gdLst>
              <a:gd name="T0" fmla="*/ 2147483646 w 337"/>
              <a:gd name="T1" fmla="*/ 2147483646 h 809"/>
              <a:gd name="T2" fmla="*/ 2147483646 w 337"/>
              <a:gd name="T3" fmla="*/ 2147483646 h 809"/>
              <a:gd name="T4" fmla="*/ 2147483646 w 337"/>
              <a:gd name="T5" fmla="*/ 2147483646 h 809"/>
              <a:gd name="T6" fmla="*/ 2147483646 w 337"/>
              <a:gd name="T7" fmla="*/ 2147483646 h 809"/>
              <a:gd name="T8" fmla="*/ 2147483646 w 337"/>
              <a:gd name="T9" fmla="*/ 2147483646 h 809"/>
              <a:gd name="T10" fmla="*/ 2147483646 w 337"/>
              <a:gd name="T11" fmla="*/ 2147483646 h 809"/>
              <a:gd name="T12" fmla="*/ 2147483646 w 337"/>
              <a:gd name="T13" fmla="*/ 2147483646 h 809"/>
              <a:gd name="T14" fmla="*/ 2147483646 w 337"/>
              <a:gd name="T15" fmla="*/ 2147483646 h 809"/>
              <a:gd name="T16" fmla="*/ 2147483646 w 337"/>
              <a:gd name="T17" fmla="*/ 2147483646 h 809"/>
              <a:gd name="T18" fmla="*/ 2147483646 w 337"/>
              <a:gd name="T19" fmla="*/ 2147483646 h 809"/>
              <a:gd name="T20" fmla="*/ 2147483646 w 337"/>
              <a:gd name="T21" fmla="*/ 2147483646 h 809"/>
              <a:gd name="T22" fmla="*/ 2147483646 w 337"/>
              <a:gd name="T23" fmla="*/ 2147483646 h 809"/>
              <a:gd name="T24" fmla="*/ 2147483646 w 337"/>
              <a:gd name="T25" fmla="*/ 2147483646 h 809"/>
              <a:gd name="T26" fmla="*/ 2147483646 w 337"/>
              <a:gd name="T27" fmla="*/ 2147483646 h 809"/>
              <a:gd name="T28" fmla="*/ 2147483646 w 337"/>
              <a:gd name="T29" fmla="*/ 2147483646 h 809"/>
              <a:gd name="T30" fmla="*/ 2147483646 w 337"/>
              <a:gd name="T31" fmla="*/ 2147483646 h 809"/>
              <a:gd name="T32" fmla="*/ 2147483646 w 337"/>
              <a:gd name="T33" fmla="*/ 2147483646 h 809"/>
              <a:gd name="T34" fmla="*/ 2147483646 w 337"/>
              <a:gd name="T35" fmla="*/ 2147483646 h 809"/>
              <a:gd name="T36" fmla="*/ 2147483646 w 337"/>
              <a:gd name="T37" fmla="*/ 2147483646 h 809"/>
              <a:gd name="T38" fmla="*/ 2147483646 w 337"/>
              <a:gd name="T39" fmla="*/ 2147483646 h 809"/>
              <a:gd name="T40" fmla="*/ 2147483646 w 337"/>
              <a:gd name="T41" fmla="*/ 2147483646 h 809"/>
              <a:gd name="T42" fmla="*/ 2147483646 w 337"/>
              <a:gd name="T43" fmla="*/ 2147483646 h 809"/>
              <a:gd name="T44" fmla="*/ 2147483646 w 337"/>
              <a:gd name="T45" fmla="*/ 2147483646 h 809"/>
              <a:gd name="T46" fmla="*/ 2147483646 w 337"/>
              <a:gd name="T47" fmla="*/ 2147483646 h 809"/>
              <a:gd name="T48" fmla="*/ 2147483646 w 337"/>
              <a:gd name="T49" fmla="*/ 2147483646 h 809"/>
              <a:gd name="T50" fmla="*/ 2147483646 w 337"/>
              <a:gd name="T51" fmla="*/ 2147483646 h 809"/>
              <a:gd name="T52" fmla="*/ 2147483646 w 337"/>
              <a:gd name="T53" fmla="*/ 2147483646 h 809"/>
              <a:gd name="T54" fmla="*/ 2147483646 w 337"/>
              <a:gd name="T55" fmla="*/ 2147483646 h 809"/>
              <a:gd name="T56" fmla="*/ 2147483646 w 337"/>
              <a:gd name="T57" fmla="*/ 2147483646 h 809"/>
              <a:gd name="T58" fmla="*/ 2147483646 w 337"/>
              <a:gd name="T59" fmla="*/ 2147483646 h 809"/>
              <a:gd name="T60" fmla="*/ 2147483646 w 337"/>
              <a:gd name="T61" fmla="*/ 2147483646 h 809"/>
              <a:gd name="T62" fmla="*/ 2147483646 w 337"/>
              <a:gd name="T63" fmla="*/ 2147483646 h 809"/>
              <a:gd name="T64" fmla="*/ 2147483646 w 337"/>
              <a:gd name="T65" fmla="*/ 2147483646 h 809"/>
              <a:gd name="T66" fmla="*/ 2147483646 w 337"/>
              <a:gd name="T67" fmla="*/ 2147483646 h 809"/>
              <a:gd name="T68" fmla="*/ 2147483646 w 337"/>
              <a:gd name="T69" fmla="*/ 2147483646 h 809"/>
              <a:gd name="T70" fmla="*/ 2147483646 w 337"/>
              <a:gd name="T71" fmla="*/ 2147483646 h 809"/>
              <a:gd name="T72" fmla="*/ 2147483646 w 337"/>
              <a:gd name="T73" fmla="*/ 2147483646 h 809"/>
              <a:gd name="T74" fmla="*/ 2147483646 w 337"/>
              <a:gd name="T75" fmla="*/ 2147483646 h 809"/>
              <a:gd name="T76" fmla="*/ 2147483646 w 337"/>
              <a:gd name="T77" fmla="*/ 2147483646 h 809"/>
              <a:gd name="T78" fmla="*/ 2147483646 w 337"/>
              <a:gd name="T79" fmla="*/ 2147483646 h 809"/>
              <a:gd name="T80" fmla="*/ 2147483646 w 337"/>
              <a:gd name="T81" fmla="*/ 2147483646 h 809"/>
              <a:gd name="T82" fmla="*/ 2147483646 w 337"/>
              <a:gd name="T83" fmla="*/ 2147483646 h 809"/>
              <a:gd name="T84" fmla="*/ 2147483646 w 337"/>
              <a:gd name="T85" fmla="*/ 2147483646 h 809"/>
              <a:gd name="T86" fmla="*/ 2147483646 w 337"/>
              <a:gd name="T87" fmla="*/ 2147483646 h 809"/>
              <a:gd name="T88" fmla="*/ 2147483646 w 337"/>
              <a:gd name="T89" fmla="*/ 2147483646 h 809"/>
              <a:gd name="T90" fmla="*/ 2147483646 w 337"/>
              <a:gd name="T91" fmla="*/ 2147483646 h 809"/>
              <a:gd name="T92" fmla="*/ 2147483646 w 337"/>
              <a:gd name="T93" fmla="*/ 2147483646 h 809"/>
              <a:gd name="T94" fmla="*/ 2147483646 w 337"/>
              <a:gd name="T95" fmla="*/ 2147483646 h 809"/>
              <a:gd name="T96" fmla="*/ 2147483646 w 337"/>
              <a:gd name="T97" fmla="*/ 2147483646 h 80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37"/>
              <a:gd name="T148" fmla="*/ 0 h 809"/>
              <a:gd name="T149" fmla="*/ 337 w 337"/>
              <a:gd name="T150" fmla="*/ 809 h 80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37" h="809">
                <a:moveTo>
                  <a:pt x="1" y="617"/>
                </a:moveTo>
                <a:cubicBezTo>
                  <a:pt x="3" y="619"/>
                  <a:pt x="5" y="622"/>
                  <a:pt x="6" y="625"/>
                </a:cubicBezTo>
                <a:cubicBezTo>
                  <a:pt x="15" y="620"/>
                  <a:pt x="13" y="608"/>
                  <a:pt x="15" y="598"/>
                </a:cubicBezTo>
                <a:cubicBezTo>
                  <a:pt x="18" y="584"/>
                  <a:pt x="23" y="585"/>
                  <a:pt x="31" y="579"/>
                </a:cubicBezTo>
                <a:cubicBezTo>
                  <a:pt x="49" y="565"/>
                  <a:pt x="36" y="536"/>
                  <a:pt x="31" y="516"/>
                </a:cubicBezTo>
                <a:cubicBezTo>
                  <a:pt x="37" y="518"/>
                  <a:pt x="43" y="508"/>
                  <a:pt x="43" y="501"/>
                </a:cubicBezTo>
                <a:cubicBezTo>
                  <a:pt x="43" y="490"/>
                  <a:pt x="33" y="486"/>
                  <a:pt x="29" y="477"/>
                </a:cubicBezTo>
                <a:cubicBezTo>
                  <a:pt x="22" y="461"/>
                  <a:pt x="34" y="440"/>
                  <a:pt x="28" y="423"/>
                </a:cubicBezTo>
                <a:cubicBezTo>
                  <a:pt x="24" y="412"/>
                  <a:pt x="19" y="415"/>
                  <a:pt x="19" y="402"/>
                </a:cubicBezTo>
                <a:cubicBezTo>
                  <a:pt x="20" y="391"/>
                  <a:pt x="25" y="376"/>
                  <a:pt x="27" y="364"/>
                </a:cubicBezTo>
                <a:cubicBezTo>
                  <a:pt x="29" y="353"/>
                  <a:pt x="29" y="336"/>
                  <a:pt x="42" y="334"/>
                </a:cubicBezTo>
                <a:cubicBezTo>
                  <a:pt x="49" y="333"/>
                  <a:pt x="62" y="338"/>
                  <a:pt x="68" y="341"/>
                </a:cubicBezTo>
                <a:cubicBezTo>
                  <a:pt x="78" y="329"/>
                  <a:pt x="64" y="320"/>
                  <a:pt x="63" y="309"/>
                </a:cubicBezTo>
                <a:cubicBezTo>
                  <a:pt x="62" y="296"/>
                  <a:pt x="70" y="276"/>
                  <a:pt x="74" y="263"/>
                </a:cubicBezTo>
                <a:cubicBezTo>
                  <a:pt x="76" y="254"/>
                  <a:pt x="82" y="242"/>
                  <a:pt x="82" y="233"/>
                </a:cubicBezTo>
                <a:cubicBezTo>
                  <a:pt x="82" y="226"/>
                  <a:pt x="76" y="222"/>
                  <a:pt x="76" y="217"/>
                </a:cubicBezTo>
                <a:cubicBezTo>
                  <a:pt x="75" y="194"/>
                  <a:pt x="91" y="206"/>
                  <a:pt x="102" y="208"/>
                </a:cubicBezTo>
                <a:cubicBezTo>
                  <a:pt x="102" y="187"/>
                  <a:pt x="114" y="158"/>
                  <a:pt x="127" y="142"/>
                </a:cubicBezTo>
                <a:cubicBezTo>
                  <a:pt x="124" y="141"/>
                  <a:pt x="121" y="138"/>
                  <a:pt x="117" y="137"/>
                </a:cubicBezTo>
                <a:cubicBezTo>
                  <a:pt x="121" y="131"/>
                  <a:pt x="128" y="125"/>
                  <a:pt x="131" y="118"/>
                </a:cubicBezTo>
                <a:cubicBezTo>
                  <a:pt x="133" y="111"/>
                  <a:pt x="132" y="105"/>
                  <a:pt x="135" y="100"/>
                </a:cubicBezTo>
                <a:cubicBezTo>
                  <a:pt x="141" y="90"/>
                  <a:pt x="155" y="72"/>
                  <a:pt x="166" y="84"/>
                </a:cubicBezTo>
                <a:cubicBezTo>
                  <a:pt x="174" y="72"/>
                  <a:pt x="168" y="52"/>
                  <a:pt x="182" y="46"/>
                </a:cubicBezTo>
                <a:cubicBezTo>
                  <a:pt x="190" y="42"/>
                  <a:pt x="194" y="47"/>
                  <a:pt x="201" y="50"/>
                </a:cubicBezTo>
                <a:cubicBezTo>
                  <a:pt x="208" y="52"/>
                  <a:pt x="214" y="53"/>
                  <a:pt x="222" y="52"/>
                </a:cubicBezTo>
                <a:cubicBezTo>
                  <a:pt x="207" y="40"/>
                  <a:pt x="245" y="26"/>
                  <a:pt x="220" y="13"/>
                </a:cubicBezTo>
                <a:cubicBezTo>
                  <a:pt x="225" y="6"/>
                  <a:pt x="237" y="0"/>
                  <a:pt x="245" y="6"/>
                </a:cubicBezTo>
                <a:cubicBezTo>
                  <a:pt x="246" y="12"/>
                  <a:pt x="246" y="12"/>
                  <a:pt x="246" y="12"/>
                </a:cubicBezTo>
                <a:cubicBezTo>
                  <a:pt x="253" y="26"/>
                  <a:pt x="264" y="34"/>
                  <a:pt x="272" y="46"/>
                </a:cubicBezTo>
                <a:cubicBezTo>
                  <a:pt x="276" y="43"/>
                  <a:pt x="279" y="44"/>
                  <a:pt x="283" y="43"/>
                </a:cubicBezTo>
                <a:cubicBezTo>
                  <a:pt x="283" y="48"/>
                  <a:pt x="284" y="52"/>
                  <a:pt x="285" y="57"/>
                </a:cubicBezTo>
                <a:cubicBezTo>
                  <a:pt x="286" y="56"/>
                  <a:pt x="290" y="55"/>
                  <a:pt x="292" y="52"/>
                </a:cubicBezTo>
                <a:cubicBezTo>
                  <a:pt x="297" y="71"/>
                  <a:pt x="317" y="55"/>
                  <a:pt x="313" y="80"/>
                </a:cubicBezTo>
                <a:cubicBezTo>
                  <a:pt x="315" y="80"/>
                  <a:pt x="318" y="80"/>
                  <a:pt x="320" y="80"/>
                </a:cubicBezTo>
                <a:cubicBezTo>
                  <a:pt x="321" y="91"/>
                  <a:pt x="316" y="105"/>
                  <a:pt x="316" y="116"/>
                </a:cubicBezTo>
                <a:cubicBezTo>
                  <a:pt x="315" y="128"/>
                  <a:pt x="315" y="140"/>
                  <a:pt x="316" y="152"/>
                </a:cubicBezTo>
                <a:cubicBezTo>
                  <a:pt x="319" y="153"/>
                  <a:pt x="321" y="155"/>
                  <a:pt x="323" y="156"/>
                </a:cubicBezTo>
                <a:cubicBezTo>
                  <a:pt x="320" y="159"/>
                  <a:pt x="320" y="164"/>
                  <a:pt x="319" y="166"/>
                </a:cubicBezTo>
                <a:cubicBezTo>
                  <a:pt x="321" y="166"/>
                  <a:pt x="324" y="169"/>
                  <a:pt x="327" y="168"/>
                </a:cubicBezTo>
                <a:cubicBezTo>
                  <a:pt x="321" y="183"/>
                  <a:pt x="314" y="184"/>
                  <a:pt x="322" y="199"/>
                </a:cubicBezTo>
                <a:cubicBezTo>
                  <a:pt x="326" y="208"/>
                  <a:pt x="331" y="215"/>
                  <a:pt x="336" y="223"/>
                </a:cubicBezTo>
                <a:cubicBezTo>
                  <a:pt x="337" y="226"/>
                  <a:pt x="337" y="226"/>
                  <a:pt x="337" y="226"/>
                </a:cubicBezTo>
                <a:cubicBezTo>
                  <a:pt x="335" y="225"/>
                  <a:pt x="335" y="225"/>
                  <a:pt x="335" y="225"/>
                </a:cubicBezTo>
                <a:cubicBezTo>
                  <a:pt x="333" y="224"/>
                  <a:pt x="331" y="223"/>
                  <a:pt x="331" y="223"/>
                </a:cubicBezTo>
                <a:cubicBezTo>
                  <a:pt x="317" y="227"/>
                  <a:pt x="317" y="227"/>
                  <a:pt x="317" y="227"/>
                </a:cubicBezTo>
                <a:cubicBezTo>
                  <a:pt x="306" y="228"/>
                  <a:pt x="306" y="228"/>
                  <a:pt x="306" y="228"/>
                </a:cubicBezTo>
                <a:cubicBezTo>
                  <a:pt x="294" y="229"/>
                  <a:pt x="294" y="229"/>
                  <a:pt x="294" y="229"/>
                </a:cubicBezTo>
                <a:cubicBezTo>
                  <a:pt x="287" y="233"/>
                  <a:pt x="287" y="233"/>
                  <a:pt x="287" y="233"/>
                </a:cubicBezTo>
                <a:cubicBezTo>
                  <a:pt x="287" y="233"/>
                  <a:pt x="278" y="240"/>
                  <a:pt x="279" y="244"/>
                </a:cubicBezTo>
                <a:cubicBezTo>
                  <a:pt x="280" y="249"/>
                  <a:pt x="278" y="251"/>
                  <a:pt x="273" y="256"/>
                </a:cubicBezTo>
                <a:cubicBezTo>
                  <a:pt x="269" y="261"/>
                  <a:pt x="264" y="260"/>
                  <a:pt x="268" y="263"/>
                </a:cubicBezTo>
                <a:cubicBezTo>
                  <a:pt x="271" y="266"/>
                  <a:pt x="268" y="273"/>
                  <a:pt x="268" y="273"/>
                </a:cubicBezTo>
                <a:cubicBezTo>
                  <a:pt x="268" y="273"/>
                  <a:pt x="263" y="277"/>
                  <a:pt x="262" y="286"/>
                </a:cubicBezTo>
                <a:cubicBezTo>
                  <a:pt x="261" y="294"/>
                  <a:pt x="261" y="294"/>
                  <a:pt x="266" y="296"/>
                </a:cubicBezTo>
                <a:cubicBezTo>
                  <a:pt x="271" y="299"/>
                  <a:pt x="271" y="305"/>
                  <a:pt x="271" y="305"/>
                </a:cubicBezTo>
                <a:cubicBezTo>
                  <a:pt x="271" y="305"/>
                  <a:pt x="267" y="307"/>
                  <a:pt x="269" y="310"/>
                </a:cubicBezTo>
                <a:cubicBezTo>
                  <a:pt x="271" y="314"/>
                  <a:pt x="277" y="321"/>
                  <a:pt x="271" y="325"/>
                </a:cubicBezTo>
                <a:cubicBezTo>
                  <a:pt x="265" y="329"/>
                  <a:pt x="260" y="333"/>
                  <a:pt x="257" y="336"/>
                </a:cubicBezTo>
                <a:cubicBezTo>
                  <a:pt x="254" y="339"/>
                  <a:pt x="253" y="341"/>
                  <a:pt x="250" y="346"/>
                </a:cubicBezTo>
                <a:cubicBezTo>
                  <a:pt x="247" y="351"/>
                  <a:pt x="243" y="352"/>
                  <a:pt x="243" y="352"/>
                </a:cubicBezTo>
                <a:cubicBezTo>
                  <a:pt x="243" y="352"/>
                  <a:pt x="240" y="356"/>
                  <a:pt x="237" y="360"/>
                </a:cubicBezTo>
                <a:cubicBezTo>
                  <a:pt x="235" y="365"/>
                  <a:pt x="235" y="362"/>
                  <a:pt x="230" y="367"/>
                </a:cubicBezTo>
                <a:cubicBezTo>
                  <a:pt x="226" y="372"/>
                  <a:pt x="217" y="368"/>
                  <a:pt x="218" y="374"/>
                </a:cubicBezTo>
                <a:cubicBezTo>
                  <a:pt x="218" y="381"/>
                  <a:pt x="217" y="382"/>
                  <a:pt x="212" y="382"/>
                </a:cubicBezTo>
                <a:cubicBezTo>
                  <a:pt x="206" y="382"/>
                  <a:pt x="205" y="380"/>
                  <a:pt x="205" y="380"/>
                </a:cubicBezTo>
                <a:cubicBezTo>
                  <a:pt x="205" y="380"/>
                  <a:pt x="197" y="386"/>
                  <a:pt x="192" y="384"/>
                </a:cubicBezTo>
                <a:cubicBezTo>
                  <a:pt x="188" y="382"/>
                  <a:pt x="187" y="383"/>
                  <a:pt x="187" y="383"/>
                </a:cubicBezTo>
                <a:cubicBezTo>
                  <a:pt x="187" y="383"/>
                  <a:pt x="189" y="389"/>
                  <a:pt x="187" y="395"/>
                </a:cubicBezTo>
                <a:cubicBezTo>
                  <a:pt x="184" y="400"/>
                  <a:pt x="179" y="399"/>
                  <a:pt x="178" y="404"/>
                </a:cubicBezTo>
                <a:cubicBezTo>
                  <a:pt x="178" y="408"/>
                  <a:pt x="178" y="410"/>
                  <a:pt x="173" y="413"/>
                </a:cubicBezTo>
                <a:cubicBezTo>
                  <a:pt x="168" y="415"/>
                  <a:pt x="162" y="416"/>
                  <a:pt x="165" y="419"/>
                </a:cubicBezTo>
                <a:cubicBezTo>
                  <a:pt x="168" y="422"/>
                  <a:pt x="168" y="424"/>
                  <a:pt x="168" y="424"/>
                </a:cubicBezTo>
                <a:cubicBezTo>
                  <a:pt x="163" y="429"/>
                  <a:pt x="163" y="429"/>
                  <a:pt x="163" y="429"/>
                </a:cubicBezTo>
                <a:cubicBezTo>
                  <a:pt x="163" y="429"/>
                  <a:pt x="167" y="428"/>
                  <a:pt x="164" y="434"/>
                </a:cubicBezTo>
                <a:cubicBezTo>
                  <a:pt x="161" y="441"/>
                  <a:pt x="160" y="440"/>
                  <a:pt x="163" y="441"/>
                </a:cubicBezTo>
                <a:cubicBezTo>
                  <a:pt x="167" y="443"/>
                  <a:pt x="165" y="448"/>
                  <a:pt x="165" y="448"/>
                </a:cubicBezTo>
                <a:cubicBezTo>
                  <a:pt x="165" y="448"/>
                  <a:pt x="151" y="456"/>
                  <a:pt x="156" y="462"/>
                </a:cubicBezTo>
                <a:cubicBezTo>
                  <a:pt x="162" y="469"/>
                  <a:pt x="161" y="466"/>
                  <a:pt x="157" y="475"/>
                </a:cubicBezTo>
                <a:cubicBezTo>
                  <a:pt x="154" y="485"/>
                  <a:pt x="154" y="479"/>
                  <a:pt x="156" y="485"/>
                </a:cubicBezTo>
                <a:cubicBezTo>
                  <a:pt x="157" y="492"/>
                  <a:pt x="156" y="500"/>
                  <a:pt x="158" y="507"/>
                </a:cubicBezTo>
                <a:cubicBezTo>
                  <a:pt x="159" y="514"/>
                  <a:pt x="155" y="522"/>
                  <a:pt x="158" y="523"/>
                </a:cubicBezTo>
                <a:cubicBezTo>
                  <a:pt x="161" y="525"/>
                  <a:pt x="163" y="529"/>
                  <a:pt x="163" y="529"/>
                </a:cubicBezTo>
                <a:cubicBezTo>
                  <a:pt x="157" y="538"/>
                  <a:pt x="157" y="538"/>
                  <a:pt x="157" y="538"/>
                </a:cubicBezTo>
                <a:cubicBezTo>
                  <a:pt x="157" y="538"/>
                  <a:pt x="159" y="536"/>
                  <a:pt x="161" y="540"/>
                </a:cubicBezTo>
                <a:cubicBezTo>
                  <a:pt x="162" y="544"/>
                  <a:pt x="164" y="539"/>
                  <a:pt x="164" y="539"/>
                </a:cubicBezTo>
                <a:cubicBezTo>
                  <a:pt x="164" y="539"/>
                  <a:pt x="168" y="535"/>
                  <a:pt x="171" y="537"/>
                </a:cubicBezTo>
                <a:cubicBezTo>
                  <a:pt x="174" y="538"/>
                  <a:pt x="174" y="537"/>
                  <a:pt x="178" y="541"/>
                </a:cubicBezTo>
                <a:cubicBezTo>
                  <a:pt x="182" y="545"/>
                  <a:pt x="182" y="541"/>
                  <a:pt x="187" y="549"/>
                </a:cubicBezTo>
                <a:cubicBezTo>
                  <a:pt x="192" y="557"/>
                  <a:pt x="189" y="559"/>
                  <a:pt x="192" y="563"/>
                </a:cubicBezTo>
                <a:cubicBezTo>
                  <a:pt x="194" y="568"/>
                  <a:pt x="192" y="569"/>
                  <a:pt x="195" y="572"/>
                </a:cubicBezTo>
                <a:cubicBezTo>
                  <a:pt x="198" y="576"/>
                  <a:pt x="197" y="580"/>
                  <a:pt x="197" y="580"/>
                </a:cubicBezTo>
                <a:cubicBezTo>
                  <a:pt x="197" y="580"/>
                  <a:pt x="189" y="585"/>
                  <a:pt x="189" y="588"/>
                </a:cubicBezTo>
                <a:cubicBezTo>
                  <a:pt x="188" y="592"/>
                  <a:pt x="183" y="595"/>
                  <a:pt x="178" y="595"/>
                </a:cubicBezTo>
                <a:cubicBezTo>
                  <a:pt x="174" y="595"/>
                  <a:pt x="172" y="592"/>
                  <a:pt x="168" y="593"/>
                </a:cubicBezTo>
                <a:cubicBezTo>
                  <a:pt x="164" y="593"/>
                  <a:pt x="160" y="592"/>
                  <a:pt x="157" y="589"/>
                </a:cubicBezTo>
                <a:cubicBezTo>
                  <a:pt x="155" y="587"/>
                  <a:pt x="151" y="591"/>
                  <a:pt x="151" y="591"/>
                </a:cubicBezTo>
                <a:cubicBezTo>
                  <a:pt x="151" y="591"/>
                  <a:pt x="146" y="595"/>
                  <a:pt x="141" y="592"/>
                </a:cubicBezTo>
                <a:cubicBezTo>
                  <a:pt x="136" y="590"/>
                  <a:pt x="132" y="590"/>
                  <a:pt x="130" y="591"/>
                </a:cubicBezTo>
                <a:cubicBezTo>
                  <a:pt x="128" y="591"/>
                  <a:pt x="124" y="590"/>
                  <a:pt x="124" y="590"/>
                </a:cubicBezTo>
                <a:cubicBezTo>
                  <a:pt x="124" y="590"/>
                  <a:pt x="137" y="597"/>
                  <a:pt x="142" y="596"/>
                </a:cubicBezTo>
                <a:cubicBezTo>
                  <a:pt x="146" y="596"/>
                  <a:pt x="147" y="597"/>
                  <a:pt x="149" y="597"/>
                </a:cubicBezTo>
                <a:cubicBezTo>
                  <a:pt x="151" y="597"/>
                  <a:pt x="156" y="596"/>
                  <a:pt x="156" y="596"/>
                </a:cubicBezTo>
                <a:cubicBezTo>
                  <a:pt x="156" y="596"/>
                  <a:pt x="156" y="598"/>
                  <a:pt x="159" y="603"/>
                </a:cubicBezTo>
                <a:cubicBezTo>
                  <a:pt x="162" y="608"/>
                  <a:pt x="162" y="600"/>
                  <a:pt x="166" y="603"/>
                </a:cubicBezTo>
                <a:cubicBezTo>
                  <a:pt x="170" y="606"/>
                  <a:pt x="172" y="604"/>
                  <a:pt x="172" y="604"/>
                </a:cubicBezTo>
                <a:cubicBezTo>
                  <a:pt x="179" y="603"/>
                  <a:pt x="179" y="603"/>
                  <a:pt x="179" y="603"/>
                </a:cubicBezTo>
                <a:cubicBezTo>
                  <a:pt x="179" y="603"/>
                  <a:pt x="181" y="601"/>
                  <a:pt x="183" y="606"/>
                </a:cubicBezTo>
                <a:cubicBezTo>
                  <a:pt x="186" y="610"/>
                  <a:pt x="180" y="618"/>
                  <a:pt x="180" y="618"/>
                </a:cubicBezTo>
                <a:cubicBezTo>
                  <a:pt x="180" y="618"/>
                  <a:pt x="172" y="621"/>
                  <a:pt x="169" y="622"/>
                </a:cubicBezTo>
                <a:cubicBezTo>
                  <a:pt x="167" y="623"/>
                  <a:pt x="160" y="613"/>
                  <a:pt x="162" y="619"/>
                </a:cubicBezTo>
                <a:cubicBezTo>
                  <a:pt x="163" y="624"/>
                  <a:pt x="162" y="630"/>
                  <a:pt x="159" y="629"/>
                </a:cubicBezTo>
                <a:cubicBezTo>
                  <a:pt x="155" y="629"/>
                  <a:pt x="155" y="629"/>
                  <a:pt x="155" y="629"/>
                </a:cubicBezTo>
                <a:cubicBezTo>
                  <a:pt x="155" y="629"/>
                  <a:pt x="147" y="631"/>
                  <a:pt x="144" y="634"/>
                </a:cubicBezTo>
                <a:cubicBezTo>
                  <a:pt x="142" y="637"/>
                  <a:pt x="140" y="637"/>
                  <a:pt x="137" y="636"/>
                </a:cubicBezTo>
                <a:cubicBezTo>
                  <a:pt x="135" y="634"/>
                  <a:pt x="129" y="637"/>
                  <a:pt x="134" y="638"/>
                </a:cubicBezTo>
                <a:cubicBezTo>
                  <a:pt x="139" y="639"/>
                  <a:pt x="143" y="637"/>
                  <a:pt x="146" y="640"/>
                </a:cubicBezTo>
                <a:cubicBezTo>
                  <a:pt x="149" y="643"/>
                  <a:pt x="145" y="647"/>
                  <a:pt x="145" y="647"/>
                </a:cubicBezTo>
                <a:cubicBezTo>
                  <a:pt x="145" y="647"/>
                  <a:pt x="141" y="649"/>
                  <a:pt x="139" y="649"/>
                </a:cubicBezTo>
                <a:cubicBezTo>
                  <a:pt x="138" y="649"/>
                  <a:pt x="133" y="643"/>
                  <a:pt x="133" y="649"/>
                </a:cubicBezTo>
                <a:cubicBezTo>
                  <a:pt x="134" y="655"/>
                  <a:pt x="137" y="653"/>
                  <a:pt x="139" y="662"/>
                </a:cubicBezTo>
                <a:cubicBezTo>
                  <a:pt x="142" y="672"/>
                  <a:pt x="138" y="679"/>
                  <a:pt x="140" y="680"/>
                </a:cubicBezTo>
                <a:cubicBezTo>
                  <a:pt x="142" y="681"/>
                  <a:pt x="141" y="679"/>
                  <a:pt x="143" y="684"/>
                </a:cubicBezTo>
                <a:cubicBezTo>
                  <a:pt x="145" y="689"/>
                  <a:pt x="144" y="675"/>
                  <a:pt x="141" y="696"/>
                </a:cubicBezTo>
                <a:cubicBezTo>
                  <a:pt x="137" y="716"/>
                  <a:pt x="133" y="719"/>
                  <a:pt x="132" y="731"/>
                </a:cubicBezTo>
                <a:cubicBezTo>
                  <a:pt x="131" y="743"/>
                  <a:pt x="130" y="748"/>
                  <a:pt x="125" y="756"/>
                </a:cubicBezTo>
                <a:cubicBezTo>
                  <a:pt x="120" y="763"/>
                  <a:pt x="118" y="759"/>
                  <a:pt x="113" y="760"/>
                </a:cubicBezTo>
                <a:cubicBezTo>
                  <a:pt x="108" y="760"/>
                  <a:pt x="107" y="764"/>
                  <a:pt x="103" y="761"/>
                </a:cubicBezTo>
                <a:cubicBezTo>
                  <a:pt x="99" y="758"/>
                  <a:pt x="100" y="749"/>
                  <a:pt x="95" y="756"/>
                </a:cubicBezTo>
                <a:cubicBezTo>
                  <a:pt x="91" y="763"/>
                  <a:pt x="87" y="768"/>
                  <a:pt x="87" y="768"/>
                </a:cubicBezTo>
                <a:cubicBezTo>
                  <a:pt x="87" y="768"/>
                  <a:pt x="76" y="774"/>
                  <a:pt x="80" y="782"/>
                </a:cubicBezTo>
                <a:cubicBezTo>
                  <a:pt x="84" y="789"/>
                  <a:pt x="88" y="796"/>
                  <a:pt x="77" y="796"/>
                </a:cubicBezTo>
                <a:cubicBezTo>
                  <a:pt x="67" y="795"/>
                  <a:pt x="67" y="789"/>
                  <a:pt x="62" y="796"/>
                </a:cubicBezTo>
                <a:cubicBezTo>
                  <a:pt x="57" y="803"/>
                  <a:pt x="55" y="809"/>
                  <a:pt x="50" y="803"/>
                </a:cubicBezTo>
                <a:cubicBezTo>
                  <a:pt x="45" y="797"/>
                  <a:pt x="42" y="799"/>
                  <a:pt x="42" y="796"/>
                </a:cubicBezTo>
                <a:cubicBezTo>
                  <a:pt x="43" y="793"/>
                  <a:pt x="47" y="783"/>
                  <a:pt x="46" y="778"/>
                </a:cubicBezTo>
                <a:cubicBezTo>
                  <a:pt x="45" y="773"/>
                  <a:pt x="42" y="769"/>
                  <a:pt x="41" y="767"/>
                </a:cubicBezTo>
                <a:cubicBezTo>
                  <a:pt x="40" y="765"/>
                  <a:pt x="28" y="765"/>
                  <a:pt x="36" y="761"/>
                </a:cubicBezTo>
                <a:cubicBezTo>
                  <a:pt x="45" y="758"/>
                  <a:pt x="47" y="760"/>
                  <a:pt x="46" y="755"/>
                </a:cubicBezTo>
                <a:cubicBezTo>
                  <a:pt x="45" y="749"/>
                  <a:pt x="40" y="751"/>
                  <a:pt x="43" y="746"/>
                </a:cubicBezTo>
                <a:cubicBezTo>
                  <a:pt x="47" y="741"/>
                  <a:pt x="51" y="741"/>
                  <a:pt x="46" y="737"/>
                </a:cubicBezTo>
                <a:cubicBezTo>
                  <a:pt x="40" y="733"/>
                  <a:pt x="25" y="724"/>
                  <a:pt x="26" y="714"/>
                </a:cubicBezTo>
                <a:cubicBezTo>
                  <a:pt x="26" y="705"/>
                  <a:pt x="26" y="703"/>
                  <a:pt x="22" y="697"/>
                </a:cubicBezTo>
                <a:cubicBezTo>
                  <a:pt x="18" y="692"/>
                  <a:pt x="14" y="685"/>
                  <a:pt x="18" y="683"/>
                </a:cubicBezTo>
                <a:cubicBezTo>
                  <a:pt x="22" y="682"/>
                  <a:pt x="28" y="685"/>
                  <a:pt x="22" y="680"/>
                </a:cubicBezTo>
                <a:cubicBezTo>
                  <a:pt x="16" y="674"/>
                  <a:pt x="9" y="681"/>
                  <a:pt x="10" y="669"/>
                </a:cubicBezTo>
                <a:cubicBezTo>
                  <a:pt x="11" y="657"/>
                  <a:pt x="20" y="655"/>
                  <a:pt x="15" y="652"/>
                </a:cubicBezTo>
                <a:cubicBezTo>
                  <a:pt x="10" y="649"/>
                  <a:pt x="4" y="644"/>
                  <a:pt x="4" y="644"/>
                </a:cubicBezTo>
                <a:cubicBezTo>
                  <a:pt x="4" y="644"/>
                  <a:pt x="4" y="632"/>
                  <a:pt x="3" y="629"/>
                </a:cubicBezTo>
                <a:cubicBezTo>
                  <a:pt x="2" y="626"/>
                  <a:pt x="1" y="621"/>
                  <a:pt x="0" y="618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18" name="Freeform 553"/>
          <p:cNvSpPr>
            <a:spLocks/>
          </p:cNvSpPr>
          <p:nvPr userDrawn="1"/>
        </p:nvSpPr>
        <p:spPr bwMode="auto">
          <a:xfrm>
            <a:off x="5780448" y="2631040"/>
            <a:ext cx="314917" cy="753792"/>
          </a:xfrm>
          <a:custGeom>
            <a:avLst/>
            <a:gdLst>
              <a:gd name="T0" fmla="*/ 2147483646 w 337"/>
              <a:gd name="T1" fmla="*/ 2147483646 h 809"/>
              <a:gd name="T2" fmla="*/ 2147483646 w 337"/>
              <a:gd name="T3" fmla="*/ 2147483646 h 809"/>
              <a:gd name="T4" fmla="*/ 2147483646 w 337"/>
              <a:gd name="T5" fmla="*/ 2147483646 h 809"/>
              <a:gd name="T6" fmla="*/ 2147483646 w 337"/>
              <a:gd name="T7" fmla="*/ 2147483646 h 809"/>
              <a:gd name="T8" fmla="*/ 2147483646 w 337"/>
              <a:gd name="T9" fmla="*/ 2147483646 h 809"/>
              <a:gd name="T10" fmla="*/ 2147483646 w 337"/>
              <a:gd name="T11" fmla="*/ 2147483646 h 809"/>
              <a:gd name="T12" fmla="*/ 2147483646 w 337"/>
              <a:gd name="T13" fmla="*/ 2147483646 h 809"/>
              <a:gd name="T14" fmla="*/ 2147483646 w 337"/>
              <a:gd name="T15" fmla="*/ 2147483646 h 809"/>
              <a:gd name="T16" fmla="*/ 2147483646 w 337"/>
              <a:gd name="T17" fmla="*/ 2147483646 h 809"/>
              <a:gd name="T18" fmla="*/ 2147483646 w 337"/>
              <a:gd name="T19" fmla="*/ 2147483646 h 809"/>
              <a:gd name="T20" fmla="*/ 2147483646 w 337"/>
              <a:gd name="T21" fmla="*/ 2147483646 h 809"/>
              <a:gd name="T22" fmla="*/ 2147483646 w 337"/>
              <a:gd name="T23" fmla="*/ 2147483646 h 809"/>
              <a:gd name="T24" fmla="*/ 2147483646 w 337"/>
              <a:gd name="T25" fmla="*/ 2147483646 h 809"/>
              <a:gd name="T26" fmla="*/ 2147483646 w 337"/>
              <a:gd name="T27" fmla="*/ 2147483646 h 809"/>
              <a:gd name="T28" fmla="*/ 2147483646 w 337"/>
              <a:gd name="T29" fmla="*/ 2147483646 h 809"/>
              <a:gd name="T30" fmla="*/ 2147483646 w 337"/>
              <a:gd name="T31" fmla="*/ 2147483646 h 809"/>
              <a:gd name="T32" fmla="*/ 2147483646 w 337"/>
              <a:gd name="T33" fmla="*/ 2147483646 h 809"/>
              <a:gd name="T34" fmla="*/ 2147483646 w 337"/>
              <a:gd name="T35" fmla="*/ 2147483646 h 809"/>
              <a:gd name="T36" fmla="*/ 2147483646 w 337"/>
              <a:gd name="T37" fmla="*/ 2147483646 h 809"/>
              <a:gd name="T38" fmla="*/ 2147483646 w 337"/>
              <a:gd name="T39" fmla="*/ 2147483646 h 809"/>
              <a:gd name="T40" fmla="*/ 2147483646 w 337"/>
              <a:gd name="T41" fmla="*/ 2147483646 h 809"/>
              <a:gd name="T42" fmla="*/ 2147483646 w 337"/>
              <a:gd name="T43" fmla="*/ 2147483646 h 809"/>
              <a:gd name="T44" fmla="*/ 2147483646 w 337"/>
              <a:gd name="T45" fmla="*/ 2147483646 h 809"/>
              <a:gd name="T46" fmla="*/ 2147483646 w 337"/>
              <a:gd name="T47" fmla="*/ 2147483646 h 809"/>
              <a:gd name="T48" fmla="*/ 2147483646 w 337"/>
              <a:gd name="T49" fmla="*/ 2147483646 h 809"/>
              <a:gd name="T50" fmla="*/ 2147483646 w 337"/>
              <a:gd name="T51" fmla="*/ 2147483646 h 809"/>
              <a:gd name="T52" fmla="*/ 2147483646 w 337"/>
              <a:gd name="T53" fmla="*/ 2147483646 h 809"/>
              <a:gd name="T54" fmla="*/ 2147483646 w 337"/>
              <a:gd name="T55" fmla="*/ 2147483646 h 809"/>
              <a:gd name="T56" fmla="*/ 2147483646 w 337"/>
              <a:gd name="T57" fmla="*/ 2147483646 h 809"/>
              <a:gd name="T58" fmla="*/ 2147483646 w 337"/>
              <a:gd name="T59" fmla="*/ 2147483646 h 809"/>
              <a:gd name="T60" fmla="*/ 2147483646 w 337"/>
              <a:gd name="T61" fmla="*/ 2147483646 h 809"/>
              <a:gd name="T62" fmla="*/ 2147483646 w 337"/>
              <a:gd name="T63" fmla="*/ 2147483646 h 809"/>
              <a:gd name="T64" fmla="*/ 2147483646 w 337"/>
              <a:gd name="T65" fmla="*/ 2147483646 h 809"/>
              <a:gd name="T66" fmla="*/ 2147483646 w 337"/>
              <a:gd name="T67" fmla="*/ 2147483646 h 809"/>
              <a:gd name="T68" fmla="*/ 2147483646 w 337"/>
              <a:gd name="T69" fmla="*/ 2147483646 h 809"/>
              <a:gd name="T70" fmla="*/ 2147483646 w 337"/>
              <a:gd name="T71" fmla="*/ 2147483646 h 809"/>
              <a:gd name="T72" fmla="*/ 2147483646 w 337"/>
              <a:gd name="T73" fmla="*/ 2147483646 h 809"/>
              <a:gd name="T74" fmla="*/ 2147483646 w 337"/>
              <a:gd name="T75" fmla="*/ 2147483646 h 809"/>
              <a:gd name="T76" fmla="*/ 2147483646 w 337"/>
              <a:gd name="T77" fmla="*/ 2147483646 h 809"/>
              <a:gd name="T78" fmla="*/ 2147483646 w 337"/>
              <a:gd name="T79" fmla="*/ 2147483646 h 809"/>
              <a:gd name="T80" fmla="*/ 2147483646 w 337"/>
              <a:gd name="T81" fmla="*/ 2147483646 h 809"/>
              <a:gd name="T82" fmla="*/ 2147483646 w 337"/>
              <a:gd name="T83" fmla="*/ 2147483646 h 809"/>
              <a:gd name="T84" fmla="*/ 2147483646 w 337"/>
              <a:gd name="T85" fmla="*/ 2147483646 h 809"/>
              <a:gd name="T86" fmla="*/ 2147483646 w 337"/>
              <a:gd name="T87" fmla="*/ 2147483646 h 809"/>
              <a:gd name="T88" fmla="*/ 2147483646 w 337"/>
              <a:gd name="T89" fmla="*/ 2147483646 h 809"/>
              <a:gd name="T90" fmla="*/ 2147483646 w 337"/>
              <a:gd name="T91" fmla="*/ 2147483646 h 809"/>
              <a:gd name="T92" fmla="*/ 2147483646 w 337"/>
              <a:gd name="T93" fmla="*/ 2147483646 h 809"/>
              <a:gd name="T94" fmla="*/ 2147483646 w 337"/>
              <a:gd name="T95" fmla="*/ 2147483646 h 809"/>
              <a:gd name="T96" fmla="*/ 2147483646 w 337"/>
              <a:gd name="T97" fmla="*/ 2147483646 h 80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37"/>
              <a:gd name="T148" fmla="*/ 0 h 809"/>
              <a:gd name="T149" fmla="*/ 337 w 337"/>
              <a:gd name="T150" fmla="*/ 809 h 80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37" h="809">
                <a:moveTo>
                  <a:pt x="1" y="617"/>
                </a:moveTo>
                <a:cubicBezTo>
                  <a:pt x="3" y="619"/>
                  <a:pt x="5" y="622"/>
                  <a:pt x="6" y="625"/>
                </a:cubicBezTo>
                <a:cubicBezTo>
                  <a:pt x="15" y="620"/>
                  <a:pt x="13" y="608"/>
                  <a:pt x="15" y="598"/>
                </a:cubicBezTo>
                <a:cubicBezTo>
                  <a:pt x="18" y="584"/>
                  <a:pt x="23" y="585"/>
                  <a:pt x="31" y="579"/>
                </a:cubicBezTo>
                <a:cubicBezTo>
                  <a:pt x="49" y="565"/>
                  <a:pt x="36" y="536"/>
                  <a:pt x="31" y="516"/>
                </a:cubicBezTo>
                <a:cubicBezTo>
                  <a:pt x="37" y="518"/>
                  <a:pt x="43" y="508"/>
                  <a:pt x="43" y="501"/>
                </a:cubicBezTo>
                <a:cubicBezTo>
                  <a:pt x="43" y="490"/>
                  <a:pt x="33" y="486"/>
                  <a:pt x="29" y="477"/>
                </a:cubicBezTo>
                <a:cubicBezTo>
                  <a:pt x="22" y="461"/>
                  <a:pt x="34" y="440"/>
                  <a:pt x="28" y="423"/>
                </a:cubicBezTo>
                <a:cubicBezTo>
                  <a:pt x="24" y="412"/>
                  <a:pt x="19" y="415"/>
                  <a:pt x="19" y="402"/>
                </a:cubicBezTo>
                <a:cubicBezTo>
                  <a:pt x="20" y="391"/>
                  <a:pt x="25" y="376"/>
                  <a:pt x="27" y="364"/>
                </a:cubicBezTo>
                <a:cubicBezTo>
                  <a:pt x="29" y="353"/>
                  <a:pt x="29" y="336"/>
                  <a:pt x="42" y="334"/>
                </a:cubicBezTo>
                <a:cubicBezTo>
                  <a:pt x="49" y="333"/>
                  <a:pt x="62" y="338"/>
                  <a:pt x="68" y="341"/>
                </a:cubicBezTo>
                <a:cubicBezTo>
                  <a:pt x="78" y="329"/>
                  <a:pt x="64" y="320"/>
                  <a:pt x="63" y="309"/>
                </a:cubicBezTo>
                <a:cubicBezTo>
                  <a:pt x="62" y="296"/>
                  <a:pt x="70" y="276"/>
                  <a:pt x="74" y="263"/>
                </a:cubicBezTo>
                <a:cubicBezTo>
                  <a:pt x="76" y="254"/>
                  <a:pt x="82" y="242"/>
                  <a:pt x="82" y="233"/>
                </a:cubicBezTo>
                <a:cubicBezTo>
                  <a:pt x="82" y="226"/>
                  <a:pt x="76" y="222"/>
                  <a:pt x="76" y="217"/>
                </a:cubicBezTo>
                <a:cubicBezTo>
                  <a:pt x="75" y="194"/>
                  <a:pt x="91" y="206"/>
                  <a:pt x="102" y="208"/>
                </a:cubicBezTo>
                <a:cubicBezTo>
                  <a:pt x="102" y="187"/>
                  <a:pt x="114" y="158"/>
                  <a:pt x="127" y="142"/>
                </a:cubicBezTo>
                <a:cubicBezTo>
                  <a:pt x="124" y="141"/>
                  <a:pt x="121" y="138"/>
                  <a:pt x="117" y="137"/>
                </a:cubicBezTo>
                <a:cubicBezTo>
                  <a:pt x="121" y="131"/>
                  <a:pt x="128" y="125"/>
                  <a:pt x="131" y="118"/>
                </a:cubicBezTo>
                <a:cubicBezTo>
                  <a:pt x="133" y="111"/>
                  <a:pt x="132" y="105"/>
                  <a:pt x="135" y="100"/>
                </a:cubicBezTo>
                <a:cubicBezTo>
                  <a:pt x="141" y="90"/>
                  <a:pt x="155" y="72"/>
                  <a:pt x="166" y="84"/>
                </a:cubicBezTo>
                <a:cubicBezTo>
                  <a:pt x="174" y="72"/>
                  <a:pt x="168" y="52"/>
                  <a:pt x="182" y="46"/>
                </a:cubicBezTo>
                <a:cubicBezTo>
                  <a:pt x="190" y="42"/>
                  <a:pt x="194" y="47"/>
                  <a:pt x="201" y="50"/>
                </a:cubicBezTo>
                <a:cubicBezTo>
                  <a:pt x="208" y="52"/>
                  <a:pt x="214" y="53"/>
                  <a:pt x="222" y="52"/>
                </a:cubicBezTo>
                <a:cubicBezTo>
                  <a:pt x="207" y="40"/>
                  <a:pt x="245" y="26"/>
                  <a:pt x="220" y="13"/>
                </a:cubicBezTo>
                <a:cubicBezTo>
                  <a:pt x="225" y="6"/>
                  <a:pt x="237" y="0"/>
                  <a:pt x="245" y="6"/>
                </a:cubicBezTo>
                <a:cubicBezTo>
                  <a:pt x="246" y="12"/>
                  <a:pt x="246" y="12"/>
                  <a:pt x="246" y="12"/>
                </a:cubicBezTo>
                <a:cubicBezTo>
                  <a:pt x="253" y="26"/>
                  <a:pt x="264" y="34"/>
                  <a:pt x="272" y="46"/>
                </a:cubicBezTo>
                <a:cubicBezTo>
                  <a:pt x="276" y="43"/>
                  <a:pt x="279" y="44"/>
                  <a:pt x="283" y="43"/>
                </a:cubicBezTo>
                <a:cubicBezTo>
                  <a:pt x="283" y="48"/>
                  <a:pt x="284" y="52"/>
                  <a:pt x="285" y="57"/>
                </a:cubicBezTo>
                <a:cubicBezTo>
                  <a:pt x="286" y="56"/>
                  <a:pt x="290" y="55"/>
                  <a:pt x="292" y="52"/>
                </a:cubicBezTo>
                <a:cubicBezTo>
                  <a:pt x="297" y="71"/>
                  <a:pt x="317" y="55"/>
                  <a:pt x="313" y="80"/>
                </a:cubicBezTo>
                <a:cubicBezTo>
                  <a:pt x="315" y="80"/>
                  <a:pt x="318" y="80"/>
                  <a:pt x="320" y="80"/>
                </a:cubicBezTo>
                <a:cubicBezTo>
                  <a:pt x="321" y="91"/>
                  <a:pt x="316" y="105"/>
                  <a:pt x="316" y="116"/>
                </a:cubicBezTo>
                <a:cubicBezTo>
                  <a:pt x="315" y="128"/>
                  <a:pt x="315" y="140"/>
                  <a:pt x="316" y="152"/>
                </a:cubicBezTo>
                <a:cubicBezTo>
                  <a:pt x="319" y="153"/>
                  <a:pt x="321" y="155"/>
                  <a:pt x="323" y="156"/>
                </a:cubicBezTo>
                <a:cubicBezTo>
                  <a:pt x="320" y="159"/>
                  <a:pt x="320" y="164"/>
                  <a:pt x="319" y="166"/>
                </a:cubicBezTo>
                <a:cubicBezTo>
                  <a:pt x="321" y="166"/>
                  <a:pt x="324" y="169"/>
                  <a:pt x="327" y="168"/>
                </a:cubicBezTo>
                <a:cubicBezTo>
                  <a:pt x="321" y="183"/>
                  <a:pt x="314" y="184"/>
                  <a:pt x="322" y="199"/>
                </a:cubicBezTo>
                <a:cubicBezTo>
                  <a:pt x="326" y="208"/>
                  <a:pt x="331" y="215"/>
                  <a:pt x="336" y="223"/>
                </a:cubicBezTo>
                <a:cubicBezTo>
                  <a:pt x="337" y="226"/>
                  <a:pt x="337" y="226"/>
                  <a:pt x="337" y="226"/>
                </a:cubicBezTo>
                <a:cubicBezTo>
                  <a:pt x="335" y="225"/>
                  <a:pt x="335" y="225"/>
                  <a:pt x="335" y="225"/>
                </a:cubicBezTo>
                <a:cubicBezTo>
                  <a:pt x="333" y="224"/>
                  <a:pt x="331" y="223"/>
                  <a:pt x="331" y="223"/>
                </a:cubicBezTo>
                <a:cubicBezTo>
                  <a:pt x="317" y="227"/>
                  <a:pt x="317" y="227"/>
                  <a:pt x="317" y="227"/>
                </a:cubicBezTo>
                <a:cubicBezTo>
                  <a:pt x="306" y="228"/>
                  <a:pt x="306" y="228"/>
                  <a:pt x="306" y="228"/>
                </a:cubicBezTo>
                <a:cubicBezTo>
                  <a:pt x="294" y="229"/>
                  <a:pt x="294" y="229"/>
                  <a:pt x="294" y="229"/>
                </a:cubicBezTo>
                <a:cubicBezTo>
                  <a:pt x="287" y="233"/>
                  <a:pt x="287" y="233"/>
                  <a:pt x="287" y="233"/>
                </a:cubicBezTo>
                <a:cubicBezTo>
                  <a:pt x="287" y="233"/>
                  <a:pt x="278" y="240"/>
                  <a:pt x="279" y="244"/>
                </a:cubicBezTo>
                <a:cubicBezTo>
                  <a:pt x="280" y="249"/>
                  <a:pt x="278" y="251"/>
                  <a:pt x="273" y="256"/>
                </a:cubicBezTo>
                <a:cubicBezTo>
                  <a:pt x="269" y="261"/>
                  <a:pt x="264" y="260"/>
                  <a:pt x="268" y="263"/>
                </a:cubicBezTo>
                <a:cubicBezTo>
                  <a:pt x="271" y="266"/>
                  <a:pt x="268" y="273"/>
                  <a:pt x="268" y="273"/>
                </a:cubicBezTo>
                <a:cubicBezTo>
                  <a:pt x="268" y="273"/>
                  <a:pt x="263" y="277"/>
                  <a:pt x="262" y="286"/>
                </a:cubicBezTo>
                <a:cubicBezTo>
                  <a:pt x="261" y="294"/>
                  <a:pt x="261" y="294"/>
                  <a:pt x="266" y="296"/>
                </a:cubicBezTo>
                <a:cubicBezTo>
                  <a:pt x="271" y="299"/>
                  <a:pt x="271" y="305"/>
                  <a:pt x="271" y="305"/>
                </a:cubicBezTo>
                <a:cubicBezTo>
                  <a:pt x="271" y="305"/>
                  <a:pt x="267" y="307"/>
                  <a:pt x="269" y="310"/>
                </a:cubicBezTo>
                <a:cubicBezTo>
                  <a:pt x="271" y="314"/>
                  <a:pt x="277" y="321"/>
                  <a:pt x="271" y="325"/>
                </a:cubicBezTo>
                <a:cubicBezTo>
                  <a:pt x="265" y="329"/>
                  <a:pt x="260" y="333"/>
                  <a:pt x="257" y="336"/>
                </a:cubicBezTo>
                <a:cubicBezTo>
                  <a:pt x="254" y="339"/>
                  <a:pt x="253" y="341"/>
                  <a:pt x="250" y="346"/>
                </a:cubicBezTo>
                <a:cubicBezTo>
                  <a:pt x="247" y="351"/>
                  <a:pt x="243" y="352"/>
                  <a:pt x="243" y="352"/>
                </a:cubicBezTo>
                <a:cubicBezTo>
                  <a:pt x="243" y="352"/>
                  <a:pt x="240" y="356"/>
                  <a:pt x="237" y="360"/>
                </a:cubicBezTo>
                <a:cubicBezTo>
                  <a:pt x="235" y="365"/>
                  <a:pt x="235" y="362"/>
                  <a:pt x="230" y="367"/>
                </a:cubicBezTo>
                <a:cubicBezTo>
                  <a:pt x="226" y="372"/>
                  <a:pt x="217" y="368"/>
                  <a:pt x="218" y="374"/>
                </a:cubicBezTo>
                <a:cubicBezTo>
                  <a:pt x="218" y="381"/>
                  <a:pt x="217" y="382"/>
                  <a:pt x="212" y="382"/>
                </a:cubicBezTo>
                <a:cubicBezTo>
                  <a:pt x="206" y="382"/>
                  <a:pt x="205" y="380"/>
                  <a:pt x="205" y="380"/>
                </a:cubicBezTo>
                <a:cubicBezTo>
                  <a:pt x="205" y="380"/>
                  <a:pt x="197" y="386"/>
                  <a:pt x="192" y="384"/>
                </a:cubicBezTo>
                <a:cubicBezTo>
                  <a:pt x="188" y="382"/>
                  <a:pt x="187" y="383"/>
                  <a:pt x="187" y="383"/>
                </a:cubicBezTo>
                <a:cubicBezTo>
                  <a:pt x="187" y="383"/>
                  <a:pt x="189" y="389"/>
                  <a:pt x="187" y="395"/>
                </a:cubicBezTo>
                <a:cubicBezTo>
                  <a:pt x="184" y="400"/>
                  <a:pt x="179" y="399"/>
                  <a:pt x="178" y="404"/>
                </a:cubicBezTo>
                <a:cubicBezTo>
                  <a:pt x="178" y="408"/>
                  <a:pt x="178" y="410"/>
                  <a:pt x="173" y="413"/>
                </a:cubicBezTo>
                <a:cubicBezTo>
                  <a:pt x="168" y="415"/>
                  <a:pt x="162" y="416"/>
                  <a:pt x="165" y="419"/>
                </a:cubicBezTo>
                <a:cubicBezTo>
                  <a:pt x="168" y="422"/>
                  <a:pt x="168" y="424"/>
                  <a:pt x="168" y="424"/>
                </a:cubicBezTo>
                <a:cubicBezTo>
                  <a:pt x="163" y="429"/>
                  <a:pt x="163" y="429"/>
                  <a:pt x="163" y="429"/>
                </a:cubicBezTo>
                <a:cubicBezTo>
                  <a:pt x="163" y="429"/>
                  <a:pt x="167" y="428"/>
                  <a:pt x="164" y="434"/>
                </a:cubicBezTo>
                <a:cubicBezTo>
                  <a:pt x="161" y="441"/>
                  <a:pt x="160" y="440"/>
                  <a:pt x="163" y="441"/>
                </a:cubicBezTo>
                <a:cubicBezTo>
                  <a:pt x="167" y="443"/>
                  <a:pt x="165" y="448"/>
                  <a:pt x="165" y="448"/>
                </a:cubicBezTo>
                <a:cubicBezTo>
                  <a:pt x="165" y="448"/>
                  <a:pt x="151" y="456"/>
                  <a:pt x="156" y="462"/>
                </a:cubicBezTo>
                <a:cubicBezTo>
                  <a:pt x="162" y="469"/>
                  <a:pt x="161" y="466"/>
                  <a:pt x="157" y="475"/>
                </a:cubicBezTo>
                <a:cubicBezTo>
                  <a:pt x="154" y="485"/>
                  <a:pt x="154" y="479"/>
                  <a:pt x="156" y="485"/>
                </a:cubicBezTo>
                <a:cubicBezTo>
                  <a:pt x="157" y="492"/>
                  <a:pt x="156" y="500"/>
                  <a:pt x="158" y="507"/>
                </a:cubicBezTo>
                <a:cubicBezTo>
                  <a:pt x="159" y="514"/>
                  <a:pt x="155" y="522"/>
                  <a:pt x="158" y="523"/>
                </a:cubicBezTo>
                <a:cubicBezTo>
                  <a:pt x="161" y="525"/>
                  <a:pt x="163" y="529"/>
                  <a:pt x="163" y="529"/>
                </a:cubicBezTo>
                <a:cubicBezTo>
                  <a:pt x="157" y="538"/>
                  <a:pt x="157" y="538"/>
                  <a:pt x="157" y="538"/>
                </a:cubicBezTo>
                <a:cubicBezTo>
                  <a:pt x="157" y="538"/>
                  <a:pt x="159" y="536"/>
                  <a:pt x="161" y="540"/>
                </a:cubicBezTo>
                <a:cubicBezTo>
                  <a:pt x="162" y="544"/>
                  <a:pt x="164" y="539"/>
                  <a:pt x="164" y="539"/>
                </a:cubicBezTo>
                <a:cubicBezTo>
                  <a:pt x="164" y="539"/>
                  <a:pt x="168" y="535"/>
                  <a:pt x="171" y="537"/>
                </a:cubicBezTo>
                <a:cubicBezTo>
                  <a:pt x="174" y="538"/>
                  <a:pt x="174" y="537"/>
                  <a:pt x="178" y="541"/>
                </a:cubicBezTo>
                <a:cubicBezTo>
                  <a:pt x="182" y="545"/>
                  <a:pt x="182" y="541"/>
                  <a:pt x="187" y="549"/>
                </a:cubicBezTo>
                <a:cubicBezTo>
                  <a:pt x="192" y="557"/>
                  <a:pt x="189" y="559"/>
                  <a:pt x="192" y="563"/>
                </a:cubicBezTo>
                <a:cubicBezTo>
                  <a:pt x="194" y="568"/>
                  <a:pt x="192" y="569"/>
                  <a:pt x="195" y="572"/>
                </a:cubicBezTo>
                <a:cubicBezTo>
                  <a:pt x="198" y="576"/>
                  <a:pt x="197" y="580"/>
                  <a:pt x="197" y="580"/>
                </a:cubicBezTo>
                <a:cubicBezTo>
                  <a:pt x="197" y="580"/>
                  <a:pt x="189" y="585"/>
                  <a:pt x="189" y="588"/>
                </a:cubicBezTo>
                <a:cubicBezTo>
                  <a:pt x="188" y="592"/>
                  <a:pt x="183" y="595"/>
                  <a:pt x="178" y="595"/>
                </a:cubicBezTo>
                <a:cubicBezTo>
                  <a:pt x="174" y="595"/>
                  <a:pt x="172" y="592"/>
                  <a:pt x="168" y="593"/>
                </a:cubicBezTo>
                <a:cubicBezTo>
                  <a:pt x="164" y="593"/>
                  <a:pt x="160" y="592"/>
                  <a:pt x="157" y="589"/>
                </a:cubicBezTo>
                <a:cubicBezTo>
                  <a:pt x="155" y="587"/>
                  <a:pt x="151" y="591"/>
                  <a:pt x="151" y="591"/>
                </a:cubicBezTo>
                <a:cubicBezTo>
                  <a:pt x="151" y="591"/>
                  <a:pt x="146" y="595"/>
                  <a:pt x="141" y="592"/>
                </a:cubicBezTo>
                <a:cubicBezTo>
                  <a:pt x="136" y="590"/>
                  <a:pt x="132" y="590"/>
                  <a:pt x="130" y="591"/>
                </a:cubicBezTo>
                <a:cubicBezTo>
                  <a:pt x="128" y="591"/>
                  <a:pt x="124" y="590"/>
                  <a:pt x="124" y="590"/>
                </a:cubicBezTo>
                <a:cubicBezTo>
                  <a:pt x="124" y="590"/>
                  <a:pt x="137" y="597"/>
                  <a:pt x="142" y="596"/>
                </a:cubicBezTo>
                <a:cubicBezTo>
                  <a:pt x="146" y="596"/>
                  <a:pt x="147" y="597"/>
                  <a:pt x="149" y="597"/>
                </a:cubicBezTo>
                <a:cubicBezTo>
                  <a:pt x="151" y="597"/>
                  <a:pt x="156" y="596"/>
                  <a:pt x="156" y="596"/>
                </a:cubicBezTo>
                <a:cubicBezTo>
                  <a:pt x="156" y="596"/>
                  <a:pt x="156" y="598"/>
                  <a:pt x="159" y="603"/>
                </a:cubicBezTo>
                <a:cubicBezTo>
                  <a:pt x="162" y="608"/>
                  <a:pt x="162" y="600"/>
                  <a:pt x="166" y="603"/>
                </a:cubicBezTo>
                <a:cubicBezTo>
                  <a:pt x="170" y="606"/>
                  <a:pt x="172" y="604"/>
                  <a:pt x="172" y="604"/>
                </a:cubicBezTo>
                <a:cubicBezTo>
                  <a:pt x="179" y="603"/>
                  <a:pt x="179" y="603"/>
                  <a:pt x="179" y="603"/>
                </a:cubicBezTo>
                <a:cubicBezTo>
                  <a:pt x="179" y="603"/>
                  <a:pt x="181" y="601"/>
                  <a:pt x="183" y="606"/>
                </a:cubicBezTo>
                <a:cubicBezTo>
                  <a:pt x="186" y="610"/>
                  <a:pt x="180" y="618"/>
                  <a:pt x="180" y="618"/>
                </a:cubicBezTo>
                <a:cubicBezTo>
                  <a:pt x="180" y="618"/>
                  <a:pt x="172" y="621"/>
                  <a:pt x="169" y="622"/>
                </a:cubicBezTo>
                <a:cubicBezTo>
                  <a:pt x="167" y="623"/>
                  <a:pt x="160" y="613"/>
                  <a:pt x="162" y="619"/>
                </a:cubicBezTo>
                <a:cubicBezTo>
                  <a:pt x="163" y="624"/>
                  <a:pt x="162" y="630"/>
                  <a:pt x="159" y="629"/>
                </a:cubicBezTo>
                <a:cubicBezTo>
                  <a:pt x="155" y="629"/>
                  <a:pt x="155" y="629"/>
                  <a:pt x="155" y="629"/>
                </a:cubicBezTo>
                <a:cubicBezTo>
                  <a:pt x="155" y="629"/>
                  <a:pt x="147" y="631"/>
                  <a:pt x="144" y="634"/>
                </a:cubicBezTo>
                <a:cubicBezTo>
                  <a:pt x="142" y="637"/>
                  <a:pt x="140" y="637"/>
                  <a:pt x="137" y="636"/>
                </a:cubicBezTo>
                <a:cubicBezTo>
                  <a:pt x="135" y="634"/>
                  <a:pt x="129" y="637"/>
                  <a:pt x="134" y="638"/>
                </a:cubicBezTo>
                <a:cubicBezTo>
                  <a:pt x="139" y="639"/>
                  <a:pt x="143" y="637"/>
                  <a:pt x="146" y="640"/>
                </a:cubicBezTo>
                <a:cubicBezTo>
                  <a:pt x="149" y="643"/>
                  <a:pt x="145" y="647"/>
                  <a:pt x="145" y="647"/>
                </a:cubicBezTo>
                <a:cubicBezTo>
                  <a:pt x="145" y="647"/>
                  <a:pt x="141" y="649"/>
                  <a:pt x="139" y="649"/>
                </a:cubicBezTo>
                <a:cubicBezTo>
                  <a:pt x="138" y="649"/>
                  <a:pt x="133" y="643"/>
                  <a:pt x="133" y="649"/>
                </a:cubicBezTo>
                <a:cubicBezTo>
                  <a:pt x="134" y="655"/>
                  <a:pt x="137" y="653"/>
                  <a:pt x="139" y="662"/>
                </a:cubicBezTo>
                <a:cubicBezTo>
                  <a:pt x="142" y="672"/>
                  <a:pt x="138" y="679"/>
                  <a:pt x="140" y="680"/>
                </a:cubicBezTo>
                <a:cubicBezTo>
                  <a:pt x="142" y="681"/>
                  <a:pt x="141" y="679"/>
                  <a:pt x="143" y="684"/>
                </a:cubicBezTo>
                <a:cubicBezTo>
                  <a:pt x="145" y="689"/>
                  <a:pt x="144" y="675"/>
                  <a:pt x="141" y="696"/>
                </a:cubicBezTo>
                <a:cubicBezTo>
                  <a:pt x="137" y="716"/>
                  <a:pt x="133" y="719"/>
                  <a:pt x="132" y="731"/>
                </a:cubicBezTo>
                <a:cubicBezTo>
                  <a:pt x="131" y="743"/>
                  <a:pt x="130" y="748"/>
                  <a:pt x="125" y="756"/>
                </a:cubicBezTo>
                <a:cubicBezTo>
                  <a:pt x="120" y="763"/>
                  <a:pt x="118" y="759"/>
                  <a:pt x="113" y="760"/>
                </a:cubicBezTo>
                <a:cubicBezTo>
                  <a:pt x="108" y="760"/>
                  <a:pt x="107" y="764"/>
                  <a:pt x="103" y="761"/>
                </a:cubicBezTo>
                <a:cubicBezTo>
                  <a:pt x="99" y="758"/>
                  <a:pt x="100" y="749"/>
                  <a:pt x="95" y="756"/>
                </a:cubicBezTo>
                <a:cubicBezTo>
                  <a:pt x="91" y="763"/>
                  <a:pt x="87" y="768"/>
                  <a:pt x="87" y="768"/>
                </a:cubicBezTo>
                <a:cubicBezTo>
                  <a:pt x="87" y="768"/>
                  <a:pt x="76" y="774"/>
                  <a:pt x="80" y="782"/>
                </a:cubicBezTo>
                <a:cubicBezTo>
                  <a:pt x="84" y="789"/>
                  <a:pt x="88" y="796"/>
                  <a:pt x="77" y="796"/>
                </a:cubicBezTo>
                <a:cubicBezTo>
                  <a:pt x="67" y="795"/>
                  <a:pt x="67" y="789"/>
                  <a:pt x="62" y="796"/>
                </a:cubicBezTo>
                <a:cubicBezTo>
                  <a:pt x="57" y="803"/>
                  <a:pt x="55" y="809"/>
                  <a:pt x="50" y="803"/>
                </a:cubicBezTo>
                <a:cubicBezTo>
                  <a:pt x="45" y="797"/>
                  <a:pt x="42" y="799"/>
                  <a:pt x="42" y="796"/>
                </a:cubicBezTo>
                <a:cubicBezTo>
                  <a:pt x="43" y="793"/>
                  <a:pt x="47" y="783"/>
                  <a:pt x="46" y="778"/>
                </a:cubicBezTo>
                <a:cubicBezTo>
                  <a:pt x="45" y="773"/>
                  <a:pt x="42" y="769"/>
                  <a:pt x="41" y="767"/>
                </a:cubicBezTo>
                <a:cubicBezTo>
                  <a:pt x="40" y="765"/>
                  <a:pt x="28" y="765"/>
                  <a:pt x="36" y="761"/>
                </a:cubicBezTo>
                <a:cubicBezTo>
                  <a:pt x="45" y="758"/>
                  <a:pt x="47" y="760"/>
                  <a:pt x="46" y="755"/>
                </a:cubicBezTo>
                <a:cubicBezTo>
                  <a:pt x="45" y="749"/>
                  <a:pt x="40" y="751"/>
                  <a:pt x="43" y="746"/>
                </a:cubicBezTo>
                <a:cubicBezTo>
                  <a:pt x="47" y="741"/>
                  <a:pt x="51" y="741"/>
                  <a:pt x="46" y="737"/>
                </a:cubicBezTo>
                <a:cubicBezTo>
                  <a:pt x="40" y="733"/>
                  <a:pt x="25" y="724"/>
                  <a:pt x="26" y="714"/>
                </a:cubicBezTo>
                <a:cubicBezTo>
                  <a:pt x="26" y="705"/>
                  <a:pt x="26" y="703"/>
                  <a:pt x="22" y="697"/>
                </a:cubicBezTo>
                <a:cubicBezTo>
                  <a:pt x="18" y="692"/>
                  <a:pt x="14" y="685"/>
                  <a:pt x="18" y="683"/>
                </a:cubicBezTo>
                <a:cubicBezTo>
                  <a:pt x="22" y="682"/>
                  <a:pt x="28" y="685"/>
                  <a:pt x="22" y="680"/>
                </a:cubicBezTo>
                <a:cubicBezTo>
                  <a:pt x="16" y="674"/>
                  <a:pt x="9" y="681"/>
                  <a:pt x="10" y="669"/>
                </a:cubicBezTo>
                <a:cubicBezTo>
                  <a:pt x="11" y="657"/>
                  <a:pt x="20" y="655"/>
                  <a:pt x="15" y="652"/>
                </a:cubicBezTo>
                <a:cubicBezTo>
                  <a:pt x="10" y="649"/>
                  <a:pt x="4" y="644"/>
                  <a:pt x="4" y="644"/>
                </a:cubicBezTo>
                <a:cubicBezTo>
                  <a:pt x="4" y="644"/>
                  <a:pt x="4" y="632"/>
                  <a:pt x="3" y="629"/>
                </a:cubicBezTo>
                <a:cubicBezTo>
                  <a:pt x="2" y="626"/>
                  <a:pt x="1" y="621"/>
                  <a:pt x="0" y="618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19" name="Freeform 554"/>
          <p:cNvSpPr>
            <a:spLocks/>
          </p:cNvSpPr>
          <p:nvPr userDrawn="1"/>
        </p:nvSpPr>
        <p:spPr bwMode="auto">
          <a:xfrm>
            <a:off x="6008260" y="2567388"/>
            <a:ext cx="261315" cy="603033"/>
          </a:xfrm>
          <a:custGeom>
            <a:avLst/>
            <a:gdLst>
              <a:gd name="T0" fmla="*/ 2147483646 w 280"/>
              <a:gd name="T1" fmla="*/ 2147483646 h 646"/>
              <a:gd name="T2" fmla="*/ 2147483646 w 280"/>
              <a:gd name="T3" fmla="*/ 2147483646 h 646"/>
              <a:gd name="T4" fmla="*/ 2147483646 w 280"/>
              <a:gd name="T5" fmla="*/ 2147483646 h 646"/>
              <a:gd name="T6" fmla="*/ 2147483646 w 280"/>
              <a:gd name="T7" fmla="*/ 2147483646 h 646"/>
              <a:gd name="T8" fmla="*/ 2147483646 w 280"/>
              <a:gd name="T9" fmla="*/ 2147483646 h 646"/>
              <a:gd name="T10" fmla="*/ 2147483646 w 280"/>
              <a:gd name="T11" fmla="*/ 2147483646 h 646"/>
              <a:gd name="T12" fmla="*/ 2147483646 w 280"/>
              <a:gd name="T13" fmla="*/ 2147483646 h 646"/>
              <a:gd name="T14" fmla="*/ 2147483646 w 280"/>
              <a:gd name="T15" fmla="*/ 2147483646 h 646"/>
              <a:gd name="T16" fmla="*/ 2147483646 w 280"/>
              <a:gd name="T17" fmla="*/ 2147483646 h 646"/>
              <a:gd name="T18" fmla="*/ 2147483646 w 280"/>
              <a:gd name="T19" fmla="*/ 2147483646 h 646"/>
              <a:gd name="T20" fmla="*/ 2147483646 w 280"/>
              <a:gd name="T21" fmla="*/ 2147483646 h 646"/>
              <a:gd name="T22" fmla="*/ 2147483646 w 280"/>
              <a:gd name="T23" fmla="*/ 2147483646 h 646"/>
              <a:gd name="T24" fmla="*/ 2147483646 w 280"/>
              <a:gd name="T25" fmla="*/ 2147483646 h 646"/>
              <a:gd name="T26" fmla="*/ 2147483646 w 280"/>
              <a:gd name="T27" fmla="*/ 2147483646 h 646"/>
              <a:gd name="T28" fmla="*/ 2147483646 w 280"/>
              <a:gd name="T29" fmla="*/ 2147483646 h 646"/>
              <a:gd name="T30" fmla="*/ 2147483646 w 280"/>
              <a:gd name="T31" fmla="*/ 2147483646 h 646"/>
              <a:gd name="T32" fmla="*/ 2147483646 w 280"/>
              <a:gd name="T33" fmla="*/ 2147483646 h 646"/>
              <a:gd name="T34" fmla="*/ 2147483646 w 280"/>
              <a:gd name="T35" fmla="*/ 2147483646 h 646"/>
              <a:gd name="T36" fmla="*/ 2147483646 w 280"/>
              <a:gd name="T37" fmla="*/ 2147483646 h 646"/>
              <a:gd name="T38" fmla="*/ 2147483646 w 280"/>
              <a:gd name="T39" fmla="*/ 2147483646 h 646"/>
              <a:gd name="T40" fmla="*/ 2147483646 w 280"/>
              <a:gd name="T41" fmla="*/ 2147483646 h 646"/>
              <a:gd name="T42" fmla="*/ 2147483646 w 280"/>
              <a:gd name="T43" fmla="*/ 2147483646 h 646"/>
              <a:gd name="T44" fmla="*/ 2147483646 w 280"/>
              <a:gd name="T45" fmla="*/ 2147483646 h 646"/>
              <a:gd name="T46" fmla="*/ 2147483646 w 280"/>
              <a:gd name="T47" fmla="*/ 2147483646 h 646"/>
              <a:gd name="T48" fmla="*/ 2147483646 w 280"/>
              <a:gd name="T49" fmla="*/ 2147483646 h 646"/>
              <a:gd name="T50" fmla="*/ 2147483646 w 280"/>
              <a:gd name="T51" fmla="*/ 2147483646 h 646"/>
              <a:gd name="T52" fmla="*/ 2147483646 w 280"/>
              <a:gd name="T53" fmla="*/ 2147483646 h 646"/>
              <a:gd name="T54" fmla="*/ 2147483646 w 280"/>
              <a:gd name="T55" fmla="*/ 2147483646 h 646"/>
              <a:gd name="T56" fmla="*/ 2147483646 w 280"/>
              <a:gd name="T57" fmla="*/ 2147483646 h 646"/>
              <a:gd name="T58" fmla="*/ 2147483646 w 280"/>
              <a:gd name="T59" fmla="*/ 2147483646 h 646"/>
              <a:gd name="T60" fmla="*/ 2147483646 w 280"/>
              <a:gd name="T61" fmla="*/ 2147483646 h 646"/>
              <a:gd name="T62" fmla="*/ 2147483646 w 280"/>
              <a:gd name="T63" fmla="*/ 2147483646 h 646"/>
              <a:gd name="T64" fmla="*/ 2147483646 w 280"/>
              <a:gd name="T65" fmla="*/ 2147483646 h 646"/>
              <a:gd name="T66" fmla="*/ 2147483646 w 280"/>
              <a:gd name="T67" fmla="*/ 2147483646 h 646"/>
              <a:gd name="T68" fmla="*/ 2147483646 w 280"/>
              <a:gd name="T69" fmla="*/ 2147483646 h 646"/>
              <a:gd name="T70" fmla="*/ 2147483646 w 280"/>
              <a:gd name="T71" fmla="*/ 2147483646 h 646"/>
              <a:gd name="T72" fmla="*/ 2147483646 w 280"/>
              <a:gd name="T73" fmla="*/ 2147483646 h 646"/>
              <a:gd name="T74" fmla="*/ 2147483646 w 280"/>
              <a:gd name="T75" fmla="*/ 2147483646 h 646"/>
              <a:gd name="T76" fmla="*/ 2147483646 w 280"/>
              <a:gd name="T77" fmla="*/ 2147483646 h 646"/>
              <a:gd name="T78" fmla="*/ 2147483646 w 280"/>
              <a:gd name="T79" fmla="*/ 2147483646 h 646"/>
              <a:gd name="T80" fmla="*/ 2147483646 w 280"/>
              <a:gd name="T81" fmla="*/ 2147483646 h 646"/>
              <a:gd name="T82" fmla="*/ 2147483646 w 280"/>
              <a:gd name="T83" fmla="*/ 2147483646 h 646"/>
              <a:gd name="T84" fmla="*/ 2147483646 w 280"/>
              <a:gd name="T85" fmla="*/ 2147483646 h 646"/>
              <a:gd name="T86" fmla="*/ 2147483646 w 280"/>
              <a:gd name="T87" fmla="*/ 2147483646 h 646"/>
              <a:gd name="T88" fmla="*/ 2147483646 w 280"/>
              <a:gd name="T89" fmla="*/ 2147483646 h 646"/>
              <a:gd name="T90" fmla="*/ 2147483646 w 280"/>
              <a:gd name="T91" fmla="*/ 2147483646 h 646"/>
              <a:gd name="T92" fmla="*/ 2147483646 w 280"/>
              <a:gd name="T93" fmla="*/ 2147483646 h 646"/>
              <a:gd name="T94" fmla="*/ 2147483646 w 280"/>
              <a:gd name="T95" fmla="*/ 2147483646 h 646"/>
              <a:gd name="T96" fmla="*/ 2147483646 w 280"/>
              <a:gd name="T97" fmla="*/ 2147483646 h 646"/>
              <a:gd name="T98" fmla="*/ 2147483646 w 280"/>
              <a:gd name="T99" fmla="*/ 2147483646 h 646"/>
              <a:gd name="T100" fmla="*/ 2147483646 w 280"/>
              <a:gd name="T101" fmla="*/ 2147483646 h 646"/>
              <a:gd name="T102" fmla="*/ 2147483646 w 280"/>
              <a:gd name="T103" fmla="*/ 2147483646 h 646"/>
              <a:gd name="T104" fmla="*/ 2147483646 w 280"/>
              <a:gd name="T105" fmla="*/ 2147483646 h 646"/>
              <a:gd name="T106" fmla="*/ 2147483646 w 280"/>
              <a:gd name="T107" fmla="*/ 2147483646 h 646"/>
              <a:gd name="T108" fmla="*/ 2147483646 w 280"/>
              <a:gd name="T109" fmla="*/ 2147483646 h 646"/>
              <a:gd name="T110" fmla="*/ 2147483646 w 280"/>
              <a:gd name="T111" fmla="*/ 2147483646 h 646"/>
              <a:gd name="T112" fmla="*/ 2147483646 w 280"/>
              <a:gd name="T113" fmla="*/ 2147483646 h 646"/>
              <a:gd name="T114" fmla="*/ 2147483646 w 280"/>
              <a:gd name="T115" fmla="*/ 2147483646 h 646"/>
              <a:gd name="T116" fmla="*/ 2147483646 w 280"/>
              <a:gd name="T117" fmla="*/ 2147483646 h 646"/>
              <a:gd name="T118" fmla="*/ 2147483646 w 280"/>
              <a:gd name="T119" fmla="*/ 2147483646 h 646"/>
              <a:gd name="T120" fmla="*/ 2147483646 w 280"/>
              <a:gd name="T121" fmla="*/ 2147483646 h 646"/>
              <a:gd name="T122" fmla="*/ 2147483646 w 280"/>
              <a:gd name="T123" fmla="*/ 2147483646 h 646"/>
              <a:gd name="T124" fmla="*/ 2147483646 w 280"/>
              <a:gd name="T125" fmla="*/ 2147483646 h 64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80"/>
              <a:gd name="T190" fmla="*/ 0 h 646"/>
              <a:gd name="T191" fmla="*/ 280 w 280"/>
              <a:gd name="T192" fmla="*/ 646 h 64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80" h="646">
                <a:moveTo>
                  <a:pt x="0" y="73"/>
                </a:moveTo>
                <a:cubicBezTo>
                  <a:pt x="1" y="74"/>
                  <a:pt x="3" y="76"/>
                  <a:pt x="4" y="79"/>
                </a:cubicBezTo>
                <a:cubicBezTo>
                  <a:pt x="6" y="73"/>
                  <a:pt x="4" y="67"/>
                  <a:pt x="7" y="61"/>
                </a:cubicBezTo>
                <a:cubicBezTo>
                  <a:pt x="26" y="64"/>
                  <a:pt x="26" y="92"/>
                  <a:pt x="40" y="101"/>
                </a:cubicBezTo>
                <a:cubicBezTo>
                  <a:pt x="53" y="109"/>
                  <a:pt x="75" y="91"/>
                  <a:pt x="78" y="103"/>
                </a:cubicBezTo>
                <a:cubicBezTo>
                  <a:pt x="82" y="103"/>
                  <a:pt x="86" y="102"/>
                  <a:pt x="89" y="98"/>
                </a:cubicBezTo>
                <a:cubicBezTo>
                  <a:pt x="94" y="103"/>
                  <a:pt x="97" y="111"/>
                  <a:pt x="102" y="117"/>
                </a:cubicBezTo>
                <a:cubicBezTo>
                  <a:pt x="105" y="110"/>
                  <a:pt x="107" y="101"/>
                  <a:pt x="111" y="95"/>
                </a:cubicBezTo>
                <a:cubicBezTo>
                  <a:pt x="114" y="91"/>
                  <a:pt x="123" y="85"/>
                  <a:pt x="123" y="83"/>
                </a:cubicBezTo>
                <a:cubicBezTo>
                  <a:pt x="126" y="77"/>
                  <a:pt x="121" y="74"/>
                  <a:pt x="122" y="69"/>
                </a:cubicBezTo>
                <a:cubicBezTo>
                  <a:pt x="124" y="63"/>
                  <a:pt x="129" y="58"/>
                  <a:pt x="134" y="53"/>
                </a:cubicBezTo>
                <a:cubicBezTo>
                  <a:pt x="133" y="50"/>
                  <a:pt x="129" y="44"/>
                  <a:pt x="129" y="40"/>
                </a:cubicBezTo>
                <a:cubicBezTo>
                  <a:pt x="128" y="32"/>
                  <a:pt x="130" y="34"/>
                  <a:pt x="132" y="26"/>
                </a:cubicBezTo>
                <a:cubicBezTo>
                  <a:pt x="137" y="13"/>
                  <a:pt x="140" y="10"/>
                  <a:pt x="152" y="7"/>
                </a:cubicBezTo>
                <a:cubicBezTo>
                  <a:pt x="161" y="5"/>
                  <a:pt x="167" y="0"/>
                  <a:pt x="175" y="4"/>
                </a:cubicBezTo>
                <a:cubicBezTo>
                  <a:pt x="188" y="11"/>
                  <a:pt x="186" y="21"/>
                  <a:pt x="205" y="16"/>
                </a:cubicBezTo>
                <a:cubicBezTo>
                  <a:pt x="212" y="28"/>
                  <a:pt x="211" y="30"/>
                  <a:pt x="208" y="43"/>
                </a:cubicBezTo>
                <a:cubicBezTo>
                  <a:pt x="205" y="52"/>
                  <a:pt x="201" y="59"/>
                  <a:pt x="204" y="69"/>
                </a:cubicBezTo>
                <a:cubicBezTo>
                  <a:pt x="205" y="71"/>
                  <a:pt x="205" y="71"/>
                  <a:pt x="205" y="71"/>
                </a:cubicBezTo>
                <a:cubicBezTo>
                  <a:pt x="204" y="72"/>
                  <a:pt x="204" y="72"/>
                  <a:pt x="204" y="72"/>
                </a:cubicBezTo>
                <a:cubicBezTo>
                  <a:pt x="199" y="75"/>
                  <a:pt x="195" y="78"/>
                  <a:pt x="191" y="84"/>
                </a:cubicBezTo>
                <a:cubicBezTo>
                  <a:pt x="183" y="95"/>
                  <a:pt x="186" y="102"/>
                  <a:pt x="187" y="116"/>
                </a:cubicBezTo>
                <a:cubicBezTo>
                  <a:pt x="199" y="123"/>
                  <a:pt x="223" y="147"/>
                  <a:pt x="230" y="160"/>
                </a:cubicBezTo>
                <a:cubicBezTo>
                  <a:pt x="236" y="170"/>
                  <a:pt x="232" y="171"/>
                  <a:pt x="225" y="183"/>
                </a:cubicBezTo>
                <a:cubicBezTo>
                  <a:pt x="221" y="190"/>
                  <a:pt x="217" y="196"/>
                  <a:pt x="219" y="204"/>
                </a:cubicBezTo>
                <a:cubicBezTo>
                  <a:pt x="190" y="217"/>
                  <a:pt x="231" y="267"/>
                  <a:pt x="237" y="284"/>
                </a:cubicBezTo>
                <a:cubicBezTo>
                  <a:pt x="241" y="297"/>
                  <a:pt x="238" y="290"/>
                  <a:pt x="234" y="303"/>
                </a:cubicBezTo>
                <a:cubicBezTo>
                  <a:pt x="232" y="310"/>
                  <a:pt x="235" y="312"/>
                  <a:pt x="232" y="319"/>
                </a:cubicBezTo>
                <a:cubicBezTo>
                  <a:pt x="229" y="328"/>
                  <a:pt x="226" y="328"/>
                  <a:pt x="225" y="337"/>
                </a:cubicBezTo>
                <a:cubicBezTo>
                  <a:pt x="225" y="346"/>
                  <a:pt x="227" y="356"/>
                  <a:pt x="227" y="365"/>
                </a:cubicBezTo>
                <a:cubicBezTo>
                  <a:pt x="231" y="367"/>
                  <a:pt x="236" y="368"/>
                  <a:pt x="241" y="367"/>
                </a:cubicBezTo>
                <a:cubicBezTo>
                  <a:pt x="244" y="377"/>
                  <a:pt x="242" y="381"/>
                  <a:pt x="236" y="388"/>
                </a:cubicBezTo>
                <a:cubicBezTo>
                  <a:pt x="239" y="388"/>
                  <a:pt x="242" y="390"/>
                  <a:pt x="245" y="391"/>
                </a:cubicBezTo>
                <a:cubicBezTo>
                  <a:pt x="245" y="397"/>
                  <a:pt x="246" y="398"/>
                  <a:pt x="250" y="402"/>
                </a:cubicBezTo>
                <a:cubicBezTo>
                  <a:pt x="243" y="406"/>
                  <a:pt x="239" y="413"/>
                  <a:pt x="245" y="419"/>
                </a:cubicBezTo>
                <a:cubicBezTo>
                  <a:pt x="241" y="421"/>
                  <a:pt x="239" y="424"/>
                  <a:pt x="236" y="427"/>
                </a:cubicBezTo>
                <a:cubicBezTo>
                  <a:pt x="239" y="432"/>
                  <a:pt x="248" y="433"/>
                  <a:pt x="248" y="441"/>
                </a:cubicBezTo>
                <a:cubicBezTo>
                  <a:pt x="260" y="448"/>
                  <a:pt x="270" y="453"/>
                  <a:pt x="275" y="467"/>
                </a:cubicBezTo>
                <a:cubicBezTo>
                  <a:pt x="280" y="483"/>
                  <a:pt x="270" y="496"/>
                  <a:pt x="261" y="509"/>
                </a:cubicBezTo>
                <a:cubicBezTo>
                  <a:pt x="253" y="520"/>
                  <a:pt x="243" y="533"/>
                  <a:pt x="233" y="541"/>
                </a:cubicBezTo>
                <a:cubicBezTo>
                  <a:pt x="226" y="548"/>
                  <a:pt x="204" y="553"/>
                  <a:pt x="213" y="566"/>
                </a:cubicBezTo>
                <a:cubicBezTo>
                  <a:pt x="201" y="571"/>
                  <a:pt x="184" y="587"/>
                  <a:pt x="181" y="601"/>
                </a:cubicBezTo>
                <a:cubicBezTo>
                  <a:pt x="180" y="601"/>
                  <a:pt x="180" y="601"/>
                  <a:pt x="180" y="601"/>
                </a:cubicBezTo>
                <a:cubicBezTo>
                  <a:pt x="179" y="603"/>
                  <a:pt x="178" y="604"/>
                  <a:pt x="177" y="605"/>
                </a:cubicBezTo>
                <a:cubicBezTo>
                  <a:pt x="175" y="606"/>
                  <a:pt x="174" y="607"/>
                  <a:pt x="169" y="605"/>
                </a:cubicBezTo>
                <a:cubicBezTo>
                  <a:pt x="164" y="603"/>
                  <a:pt x="163" y="600"/>
                  <a:pt x="157" y="604"/>
                </a:cubicBezTo>
                <a:cubicBezTo>
                  <a:pt x="152" y="609"/>
                  <a:pt x="150" y="607"/>
                  <a:pt x="146" y="608"/>
                </a:cubicBezTo>
                <a:cubicBezTo>
                  <a:pt x="142" y="610"/>
                  <a:pt x="149" y="609"/>
                  <a:pt x="139" y="612"/>
                </a:cubicBezTo>
                <a:cubicBezTo>
                  <a:pt x="129" y="614"/>
                  <a:pt x="127" y="613"/>
                  <a:pt x="125" y="617"/>
                </a:cubicBezTo>
                <a:cubicBezTo>
                  <a:pt x="124" y="620"/>
                  <a:pt x="122" y="623"/>
                  <a:pt x="116" y="623"/>
                </a:cubicBezTo>
                <a:cubicBezTo>
                  <a:pt x="110" y="624"/>
                  <a:pt x="109" y="619"/>
                  <a:pt x="107" y="623"/>
                </a:cubicBezTo>
                <a:cubicBezTo>
                  <a:pt x="105" y="626"/>
                  <a:pt x="102" y="621"/>
                  <a:pt x="100" y="624"/>
                </a:cubicBezTo>
                <a:cubicBezTo>
                  <a:pt x="99" y="628"/>
                  <a:pt x="99" y="627"/>
                  <a:pt x="95" y="630"/>
                </a:cubicBezTo>
                <a:cubicBezTo>
                  <a:pt x="92" y="633"/>
                  <a:pt x="85" y="636"/>
                  <a:pt x="84" y="634"/>
                </a:cubicBezTo>
                <a:cubicBezTo>
                  <a:pt x="82" y="633"/>
                  <a:pt x="81" y="625"/>
                  <a:pt x="79" y="630"/>
                </a:cubicBezTo>
                <a:cubicBezTo>
                  <a:pt x="77" y="634"/>
                  <a:pt x="76" y="638"/>
                  <a:pt x="73" y="635"/>
                </a:cubicBezTo>
                <a:cubicBezTo>
                  <a:pt x="70" y="633"/>
                  <a:pt x="68" y="634"/>
                  <a:pt x="68" y="634"/>
                </a:cubicBezTo>
                <a:cubicBezTo>
                  <a:pt x="68" y="634"/>
                  <a:pt x="65" y="646"/>
                  <a:pt x="60" y="642"/>
                </a:cubicBezTo>
                <a:cubicBezTo>
                  <a:pt x="56" y="638"/>
                  <a:pt x="65" y="635"/>
                  <a:pt x="61" y="634"/>
                </a:cubicBezTo>
                <a:cubicBezTo>
                  <a:pt x="57" y="633"/>
                  <a:pt x="51" y="637"/>
                  <a:pt x="51" y="634"/>
                </a:cubicBezTo>
                <a:cubicBezTo>
                  <a:pt x="51" y="631"/>
                  <a:pt x="49" y="626"/>
                  <a:pt x="53" y="625"/>
                </a:cubicBezTo>
                <a:cubicBezTo>
                  <a:pt x="57" y="624"/>
                  <a:pt x="55" y="623"/>
                  <a:pt x="58" y="621"/>
                </a:cubicBezTo>
                <a:cubicBezTo>
                  <a:pt x="60" y="618"/>
                  <a:pt x="59" y="617"/>
                  <a:pt x="60" y="615"/>
                </a:cubicBezTo>
                <a:cubicBezTo>
                  <a:pt x="61" y="613"/>
                  <a:pt x="61" y="611"/>
                  <a:pt x="61" y="611"/>
                </a:cubicBezTo>
                <a:cubicBezTo>
                  <a:pt x="54" y="616"/>
                  <a:pt x="54" y="616"/>
                  <a:pt x="54" y="616"/>
                </a:cubicBezTo>
                <a:cubicBezTo>
                  <a:pt x="54" y="616"/>
                  <a:pt x="47" y="616"/>
                  <a:pt x="46" y="613"/>
                </a:cubicBezTo>
                <a:cubicBezTo>
                  <a:pt x="45" y="609"/>
                  <a:pt x="45" y="606"/>
                  <a:pt x="42" y="607"/>
                </a:cubicBezTo>
                <a:cubicBezTo>
                  <a:pt x="39" y="607"/>
                  <a:pt x="36" y="608"/>
                  <a:pt x="34" y="606"/>
                </a:cubicBezTo>
                <a:cubicBezTo>
                  <a:pt x="31" y="604"/>
                  <a:pt x="35" y="601"/>
                  <a:pt x="31" y="601"/>
                </a:cubicBezTo>
                <a:cubicBezTo>
                  <a:pt x="26" y="601"/>
                  <a:pt x="26" y="598"/>
                  <a:pt x="23" y="600"/>
                </a:cubicBezTo>
                <a:cubicBezTo>
                  <a:pt x="21" y="602"/>
                  <a:pt x="19" y="603"/>
                  <a:pt x="17" y="600"/>
                </a:cubicBezTo>
                <a:cubicBezTo>
                  <a:pt x="16" y="598"/>
                  <a:pt x="13" y="596"/>
                  <a:pt x="15" y="593"/>
                </a:cubicBezTo>
                <a:cubicBezTo>
                  <a:pt x="17" y="591"/>
                  <a:pt x="18" y="588"/>
                  <a:pt x="18" y="588"/>
                </a:cubicBezTo>
                <a:cubicBezTo>
                  <a:pt x="19" y="583"/>
                  <a:pt x="19" y="583"/>
                  <a:pt x="19" y="583"/>
                </a:cubicBezTo>
                <a:cubicBezTo>
                  <a:pt x="16" y="576"/>
                  <a:pt x="16" y="576"/>
                  <a:pt x="16" y="576"/>
                </a:cubicBezTo>
                <a:cubicBezTo>
                  <a:pt x="17" y="571"/>
                  <a:pt x="17" y="571"/>
                  <a:pt x="17" y="571"/>
                </a:cubicBezTo>
                <a:cubicBezTo>
                  <a:pt x="21" y="567"/>
                  <a:pt x="21" y="567"/>
                  <a:pt x="21" y="567"/>
                </a:cubicBezTo>
                <a:cubicBezTo>
                  <a:pt x="21" y="567"/>
                  <a:pt x="17" y="564"/>
                  <a:pt x="17" y="562"/>
                </a:cubicBezTo>
                <a:cubicBezTo>
                  <a:pt x="17" y="561"/>
                  <a:pt x="22" y="554"/>
                  <a:pt x="21" y="551"/>
                </a:cubicBezTo>
                <a:cubicBezTo>
                  <a:pt x="21" y="551"/>
                  <a:pt x="20" y="547"/>
                  <a:pt x="21" y="547"/>
                </a:cubicBezTo>
                <a:cubicBezTo>
                  <a:pt x="23" y="547"/>
                  <a:pt x="25" y="544"/>
                  <a:pt x="23" y="541"/>
                </a:cubicBezTo>
                <a:cubicBezTo>
                  <a:pt x="21" y="538"/>
                  <a:pt x="19" y="537"/>
                  <a:pt x="19" y="535"/>
                </a:cubicBezTo>
                <a:cubicBezTo>
                  <a:pt x="20" y="532"/>
                  <a:pt x="21" y="530"/>
                  <a:pt x="20" y="529"/>
                </a:cubicBezTo>
                <a:cubicBezTo>
                  <a:pt x="20" y="527"/>
                  <a:pt x="21" y="529"/>
                  <a:pt x="17" y="525"/>
                </a:cubicBezTo>
                <a:cubicBezTo>
                  <a:pt x="14" y="520"/>
                  <a:pt x="12" y="516"/>
                  <a:pt x="14" y="513"/>
                </a:cubicBezTo>
                <a:cubicBezTo>
                  <a:pt x="16" y="510"/>
                  <a:pt x="19" y="508"/>
                  <a:pt x="17" y="506"/>
                </a:cubicBezTo>
                <a:cubicBezTo>
                  <a:pt x="16" y="504"/>
                  <a:pt x="13" y="506"/>
                  <a:pt x="12" y="500"/>
                </a:cubicBezTo>
                <a:cubicBezTo>
                  <a:pt x="11" y="495"/>
                  <a:pt x="10" y="490"/>
                  <a:pt x="10" y="487"/>
                </a:cubicBezTo>
                <a:cubicBezTo>
                  <a:pt x="10" y="485"/>
                  <a:pt x="10" y="479"/>
                  <a:pt x="11" y="477"/>
                </a:cubicBezTo>
                <a:cubicBezTo>
                  <a:pt x="12" y="476"/>
                  <a:pt x="16" y="471"/>
                  <a:pt x="16" y="471"/>
                </a:cubicBezTo>
                <a:cubicBezTo>
                  <a:pt x="16" y="471"/>
                  <a:pt x="25" y="466"/>
                  <a:pt x="23" y="462"/>
                </a:cubicBezTo>
                <a:cubicBezTo>
                  <a:pt x="22" y="459"/>
                  <a:pt x="28" y="450"/>
                  <a:pt x="31" y="450"/>
                </a:cubicBezTo>
                <a:cubicBezTo>
                  <a:pt x="34" y="450"/>
                  <a:pt x="35" y="450"/>
                  <a:pt x="39" y="449"/>
                </a:cubicBezTo>
                <a:cubicBezTo>
                  <a:pt x="44" y="449"/>
                  <a:pt x="48" y="441"/>
                  <a:pt x="48" y="436"/>
                </a:cubicBezTo>
                <a:cubicBezTo>
                  <a:pt x="49" y="432"/>
                  <a:pt x="48" y="429"/>
                  <a:pt x="51" y="426"/>
                </a:cubicBezTo>
                <a:cubicBezTo>
                  <a:pt x="54" y="424"/>
                  <a:pt x="53" y="422"/>
                  <a:pt x="58" y="418"/>
                </a:cubicBezTo>
                <a:cubicBezTo>
                  <a:pt x="63" y="414"/>
                  <a:pt x="71" y="405"/>
                  <a:pt x="74" y="401"/>
                </a:cubicBezTo>
                <a:cubicBezTo>
                  <a:pt x="78" y="398"/>
                  <a:pt x="80" y="395"/>
                  <a:pt x="84" y="393"/>
                </a:cubicBezTo>
                <a:cubicBezTo>
                  <a:pt x="88" y="391"/>
                  <a:pt x="87" y="386"/>
                  <a:pt x="89" y="382"/>
                </a:cubicBezTo>
                <a:cubicBezTo>
                  <a:pt x="90" y="378"/>
                  <a:pt x="86" y="374"/>
                  <a:pt x="91" y="372"/>
                </a:cubicBezTo>
                <a:cubicBezTo>
                  <a:pt x="96" y="371"/>
                  <a:pt x="94" y="369"/>
                  <a:pt x="97" y="364"/>
                </a:cubicBezTo>
                <a:cubicBezTo>
                  <a:pt x="100" y="360"/>
                  <a:pt x="100" y="359"/>
                  <a:pt x="103" y="358"/>
                </a:cubicBezTo>
                <a:cubicBezTo>
                  <a:pt x="106" y="357"/>
                  <a:pt x="104" y="355"/>
                  <a:pt x="107" y="354"/>
                </a:cubicBezTo>
                <a:cubicBezTo>
                  <a:pt x="110" y="352"/>
                  <a:pt x="109" y="349"/>
                  <a:pt x="112" y="351"/>
                </a:cubicBezTo>
                <a:cubicBezTo>
                  <a:pt x="115" y="353"/>
                  <a:pt x="117" y="351"/>
                  <a:pt x="118" y="349"/>
                </a:cubicBezTo>
                <a:cubicBezTo>
                  <a:pt x="119" y="347"/>
                  <a:pt x="116" y="341"/>
                  <a:pt x="116" y="341"/>
                </a:cubicBezTo>
                <a:cubicBezTo>
                  <a:pt x="116" y="341"/>
                  <a:pt x="122" y="335"/>
                  <a:pt x="120" y="326"/>
                </a:cubicBezTo>
                <a:cubicBezTo>
                  <a:pt x="117" y="317"/>
                  <a:pt x="118" y="315"/>
                  <a:pt x="117" y="313"/>
                </a:cubicBezTo>
                <a:cubicBezTo>
                  <a:pt x="116" y="311"/>
                  <a:pt x="109" y="307"/>
                  <a:pt x="109" y="307"/>
                </a:cubicBezTo>
                <a:cubicBezTo>
                  <a:pt x="104" y="296"/>
                  <a:pt x="104" y="296"/>
                  <a:pt x="104" y="296"/>
                </a:cubicBezTo>
                <a:cubicBezTo>
                  <a:pt x="104" y="296"/>
                  <a:pt x="103" y="286"/>
                  <a:pt x="100" y="290"/>
                </a:cubicBezTo>
                <a:cubicBezTo>
                  <a:pt x="99" y="293"/>
                  <a:pt x="97" y="294"/>
                  <a:pt x="95" y="294"/>
                </a:cubicBezTo>
                <a:cubicBezTo>
                  <a:pt x="93" y="294"/>
                  <a:pt x="93" y="294"/>
                  <a:pt x="93" y="294"/>
                </a:cubicBezTo>
                <a:cubicBezTo>
                  <a:pt x="88" y="285"/>
                  <a:pt x="81" y="276"/>
                  <a:pt x="77" y="266"/>
                </a:cubicBezTo>
                <a:cubicBezTo>
                  <a:pt x="69" y="251"/>
                  <a:pt x="76" y="250"/>
                  <a:pt x="82" y="235"/>
                </a:cubicBezTo>
                <a:cubicBezTo>
                  <a:pt x="79" y="236"/>
                  <a:pt x="76" y="233"/>
                  <a:pt x="74" y="233"/>
                </a:cubicBezTo>
                <a:cubicBezTo>
                  <a:pt x="75" y="231"/>
                  <a:pt x="75" y="226"/>
                  <a:pt x="78" y="223"/>
                </a:cubicBezTo>
                <a:cubicBezTo>
                  <a:pt x="76" y="222"/>
                  <a:pt x="74" y="220"/>
                  <a:pt x="71" y="219"/>
                </a:cubicBezTo>
                <a:cubicBezTo>
                  <a:pt x="70" y="207"/>
                  <a:pt x="70" y="195"/>
                  <a:pt x="71" y="183"/>
                </a:cubicBezTo>
                <a:cubicBezTo>
                  <a:pt x="71" y="172"/>
                  <a:pt x="76" y="158"/>
                  <a:pt x="75" y="147"/>
                </a:cubicBezTo>
                <a:cubicBezTo>
                  <a:pt x="73" y="147"/>
                  <a:pt x="70" y="147"/>
                  <a:pt x="68" y="147"/>
                </a:cubicBezTo>
                <a:cubicBezTo>
                  <a:pt x="72" y="122"/>
                  <a:pt x="52" y="138"/>
                  <a:pt x="47" y="119"/>
                </a:cubicBezTo>
                <a:cubicBezTo>
                  <a:pt x="45" y="122"/>
                  <a:pt x="41" y="123"/>
                  <a:pt x="40" y="124"/>
                </a:cubicBezTo>
                <a:cubicBezTo>
                  <a:pt x="39" y="119"/>
                  <a:pt x="38" y="115"/>
                  <a:pt x="38" y="110"/>
                </a:cubicBezTo>
                <a:cubicBezTo>
                  <a:pt x="34" y="111"/>
                  <a:pt x="31" y="110"/>
                  <a:pt x="27" y="113"/>
                </a:cubicBezTo>
                <a:cubicBezTo>
                  <a:pt x="19" y="101"/>
                  <a:pt x="8" y="93"/>
                  <a:pt x="1" y="79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20" name="Freeform 555"/>
          <p:cNvSpPr>
            <a:spLocks/>
          </p:cNvSpPr>
          <p:nvPr userDrawn="1"/>
        </p:nvSpPr>
        <p:spPr bwMode="auto">
          <a:xfrm>
            <a:off x="6008260" y="2567388"/>
            <a:ext cx="261315" cy="603033"/>
          </a:xfrm>
          <a:custGeom>
            <a:avLst/>
            <a:gdLst>
              <a:gd name="T0" fmla="*/ 2147483646 w 280"/>
              <a:gd name="T1" fmla="*/ 2147483646 h 646"/>
              <a:gd name="T2" fmla="*/ 2147483646 w 280"/>
              <a:gd name="T3" fmla="*/ 2147483646 h 646"/>
              <a:gd name="T4" fmla="*/ 2147483646 w 280"/>
              <a:gd name="T5" fmla="*/ 2147483646 h 646"/>
              <a:gd name="T6" fmla="*/ 2147483646 w 280"/>
              <a:gd name="T7" fmla="*/ 2147483646 h 646"/>
              <a:gd name="T8" fmla="*/ 2147483646 w 280"/>
              <a:gd name="T9" fmla="*/ 2147483646 h 646"/>
              <a:gd name="T10" fmla="*/ 2147483646 w 280"/>
              <a:gd name="T11" fmla="*/ 2147483646 h 646"/>
              <a:gd name="T12" fmla="*/ 2147483646 w 280"/>
              <a:gd name="T13" fmla="*/ 2147483646 h 646"/>
              <a:gd name="T14" fmla="*/ 2147483646 w 280"/>
              <a:gd name="T15" fmla="*/ 2147483646 h 646"/>
              <a:gd name="T16" fmla="*/ 2147483646 w 280"/>
              <a:gd name="T17" fmla="*/ 2147483646 h 646"/>
              <a:gd name="T18" fmla="*/ 2147483646 w 280"/>
              <a:gd name="T19" fmla="*/ 2147483646 h 646"/>
              <a:gd name="T20" fmla="*/ 2147483646 w 280"/>
              <a:gd name="T21" fmla="*/ 2147483646 h 646"/>
              <a:gd name="T22" fmla="*/ 2147483646 w 280"/>
              <a:gd name="T23" fmla="*/ 2147483646 h 646"/>
              <a:gd name="T24" fmla="*/ 2147483646 w 280"/>
              <a:gd name="T25" fmla="*/ 2147483646 h 646"/>
              <a:gd name="T26" fmla="*/ 2147483646 w 280"/>
              <a:gd name="T27" fmla="*/ 2147483646 h 646"/>
              <a:gd name="T28" fmla="*/ 2147483646 w 280"/>
              <a:gd name="T29" fmla="*/ 2147483646 h 646"/>
              <a:gd name="T30" fmla="*/ 2147483646 w 280"/>
              <a:gd name="T31" fmla="*/ 2147483646 h 646"/>
              <a:gd name="T32" fmla="*/ 2147483646 w 280"/>
              <a:gd name="T33" fmla="*/ 2147483646 h 646"/>
              <a:gd name="T34" fmla="*/ 2147483646 w 280"/>
              <a:gd name="T35" fmla="*/ 2147483646 h 646"/>
              <a:gd name="T36" fmla="*/ 2147483646 w 280"/>
              <a:gd name="T37" fmla="*/ 2147483646 h 646"/>
              <a:gd name="T38" fmla="*/ 2147483646 w 280"/>
              <a:gd name="T39" fmla="*/ 2147483646 h 646"/>
              <a:gd name="T40" fmla="*/ 2147483646 w 280"/>
              <a:gd name="T41" fmla="*/ 2147483646 h 646"/>
              <a:gd name="T42" fmla="*/ 2147483646 w 280"/>
              <a:gd name="T43" fmla="*/ 2147483646 h 646"/>
              <a:gd name="T44" fmla="*/ 2147483646 w 280"/>
              <a:gd name="T45" fmla="*/ 2147483646 h 646"/>
              <a:gd name="T46" fmla="*/ 2147483646 w 280"/>
              <a:gd name="T47" fmla="*/ 2147483646 h 646"/>
              <a:gd name="T48" fmla="*/ 2147483646 w 280"/>
              <a:gd name="T49" fmla="*/ 2147483646 h 646"/>
              <a:gd name="T50" fmla="*/ 2147483646 w 280"/>
              <a:gd name="T51" fmla="*/ 2147483646 h 646"/>
              <a:gd name="T52" fmla="*/ 2147483646 w 280"/>
              <a:gd name="T53" fmla="*/ 2147483646 h 646"/>
              <a:gd name="T54" fmla="*/ 2147483646 w 280"/>
              <a:gd name="T55" fmla="*/ 2147483646 h 646"/>
              <a:gd name="T56" fmla="*/ 2147483646 w 280"/>
              <a:gd name="T57" fmla="*/ 2147483646 h 646"/>
              <a:gd name="T58" fmla="*/ 2147483646 w 280"/>
              <a:gd name="T59" fmla="*/ 2147483646 h 646"/>
              <a:gd name="T60" fmla="*/ 2147483646 w 280"/>
              <a:gd name="T61" fmla="*/ 2147483646 h 646"/>
              <a:gd name="T62" fmla="*/ 2147483646 w 280"/>
              <a:gd name="T63" fmla="*/ 2147483646 h 646"/>
              <a:gd name="T64" fmla="*/ 2147483646 w 280"/>
              <a:gd name="T65" fmla="*/ 2147483646 h 646"/>
              <a:gd name="T66" fmla="*/ 2147483646 w 280"/>
              <a:gd name="T67" fmla="*/ 2147483646 h 646"/>
              <a:gd name="T68" fmla="*/ 2147483646 w 280"/>
              <a:gd name="T69" fmla="*/ 2147483646 h 646"/>
              <a:gd name="T70" fmla="*/ 2147483646 w 280"/>
              <a:gd name="T71" fmla="*/ 2147483646 h 646"/>
              <a:gd name="T72" fmla="*/ 2147483646 w 280"/>
              <a:gd name="T73" fmla="*/ 2147483646 h 646"/>
              <a:gd name="T74" fmla="*/ 2147483646 w 280"/>
              <a:gd name="T75" fmla="*/ 2147483646 h 646"/>
              <a:gd name="T76" fmla="*/ 2147483646 w 280"/>
              <a:gd name="T77" fmla="*/ 2147483646 h 646"/>
              <a:gd name="T78" fmla="*/ 2147483646 w 280"/>
              <a:gd name="T79" fmla="*/ 2147483646 h 646"/>
              <a:gd name="T80" fmla="*/ 2147483646 w 280"/>
              <a:gd name="T81" fmla="*/ 2147483646 h 646"/>
              <a:gd name="T82" fmla="*/ 2147483646 w 280"/>
              <a:gd name="T83" fmla="*/ 2147483646 h 646"/>
              <a:gd name="T84" fmla="*/ 2147483646 w 280"/>
              <a:gd name="T85" fmla="*/ 2147483646 h 646"/>
              <a:gd name="T86" fmla="*/ 2147483646 w 280"/>
              <a:gd name="T87" fmla="*/ 2147483646 h 646"/>
              <a:gd name="T88" fmla="*/ 2147483646 w 280"/>
              <a:gd name="T89" fmla="*/ 2147483646 h 646"/>
              <a:gd name="T90" fmla="*/ 2147483646 w 280"/>
              <a:gd name="T91" fmla="*/ 2147483646 h 646"/>
              <a:gd name="T92" fmla="*/ 2147483646 w 280"/>
              <a:gd name="T93" fmla="*/ 2147483646 h 646"/>
              <a:gd name="T94" fmla="*/ 2147483646 w 280"/>
              <a:gd name="T95" fmla="*/ 2147483646 h 646"/>
              <a:gd name="T96" fmla="*/ 2147483646 w 280"/>
              <a:gd name="T97" fmla="*/ 2147483646 h 646"/>
              <a:gd name="T98" fmla="*/ 2147483646 w 280"/>
              <a:gd name="T99" fmla="*/ 2147483646 h 646"/>
              <a:gd name="T100" fmla="*/ 2147483646 w 280"/>
              <a:gd name="T101" fmla="*/ 2147483646 h 646"/>
              <a:gd name="T102" fmla="*/ 2147483646 w 280"/>
              <a:gd name="T103" fmla="*/ 2147483646 h 646"/>
              <a:gd name="T104" fmla="*/ 2147483646 w 280"/>
              <a:gd name="T105" fmla="*/ 2147483646 h 646"/>
              <a:gd name="T106" fmla="*/ 2147483646 w 280"/>
              <a:gd name="T107" fmla="*/ 2147483646 h 646"/>
              <a:gd name="T108" fmla="*/ 2147483646 w 280"/>
              <a:gd name="T109" fmla="*/ 2147483646 h 646"/>
              <a:gd name="T110" fmla="*/ 2147483646 w 280"/>
              <a:gd name="T111" fmla="*/ 2147483646 h 646"/>
              <a:gd name="T112" fmla="*/ 2147483646 w 280"/>
              <a:gd name="T113" fmla="*/ 2147483646 h 646"/>
              <a:gd name="T114" fmla="*/ 2147483646 w 280"/>
              <a:gd name="T115" fmla="*/ 2147483646 h 646"/>
              <a:gd name="T116" fmla="*/ 2147483646 w 280"/>
              <a:gd name="T117" fmla="*/ 2147483646 h 646"/>
              <a:gd name="T118" fmla="*/ 2147483646 w 280"/>
              <a:gd name="T119" fmla="*/ 2147483646 h 646"/>
              <a:gd name="T120" fmla="*/ 2147483646 w 280"/>
              <a:gd name="T121" fmla="*/ 2147483646 h 646"/>
              <a:gd name="T122" fmla="*/ 2147483646 w 280"/>
              <a:gd name="T123" fmla="*/ 2147483646 h 646"/>
              <a:gd name="T124" fmla="*/ 2147483646 w 280"/>
              <a:gd name="T125" fmla="*/ 2147483646 h 64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80"/>
              <a:gd name="T190" fmla="*/ 0 h 646"/>
              <a:gd name="T191" fmla="*/ 280 w 280"/>
              <a:gd name="T192" fmla="*/ 646 h 64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80" h="646">
                <a:moveTo>
                  <a:pt x="0" y="73"/>
                </a:moveTo>
                <a:cubicBezTo>
                  <a:pt x="1" y="74"/>
                  <a:pt x="3" y="76"/>
                  <a:pt x="4" y="79"/>
                </a:cubicBezTo>
                <a:cubicBezTo>
                  <a:pt x="6" y="73"/>
                  <a:pt x="4" y="67"/>
                  <a:pt x="7" y="61"/>
                </a:cubicBezTo>
                <a:cubicBezTo>
                  <a:pt x="26" y="64"/>
                  <a:pt x="26" y="92"/>
                  <a:pt x="40" y="101"/>
                </a:cubicBezTo>
                <a:cubicBezTo>
                  <a:pt x="53" y="109"/>
                  <a:pt x="75" y="91"/>
                  <a:pt x="78" y="103"/>
                </a:cubicBezTo>
                <a:cubicBezTo>
                  <a:pt x="82" y="103"/>
                  <a:pt x="86" y="102"/>
                  <a:pt x="89" y="98"/>
                </a:cubicBezTo>
                <a:cubicBezTo>
                  <a:pt x="94" y="103"/>
                  <a:pt x="97" y="111"/>
                  <a:pt x="102" y="117"/>
                </a:cubicBezTo>
                <a:cubicBezTo>
                  <a:pt x="105" y="110"/>
                  <a:pt x="107" y="101"/>
                  <a:pt x="111" y="95"/>
                </a:cubicBezTo>
                <a:cubicBezTo>
                  <a:pt x="114" y="91"/>
                  <a:pt x="123" y="85"/>
                  <a:pt x="123" y="83"/>
                </a:cubicBezTo>
                <a:cubicBezTo>
                  <a:pt x="126" y="77"/>
                  <a:pt x="121" y="74"/>
                  <a:pt x="122" y="69"/>
                </a:cubicBezTo>
                <a:cubicBezTo>
                  <a:pt x="124" y="63"/>
                  <a:pt x="129" y="58"/>
                  <a:pt x="134" y="53"/>
                </a:cubicBezTo>
                <a:cubicBezTo>
                  <a:pt x="133" y="50"/>
                  <a:pt x="129" y="44"/>
                  <a:pt x="129" y="40"/>
                </a:cubicBezTo>
                <a:cubicBezTo>
                  <a:pt x="128" y="32"/>
                  <a:pt x="130" y="34"/>
                  <a:pt x="132" y="26"/>
                </a:cubicBezTo>
                <a:cubicBezTo>
                  <a:pt x="137" y="13"/>
                  <a:pt x="140" y="10"/>
                  <a:pt x="152" y="7"/>
                </a:cubicBezTo>
                <a:cubicBezTo>
                  <a:pt x="161" y="5"/>
                  <a:pt x="167" y="0"/>
                  <a:pt x="175" y="4"/>
                </a:cubicBezTo>
                <a:cubicBezTo>
                  <a:pt x="188" y="11"/>
                  <a:pt x="186" y="21"/>
                  <a:pt x="205" y="16"/>
                </a:cubicBezTo>
                <a:cubicBezTo>
                  <a:pt x="212" y="28"/>
                  <a:pt x="211" y="30"/>
                  <a:pt x="208" y="43"/>
                </a:cubicBezTo>
                <a:cubicBezTo>
                  <a:pt x="205" y="52"/>
                  <a:pt x="201" y="59"/>
                  <a:pt x="204" y="69"/>
                </a:cubicBezTo>
                <a:cubicBezTo>
                  <a:pt x="205" y="71"/>
                  <a:pt x="205" y="71"/>
                  <a:pt x="205" y="71"/>
                </a:cubicBezTo>
                <a:cubicBezTo>
                  <a:pt x="204" y="72"/>
                  <a:pt x="204" y="72"/>
                  <a:pt x="204" y="72"/>
                </a:cubicBezTo>
                <a:cubicBezTo>
                  <a:pt x="199" y="75"/>
                  <a:pt x="195" y="78"/>
                  <a:pt x="191" y="84"/>
                </a:cubicBezTo>
                <a:cubicBezTo>
                  <a:pt x="183" y="95"/>
                  <a:pt x="186" y="102"/>
                  <a:pt x="187" y="116"/>
                </a:cubicBezTo>
                <a:cubicBezTo>
                  <a:pt x="199" y="123"/>
                  <a:pt x="223" y="147"/>
                  <a:pt x="230" y="160"/>
                </a:cubicBezTo>
                <a:cubicBezTo>
                  <a:pt x="236" y="170"/>
                  <a:pt x="232" y="171"/>
                  <a:pt x="225" y="183"/>
                </a:cubicBezTo>
                <a:cubicBezTo>
                  <a:pt x="221" y="190"/>
                  <a:pt x="217" y="196"/>
                  <a:pt x="219" y="204"/>
                </a:cubicBezTo>
                <a:cubicBezTo>
                  <a:pt x="190" y="217"/>
                  <a:pt x="231" y="267"/>
                  <a:pt x="237" y="284"/>
                </a:cubicBezTo>
                <a:cubicBezTo>
                  <a:pt x="241" y="297"/>
                  <a:pt x="238" y="290"/>
                  <a:pt x="234" y="303"/>
                </a:cubicBezTo>
                <a:cubicBezTo>
                  <a:pt x="232" y="310"/>
                  <a:pt x="235" y="312"/>
                  <a:pt x="232" y="319"/>
                </a:cubicBezTo>
                <a:cubicBezTo>
                  <a:pt x="229" y="328"/>
                  <a:pt x="226" y="328"/>
                  <a:pt x="225" y="337"/>
                </a:cubicBezTo>
                <a:cubicBezTo>
                  <a:pt x="225" y="346"/>
                  <a:pt x="227" y="356"/>
                  <a:pt x="227" y="365"/>
                </a:cubicBezTo>
                <a:cubicBezTo>
                  <a:pt x="231" y="367"/>
                  <a:pt x="236" y="368"/>
                  <a:pt x="241" y="367"/>
                </a:cubicBezTo>
                <a:cubicBezTo>
                  <a:pt x="244" y="377"/>
                  <a:pt x="242" y="381"/>
                  <a:pt x="236" y="388"/>
                </a:cubicBezTo>
                <a:cubicBezTo>
                  <a:pt x="239" y="388"/>
                  <a:pt x="242" y="390"/>
                  <a:pt x="245" y="391"/>
                </a:cubicBezTo>
                <a:cubicBezTo>
                  <a:pt x="245" y="397"/>
                  <a:pt x="246" y="398"/>
                  <a:pt x="250" y="402"/>
                </a:cubicBezTo>
                <a:cubicBezTo>
                  <a:pt x="243" y="406"/>
                  <a:pt x="239" y="413"/>
                  <a:pt x="245" y="419"/>
                </a:cubicBezTo>
                <a:cubicBezTo>
                  <a:pt x="241" y="421"/>
                  <a:pt x="239" y="424"/>
                  <a:pt x="236" y="427"/>
                </a:cubicBezTo>
                <a:cubicBezTo>
                  <a:pt x="239" y="432"/>
                  <a:pt x="248" y="433"/>
                  <a:pt x="248" y="441"/>
                </a:cubicBezTo>
                <a:cubicBezTo>
                  <a:pt x="260" y="448"/>
                  <a:pt x="270" y="453"/>
                  <a:pt x="275" y="467"/>
                </a:cubicBezTo>
                <a:cubicBezTo>
                  <a:pt x="280" y="483"/>
                  <a:pt x="270" y="496"/>
                  <a:pt x="261" y="509"/>
                </a:cubicBezTo>
                <a:cubicBezTo>
                  <a:pt x="253" y="520"/>
                  <a:pt x="243" y="533"/>
                  <a:pt x="233" y="541"/>
                </a:cubicBezTo>
                <a:cubicBezTo>
                  <a:pt x="226" y="548"/>
                  <a:pt x="204" y="553"/>
                  <a:pt x="213" y="566"/>
                </a:cubicBezTo>
                <a:cubicBezTo>
                  <a:pt x="201" y="571"/>
                  <a:pt x="184" y="587"/>
                  <a:pt x="181" y="601"/>
                </a:cubicBezTo>
                <a:cubicBezTo>
                  <a:pt x="180" y="601"/>
                  <a:pt x="180" y="601"/>
                  <a:pt x="180" y="601"/>
                </a:cubicBezTo>
                <a:cubicBezTo>
                  <a:pt x="179" y="603"/>
                  <a:pt x="178" y="604"/>
                  <a:pt x="177" y="605"/>
                </a:cubicBezTo>
                <a:cubicBezTo>
                  <a:pt x="175" y="606"/>
                  <a:pt x="174" y="607"/>
                  <a:pt x="169" y="605"/>
                </a:cubicBezTo>
                <a:cubicBezTo>
                  <a:pt x="164" y="603"/>
                  <a:pt x="163" y="600"/>
                  <a:pt x="157" y="604"/>
                </a:cubicBezTo>
                <a:cubicBezTo>
                  <a:pt x="152" y="609"/>
                  <a:pt x="150" y="607"/>
                  <a:pt x="146" y="608"/>
                </a:cubicBezTo>
                <a:cubicBezTo>
                  <a:pt x="142" y="610"/>
                  <a:pt x="149" y="609"/>
                  <a:pt x="139" y="612"/>
                </a:cubicBezTo>
                <a:cubicBezTo>
                  <a:pt x="129" y="614"/>
                  <a:pt x="127" y="613"/>
                  <a:pt x="125" y="617"/>
                </a:cubicBezTo>
                <a:cubicBezTo>
                  <a:pt x="124" y="620"/>
                  <a:pt x="122" y="623"/>
                  <a:pt x="116" y="623"/>
                </a:cubicBezTo>
                <a:cubicBezTo>
                  <a:pt x="110" y="624"/>
                  <a:pt x="109" y="619"/>
                  <a:pt x="107" y="623"/>
                </a:cubicBezTo>
                <a:cubicBezTo>
                  <a:pt x="105" y="626"/>
                  <a:pt x="102" y="621"/>
                  <a:pt x="100" y="624"/>
                </a:cubicBezTo>
                <a:cubicBezTo>
                  <a:pt x="99" y="628"/>
                  <a:pt x="99" y="627"/>
                  <a:pt x="95" y="630"/>
                </a:cubicBezTo>
                <a:cubicBezTo>
                  <a:pt x="92" y="633"/>
                  <a:pt x="85" y="636"/>
                  <a:pt x="84" y="634"/>
                </a:cubicBezTo>
                <a:cubicBezTo>
                  <a:pt x="82" y="633"/>
                  <a:pt x="81" y="625"/>
                  <a:pt x="79" y="630"/>
                </a:cubicBezTo>
                <a:cubicBezTo>
                  <a:pt x="77" y="634"/>
                  <a:pt x="76" y="638"/>
                  <a:pt x="73" y="635"/>
                </a:cubicBezTo>
                <a:cubicBezTo>
                  <a:pt x="70" y="633"/>
                  <a:pt x="68" y="634"/>
                  <a:pt x="68" y="634"/>
                </a:cubicBezTo>
                <a:cubicBezTo>
                  <a:pt x="68" y="634"/>
                  <a:pt x="65" y="646"/>
                  <a:pt x="60" y="642"/>
                </a:cubicBezTo>
                <a:cubicBezTo>
                  <a:pt x="56" y="638"/>
                  <a:pt x="65" y="635"/>
                  <a:pt x="61" y="634"/>
                </a:cubicBezTo>
                <a:cubicBezTo>
                  <a:pt x="57" y="633"/>
                  <a:pt x="51" y="637"/>
                  <a:pt x="51" y="634"/>
                </a:cubicBezTo>
                <a:cubicBezTo>
                  <a:pt x="51" y="631"/>
                  <a:pt x="49" y="626"/>
                  <a:pt x="53" y="625"/>
                </a:cubicBezTo>
                <a:cubicBezTo>
                  <a:pt x="57" y="624"/>
                  <a:pt x="55" y="623"/>
                  <a:pt x="58" y="621"/>
                </a:cubicBezTo>
                <a:cubicBezTo>
                  <a:pt x="60" y="618"/>
                  <a:pt x="59" y="617"/>
                  <a:pt x="60" y="615"/>
                </a:cubicBezTo>
                <a:cubicBezTo>
                  <a:pt x="61" y="613"/>
                  <a:pt x="61" y="611"/>
                  <a:pt x="61" y="611"/>
                </a:cubicBezTo>
                <a:cubicBezTo>
                  <a:pt x="54" y="616"/>
                  <a:pt x="54" y="616"/>
                  <a:pt x="54" y="616"/>
                </a:cubicBezTo>
                <a:cubicBezTo>
                  <a:pt x="54" y="616"/>
                  <a:pt x="47" y="616"/>
                  <a:pt x="46" y="613"/>
                </a:cubicBezTo>
                <a:cubicBezTo>
                  <a:pt x="45" y="609"/>
                  <a:pt x="45" y="606"/>
                  <a:pt x="42" y="607"/>
                </a:cubicBezTo>
                <a:cubicBezTo>
                  <a:pt x="39" y="607"/>
                  <a:pt x="36" y="608"/>
                  <a:pt x="34" y="606"/>
                </a:cubicBezTo>
                <a:cubicBezTo>
                  <a:pt x="31" y="604"/>
                  <a:pt x="35" y="601"/>
                  <a:pt x="31" y="601"/>
                </a:cubicBezTo>
                <a:cubicBezTo>
                  <a:pt x="26" y="601"/>
                  <a:pt x="26" y="598"/>
                  <a:pt x="23" y="600"/>
                </a:cubicBezTo>
                <a:cubicBezTo>
                  <a:pt x="21" y="602"/>
                  <a:pt x="19" y="603"/>
                  <a:pt x="17" y="600"/>
                </a:cubicBezTo>
                <a:cubicBezTo>
                  <a:pt x="16" y="598"/>
                  <a:pt x="13" y="596"/>
                  <a:pt x="15" y="593"/>
                </a:cubicBezTo>
                <a:cubicBezTo>
                  <a:pt x="17" y="591"/>
                  <a:pt x="18" y="588"/>
                  <a:pt x="18" y="588"/>
                </a:cubicBezTo>
                <a:cubicBezTo>
                  <a:pt x="19" y="583"/>
                  <a:pt x="19" y="583"/>
                  <a:pt x="19" y="583"/>
                </a:cubicBezTo>
                <a:cubicBezTo>
                  <a:pt x="16" y="576"/>
                  <a:pt x="16" y="576"/>
                  <a:pt x="16" y="576"/>
                </a:cubicBezTo>
                <a:cubicBezTo>
                  <a:pt x="17" y="571"/>
                  <a:pt x="17" y="571"/>
                  <a:pt x="17" y="571"/>
                </a:cubicBezTo>
                <a:cubicBezTo>
                  <a:pt x="21" y="567"/>
                  <a:pt x="21" y="567"/>
                  <a:pt x="21" y="567"/>
                </a:cubicBezTo>
                <a:cubicBezTo>
                  <a:pt x="21" y="567"/>
                  <a:pt x="17" y="564"/>
                  <a:pt x="17" y="562"/>
                </a:cubicBezTo>
                <a:cubicBezTo>
                  <a:pt x="17" y="561"/>
                  <a:pt x="22" y="554"/>
                  <a:pt x="21" y="551"/>
                </a:cubicBezTo>
                <a:cubicBezTo>
                  <a:pt x="21" y="551"/>
                  <a:pt x="20" y="547"/>
                  <a:pt x="21" y="547"/>
                </a:cubicBezTo>
                <a:cubicBezTo>
                  <a:pt x="23" y="547"/>
                  <a:pt x="25" y="544"/>
                  <a:pt x="23" y="541"/>
                </a:cubicBezTo>
                <a:cubicBezTo>
                  <a:pt x="21" y="538"/>
                  <a:pt x="19" y="537"/>
                  <a:pt x="19" y="535"/>
                </a:cubicBezTo>
                <a:cubicBezTo>
                  <a:pt x="20" y="532"/>
                  <a:pt x="21" y="530"/>
                  <a:pt x="20" y="529"/>
                </a:cubicBezTo>
                <a:cubicBezTo>
                  <a:pt x="20" y="527"/>
                  <a:pt x="21" y="529"/>
                  <a:pt x="17" y="525"/>
                </a:cubicBezTo>
                <a:cubicBezTo>
                  <a:pt x="14" y="520"/>
                  <a:pt x="12" y="516"/>
                  <a:pt x="14" y="513"/>
                </a:cubicBezTo>
                <a:cubicBezTo>
                  <a:pt x="16" y="510"/>
                  <a:pt x="19" y="508"/>
                  <a:pt x="17" y="506"/>
                </a:cubicBezTo>
                <a:cubicBezTo>
                  <a:pt x="16" y="504"/>
                  <a:pt x="13" y="506"/>
                  <a:pt x="12" y="500"/>
                </a:cubicBezTo>
                <a:cubicBezTo>
                  <a:pt x="11" y="495"/>
                  <a:pt x="10" y="490"/>
                  <a:pt x="10" y="487"/>
                </a:cubicBezTo>
                <a:cubicBezTo>
                  <a:pt x="10" y="485"/>
                  <a:pt x="10" y="479"/>
                  <a:pt x="11" y="477"/>
                </a:cubicBezTo>
                <a:cubicBezTo>
                  <a:pt x="12" y="476"/>
                  <a:pt x="16" y="471"/>
                  <a:pt x="16" y="471"/>
                </a:cubicBezTo>
                <a:cubicBezTo>
                  <a:pt x="16" y="471"/>
                  <a:pt x="25" y="466"/>
                  <a:pt x="23" y="462"/>
                </a:cubicBezTo>
                <a:cubicBezTo>
                  <a:pt x="22" y="459"/>
                  <a:pt x="28" y="450"/>
                  <a:pt x="31" y="450"/>
                </a:cubicBezTo>
                <a:cubicBezTo>
                  <a:pt x="34" y="450"/>
                  <a:pt x="35" y="450"/>
                  <a:pt x="39" y="449"/>
                </a:cubicBezTo>
                <a:cubicBezTo>
                  <a:pt x="44" y="449"/>
                  <a:pt x="48" y="441"/>
                  <a:pt x="48" y="436"/>
                </a:cubicBezTo>
                <a:cubicBezTo>
                  <a:pt x="49" y="432"/>
                  <a:pt x="48" y="429"/>
                  <a:pt x="51" y="426"/>
                </a:cubicBezTo>
                <a:cubicBezTo>
                  <a:pt x="54" y="424"/>
                  <a:pt x="53" y="422"/>
                  <a:pt x="58" y="418"/>
                </a:cubicBezTo>
                <a:cubicBezTo>
                  <a:pt x="63" y="414"/>
                  <a:pt x="71" y="405"/>
                  <a:pt x="74" y="401"/>
                </a:cubicBezTo>
                <a:cubicBezTo>
                  <a:pt x="78" y="398"/>
                  <a:pt x="80" y="395"/>
                  <a:pt x="84" y="393"/>
                </a:cubicBezTo>
                <a:cubicBezTo>
                  <a:pt x="88" y="391"/>
                  <a:pt x="87" y="386"/>
                  <a:pt x="89" y="382"/>
                </a:cubicBezTo>
                <a:cubicBezTo>
                  <a:pt x="90" y="378"/>
                  <a:pt x="86" y="374"/>
                  <a:pt x="91" y="372"/>
                </a:cubicBezTo>
                <a:cubicBezTo>
                  <a:pt x="96" y="371"/>
                  <a:pt x="94" y="369"/>
                  <a:pt x="97" y="364"/>
                </a:cubicBezTo>
                <a:cubicBezTo>
                  <a:pt x="100" y="360"/>
                  <a:pt x="100" y="359"/>
                  <a:pt x="103" y="358"/>
                </a:cubicBezTo>
                <a:cubicBezTo>
                  <a:pt x="106" y="357"/>
                  <a:pt x="104" y="355"/>
                  <a:pt x="107" y="354"/>
                </a:cubicBezTo>
                <a:cubicBezTo>
                  <a:pt x="110" y="352"/>
                  <a:pt x="109" y="349"/>
                  <a:pt x="112" y="351"/>
                </a:cubicBezTo>
                <a:cubicBezTo>
                  <a:pt x="115" y="353"/>
                  <a:pt x="117" y="351"/>
                  <a:pt x="118" y="349"/>
                </a:cubicBezTo>
                <a:cubicBezTo>
                  <a:pt x="119" y="347"/>
                  <a:pt x="116" y="341"/>
                  <a:pt x="116" y="341"/>
                </a:cubicBezTo>
                <a:cubicBezTo>
                  <a:pt x="116" y="341"/>
                  <a:pt x="122" y="335"/>
                  <a:pt x="120" y="326"/>
                </a:cubicBezTo>
                <a:cubicBezTo>
                  <a:pt x="117" y="317"/>
                  <a:pt x="118" y="315"/>
                  <a:pt x="117" y="313"/>
                </a:cubicBezTo>
                <a:cubicBezTo>
                  <a:pt x="116" y="311"/>
                  <a:pt x="109" y="307"/>
                  <a:pt x="109" y="307"/>
                </a:cubicBezTo>
                <a:cubicBezTo>
                  <a:pt x="104" y="296"/>
                  <a:pt x="104" y="296"/>
                  <a:pt x="104" y="296"/>
                </a:cubicBezTo>
                <a:cubicBezTo>
                  <a:pt x="104" y="296"/>
                  <a:pt x="103" y="286"/>
                  <a:pt x="100" y="290"/>
                </a:cubicBezTo>
                <a:cubicBezTo>
                  <a:pt x="99" y="293"/>
                  <a:pt x="97" y="294"/>
                  <a:pt x="95" y="294"/>
                </a:cubicBezTo>
                <a:cubicBezTo>
                  <a:pt x="93" y="294"/>
                  <a:pt x="93" y="294"/>
                  <a:pt x="93" y="294"/>
                </a:cubicBezTo>
                <a:cubicBezTo>
                  <a:pt x="88" y="285"/>
                  <a:pt x="81" y="276"/>
                  <a:pt x="77" y="266"/>
                </a:cubicBezTo>
                <a:cubicBezTo>
                  <a:pt x="69" y="251"/>
                  <a:pt x="76" y="250"/>
                  <a:pt x="82" y="235"/>
                </a:cubicBezTo>
                <a:cubicBezTo>
                  <a:pt x="79" y="236"/>
                  <a:pt x="76" y="233"/>
                  <a:pt x="74" y="233"/>
                </a:cubicBezTo>
                <a:cubicBezTo>
                  <a:pt x="75" y="231"/>
                  <a:pt x="75" y="226"/>
                  <a:pt x="78" y="223"/>
                </a:cubicBezTo>
                <a:cubicBezTo>
                  <a:pt x="76" y="222"/>
                  <a:pt x="74" y="220"/>
                  <a:pt x="71" y="219"/>
                </a:cubicBezTo>
                <a:cubicBezTo>
                  <a:pt x="70" y="207"/>
                  <a:pt x="70" y="195"/>
                  <a:pt x="71" y="183"/>
                </a:cubicBezTo>
                <a:cubicBezTo>
                  <a:pt x="71" y="172"/>
                  <a:pt x="76" y="158"/>
                  <a:pt x="75" y="147"/>
                </a:cubicBezTo>
                <a:cubicBezTo>
                  <a:pt x="73" y="147"/>
                  <a:pt x="70" y="147"/>
                  <a:pt x="68" y="147"/>
                </a:cubicBezTo>
                <a:cubicBezTo>
                  <a:pt x="72" y="122"/>
                  <a:pt x="52" y="138"/>
                  <a:pt x="47" y="119"/>
                </a:cubicBezTo>
                <a:cubicBezTo>
                  <a:pt x="45" y="122"/>
                  <a:pt x="41" y="123"/>
                  <a:pt x="40" y="124"/>
                </a:cubicBezTo>
                <a:cubicBezTo>
                  <a:pt x="39" y="119"/>
                  <a:pt x="38" y="115"/>
                  <a:pt x="38" y="110"/>
                </a:cubicBezTo>
                <a:cubicBezTo>
                  <a:pt x="34" y="111"/>
                  <a:pt x="31" y="110"/>
                  <a:pt x="27" y="113"/>
                </a:cubicBezTo>
                <a:cubicBezTo>
                  <a:pt x="19" y="101"/>
                  <a:pt x="8" y="93"/>
                  <a:pt x="1" y="79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21" name="Freeform 556"/>
          <p:cNvSpPr>
            <a:spLocks/>
          </p:cNvSpPr>
          <p:nvPr userDrawn="1"/>
        </p:nvSpPr>
        <p:spPr bwMode="auto">
          <a:xfrm>
            <a:off x="6738601" y="2213943"/>
            <a:ext cx="447249" cy="375221"/>
          </a:xfrm>
          <a:custGeom>
            <a:avLst/>
            <a:gdLst>
              <a:gd name="T0" fmla="*/ 2147483646 w 480"/>
              <a:gd name="T1" fmla="*/ 2147483646 h 402"/>
              <a:gd name="T2" fmla="*/ 2147483646 w 480"/>
              <a:gd name="T3" fmla="*/ 2147483646 h 402"/>
              <a:gd name="T4" fmla="*/ 2147483646 w 480"/>
              <a:gd name="T5" fmla="*/ 2147483646 h 402"/>
              <a:gd name="T6" fmla="*/ 2147483646 w 480"/>
              <a:gd name="T7" fmla="*/ 2147483646 h 402"/>
              <a:gd name="T8" fmla="*/ 2147483646 w 480"/>
              <a:gd name="T9" fmla="*/ 2147483646 h 402"/>
              <a:gd name="T10" fmla="*/ 2147483646 w 480"/>
              <a:gd name="T11" fmla="*/ 2147483646 h 402"/>
              <a:gd name="T12" fmla="*/ 2147483646 w 480"/>
              <a:gd name="T13" fmla="*/ 2147483646 h 402"/>
              <a:gd name="T14" fmla="*/ 2147483646 w 480"/>
              <a:gd name="T15" fmla="*/ 2147483646 h 402"/>
              <a:gd name="T16" fmla="*/ 2147483646 w 480"/>
              <a:gd name="T17" fmla="*/ 2147483646 h 402"/>
              <a:gd name="T18" fmla="*/ 2147483646 w 480"/>
              <a:gd name="T19" fmla="*/ 2147483646 h 402"/>
              <a:gd name="T20" fmla="*/ 2147483646 w 480"/>
              <a:gd name="T21" fmla="*/ 2147483646 h 402"/>
              <a:gd name="T22" fmla="*/ 2147483646 w 480"/>
              <a:gd name="T23" fmla="*/ 2147483646 h 402"/>
              <a:gd name="T24" fmla="*/ 2147483646 w 480"/>
              <a:gd name="T25" fmla="*/ 2147483646 h 402"/>
              <a:gd name="T26" fmla="*/ 2147483646 w 480"/>
              <a:gd name="T27" fmla="*/ 2147483646 h 402"/>
              <a:gd name="T28" fmla="*/ 2147483646 w 480"/>
              <a:gd name="T29" fmla="*/ 2147483646 h 402"/>
              <a:gd name="T30" fmla="*/ 2147483646 w 480"/>
              <a:gd name="T31" fmla="*/ 2147483646 h 402"/>
              <a:gd name="T32" fmla="*/ 2147483646 w 480"/>
              <a:gd name="T33" fmla="*/ 2147483646 h 402"/>
              <a:gd name="T34" fmla="*/ 2147483646 w 480"/>
              <a:gd name="T35" fmla="*/ 2147483646 h 402"/>
              <a:gd name="T36" fmla="*/ 2147483646 w 480"/>
              <a:gd name="T37" fmla="*/ 2147483646 h 402"/>
              <a:gd name="T38" fmla="*/ 2147483646 w 480"/>
              <a:gd name="T39" fmla="*/ 2147483646 h 402"/>
              <a:gd name="T40" fmla="*/ 2147483646 w 480"/>
              <a:gd name="T41" fmla="*/ 2147483646 h 402"/>
              <a:gd name="T42" fmla="*/ 2147483646 w 480"/>
              <a:gd name="T43" fmla="*/ 2147483646 h 402"/>
              <a:gd name="T44" fmla="*/ 2147483646 w 480"/>
              <a:gd name="T45" fmla="*/ 2147483646 h 402"/>
              <a:gd name="T46" fmla="*/ 2147483646 w 480"/>
              <a:gd name="T47" fmla="*/ 2147483646 h 402"/>
              <a:gd name="T48" fmla="*/ 2147483646 w 480"/>
              <a:gd name="T49" fmla="*/ 2147483646 h 402"/>
              <a:gd name="T50" fmla="*/ 2147483646 w 480"/>
              <a:gd name="T51" fmla="*/ 2147483646 h 402"/>
              <a:gd name="T52" fmla="*/ 2147483646 w 480"/>
              <a:gd name="T53" fmla="*/ 2147483646 h 402"/>
              <a:gd name="T54" fmla="*/ 2147483646 w 480"/>
              <a:gd name="T55" fmla="*/ 2147483646 h 402"/>
              <a:gd name="T56" fmla="*/ 2147483646 w 480"/>
              <a:gd name="T57" fmla="*/ 2147483646 h 402"/>
              <a:gd name="T58" fmla="*/ 2147483646 w 480"/>
              <a:gd name="T59" fmla="*/ 2147483646 h 402"/>
              <a:gd name="T60" fmla="*/ 2147483646 w 480"/>
              <a:gd name="T61" fmla="*/ 2147483646 h 402"/>
              <a:gd name="T62" fmla="*/ 2147483646 w 480"/>
              <a:gd name="T63" fmla="*/ 2147483646 h 402"/>
              <a:gd name="T64" fmla="*/ 2147483646 w 480"/>
              <a:gd name="T65" fmla="*/ 2147483646 h 40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80"/>
              <a:gd name="T100" fmla="*/ 0 h 402"/>
              <a:gd name="T101" fmla="*/ 480 w 480"/>
              <a:gd name="T102" fmla="*/ 402 h 402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80" h="402">
                <a:moveTo>
                  <a:pt x="127" y="227"/>
                </a:moveTo>
                <a:cubicBezTo>
                  <a:pt x="127" y="227"/>
                  <a:pt x="131" y="239"/>
                  <a:pt x="120" y="251"/>
                </a:cubicBezTo>
                <a:cubicBezTo>
                  <a:pt x="109" y="263"/>
                  <a:pt x="104" y="268"/>
                  <a:pt x="96" y="284"/>
                </a:cubicBezTo>
                <a:cubicBezTo>
                  <a:pt x="89" y="301"/>
                  <a:pt x="79" y="317"/>
                  <a:pt x="84" y="334"/>
                </a:cubicBezTo>
                <a:cubicBezTo>
                  <a:pt x="88" y="352"/>
                  <a:pt x="116" y="402"/>
                  <a:pt x="97" y="401"/>
                </a:cubicBezTo>
                <a:cubicBezTo>
                  <a:pt x="79" y="399"/>
                  <a:pt x="87" y="391"/>
                  <a:pt x="70" y="394"/>
                </a:cubicBezTo>
                <a:cubicBezTo>
                  <a:pt x="53" y="397"/>
                  <a:pt x="35" y="398"/>
                  <a:pt x="31" y="391"/>
                </a:cubicBezTo>
                <a:cubicBezTo>
                  <a:pt x="26" y="384"/>
                  <a:pt x="19" y="383"/>
                  <a:pt x="26" y="375"/>
                </a:cubicBezTo>
                <a:cubicBezTo>
                  <a:pt x="32" y="367"/>
                  <a:pt x="31" y="365"/>
                  <a:pt x="38" y="366"/>
                </a:cubicBezTo>
                <a:cubicBezTo>
                  <a:pt x="45" y="366"/>
                  <a:pt x="40" y="354"/>
                  <a:pt x="40" y="354"/>
                </a:cubicBezTo>
                <a:cubicBezTo>
                  <a:pt x="33" y="345"/>
                  <a:pt x="30" y="338"/>
                  <a:pt x="37" y="339"/>
                </a:cubicBezTo>
                <a:cubicBezTo>
                  <a:pt x="44" y="339"/>
                  <a:pt x="53" y="323"/>
                  <a:pt x="44" y="327"/>
                </a:cubicBezTo>
                <a:cubicBezTo>
                  <a:pt x="36" y="331"/>
                  <a:pt x="44" y="329"/>
                  <a:pt x="36" y="331"/>
                </a:cubicBezTo>
                <a:cubicBezTo>
                  <a:pt x="28" y="334"/>
                  <a:pt x="40" y="344"/>
                  <a:pt x="31" y="330"/>
                </a:cubicBezTo>
                <a:cubicBezTo>
                  <a:pt x="22" y="316"/>
                  <a:pt x="33" y="318"/>
                  <a:pt x="22" y="316"/>
                </a:cubicBezTo>
                <a:cubicBezTo>
                  <a:pt x="11" y="314"/>
                  <a:pt x="7" y="313"/>
                  <a:pt x="6" y="307"/>
                </a:cubicBezTo>
                <a:cubicBezTo>
                  <a:pt x="2" y="283"/>
                  <a:pt x="0" y="275"/>
                  <a:pt x="9" y="278"/>
                </a:cubicBezTo>
                <a:cubicBezTo>
                  <a:pt x="18" y="282"/>
                  <a:pt x="16" y="279"/>
                  <a:pt x="22" y="277"/>
                </a:cubicBezTo>
                <a:cubicBezTo>
                  <a:pt x="27" y="276"/>
                  <a:pt x="27" y="273"/>
                  <a:pt x="30" y="268"/>
                </a:cubicBezTo>
                <a:cubicBezTo>
                  <a:pt x="38" y="255"/>
                  <a:pt x="40" y="256"/>
                  <a:pt x="41" y="262"/>
                </a:cubicBezTo>
                <a:cubicBezTo>
                  <a:pt x="50" y="252"/>
                  <a:pt x="50" y="252"/>
                  <a:pt x="50" y="252"/>
                </a:cubicBezTo>
                <a:cubicBezTo>
                  <a:pt x="50" y="252"/>
                  <a:pt x="51" y="225"/>
                  <a:pt x="56" y="234"/>
                </a:cubicBezTo>
                <a:cubicBezTo>
                  <a:pt x="62" y="243"/>
                  <a:pt x="68" y="236"/>
                  <a:pt x="68" y="236"/>
                </a:cubicBezTo>
                <a:cubicBezTo>
                  <a:pt x="68" y="236"/>
                  <a:pt x="54" y="229"/>
                  <a:pt x="56" y="225"/>
                </a:cubicBezTo>
                <a:cubicBezTo>
                  <a:pt x="58" y="220"/>
                  <a:pt x="64" y="207"/>
                  <a:pt x="69" y="213"/>
                </a:cubicBezTo>
                <a:cubicBezTo>
                  <a:pt x="73" y="220"/>
                  <a:pt x="77" y="206"/>
                  <a:pt x="80" y="217"/>
                </a:cubicBezTo>
                <a:cubicBezTo>
                  <a:pt x="83" y="229"/>
                  <a:pt x="78" y="226"/>
                  <a:pt x="87" y="225"/>
                </a:cubicBezTo>
                <a:cubicBezTo>
                  <a:pt x="96" y="225"/>
                  <a:pt x="102" y="213"/>
                  <a:pt x="102" y="213"/>
                </a:cubicBezTo>
                <a:cubicBezTo>
                  <a:pt x="114" y="203"/>
                  <a:pt x="111" y="193"/>
                  <a:pt x="116" y="195"/>
                </a:cubicBezTo>
                <a:cubicBezTo>
                  <a:pt x="120" y="197"/>
                  <a:pt x="141" y="183"/>
                  <a:pt x="133" y="180"/>
                </a:cubicBezTo>
                <a:cubicBezTo>
                  <a:pt x="125" y="177"/>
                  <a:pt x="104" y="186"/>
                  <a:pt x="105" y="179"/>
                </a:cubicBezTo>
                <a:cubicBezTo>
                  <a:pt x="110" y="161"/>
                  <a:pt x="115" y="156"/>
                  <a:pt x="122" y="161"/>
                </a:cubicBezTo>
                <a:cubicBezTo>
                  <a:pt x="130" y="165"/>
                  <a:pt x="131" y="150"/>
                  <a:pt x="138" y="157"/>
                </a:cubicBezTo>
                <a:cubicBezTo>
                  <a:pt x="144" y="165"/>
                  <a:pt x="140" y="155"/>
                  <a:pt x="149" y="154"/>
                </a:cubicBezTo>
                <a:cubicBezTo>
                  <a:pt x="158" y="154"/>
                  <a:pt x="165" y="140"/>
                  <a:pt x="160" y="133"/>
                </a:cubicBezTo>
                <a:cubicBezTo>
                  <a:pt x="155" y="127"/>
                  <a:pt x="139" y="112"/>
                  <a:pt x="159" y="122"/>
                </a:cubicBezTo>
                <a:cubicBezTo>
                  <a:pt x="178" y="133"/>
                  <a:pt x="183" y="129"/>
                  <a:pt x="184" y="121"/>
                </a:cubicBezTo>
                <a:cubicBezTo>
                  <a:pt x="185" y="112"/>
                  <a:pt x="191" y="101"/>
                  <a:pt x="182" y="101"/>
                </a:cubicBezTo>
                <a:cubicBezTo>
                  <a:pt x="173" y="101"/>
                  <a:pt x="164" y="98"/>
                  <a:pt x="172" y="90"/>
                </a:cubicBezTo>
                <a:cubicBezTo>
                  <a:pt x="180" y="83"/>
                  <a:pt x="197" y="75"/>
                  <a:pt x="199" y="86"/>
                </a:cubicBezTo>
                <a:cubicBezTo>
                  <a:pt x="202" y="98"/>
                  <a:pt x="200" y="79"/>
                  <a:pt x="210" y="90"/>
                </a:cubicBezTo>
                <a:cubicBezTo>
                  <a:pt x="221" y="101"/>
                  <a:pt x="218" y="99"/>
                  <a:pt x="230" y="90"/>
                </a:cubicBezTo>
                <a:cubicBezTo>
                  <a:pt x="242" y="80"/>
                  <a:pt x="233" y="80"/>
                  <a:pt x="244" y="70"/>
                </a:cubicBezTo>
                <a:cubicBezTo>
                  <a:pt x="254" y="60"/>
                  <a:pt x="263" y="59"/>
                  <a:pt x="271" y="62"/>
                </a:cubicBezTo>
                <a:cubicBezTo>
                  <a:pt x="279" y="65"/>
                  <a:pt x="287" y="62"/>
                  <a:pt x="295" y="58"/>
                </a:cubicBezTo>
                <a:cubicBezTo>
                  <a:pt x="304" y="54"/>
                  <a:pt x="297" y="43"/>
                  <a:pt x="315" y="37"/>
                </a:cubicBezTo>
                <a:cubicBezTo>
                  <a:pt x="333" y="31"/>
                  <a:pt x="323" y="24"/>
                  <a:pt x="333" y="31"/>
                </a:cubicBezTo>
                <a:cubicBezTo>
                  <a:pt x="342" y="38"/>
                  <a:pt x="341" y="17"/>
                  <a:pt x="351" y="24"/>
                </a:cubicBezTo>
                <a:cubicBezTo>
                  <a:pt x="361" y="31"/>
                  <a:pt x="358" y="25"/>
                  <a:pt x="370" y="29"/>
                </a:cubicBezTo>
                <a:cubicBezTo>
                  <a:pt x="383" y="33"/>
                  <a:pt x="377" y="21"/>
                  <a:pt x="388" y="23"/>
                </a:cubicBezTo>
                <a:cubicBezTo>
                  <a:pt x="400" y="25"/>
                  <a:pt x="401" y="27"/>
                  <a:pt x="406" y="22"/>
                </a:cubicBezTo>
                <a:cubicBezTo>
                  <a:pt x="411" y="17"/>
                  <a:pt x="400" y="4"/>
                  <a:pt x="421" y="10"/>
                </a:cubicBezTo>
                <a:cubicBezTo>
                  <a:pt x="442" y="16"/>
                  <a:pt x="442" y="9"/>
                  <a:pt x="446" y="12"/>
                </a:cubicBezTo>
                <a:cubicBezTo>
                  <a:pt x="451" y="15"/>
                  <a:pt x="452" y="0"/>
                  <a:pt x="463" y="11"/>
                </a:cubicBezTo>
                <a:cubicBezTo>
                  <a:pt x="473" y="21"/>
                  <a:pt x="480" y="3"/>
                  <a:pt x="474" y="27"/>
                </a:cubicBezTo>
                <a:cubicBezTo>
                  <a:pt x="469" y="52"/>
                  <a:pt x="470" y="64"/>
                  <a:pt x="446" y="72"/>
                </a:cubicBezTo>
                <a:cubicBezTo>
                  <a:pt x="423" y="79"/>
                  <a:pt x="428" y="84"/>
                  <a:pt x="404" y="92"/>
                </a:cubicBezTo>
                <a:cubicBezTo>
                  <a:pt x="381" y="99"/>
                  <a:pt x="358" y="109"/>
                  <a:pt x="330" y="114"/>
                </a:cubicBezTo>
                <a:cubicBezTo>
                  <a:pt x="301" y="120"/>
                  <a:pt x="275" y="111"/>
                  <a:pt x="255" y="134"/>
                </a:cubicBezTo>
                <a:cubicBezTo>
                  <a:pt x="234" y="156"/>
                  <a:pt x="225" y="162"/>
                  <a:pt x="216" y="164"/>
                </a:cubicBezTo>
                <a:cubicBezTo>
                  <a:pt x="206" y="166"/>
                  <a:pt x="215" y="170"/>
                  <a:pt x="202" y="180"/>
                </a:cubicBezTo>
                <a:cubicBezTo>
                  <a:pt x="188" y="189"/>
                  <a:pt x="181" y="185"/>
                  <a:pt x="181" y="185"/>
                </a:cubicBezTo>
                <a:cubicBezTo>
                  <a:pt x="177" y="199"/>
                  <a:pt x="170" y="209"/>
                  <a:pt x="170" y="209"/>
                </a:cubicBezTo>
                <a:cubicBezTo>
                  <a:pt x="170" y="209"/>
                  <a:pt x="152" y="205"/>
                  <a:pt x="149" y="210"/>
                </a:cubicBezTo>
                <a:cubicBezTo>
                  <a:pt x="136" y="225"/>
                  <a:pt x="132" y="217"/>
                  <a:pt x="122" y="215"/>
                </a:cubicBezTo>
                <a:cubicBezTo>
                  <a:pt x="113" y="213"/>
                  <a:pt x="127" y="227"/>
                  <a:pt x="127" y="2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22" name="Freeform 557"/>
          <p:cNvSpPr>
            <a:spLocks/>
          </p:cNvSpPr>
          <p:nvPr userDrawn="1"/>
        </p:nvSpPr>
        <p:spPr bwMode="auto">
          <a:xfrm>
            <a:off x="6914486" y="2542262"/>
            <a:ext cx="60303" cy="72028"/>
          </a:xfrm>
          <a:custGeom>
            <a:avLst/>
            <a:gdLst>
              <a:gd name="T0" fmla="*/ 2147483646 w 64"/>
              <a:gd name="T1" fmla="*/ 0 h 76"/>
              <a:gd name="T2" fmla="*/ 2147483646 w 64"/>
              <a:gd name="T3" fmla="*/ 2147483646 h 76"/>
              <a:gd name="T4" fmla="*/ 2147483646 w 64"/>
              <a:gd name="T5" fmla="*/ 2147483646 h 76"/>
              <a:gd name="T6" fmla="*/ 0 w 64"/>
              <a:gd name="T7" fmla="*/ 2147483646 h 76"/>
              <a:gd name="T8" fmla="*/ 2147483646 w 64"/>
              <a:gd name="T9" fmla="*/ 2147483646 h 76"/>
              <a:gd name="T10" fmla="*/ 2147483646 w 64"/>
              <a:gd name="T11" fmla="*/ 2147483646 h 76"/>
              <a:gd name="T12" fmla="*/ 2147483646 w 64"/>
              <a:gd name="T13" fmla="*/ 2147483646 h 76"/>
              <a:gd name="T14" fmla="*/ 2147483646 w 64"/>
              <a:gd name="T15" fmla="*/ 2147483646 h 76"/>
              <a:gd name="T16" fmla="*/ 2147483646 w 64"/>
              <a:gd name="T17" fmla="*/ 2147483646 h 76"/>
              <a:gd name="T18" fmla="*/ 2147483646 w 64"/>
              <a:gd name="T19" fmla="*/ 2147483646 h 76"/>
              <a:gd name="T20" fmla="*/ 2147483646 w 64"/>
              <a:gd name="T21" fmla="*/ 2147483646 h 76"/>
              <a:gd name="T22" fmla="*/ 2147483646 w 64"/>
              <a:gd name="T23" fmla="*/ 2147483646 h 76"/>
              <a:gd name="T24" fmla="*/ 2147483646 w 64"/>
              <a:gd name="T25" fmla="*/ 2147483646 h 76"/>
              <a:gd name="T26" fmla="*/ 2147483646 w 64"/>
              <a:gd name="T27" fmla="*/ 2147483646 h 76"/>
              <a:gd name="T28" fmla="*/ 2147483646 w 64"/>
              <a:gd name="T29" fmla="*/ 0 h 7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4"/>
              <a:gd name="T46" fmla="*/ 0 h 76"/>
              <a:gd name="T47" fmla="*/ 64 w 64"/>
              <a:gd name="T48" fmla="*/ 76 h 7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4" h="76">
                <a:moveTo>
                  <a:pt x="20" y="0"/>
                </a:moveTo>
                <a:cubicBezTo>
                  <a:pt x="17" y="0"/>
                  <a:pt x="17" y="1"/>
                  <a:pt x="14" y="7"/>
                </a:cubicBezTo>
                <a:cubicBezTo>
                  <a:pt x="12" y="12"/>
                  <a:pt x="16" y="13"/>
                  <a:pt x="11" y="16"/>
                </a:cubicBezTo>
                <a:cubicBezTo>
                  <a:pt x="5" y="20"/>
                  <a:pt x="0" y="14"/>
                  <a:pt x="0" y="21"/>
                </a:cubicBezTo>
                <a:cubicBezTo>
                  <a:pt x="0" y="28"/>
                  <a:pt x="6" y="31"/>
                  <a:pt x="10" y="38"/>
                </a:cubicBezTo>
                <a:cubicBezTo>
                  <a:pt x="13" y="45"/>
                  <a:pt x="15" y="45"/>
                  <a:pt x="18" y="44"/>
                </a:cubicBezTo>
                <a:cubicBezTo>
                  <a:pt x="21" y="44"/>
                  <a:pt x="22" y="40"/>
                  <a:pt x="22" y="45"/>
                </a:cubicBezTo>
                <a:cubicBezTo>
                  <a:pt x="22" y="51"/>
                  <a:pt x="19" y="55"/>
                  <a:pt x="21" y="58"/>
                </a:cubicBezTo>
                <a:cubicBezTo>
                  <a:pt x="23" y="62"/>
                  <a:pt x="28" y="60"/>
                  <a:pt x="31" y="66"/>
                </a:cubicBezTo>
                <a:cubicBezTo>
                  <a:pt x="34" y="72"/>
                  <a:pt x="40" y="76"/>
                  <a:pt x="42" y="75"/>
                </a:cubicBezTo>
                <a:cubicBezTo>
                  <a:pt x="45" y="75"/>
                  <a:pt x="44" y="63"/>
                  <a:pt x="50" y="60"/>
                </a:cubicBezTo>
                <a:cubicBezTo>
                  <a:pt x="56" y="57"/>
                  <a:pt x="55" y="55"/>
                  <a:pt x="59" y="57"/>
                </a:cubicBezTo>
                <a:cubicBezTo>
                  <a:pt x="63" y="58"/>
                  <a:pt x="64" y="48"/>
                  <a:pt x="64" y="48"/>
                </a:cubicBezTo>
                <a:cubicBezTo>
                  <a:pt x="64" y="48"/>
                  <a:pt x="57" y="33"/>
                  <a:pt x="55" y="32"/>
                </a:cubicBezTo>
                <a:cubicBezTo>
                  <a:pt x="52" y="31"/>
                  <a:pt x="20" y="0"/>
                  <a:pt x="2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23" name="Freeform 558"/>
          <p:cNvSpPr>
            <a:spLocks/>
          </p:cNvSpPr>
          <p:nvPr userDrawn="1"/>
        </p:nvSpPr>
        <p:spPr bwMode="auto">
          <a:xfrm>
            <a:off x="6688348" y="2631041"/>
            <a:ext cx="35176" cy="45228"/>
          </a:xfrm>
          <a:custGeom>
            <a:avLst/>
            <a:gdLst>
              <a:gd name="T0" fmla="*/ 2147483646 w 39"/>
              <a:gd name="T1" fmla="*/ 0 h 49"/>
              <a:gd name="T2" fmla="*/ 0 w 39"/>
              <a:gd name="T3" fmla="*/ 2147483646 h 49"/>
              <a:gd name="T4" fmla="*/ 2147483646 w 39"/>
              <a:gd name="T5" fmla="*/ 2147483646 h 49"/>
              <a:gd name="T6" fmla="*/ 2147483646 w 39"/>
              <a:gd name="T7" fmla="*/ 2147483646 h 49"/>
              <a:gd name="T8" fmla="*/ 2147483646 w 39"/>
              <a:gd name="T9" fmla="*/ 0 h 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9"/>
              <a:gd name="T16" fmla="*/ 0 h 49"/>
              <a:gd name="T17" fmla="*/ 39 w 39"/>
              <a:gd name="T18" fmla="*/ 49 h 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9" h="49">
                <a:moveTo>
                  <a:pt x="15" y="0"/>
                </a:moveTo>
                <a:cubicBezTo>
                  <a:pt x="6" y="4"/>
                  <a:pt x="0" y="2"/>
                  <a:pt x="0" y="18"/>
                </a:cubicBezTo>
                <a:cubicBezTo>
                  <a:pt x="0" y="33"/>
                  <a:pt x="12" y="49"/>
                  <a:pt x="20" y="44"/>
                </a:cubicBezTo>
                <a:cubicBezTo>
                  <a:pt x="28" y="40"/>
                  <a:pt x="36" y="35"/>
                  <a:pt x="37" y="27"/>
                </a:cubicBezTo>
                <a:cubicBezTo>
                  <a:pt x="39" y="19"/>
                  <a:pt x="15" y="0"/>
                  <a:pt x="1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24" name="Freeform 559"/>
          <p:cNvSpPr>
            <a:spLocks/>
          </p:cNvSpPr>
          <p:nvPr userDrawn="1"/>
        </p:nvSpPr>
        <p:spPr bwMode="auto">
          <a:xfrm>
            <a:off x="7204276" y="2312772"/>
            <a:ext cx="41877" cy="28477"/>
          </a:xfrm>
          <a:custGeom>
            <a:avLst/>
            <a:gdLst>
              <a:gd name="T0" fmla="*/ 2147483646 w 46"/>
              <a:gd name="T1" fmla="*/ 2147483646 h 32"/>
              <a:gd name="T2" fmla="*/ 2147483646 w 46"/>
              <a:gd name="T3" fmla="*/ 2147483646 h 32"/>
              <a:gd name="T4" fmla="*/ 2147483646 w 46"/>
              <a:gd name="T5" fmla="*/ 2147483646 h 32"/>
              <a:gd name="T6" fmla="*/ 2147483646 w 46"/>
              <a:gd name="T7" fmla="*/ 2147483646 h 32"/>
              <a:gd name="T8" fmla="*/ 2147483646 w 46"/>
              <a:gd name="T9" fmla="*/ 2147483646 h 32"/>
              <a:gd name="T10" fmla="*/ 2147483646 w 46"/>
              <a:gd name="T11" fmla="*/ 2147483646 h 32"/>
              <a:gd name="T12" fmla="*/ 2147483646 w 46"/>
              <a:gd name="T13" fmla="*/ 2147483646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6"/>
              <a:gd name="T22" fmla="*/ 0 h 32"/>
              <a:gd name="T23" fmla="*/ 46 w 46"/>
              <a:gd name="T24" fmla="*/ 32 h 3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6" h="32">
                <a:moveTo>
                  <a:pt x="20" y="1"/>
                </a:moveTo>
                <a:cubicBezTo>
                  <a:pt x="11" y="1"/>
                  <a:pt x="0" y="0"/>
                  <a:pt x="3" y="5"/>
                </a:cubicBezTo>
                <a:cubicBezTo>
                  <a:pt x="5" y="11"/>
                  <a:pt x="10" y="7"/>
                  <a:pt x="6" y="15"/>
                </a:cubicBezTo>
                <a:cubicBezTo>
                  <a:pt x="2" y="23"/>
                  <a:pt x="13" y="32"/>
                  <a:pt x="23" y="30"/>
                </a:cubicBezTo>
                <a:cubicBezTo>
                  <a:pt x="32" y="27"/>
                  <a:pt x="39" y="27"/>
                  <a:pt x="42" y="26"/>
                </a:cubicBezTo>
                <a:cubicBezTo>
                  <a:pt x="46" y="25"/>
                  <a:pt x="45" y="9"/>
                  <a:pt x="43" y="5"/>
                </a:cubicBezTo>
                <a:cubicBezTo>
                  <a:pt x="41" y="2"/>
                  <a:pt x="20" y="1"/>
                  <a:pt x="20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25" name="Freeform 560"/>
          <p:cNvSpPr>
            <a:spLocks/>
          </p:cNvSpPr>
          <p:nvPr userDrawn="1"/>
        </p:nvSpPr>
        <p:spPr bwMode="auto">
          <a:xfrm>
            <a:off x="7944667" y="1743242"/>
            <a:ext cx="112231" cy="139033"/>
          </a:xfrm>
          <a:custGeom>
            <a:avLst/>
            <a:gdLst>
              <a:gd name="T0" fmla="*/ 2147483646 w 120"/>
              <a:gd name="T1" fmla="*/ 2147483646 h 150"/>
              <a:gd name="T2" fmla="*/ 2147483646 w 120"/>
              <a:gd name="T3" fmla="*/ 2147483646 h 150"/>
              <a:gd name="T4" fmla="*/ 2147483646 w 120"/>
              <a:gd name="T5" fmla="*/ 2147483646 h 150"/>
              <a:gd name="T6" fmla="*/ 2147483646 w 120"/>
              <a:gd name="T7" fmla="*/ 2147483646 h 150"/>
              <a:gd name="T8" fmla="*/ 2147483646 w 120"/>
              <a:gd name="T9" fmla="*/ 2147483646 h 150"/>
              <a:gd name="T10" fmla="*/ 2147483646 w 120"/>
              <a:gd name="T11" fmla="*/ 2147483646 h 150"/>
              <a:gd name="T12" fmla="*/ 2147483646 w 120"/>
              <a:gd name="T13" fmla="*/ 2147483646 h 150"/>
              <a:gd name="T14" fmla="*/ 2147483646 w 120"/>
              <a:gd name="T15" fmla="*/ 2147483646 h 150"/>
              <a:gd name="T16" fmla="*/ 0 w 120"/>
              <a:gd name="T17" fmla="*/ 2147483646 h 150"/>
              <a:gd name="T18" fmla="*/ 2147483646 w 120"/>
              <a:gd name="T19" fmla="*/ 2147483646 h 150"/>
              <a:gd name="T20" fmla="*/ 2147483646 w 120"/>
              <a:gd name="T21" fmla="*/ 2147483646 h 150"/>
              <a:gd name="T22" fmla="*/ 2147483646 w 120"/>
              <a:gd name="T23" fmla="*/ 2147483646 h 150"/>
              <a:gd name="T24" fmla="*/ 2147483646 w 120"/>
              <a:gd name="T25" fmla="*/ 2147483646 h 150"/>
              <a:gd name="T26" fmla="*/ 2147483646 w 120"/>
              <a:gd name="T27" fmla="*/ 2147483646 h 150"/>
              <a:gd name="T28" fmla="*/ 2147483646 w 120"/>
              <a:gd name="T29" fmla="*/ 2147483646 h 150"/>
              <a:gd name="T30" fmla="*/ 2147483646 w 120"/>
              <a:gd name="T31" fmla="*/ 2147483646 h 150"/>
              <a:gd name="T32" fmla="*/ 2147483646 w 120"/>
              <a:gd name="T33" fmla="*/ 2147483646 h 15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0"/>
              <a:gd name="T52" fmla="*/ 0 h 150"/>
              <a:gd name="T53" fmla="*/ 120 w 120"/>
              <a:gd name="T54" fmla="*/ 150 h 15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0" h="150">
                <a:moveTo>
                  <a:pt x="65" y="33"/>
                </a:moveTo>
                <a:cubicBezTo>
                  <a:pt x="64" y="27"/>
                  <a:pt x="64" y="18"/>
                  <a:pt x="61" y="16"/>
                </a:cubicBezTo>
                <a:cubicBezTo>
                  <a:pt x="59" y="14"/>
                  <a:pt x="53" y="0"/>
                  <a:pt x="51" y="7"/>
                </a:cubicBezTo>
                <a:cubicBezTo>
                  <a:pt x="50" y="14"/>
                  <a:pt x="50" y="29"/>
                  <a:pt x="45" y="27"/>
                </a:cubicBezTo>
                <a:cubicBezTo>
                  <a:pt x="39" y="25"/>
                  <a:pt x="41" y="7"/>
                  <a:pt x="35" y="18"/>
                </a:cubicBezTo>
                <a:cubicBezTo>
                  <a:pt x="28" y="29"/>
                  <a:pt x="27" y="36"/>
                  <a:pt x="28" y="46"/>
                </a:cubicBezTo>
                <a:cubicBezTo>
                  <a:pt x="28" y="56"/>
                  <a:pt x="22" y="47"/>
                  <a:pt x="21" y="66"/>
                </a:cubicBezTo>
                <a:cubicBezTo>
                  <a:pt x="21" y="85"/>
                  <a:pt x="22" y="96"/>
                  <a:pt x="17" y="106"/>
                </a:cubicBezTo>
                <a:cubicBezTo>
                  <a:pt x="11" y="115"/>
                  <a:pt x="0" y="128"/>
                  <a:pt x="0" y="131"/>
                </a:cubicBezTo>
                <a:cubicBezTo>
                  <a:pt x="0" y="133"/>
                  <a:pt x="0" y="150"/>
                  <a:pt x="13" y="143"/>
                </a:cubicBezTo>
                <a:cubicBezTo>
                  <a:pt x="26" y="136"/>
                  <a:pt x="12" y="116"/>
                  <a:pt x="45" y="123"/>
                </a:cubicBezTo>
                <a:cubicBezTo>
                  <a:pt x="78" y="130"/>
                  <a:pt x="55" y="125"/>
                  <a:pt x="84" y="121"/>
                </a:cubicBezTo>
                <a:cubicBezTo>
                  <a:pt x="113" y="118"/>
                  <a:pt x="118" y="111"/>
                  <a:pt x="119" y="102"/>
                </a:cubicBezTo>
                <a:cubicBezTo>
                  <a:pt x="120" y="93"/>
                  <a:pt x="118" y="71"/>
                  <a:pt x="110" y="73"/>
                </a:cubicBezTo>
                <a:cubicBezTo>
                  <a:pt x="103" y="75"/>
                  <a:pt x="94" y="66"/>
                  <a:pt x="102" y="62"/>
                </a:cubicBezTo>
                <a:cubicBezTo>
                  <a:pt x="110" y="58"/>
                  <a:pt x="94" y="35"/>
                  <a:pt x="88" y="36"/>
                </a:cubicBezTo>
                <a:cubicBezTo>
                  <a:pt x="82" y="36"/>
                  <a:pt x="65" y="33"/>
                  <a:pt x="65" y="3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26" name="Freeform 561"/>
          <p:cNvSpPr>
            <a:spLocks/>
          </p:cNvSpPr>
          <p:nvPr userDrawn="1"/>
        </p:nvSpPr>
        <p:spPr bwMode="auto">
          <a:xfrm>
            <a:off x="7845836" y="1687964"/>
            <a:ext cx="113907" cy="127307"/>
          </a:xfrm>
          <a:custGeom>
            <a:avLst/>
            <a:gdLst>
              <a:gd name="T0" fmla="*/ 2147483646 w 123"/>
              <a:gd name="T1" fmla="*/ 2147483646 h 137"/>
              <a:gd name="T2" fmla="*/ 2147483646 w 123"/>
              <a:gd name="T3" fmla="*/ 2147483646 h 137"/>
              <a:gd name="T4" fmla="*/ 2147483646 w 123"/>
              <a:gd name="T5" fmla="*/ 2147483646 h 137"/>
              <a:gd name="T6" fmla="*/ 2147483646 w 123"/>
              <a:gd name="T7" fmla="*/ 2147483646 h 137"/>
              <a:gd name="T8" fmla="*/ 2147483646 w 123"/>
              <a:gd name="T9" fmla="*/ 2147483646 h 137"/>
              <a:gd name="T10" fmla="*/ 2147483646 w 123"/>
              <a:gd name="T11" fmla="*/ 2147483646 h 137"/>
              <a:gd name="T12" fmla="*/ 2147483646 w 123"/>
              <a:gd name="T13" fmla="*/ 2147483646 h 137"/>
              <a:gd name="T14" fmla="*/ 2147483646 w 123"/>
              <a:gd name="T15" fmla="*/ 2147483646 h 137"/>
              <a:gd name="T16" fmla="*/ 2147483646 w 123"/>
              <a:gd name="T17" fmla="*/ 2147483646 h 137"/>
              <a:gd name="T18" fmla="*/ 2147483646 w 123"/>
              <a:gd name="T19" fmla="*/ 2147483646 h 137"/>
              <a:gd name="T20" fmla="*/ 2147483646 w 123"/>
              <a:gd name="T21" fmla="*/ 2147483646 h 137"/>
              <a:gd name="T22" fmla="*/ 2147483646 w 123"/>
              <a:gd name="T23" fmla="*/ 2147483646 h 1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23"/>
              <a:gd name="T37" fmla="*/ 0 h 137"/>
              <a:gd name="T38" fmla="*/ 123 w 123"/>
              <a:gd name="T39" fmla="*/ 137 h 13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23" h="137">
                <a:moveTo>
                  <a:pt x="79" y="29"/>
                </a:moveTo>
                <a:cubicBezTo>
                  <a:pt x="77" y="20"/>
                  <a:pt x="77" y="3"/>
                  <a:pt x="69" y="2"/>
                </a:cubicBezTo>
                <a:cubicBezTo>
                  <a:pt x="61" y="0"/>
                  <a:pt x="46" y="4"/>
                  <a:pt x="42" y="8"/>
                </a:cubicBezTo>
                <a:cubicBezTo>
                  <a:pt x="38" y="12"/>
                  <a:pt x="21" y="19"/>
                  <a:pt x="19" y="27"/>
                </a:cubicBezTo>
                <a:cubicBezTo>
                  <a:pt x="16" y="36"/>
                  <a:pt x="0" y="36"/>
                  <a:pt x="4" y="52"/>
                </a:cubicBezTo>
                <a:cubicBezTo>
                  <a:pt x="8" y="67"/>
                  <a:pt x="17" y="61"/>
                  <a:pt x="33" y="77"/>
                </a:cubicBezTo>
                <a:cubicBezTo>
                  <a:pt x="49" y="94"/>
                  <a:pt x="44" y="105"/>
                  <a:pt x="44" y="105"/>
                </a:cubicBezTo>
                <a:cubicBezTo>
                  <a:pt x="44" y="105"/>
                  <a:pt x="57" y="102"/>
                  <a:pt x="75" y="120"/>
                </a:cubicBezTo>
                <a:cubicBezTo>
                  <a:pt x="93" y="137"/>
                  <a:pt x="105" y="75"/>
                  <a:pt x="107" y="73"/>
                </a:cubicBezTo>
                <a:cubicBezTo>
                  <a:pt x="109" y="70"/>
                  <a:pt x="123" y="34"/>
                  <a:pt x="119" y="25"/>
                </a:cubicBezTo>
                <a:cubicBezTo>
                  <a:pt x="115" y="16"/>
                  <a:pt x="104" y="5"/>
                  <a:pt x="102" y="8"/>
                </a:cubicBezTo>
                <a:cubicBezTo>
                  <a:pt x="99" y="10"/>
                  <a:pt x="79" y="29"/>
                  <a:pt x="79" y="2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27" name="Freeform 563"/>
          <p:cNvSpPr>
            <a:spLocks/>
          </p:cNvSpPr>
          <p:nvPr userDrawn="1"/>
        </p:nvSpPr>
        <p:spPr bwMode="auto">
          <a:xfrm>
            <a:off x="7800609" y="1584109"/>
            <a:ext cx="113907" cy="110556"/>
          </a:xfrm>
          <a:custGeom>
            <a:avLst/>
            <a:gdLst>
              <a:gd name="T0" fmla="*/ 2147483646 w 122"/>
              <a:gd name="T1" fmla="*/ 0 h 119"/>
              <a:gd name="T2" fmla="*/ 2147483646 w 122"/>
              <a:gd name="T3" fmla="*/ 2147483646 h 119"/>
              <a:gd name="T4" fmla="*/ 2147483646 w 122"/>
              <a:gd name="T5" fmla="*/ 2147483646 h 119"/>
              <a:gd name="T6" fmla="*/ 2147483646 w 122"/>
              <a:gd name="T7" fmla="*/ 2147483646 h 119"/>
              <a:gd name="T8" fmla="*/ 2147483646 w 122"/>
              <a:gd name="T9" fmla="*/ 2147483646 h 119"/>
              <a:gd name="T10" fmla="*/ 2147483646 w 122"/>
              <a:gd name="T11" fmla="*/ 2147483646 h 119"/>
              <a:gd name="T12" fmla="*/ 2147483646 w 122"/>
              <a:gd name="T13" fmla="*/ 2147483646 h 119"/>
              <a:gd name="T14" fmla="*/ 2147483646 w 122"/>
              <a:gd name="T15" fmla="*/ 2147483646 h 119"/>
              <a:gd name="T16" fmla="*/ 2147483646 w 122"/>
              <a:gd name="T17" fmla="*/ 2147483646 h 119"/>
              <a:gd name="T18" fmla="*/ 2147483646 w 122"/>
              <a:gd name="T19" fmla="*/ 2147483646 h 119"/>
              <a:gd name="T20" fmla="*/ 2147483646 w 122"/>
              <a:gd name="T21" fmla="*/ 2147483646 h 119"/>
              <a:gd name="T22" fmla="*/ 2147483646 w 122"/>
              <a:gd name="T23" fmla="*/ 2147483646 h 119"/>
              <a:gd name="T24" fmla="*/ 2147483646 w 122"/>
              <a:gd name="T25" fmla="*/ 0 h 11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22"/>
              <a:gd name="T40" fmla="*/ 0 h 119"/>
              <a:gd name="T41" fmla="*/ 122 w 122"/>
              <a:gd name="T42" fmla="*/ 119 h 11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22" h="119">
                <a:moveTo>
                  <a:pt x="86" y="0"/>
                </a:moveTo>
                <a:cubicBezTo>
                  <a:pt x="74" y="7"/>
                  <a:pt x="61" y="14"/>
                  <a:pt x="57" y="30"/>
                </a:cubicBezTo>
                <a:cubicBezTo>
                  <a:pt x="52" y="45"/>
                  <a:pt x="54" y="51"/>
                  <a:pt x="41" y="60"/>
                </a:cubicBezTo>
                <a:cubicBezTo>
                  <a:pt x="29" y="70"/>
                  <a:pt x="13" y="68"/>
                  <a:pt x="13" y="79"/>
                </a:cubicBezTo>
                <a:cubicBezTo>
                  <a:pt x="13" y="90"/>
                  <a:pt x="18" y="84"/>
                  <a:pt x="20" y="92"/>
                </a:cubicBezTo>
                <a:cubicBezTo>
                  <a:pt x="22" y="101"/>
                  <a:pt x="0" y="105"/>
                  <a:pt x="14" y="112"/>
                </a:cubicBezTo>
                <a:cubicBezTo>
                  <a:pt x="29" y="119"/>
                  <a:pt x="33" y="115"/>
                  <a:pt x="47" y="113"/>
                </a:cubicBezTo>
                <a:cubicBezTo>
                  <a:pt x="60" y="110"/>
                  <a:pt x="56" y="95"/>
                  <a:pt x="72" y="99"/>
                </a:cubicBezTo>
                <a:cubicBezTo>
                  <a:pt x="89" y="104"/>
                  <a:pt x="89" y="92"/>
                  <a:pt x="103" y="91"/>
                </a:cubicBezTo>
                <a:cubicBezTo>
                  <a:pt x="117" y="91"/>
                  <a:pt x="118" y="72"/>
                  <a:pt x="117" y="61"/>
                </a:cubicBezTo>
                <a:cubicBezTo>
                  <a:pt x="115" y="50"/>
                  <a:pt x="122" y="44"/>
                  <a:pt x="121" y="38"/>
                </a:cubicBezTo>
                <a:cubicBezTo>
                  <a:pt x="120" y="33"/>
                  <a:pt x="117" y="9"/>
                  <a:pt x="113" y="8"/>
                </a:cubicBezTo>
                <a:cubicBezTo>
                  <a:pt x="109" y="6"/>
                  <a:pt x="86" y="0"/>
                  <a:pt x="8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28" name="Freeform 564"/>
          <p:cNvSpPr>
            <a:spLocks/>
          </p:cNvSpPr>
          <p:nvPr userDrawn="1"/>
        </p:nvSpPr>
        <p:spPr bwMode="auto">
          <a:xfrm>
            <a:off x="7803960" y="1691314"/>
            <a:ext cx="50253" cy="33501"/>
          </a:xfrm>
          <a:custGeom>
            <a:avLst/>
            <a:gdLst>
              <a:gd name="T0" fmla="*/ 2147483646 w 54"/>
              <a:gd name="T1" fmla="*/ 2147483646 h 36"/>
              <a:gd name="T2" fmla="*/ 2147483646 w 54"/>
              <a:gd name="T3" fmla="*/ 2147483646 h 36"/>
              <a:gd name="T4" fmla="*/ 2147483646 w 54"/>
              <a:gd name="T5" fmla="*/ 2147483646 h 36"/>
              <a:gd name="T6" fmla="*/ 2147483646 w 54"/>
              <a:gd name="T7" fmla="*/ 2147483646 h 36"/>
              <a:gd name="T8" fmla="*/ 2147483646 w 54"/>
              <a:gd name="T9" fmla="*/ 2147483646 h 36"/>
              <a:gd name="T10" fmla="*/ 2147483646 w 54"/>
              <a:gd name="T11" fmla="*/ 2147483646 h 36"/>
              <a:gd name="T12" fmla="*/ 2147483646 w 54"/>
              <a:gd name="T13" fmla="*/ 2147483646 h 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4"/>
              <a:gd name="T22" fmla="*/ 0 h 36"/>
              <a:gd name="T23" fmla="*/ 54 w 54"/>
              <a:gd name="T24" fmla="*/ 36 h 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4" h="36">
                <a:moveTo>
                  <a:pt x="17" y="9"/>
                </a:moveTo>
                <a:cubicBezTo>
                  <a:pt x="8" y="9"/>
                  <a:pt x="0" y="0"/>
                  <a:pt x="1" y="15"/>
                </a:cubicBezTo>
                <a:cubicBezTo>
                  <a:pt x="1" y="30"/>
                  <a:pt x="4" y="36"/>
                  <a:pt x="16" y="36"/>
                </a:cubicBezTo>
                <a:cubicBezTo>
                  <a:pt x="28" y="36"/>
                  <a:pt x="23" y="27"/>
                  <a:pt x="35" y="25"/>
                </a:cubicBezTo>
                <a:cubicBezTo>
                  <a:pt x="47" y="23"/>
                  <a:pt x="52" y="15"/>
                  <a:pt x="52" y="12"/>
                </a:cubicBezTo>
                <a:cubicBezTo>
                  <a:pt x="52" y="10"/>
                  <a:pt x="54" y="5"/>
                  <a:pt x="50" y="6"/>
                </a:cubicBezTo>
                <a:cubicBezTo>
                  <a:pt x="45" y="8"/>
                  <a:pt x="17" y="9"/>
                  <a:pt x="17" y="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29" name="Freeform 565"/>
          <p:cNvSpPr>
            <a:spLocks/>
          </p:cNvSpPr>
          <p:nvPr userDrawn="1"/>
        </p:nvSpPr>
        <p:spPr bwMode="auto">
          <a:xfrm>
            <a:off x="8850893" y="2136888"/>
            <a:ext cx="128983" cy="128981"/>
          </a:xfrm>
          <a:custGeom>
            <a:avLst/>
            <a:gdLst>
              <a:gd name="T0" fmla="*/ 2147483646 w 139"/>
              <a:gd name="T1" fmla="*/ 2147483646 h 137"/>
              <a:gd name="T2" fmla="*/ 2147483646 w 139"/>
              <a:gd name="T3" fmla="*/ 2147483646 h 137"/>
              <a:gd name="T4" fmla="*/ 2147483646 w 139"/>
              <a:gd name="T5" fmla="*/ 2147483646 h 137"/>
              <a:gd name="T6" fmla="*/ 2147483646 w 139"/>
              <a:gd name="T7" fmla="*/ 2147483646 h 137"/>
              <a:gd name="T8" fmla="*/ 2147483646 w 139"/>
              <a:gd name="T9" fmla="*/ 2147483646 h 137"/>
              <a:gd name="T10" fmla="*/ 2147483646 w 139"/>
              <a:gd name="T11" fmla="*/ 2147483646 h 137"/>
              <a:gd name="T12" fmla="*/ 2147483646 w 139"/>
              <a:gd name="T13" fmla="*/ 2147483646 h 137"/>
              <a:gd name="T14" fmla="*/ 2147483646 w 139"/>
              <a:gd name="T15" fmla="*/ 2147483646 h 137"/>
              <a:gd name="T16" fmla="*/ 2147483646 w 139"/>
              <a:gd name="T17" fmla="*/ 2147483646 h 137"/>
              <a:gd name="T18" fmla="*/ 2147483646 w 139"/>
              <a:gd name="T19" fmla="*/ 2147483646 h 137"/>
              <a:gd name="T20" fmla="*/ 2147483646 w 139"/>
              <a:gd name="T21" fmla="*/ 2147483646 h 137"/>
              <a:gd name="T22" fmla="*/ 2147483646 w 139"/>
              <a:gd name="T23" fmla="*/ 2147483646 h 1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39"/>
              <a:gd name="T37" fmla="*/ 0 h 137"/>
              <a:gd name="T38" fmla="*/ 139 w 139"/>
              <a:gd name="T39" fmla="*/ 137 h 13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39" h="137">
                <a:moveTo>
                  <a:pt x="90" y="33"/>
                </a:moveTo>
                <a:cubicBezTo>
                  <a:pt x="80" y="23"/>
                  <a:pt x="74" y="16"/>
                  <a:pt x="69" y="10"/>
                </a:cubicBezTo>
                <a:cubicBezTo>
                  <a:pt x="64" y="5"/>
                  <a:pt x="58" y="0"/>
                  <a:pt x="48" y="9"/>
                </a:cubicBezTo>
                <a:cubicBezTo>
                  <a:pt x="37" y="17"/>
                  <a:pt x="32" y="37"/>
                  <a:pt x="25" y="44"/>
                </a:cubicBezTo>
                <a:cubicBezTo>
                  <a:pt x="18" y="51"/>
                  <a:pt x="0" y="24"/>
                  <a:pt x="7" y="54"/>
                </a:cubicBezTo>
                <a:cubicBezTo>
                  <a:pt x="14" y="84"/>
                  <a:pt x="25" y="67"/>
                  <a:pt x="36" y="102"/>
                </a:cubicBezTo>
                <a:cubicBezTo>
                  <a:pt x="46" y="137"/>
                  <a:pt x="101" y="95"/>
                  <a:pt x="117" y="105"/>
                </a:cubicBezTo>
                <a:cubicBezTo>
                  <a:pt x="132" y="116"/>
                  <a:pt x="139" y="109"/>
                  <a:pt x="139" y="109"/>
                </a:cubicBezTo>
                <a:cubicBezTo>
                  <a:pt x="139" y="109"/>
                  <a:pt x="131" y="81"/>
                  <a:pt x="127" y="74"/>
                </a:cubicBezTo>
                <a:cubicBezTo>
                  <a:pt x="124" y="67"/>
                  <a:pt x="122" y="30"/>
                  <a:pt x="122" y="30"/>
                </a:cubicBezTo>
                <a:cubicBezTo>
                  <a:pt x="110" y="7"/>
                  <a:pt x="110" y="7"/>
                  <a:pt x="110" y="7"/>
                </a:cubicBezTo>
                <a:lnTo>
                  <a:pt x="90" y="3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30" name="Freeform 566"/>
          <p:cNvSpPr>
            <a:spLocks/>
          </p:cNvSpPr>
          <p:nvPr userDrawn="1"/>
        </p:nvSpPr>
        <p:spPr bwMode="auto">
          <a:xfrm>
            <a:off x="8976525" y="2160340"/>
            <a:ext cx="38527" cy="73704"/>
          </a:xfrm>
          <a:custGeom>
            <a:avLst/>
            <a:gdLst>
              <a:gd name="T0" fmla="*/ 2147483646 w 40"/>
              <a:gd name="T1" fmla="*/ 2147483646 h 80"/>
              <a:gd name="T2" fmla="*/ 2147483646 w 40"/>
              <a:gd name="T3" fmla="*/ 2147483646 h 80"/>
              <a:gd name="T4" fmla="*/ 2147483646 w 40"/>
              <a:gd name="T5" fmla="*/ 2147483646 h 80"/>
              <a:gd name="T6" fmla="*/ 2147483646 w 40"/>
              <a:gd name="T7" fmla="*/ 2147483646 h 80"/>
              <a:gd name="T8" fmla="*/ 2147483646 w 40"/>
              <a:gd name="T9" fmla="*/ 2147483646 h 80"/>
              <a:gd name="T10" fmla="*/ 2147483646 w 40"/>
              <a:gd name="T11" fmla="*/ 2147483646 h 80"/>
              <a:gd name="T12" fmla="*/ 2147483646 w 40"/>
              <a:gd name="T13" fmla="*/ 2147483646 h 8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0"/>
              <a:gd name="T22" fmla="*/ 0 h 80"/>
              <a:gd name="T23" fmla="*/ 40 w 40"/>
              <a:gd name="T24" fmla="*/ 80 h 8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0" h="80">
                <a:moveTo>
                  <a:pt x="23" y="11"/>
                </a:moveTo>
                <a:cubicBezTo>
                  <a:pt x="12" y="7"/>
                  <a:pt x="0" y="0"/>
                  <a:pt x="2" y="16"/>
                </a:cubicBezTo>
                <a:cubicBezTo>
                  <a:pt x="3" y="32"/>
                  <a:pt x="2" y="46"/>
                  <a:pt x="9" y="59"/>
                </a:cubicBezTo>
                <a:cubicBezTo>
                  <a:pt x="16" y="71"/>
                  <a:pt x="10" y="76"/>
                  <a:pt x="16" y="78"/>
                </a:cubicBezTo>
                <a:cubicBezTo>
                  <a:pt x="21" y="80"/>
                  <a:pt x="32" y="64"/>
                  <a:pt x="33" y="57"/>
                </a:cubicBezTo>
                <a:cubicBezTo>
                  <a:pt x="35" y="50"/>
                  <a:pt x="40" y="43"/>
                  <a:pt x="39" y="36"/>
                </a:cubicBezTo>
                <a:cubicBezTo>
                  <a:pt x="37" y="29"/>
                  <a:pt x="23" y="11"/>
                  <a:pt x="23" y="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31" name="Freeform 567"/>
          <p:cNvSpPr>
            <a:spLocks/>
          </p:cNvSpPr>
          <p:nvPr userDrawn="1"/>
        </p:nvSpPr>
        <p:spPr bwMode="auto">
          <a:xfrm>
            <a:off x="9035153" y="2182117"/>
            <a:ext cx="75380" cy="78729"/>
          </a:xfrm>
          <a:custGeom>
            <a:avLst/>
            <a:gdLst>
              <a:gd name="T0" fmla="*/ 2147483646 w 81"/>
              <a:gd name="T1" fmla="*/ 2147483646 h 85"/>
              <a:gd name="T2" fmla="*/ 2147483646 w 81"/>
              <a:gd name="T3" fmla="*/ 2147483646 h 85"/>
              <a:gd name="T4" fmla="*/ 2147483646 w 81"/>
              <a:gd name="T5" fmla="*/ 2147483646 h 85"/>
              <a:gd name="T6" fmla="*/ 2147483646 w 81"/>
              <a:gd name="T7" fmla="*/ 2147483646 h 85"/>
              <a:gd name="T8" fmla="*/ 2147483646 w 81"/>
              <a:gd name="T9" fmla="*/ 2147483646 h 85"/>
              <a:gd name="T10" fmla="*/ 2147483646 w 81"/>
              <a:gd name="T11" fmla="*/ 2147483646 h 85"/>
              <a:gd name="T12" fmla="*/ 2147483646 w 81"/>
              <a:gd name="T13" fmla="*/ 2147483646 h 8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1"/>
              <a:gd name="T22" fmla="*/ 0 h 85"/>
              <a:gd name="T23" fmla="*/ 81 w 81"/>
              <a:gd name="T24" fmla="*/ 85 h 8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1" h="85">
                <a:moveTo>
                  <a:pt x="28" y="23"/>
                </a:moveTo>
                <a:cubicBezTo>
                  <a:pt x="19" y="21"/>
                  <a:pt x="10" y="0"/>
                  <a:pt x="5" y="20"/>
                </a:cubicBezTo>
                <a:cubicBezTo>
                  <a:pt x="0" y="39"/>
                  <a:pt x="10" y="55"/>
                  <a:pt x="19" y="64"/>
                </a:cubicBezTo>
                <a:cubicBezTo>
                  <a:pt x="28" y="73"/>
                  <a:pt x="31" y="78"/>
                  <a:pt x="45" y="81"/>
                </a:cubicBezTo>
                <a:cubicBezTo>
                  <a:pt x="59" y="85"/>
                  <a:pt x="67" y="69"/>
                  <a:pt x="74" y="69"/>
                </a:cubicBezTo>
                <a:cubicBezTo>
                  <a:pt x="81" y="69"/>
                  <a:pt x="74" y="27"/>
                  <a:pt x="67" y="29"/>
                </a:cubicBezTo>
                <a:cubicBezTo>
                  <a:pt x="59" y="30"/>
                  <a:pt x="28" y="23"/>
                  <a:pt x="28" y="2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32" name="Freeform 568"/>
          <p:cNvSpPr>
            <a:spLocks/>
          </p:cNvSpPr>
          <p:nvPr userDrawn="1"/>
        </p:nvSpPr>
        <p:spPr bwMode="auto">
          <a:xfrm>
            <a:off x="8914546" y="2306073"/>
            <a:ext cx="80404" cy="46903"/>
          </a:xfrm>
          <a:custGeom>
            <a:avLst/>
            <a:gdLst>
              <a:gd name="T0" fmla="*/ 2147483646 w 86"/>
              <a:gd name="T1" fmla="*/ 0 h 50"/>
              <a:gd name="T2" fmla="*/ 2147483646 w 86"/>
              <a:gd name="T3" fmla="*/ 2147483646 h 50"/>
              <a:gd name="T4" fmla="*/ 2147483646 w 86"/>
              <a:gd name="T5" fmla="*/ 2147483646 h 50"/>
              <a:gd name="T6" fmla="*/ 2147483646 w 86"/>
              <a:gd name="T7" fmla="*/ 2147483646 h 50"/>
              <a:gd name="T8" fmla="*/ 2147483646 w 86"/>
              <a:gd name="T9" fmla="*/ 2147483646 h 50"/>
              <a:gd name="T10" fmla="*/ 2147483646 w 86"/>
              <a:gd name="T11" fmla="*/ 2147483646 h 50"/>
              <a:gd name="T12" fmla="*/ 2147483646 w 86"/>
              <a:gd name="T13" fmla="*/ 0 h 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6"/>
              <a:gd name="T22" fmla="*/ 0 h 50"/>
              <a:gd name="T23" fmla="*/ 86 w 86"/>
              <a:gd name="T24" fmla="*/ 50 h 5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6" h="50">
                <a:moveTo>
                  <a:pt x="51" y="0"/>
                </a:moveTo>
                <a:cubicBezTo>
                  <a:pt x="46" y="0"/>
                  <a:pt x="39" y="2"/>
                  <a:pt x="30" y="13"/>
                </a:cubicBezTo>
                <a:cubicBezTo>
                  <a:pt x="21" y="23"/>
                  <a:pt x="0" y="35"/>
                  <a:pt x="11" y="39"/>
                </a:cubicBezTo>
                <a:cubicBezTo>
                  <a:pt x="21" y="42"/>
                  <a:pt x="35" y="7"/>
                  <a:pt x="49" y="28"/>
                </a:cubicBezTo>
                <a:cubicBezTo>
                  <a:pt x="63" y="50"/>
                  <a:pt x="86" y="18"/>
                  <a:pt x="79" y="14"/>
                </a:cubicBezTo>
                <a:cubicBezTo>
                  <a:pt x="72" y="11"/>
                  <a:pt x="69" y="2"/>
                  <a:pt x="69" y="2"/>
                </a:cubicBezTo>
                <a:lnTo>
                  <a:pt x="5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33" name="Freeform 569"/>
          <p:cNvSpPr>
            <a:spLocks/>
          </p:cNvSpPr>
          <p:nvPr userDrawn="1"/>
        </p:nvSpPr>
        <p:spPr bwMode="auto">
          <a:xfrm>
            <a:off x="9787270" y="2463531"/>
            <a:ext cx="137357" cy="73704"/>
          </a:xfrm>
          <a:custGeom>
            <a:avLst/>
            <a:gdLst>
              <a:gd name="T0" fmla="*/ 2147483646 w 147"/>
              <a:gd name="T1" fmla="*/ 2147483646 h 78"/>
              <a:gd name="T2" fmla="*/ 2147483646 w 147"/>
              <a:gd name="T3" fmla="*/ 2147483646 h 78"/>
              <a:gd name="T4" fmla="*/ 2147483646 w 147"/>
              <a:gd name="T5" fmla="*/ 2147483646 h 78"/>
              <a:gd name="T6" fmla="*/ 2147483646 w 147"/>
              <a:gd name="T7" fmla="*/ 2147483646 h 78"/>
              <a:gd name="T8" fmla="*/ 2147483646 w 147"/>
              <a:gd name="T9" fmla="*/ 2147483646 h 78"/>
              <a:gd name="T10" fmla="*/ 2147483646 w 147"/>
              <a:gd name="T11" fmla="*/ 2147483646 h 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7"/>
              <a:gd name="T19" fmla="*/ 0 h 78"/>
              <a:gd name="T20" fmla="*/ 147 w 147"/>
              <a:gd name="T21" fmla="*/ 78 h 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7" h="78">
                <a:moveTo>
                  <a:pt x="79" y="7"/>
                </a:moveTo>
                <a:cubicBezTo>
                  <a:pt x="68" y="0"/>
                  <a:pt x="61" y="3"/>
                  <a:pt x="35" y="24"/>
                </a:cubicBezTo>
                <a:cubicBezTo>
                  <a:pt x="9" y="45"/>
                  <a:pt x="0" y="78"/>
                  <a:pt x="18" y="73"/>
                </a:cubicBezTo>
                <a:cubicBezTo>
                  <a:pt x="37" y="68"/>
                  <a:pt x="61" y="35"/>
                  <a:pt x="82" y="47"/>
                </a:cubicBezTo>
                <a:cubicBezTo>
                  <a:pt x="103" y="59"/>
                  <a:pt x="147" y="21"/>
                  <a:pt x="138" y="19"/>
                </a:cubicBezTo>
                <a:cubicBezTo>
                  <a:pt x="129" y="17"/>
                  <a:pt x="79" y="7"/>
                  <a:pt x="79" y="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34" name="Freeform 570"/>
          <p:cNvSpPr>
            <a:spLocks/>
          </p:cNvSpPr>
          <p:nvPr userDrawn="1"/>
        </p:nvSpPr>
        <p:spPr bwMode="auto">
          <a:xfrm>
            <a:off x="8195931" y="2230693"/>
            <a:ext cx="40203" cy="43552"/>
          </a:xfrm>
          <a:custGeom>
            <a:avLst/>
            <a:gdLst>
              <a:gd name="T0" fmla="*/ 2147483646 w 43"/>
              <a:gd name="T1" fmla="*/ 0 h 46"/>
              <a:gd name="T2" fmla="*/ 2147483646 w 43"/>
              <a:gd name="T3" fmla="*/ 2147483646 h 46"/>
              <a:gd name="T4" fmla="*/ 2147483646 w 43"/>
              <a:gd name="T5" fmla="*/ 2147483646 h 46"/>
              <a:gd name="T6" fmla="*/ 2147483646 w 43"/>
              <a:gd name="T7" fmla="*/ 2147483646 h 46"/>
              <a:gd name="T8" fmla="*/ 2147483646 w 43"/>
              <a:gd name="T9" fmla="*/ 0 h 4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3"/>
              <a:gd name="T16" fmla="*/ 0 h 46"/>
              <a:gd name="T17" fmla="*/ 43 w 43"/>
              <a:gd name="T18" fmla="*/ 46 h 4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3" h="46">
                <a:moveTo>
                  <a:pt x="30" y="0"/>
                </a:moveTo>
                <a:cubicBezTo>
                  <a:pt x="18" y="0"/>
                  <a:pt x="0" y="0"/>
                  <a:pt x="5" y="13"/>
                </a:cubicBezTo>
                <a:cubicBezTo>
                  <a:pt x="10" y="26"/>
                  <a:pt x="28" y="46"/>
                  <a:pt x="35" y="38"/>
                </a:cubicBezTo>
                <a:cubicBezTo>
                  <a:pt x="43" y="31"/>
                  <a:pt x="43" y="15"/>
                  <a:pt x="43" y="15"/>
                </a:cubicBezTo>
                <a:lnTo>
                  <a:pt x="3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35" name="Freeform 571"/>
          <p:cNvSpPr>
            <a:spLocks/>
          </p:cNvSpPr>
          <p:nvPr userDrawn="1"/>
        </p:nvSpPr>
        <p:spPr bwMode="auto">
          <a:xfrm>
            <a:off x="7401937" y="2332874"/>
            <a:ext cx="30152" cy="45228"/>
          </a:xfrm>
          <a:custGeom>
            <a:avLst/>
            <a:gdLst>
              <a:gd name="T0" fmla="*/ 2147483646 w 33"/>
              <a:gd name="T1" fmla="*/ 0 h 49"/>
              <a:gd name="T2" fmla="*/ 2147483646 w 33"/>
              <a:gd name="T3" fmla="*/ 2147483646 h 49"/>
              <a:gd name="T4" fmla="*/ 2147483646 w 33"/>
              <a:gd name="T5" fmla="*/ 2147483646 h 49"/>
              <a:gd name="T6" fmla="*/ 2147483646 w 33"/>
              <a:gd name="T7" fmla="*/ 2147483646 h 49"/>
              <a:gd name="T8" fmla="*/ 2147483646 w 33"/>
              <a:gd name="T9" fmla="*/ 0 h 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49"/>
              <a:gd name="T17" fmla="*/ 33 w 33"/>
              <a:gd name="T18" fmla="*/ 49 h 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49">
                <a:moveTo>
                  <a:pt x="15" y="0"/>
                </a:moveTo>
                <a:cubicBezTo>
                  <a:pt x="5" y="0"/>
                  <a:pt x="0" y="21"/>
                  <a:pt x="2" y="28"/>
                </a:cubicBezTo>
                <a:cubicBezTo>
                  <a:pt x="5" y="36"/>
                  <a:pt x="23" y="49"/>
                  <a:pt x="28" y="41"/>
                </a:cubicBezTo>
                <a:cubicBezTo>
                  <a:pt x="33" y="33"/>
                  <a:pt x="23" y="5"/>
                  <a:pt x="23" y="5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36" name="Freeform 572"/>
          <p:cNvSpPr>
            <a:spLocks/>
          </p:cNvSpPr>
          <p:nvPr userDrawn="1"/>
        </p:nvSpPr>
        <p:spPr bwMode="auto">
          <a:xfrm>
            <a:off x="7110471" y="1744918"/>
            <a:ext cx="68679" cy="100505"/>
          </a:xfrm>
          <a:custGeom>
            <a:avLst/>
            <a:gdLst>
              <a:gd name="T0" fmla="*/ 2147483646 w 74"/>
              <a:gd name="T1" fmla="*/ 2147483646 h 107"/>
              <a:gd name="T2" fmla="*/ 2147483646 w 74"/>
              <a:gd name="T3" fmla="*/ 2147483646 h 107"/>
              <a:gd name="T4" fmla="*/ 2147483646 w 74"/>
              <a:gd name="T5" fmla="*/ 2147483646 h 107"/>
              <a:gd name="T6" fmla="*/ 2147483646 w 74"/>
              <a:gd name="T7" fmla="*/ 2147483646 h 107"/>
              <a:gd name="T8" fmla="*/ 2147483646 w 74"/>
              <a:gd name="T9" fmla="*/ 2147483646 h 107"/>
              <a:gd name="T10" fmla="*/ 2147483646 w 74"/>
              <a:gd name="T11" fmla="*/ 2147483646 h 10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4"/>
              <a:gd name="T19" fmla="*/ 0 h 107"/>
              <a:gd name="T20" fmla="*/ 74 w 74"/>
              <a:gd name="T21" fmla="*/ 107 h 10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4" h="107">
                <a:moveTo>
                  <a:pt x="44" y="15"/>
                </a:moveTo>
                <a:cubicBezTo>
                  <a:pt x="31" y="8"/>
                  <a:pt x="21" y="0"/>
                  <a:pt x="11" y="33"/>
                </a:cubicBezTo>
                <a:cubicBezTo>
                  <a:pt x="0" y="66"/>
                  <a:pt x="0" y="107"/>
                  <a:pt x="16" y="97"/>
                </a:cubicBezTo>
                <a:cubicBezTo>
                  <a:pt x="31" y="86"/>
                  <a:pt x="46" y="71"/>
                  <a:pt x="56" y="64"/>
                </a:cubicBezTo>
                <a:cubicBezTo>
                  <a:pt x="66" y="56"/>
                  <a:pt x="74" y="36"/>
                  <a:pt x="74" y="36"/>
                </a:cubicBezTo>
                <a:lnTo>
                  <a:pt x="44" y="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37" name="Freeform 573"/>
          <p:cNvSpPr>
            <a:spLocks/>
          </p:cNvSpPr>
          <p:nvPr userDrawn="1"/>
        </p:nvSpPr>
        <p:spPr bwMode="auto">
          <a:xfrm>
            <a:off x="7038442" y="1811921"/>
            <a:ext cx="56953" cy="78729"/>
          </a:xfrm>
          <a:custGeom>
            <a:avLst/>
            <a:gdLst>
              <a:gd name="T0" fmla="*/ 2147483646 w 61"/>
              <a:gd name="T1" fmla="*/ 0 h 84"/>
              <a:gd name="T2" fmla="*/ 2147483646 w 61"/>
              <a:gd name="T3" fmla="*/ 2147483646 h 84"/>
              <a:gd name="T4" fmla="*/ 2147483646 w 61"/>
              <a:gd name="T5" fmla="*/ 2147483646 h 84"/>
              <a:gd name="T6" fmla="*/ 2147483646 w 61"/>
              <a:gd name="T7" fmla="*/ 2147483646 h 84"/>
              <a:gd name="T8" fmla="*/ 2147483646 w 61"/>
              <a:gd name="T9" fmla="*/ 2147483646 h 84"/>
              <a:gd name="T10" fmla="*/ 2147483646 w 61"/>
              <a:gd name="T11" fmla="*/ 0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1"/>
              <a:gd name="T19" fmla="*/ 0 h 84"/>
              <a:gd name="T20" fmla="*/ 61 w 61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1" h="84">
                <a:moveTo>
                  <a:pt x="53" y="0"/>
                </a:moveTo>
                <a:cubicBezTo>
                  <a:pt x="40" y="10"/>
                  <a:pt x="17" y="8"/>
                  <a:pt x="17" y="8"/>
                </a:cubicBezTo>
                <a:cubicBezTo>
                  <a:pt x="17" y="8"/>
                  <a:pt x="0" y="43"/>
                  <a:pt x="17" y="64"/>
                </a:cubicBezTo>
                <a:cubicBezTo>
                  <a:pt x="35" y="84"/>
                  <a:pt x="45" y="76"/>
                  <a:pt x="53" y="71"/>
                </a:cubicBezTo>
                <a:cubicBezTo>
                  <a:pt x="61" y="66"/>
                  <a:pt x="58" y="36"/>
                  <a:pt x="58" y="36"/>
                </a:cubicBezTo>
                <a:lnTo>
                  <a:pt x="5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38" name="Freeform 574"/>
          <p:cNvSpPr>
            <a:spLocks/>
          </p:cNvSpPr>
          <p:nvPr userDrawn="1"/>
        </p:nvSpPr>
        <p:spPr bwMode="auto">
          <a:xfrm>
            <a:off x="6988189" y="1877248"/>
            <a:ext cx="43552" cy="38528"/>
          </a:xfrm>
          <a:custGeom>
            <a:avLst/>
            <a:gdLst>
              <a:gd name="T0" fmla="*/ 2147483646 w 48"/>
              <a:gd name="T1" fmla="*/ 0 h 41"/>
              <a:gd name="T2" fmla="*/ 2147483646 w 48"/>
              <a:gd name="T3" fmla="*/ 2147483646 h 41"/>
              <a:gd name="T4" fmla="*/ 2147483646 w 48"/>
              <a:gd name="T5" fmla="*/ 2147483646 h 41"/>
              <a:gd name="T6" fmla="*/ 2147483646 w 48"/>
              <a:gd name="T7" fmla="*/ 2147483646 h 41"/>
              <a:gd name="T8" fmla="*/ 2147483646 w 48"/>
              <a:gd name="T9" fmla="*/ 0 h 4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8"/>
              <a:gd name="T16" fmla="*/ 0 h 41"/>
              <a:gd name="T17" fmla="*/ 48 w 48"/>
              <a:gd name="T18" fmla="*/ 41 h 4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8" h="41">
                <a:moveTo>
                  <a:pt x="26" y="0"/>
                </a:moveTo>
                <a:cubicBezTo>
                  <a:pt x="13" y="0"/>
                  <a:pt x="0" y="31"/>
                  <a:pt x="10" y="36"/>
                </a:cubicBezTo>
                <a:cubicBezTo>
                  <a:pt x="21" y="41"/>
                  <a:pt x="33" y="31"/>
                  <a:pt x="41" y="28"/>
                </a:cubicBezTo>
                <a:cubicBezTo>
                  <a:pt x="48" y="26"/>
                  <a:pt x="46" y="11"/>
                  <a:pt x="46" y="11"/>
                </a:cubicBezTo>
                <a:lnTo>
                  <a:pt x="2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39" name="Freeform 575"/>
          <p:cNvSpPr>
            <a:spLocks/>
          </p:cNvSpPr>
          <p:nvPr userDrawn="1"/>
        </p:nvSpPr>
        <p:spPr bwMode="auto">
          <a:xfrm>
            <a:off x="6701748" y="1795170"/>
            <a:ext cx="167509" cy="135681"/>
          </a:xfrm>
          <a:custGeom>
            <a:avLst/>
            <a:gdLst>
              <a:gd name="T0" fmla="*/ 2147483646 w 180"/>
              <a:gd name="T1" fmla="*/ 2147483646 h 145"/>
              <a:gd name="T2" fmla="*/ 2147483646 w 180"/>
              <a:gd name="T3" fmla="*/ 2147483646 h 145"/>
              <a:gd name="T4" fmla="*/ 2147483646 w 180"/>
              <a:gd name="T5" fmla="*/ 2147483646 h 145"/>
              <a:gd name="T6" fmla="*/ 2147483646 w 180"/>
              <a:gd name="T7" fmla="*/ 2147483646 h 145"/>
              <a:gd name="T8" fmla="*/ 2147483646 w 180"/>
              <a:gd name="T9" fmla="*/ 2147483646 h 145"/>
              <a:gd name="T10" fmla="*/ 2147483646 w 180"/>
              <a:gd name="T11" fmla="*/ 2147483646 h 145"/>
              <a:gd name="T12" fmla="*/ 2147483646 w 180"/>
              <a:gd name="T13" fmla="*/ 2147483646 h 145"/>
              <a:gd name="T14" fmla="*/ 2147483646 w 180"/>
              <a:gd name="T15" fmla="*/ 2147483646 h 145"/>
              <a:gd name="T16" fmla="*/ 2147483646 w 180"/>
              <a:gd name="T17" fmla="*/ 2147483646 h 145"/>
              <a:gd name="T18" fmla="*/ 2147483646 w 180"/>
              <a:gd name="T19" fmla="*/ 0 h 145"/>
              <a:gd name="T20" fmla="*/ 2147483646 w 180"/>
              <a:gd name="T21" fmla="*/ 2147483646 h 14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80"/>
              <a:gd name="T34" fmla="*/ 0 h 145"/>
              <a:gd name="T35" fmla="*/ 180 w 180"/>
              <a:gd name="T36" fmla="*/ 145 h 14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80" h="145">
                <a:moveTo>
                  <a:pt x="104" y="61"/>
                </a:moveTo>
                <a:cubicBezTo>
                  <a:pt x="91" y="69"/>
                  <a:pt x="68" y="59"/>
                  <a:pt x="56" y="59"/>
                </a:cubicBezTo>
                <a:cubicBezTo>
                  <a:pt x="43" y="59"/>
                  <a:pt x="20" y="77"/>
                  <a:pt x="35" y="87"/>
                </a:cubicBezTo>
                <a:cubicBezTo>
                  <a:pt x="51" y="97"/>
                  <a:pt x="0" y="115"/>
                  <a:pt x="33" y="130"/>
                </a:cubicBezTo>
                <a:cubicBezTo>
                  <a:pt x="66" y="145"/>
                  <a:pt x="81" y="138"/>
                  <a:pt x="89" y="122"/>
                </a:cubicBezTo>
                <a:cubicBezTo>
                  <a:pt x="96" y="107"/>
                  <a:pt x="107" y="105"/>
                  <a:pt x="117" y="110"/>
                </a:cubicBezTo>
                <a:cubicBezTo>
                  <a:pt x="127" y="115"/>
                  <a:pt x="127" y="92"/>
                  <a:pt x="140" y="94"/>
                </a:cubicBezTo>
                <a:cubicBezTo>
                  <a:pt x="152" y="97"/>
                  <a:pt x="152" y="72"/>
                  <a:pt x="162" y="69"/>
                </a:cubicBezTo>
                <a:cubicBezTo>
                  <a:pt x="173" y="67"/>
                  <a:pt x="180" y="44"/>
                  <a:pt x="165" y="41"/>
                </a:cubicBezTo>
                <a:cubicBezTo>
                  <a:pt x="150" y="39"/>
                  <a:pt x="129" y="0"/>
                  <a:pt x="129" y="0"/>
                </a:cubicBezTo>
                <a:lnTo>
                  <a:pt x="104" y="6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40" name="Freeform 576"/>
          <p:cNvSpPr>
            <a:spLocks/>
          </p:cNvSpPr>
          <p:nvPr userDrawn="1"/>
        </p:nvSpPr>
        <p:spPr bwMode="auto">
          <a:xfrm>
            <a:off x="6614644" y="1806895"/>
            <a:ext cx="149083" cy="75380"/>
          </a:xfrm>
          <a:custGeom>
            <a:avLst/>
            <a:gdLst>
              <a:gd name="T0" fmla="*/ 2147483646 w 160"/>
              <a:gd name="T1" fmla="*/ 0 h 81"/>
              <a:gd name="T2" fmla="*/ 2147483646 w 160"/>
              <a:gd name="T3" fmla="*/ 2147483646 h 81"/>
              <a:gd name="T4" fmla="*/ 2147483646 w 160"/>
              <a:gd name="T5" fmla="*/ 2147483646 h 81"/>
              <a:gd name="T6" fmla="*/ 2147483646 w 160"/>
              <a:gd name="T7" fmla="*/ 2147483646 h 81"/>
              <a:gd name="T8" fmla="*/ 2147483646 w 160"/>
              <a:gd name="T9" fmla="*/ 2147483646 h 81"/>
              <a:gd name="T10" fmla="*/ 2147483646 w 160"/>
              <a:gd name="T11" fmla="*/ 2147483646 h 81"/>
              <a:gd name="T12" fmla="*/ 2147483646 w 160"/>
              <a:gd name="T13" fmla="*/ 2147483646 h 81"/>
              <a:gd name="T14" fmla="*/ 2147483646 w 160"/>
              <a:gd name="T15" fmla="*/ 0 h 8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60"/>
              <a:gd name="T25" fmla="*/ 0 h 81"/>
              <a:gd name="T26" fmla="*/ 160 w 160"/>
              <a:gd name="T27" fmla="*/ 81 h 8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60" h="81">
                <a:moveTo>
                  <a:pt x="130" y="0"/>
                </a:moveTo>
                <a:cubicBezTo>
                  <a:pt x="125" y="10"/>
                  <a:pt x="110" y="15"/>
                  <a:pt x="92" y="20"/>
                </a:cubicBezTo>
                <a:cubicBezTo>
                  <a:pt x="74" y="26"/>
                  <a:pt x="61" y="23"/>
                  <a:pt x="49" y="36"/>
                </a:cubicBezTo>
                <a:cubicBezTo>
                  <a:pt x="36" y="48"/>
                  <a:pt x="0" y="56"/>
                  <a:pt x="31" y="69"/>
                </a:cubicBezTo>
                <a:cubicBezTo>
                  <a:pt x="61" y="81"/>
                  <a:pt x="82" y="69"/>
                  <a:pt x="97" y="56"/>
                </a:cubicBezTo>
                <a:cubicBezTo>
                  <a:pt x="112" y="43"/>
                  <a:pt x="122" y="8"/>
                  <a:pt x="135" y="20"/>
                </a:cubicBezTo>
                <a:cubicBezTo>
                  <a:pt x="148" y="33"/>
                  <a:pt x="160" y="20"/>
                  <a:pt x="160" y="20"/>
                </a:cubicBezTo>
                <a:lnTo>
                  <a:pt x="13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41" name="Freeform 577"/>
          <p:cNvSpPr>
            <a:spLocks/>
          </p:cNvSpPr>
          <p:nvPr userDrawn="1"/>
        </p:nvSpPr>
        <p:spPr bwMode="auto">
          <a:xfrm>
            <a:off x="6897734" y="1783444"/>
            <a:ext cx="90455" cy="63653"/>
          </a:xfrm>
          <a:custGeom>
            <a:avLst/>
            <a:gdLst>
              <a:gd name="T0" fmla="*/ 2147483646 w 96"/>
              <a:gd name="T1" fmla="*/ 0 h 68"/>
              <a:gd name="T2" fmla="*/ 2147483646 w 96"/>
              <a:gd name="T3" fmla="*/ 2147483646 h 68"/>
              <a:gd name="T4" fmla="*/ 2147483646 w 96"/>
              <a:gd name="T5" fmla="*/ 2147483646 h 68"/>
              <a:gd name="T6" fmla="*/ 2147483646 w 96"/>
              <a:gd name="T7" fmla="*/ 2147483646 h 68"/>
              <a:gd name="T8" fmla="*/ 2147483646 w 96"/>
              <a:gd name="T9" fmla="*/ 2147483646 h 68"/>
              <a:gd name="T10" fmla="*/ 2147483646 w 96"/>
              <a:gd name="T11" fmla="*/ 2147483646 h 68"/>
              <a:gd name="T12" fmla="*/ 2147483646 w 96"/>
              <a:gd name="T13" fmla="*/ 2147483646 h 68"/>
              <a:gd name="T14" fmla="*/ 2147483646 w 96"/>
              <a:gd name="T15" fmla="*/ 2147483646 h 68"/>
              <a:gd name="T16" fmla="*/ 2147483646 w 96"/>
              <a:gd name="T17" fmla="*/ 2147483646 h 68"/>
              <a:gd name="T18" fmla="*/ 2147483646 w 96"/>
              <a:gd name="T19" fmla="*/ 0 h 6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6"/>
              <a:gd name="T31" fmla="*/ 0 h 68"/>
              <a:gd name="T32" fmla="*/ 96 w 96"/>
              <a:gd name="T33" fmla="*/ 68 h 6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6" h="68">
                <a:moveTo>
                  <a:pt x="40" y="0"/>
                </a:moveTo>
                <a:cubicBezTo>
                  <a:pt x="40" y="0"/>
                  <a:pt x="63" y="0"/>
                  <a:pt x="73" y="15"/>
                </a:cubicBezTo>
                <a:cubicBezTo>
                  <a:pt x="84" y="30"/>
                  <a:pt x="96" y="56"/>
                  <a:pt x="96" y="56"/>
                </a:cubicBezTo>
                <a:cubicBezTo>
                  <a:pt x="63" y="68"/>
                  <a:pt x="63" y="68"/>
                  <a:pt x="63" y="68"/>
                </a:cubicBezTo>
                <a:cubicBezTo>
                  <a:pt x="63" y="68"/>
                  <a:pt x="53" y="53"/>
                  <a:pt x="43" y="61"/>
                </a:cubicBezTo>
                <a:cubicBezTo>
                  <a:pt x="33" y="68"/>
                  <a:pt x="15" y="61"/>
                  <a:pt x="7" y="53"/>
                </a:cubicBezTo>
                <a:cubicBezTo>
                  <a:pt x="0" y="45"/>
                  <a:pt x="10" y="25"/>
                  <a:pt x="25" y="35"/>
                </a:cubicBezTo>
                <a:cubicBezTo>
                  <a:pt x="40" y="45"/>
                  <a:pt x="63" y="51"/>
                  <a:pt x="63" y="51"/>
                </a:cubicBezTo>
                <a:cubicBezTo>
                  <a:pt x="50" y="15"/>
                  <a:pt x="50" y="15"/>
                  <a:pt x="50" y="15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42" name="Freeform 578"/>
          <p:cNvSpPr>
            <a:spLocks/>
          </p:cNvSpPr>
          <p:nvPr userDrawn="1"/>
        </p:nvSpPr>
        <p:spPr bwMode="auto">
          <a:xfrm>
            <a:off x="6959713" y="1721466"/>
            <a:ext cx="31827" cy="38527"/>
          </a:xfrm>
          <a:custGeom>
            <a:avLst/>
            <a:gdLst>
              <a:gd name="T0" fmla="*/ 2147483646 w 35"/>
              <a:gd name="T1" fmla="*/ 2147483646 h 40"/>
              <a:gd name="T2" fmla="*/ 2147483646 w 35"/>
              <a:gd name="T3" fmla="*/ 2147483646 h 40"/>
              <a:gd name="T4" fmla="*/ 2147483646 w 35"/>
              <a:gd name="T5" fmla="*/ 2147483646 h 40"/>
              <a:gd name="T6" fmla="*/ 2147483646 w 35"/>
              <a:gd name="T7" fmla="*/ 2147483646 h 40"/>
              <a:gd name="T8" fmla="*/ 2147483646 w 35"/>
              <a:gd name="T9" fmla="*/ 0 h 40"/>
              <a:gd name="T10" fmla="*/ 2147483646 w 35"/>
              <a:gd name="T11" fmla="*/ 2147483646 h 4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5"/>
              <a:gd name="T19" fmla="*/ 0 h 40"/>
              <a:gd name="T20" fmla="*/ 35 w 35"/>
              <a:gd name="T21" fmla="*/ 40 h 4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5" h="40">
                <a:moveTo>
                  <a:pt x="20" y="10"/>
                </a:moveTo>
                <a:cubicBezTo>
                  <a:pt x="12" y="15"/>
                  <a:pt x="0" y="20"/>
                  <a:pt x="2" y="30"/>
                </a:cubicBezTo>
                <a:cubicBezTo>
                  <a:pt x="5" y="40"/>
                  <a:pt x="23" y="38"/>
                  <a:pt x="23" y="38"/>
                </a:cubicBezTo>
                <a:cubicBezTo>
                  <a:pt x="35" y="17"/>
                  <a:pt x="35" y="17"/>
                  <a:pt x="35" y="17"/>
                </a:cubicBezTo>
                <a:cubicBezTo>
                  <a:pt x="35" y="0"/>
                  <a:pt x="35" y="0"/>
                  <a:pt x="35" y="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43" name="Freeform 579"/>
          <p:cNvSpPr>
            <a:spLocks/>
          </p:cNvSpPr>
          <p:nvPr userDrawn="1"/>
        </p:nvSpPr>
        <p:spPr bwMode="auto">
          <a:xfrm>
            <a:off x="6996566" y="1761668"/>
            <a:ext cx="26801" cy="43552"/>
          </a:xfrm>
          <a:custGeom>
            <a:avLst/>
            <a:gdLst>
              <a:gd name="T0" fmla="*/ 2147483646 w 16"/>
              <a:gd name="T1" fmla="*/ 2147483646 h 26"/>
              <a:gd name="T2" fmla="*/ 0 w 16"/>
              <a:gd name="T3" fmla="*/ 2147483646 h 26"/>
              <a:gd name="T4" fmla="*/ 2147483646 w 16"/>
              <a:gd name="T5" fmla="*/ 2147483646 h 26"/>
              <a:gd name="T6" fmla="*/ 2147483646 w 16"/>
              <a:gd name="T7" fmla="*/ 2147483646 h 26"/>
              <a:gd name="T8" fmla="*/ 2147483646 w 16"/>
              <a:gd name="T9" fmla="*/ 0 h 26"/>
              <a:gd name="T10" fmla="*/ 2147483646 w 16"/>
              <a:gd name="T11" fmla="*/ 2147483646 h 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26"/>
              <a:gd name="T20" fmla="*/ 16 w 16"/>
              <a:gd name="T21" fmla="*/ 26 h 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26">
                <a:moveTo>
                  <a:pt x="2" y="9"/>
                </a:moveTo>
                <a:lnTo>
                  <a:pt x="0" y="26"/>
                </a:lnTo>
                <a:lnTo>
                  <a:pt x="9" y="24"/>
                </a:lnTo>
                <a:lnTo>
                  <a:pt x="16" y="13"/>
                </a:lnTo>
                <a:lnTo>
                  <a:pt x="16" y="0"/>
                </a:lnTo>
                <a:lnTo>
                  <a:pt x="2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44" name="Freeform 580"/>
          <p:cNvSpPr>
            <a:spLocks/>
          </p:cNvSpPr>
          <p:nvPr userDrawn="1"/>
        </p:nvSpPr>
        <p:spPr bwMode="auto">
          <a:xfrm>
            <a:off x="7004941" y="1703039"/>
            <a:ext cx="25127" cy="30152"/>
          </a:xfrm>
          <a:custGeom>
            <a:avLst/>
            <a:gdLst>
              <a:gd name="T0" fmla="*/ 0 w 28"/>
              <a:gd name="T1" fmla="*/ 2147483646 h 33"/>
              <a:gd name="T2" fmla="*/ 2147483646 w 28"/>
              <a:gd name="T3" fmla="*/ 2147483646 h 33"/>
              <a:gd name="T4" fmla="*/ 2147483646 w 28"/>
              <a:gd name="T5" fmla="*/ 2147483646 h 33"/>
              <a:gd name="T6" fmla="*/ 0 w 28"/>
              <a:gd name="T7" fmla="*/ 2147483646 h 33"/>
              <a:gd name="T8" fmla="*/ 0 60000 65536"/>
              <a:gd name="T9" fmla="*/ 0 60000 65536"/>
              <a:gd name="T10" fmla="*/ 0 60000 65536"/>
              <a:gd name="T11" fmla="*/ 0 60000 65536"/>
              <a:gd name="T12" fmla="*/ 0 w 28"/>
              <a:gd name="T13" fmla="*/ 0 h 33"/>
              <a:gd name="T14" fmla="*/ 28 w 28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8" h="33">
                <a:moveTo>
                  <a:pt x="0" y="8"/>
                </a:moveTo>
                <a:cubicBezTo>
                  <a:pt x="8" y="23"/>
                  <a:pt x="25" y="33"/>
                  <a:pt x="25" y="33"/>
                </a:cubicBezTo>
                <a:cubicBezTo>
                  <a:pt x="28" y="13"/>
                  <a:pt x="28" y="13"/>
                  <a:pt x="28" y="13"/>
                </a:cubicBezTo>
                <a:cubicBezTo>
                  <a:pt x="13" y="0"/>
                  <a:pt x="0" y="8"/>
                  <a:pt x="0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45" name="Freeform 581"/>
          <p:cNvSpPr>
            <a:spLocks/>
          </p:cNvSpPr>
          <p:nvPr userDrawn="1"/>
        </p:nvSpPr>
        <p:spPr bwMode="auto">
          <a:xfrm>
            <a:off x="7130572" y="1692988"/>
            <a:ext cx="41877" cy="31827"/>
          </a:xfrm>
          <a:custGeom>
            <a:avLst/>
            <a:gdLst>
              <a:gd name="T0" fmla="*/ 2147483646 w 45"/>
              <a:gd name="T1" fmla="*/ 0 h 33"/>
              <a:gd name="T2" fmla="*/ 2147483646 w 45"/>
              <a:gd name="T3" fmla="*/ 2147483646 h 33"/>
              <a:gd name="T4" fmla="*/ 2147483646 w 45"/>
              <a:gd name="T5" fmla="*/ 2147483646 h 33"/>
              <a:gd name="T6" fmla="*/ 2147483646 w 45"/>
              <a:gd name="T7" fmla="*/ 2147483646 h 33"/>
              <a:gd name="T8" fmla="*/ 2147483646 w 45"/>
              <a:gd name="T9" fmla="*/ 0 h 3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5"/>
              <a:gd name="T16" fmla="*/ 0 h 33"/>
              <a:gd name="T17" fmla="*/ 45 w 45"/>
              <a:gd name="T18" fmla="*/ 33 h 3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5" h="33">
                <a:moveTo>
                  <a:pt x="15" y="0"/>
                </a:moveTo>
                <a:cubicBezTo>
                  <a:pt x="5" y="18"/>
                  <a:pt x="0" y="33"/>
                  <a:pt x="15" y="33"/>
                </a:cubicBezTo>
                <a:cubicBezTo>
                  <a:pt x="30" y="33"/>
                  <a:pt x="35" y="26"/>
                  <a:pt x="35" y="26"/>
                </a:cubicBezTo>
                <a:cubicBezTo>
                  <a:pt x="35" y="26"/>
                  <a:pt x="45" y="15"/>
                  <a:pt x="38" y="10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46" name="Freeform 582"/>
          <p:cNvSpPr>
            <a:spLocks/>
          </p:cNvSpPr>
          <p:nvPr userDrawn="1"/>
        </p:nvSpPr>
        <p:spPr bwMode="auto">
          <a:xfrm>
            <a:off x="6870932" y="1882275"/>
            <a:ext cx="38528" cy="33501"/>
          </a:xfrm>
          <a:custGeom>
            <a:avLst/>
            <a:gdLst>
              <a:gd name="T0" fmla="*/ 0 w 40"/>
              <a:gd name="T1" fmla="*/ 2147483646 h 36"/>
              <a:gd name="T2" fmla="*/ 2147483646 w 40"/>
              <a:gd name="T3" fmla="*/ 2147483646 h 36"/>
              <a:gd name="T4" fmla="*/ 2147483646 w 40"/>
              <a:gd name="T5" fmla="*/ 2147483646 h 36"/>
              <a:gd name="T6" fmla="*/ 2147483646 w 40"/>
              <a:gd name="T7" fmla="*/ 2147483646 h 36"/>
              <a:gd name="T8" fmla="*/ 0 w 40"/>
              <a:gd name="T9" fmla="*/ 2147483646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0"/>
              <a:gd name="T16" fmla="*/ 0 h 36"/>
              <a:gd name="T17" fmla="*/ 40 w 40"/>
              <a:gd name="T18" fmla="*/ 36 h 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0" h="36">
                <a:moveTo>
                  <a:pt x="0" y="16"/>
                </a:moveTo>
                <a:cubicBezTo>
                  <a:pt x="0" y="16"/>
                  <a:pt x="7" y="0"/>
                  <a:pt x="15" y="6"/>
                </a:cubicBezTo>
                <a:cubicBezTo>
                  <a:pt x="23" y="11"/>
                  <a:pt x="35" y="13"/>
                  <a:pt x="38" y="21"/>
                </a:cubicBezTo>
                <a:cubicBezTo>
                  <a:pt x="40" y="28"/>
                  <a:pt x="23" y="36"/>
                  <a:pt x="23" y="36"/>
                </a:cubicBezTo>
                <a:lnTo>
                  <a:pt x="0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47" name="Freeform 583"/>
          <p:cNvSpPr>
            <a:spLocks/>
          </p:cNvSpPr>
          <p:nvPr userDrawn="1"/>
        </p:nvSpPr>
        <p:spPr bwMode="auto">
          <a:xfrm>
            <a:off x="6817329" y="1909076"/>
            <a:ext cx="30152" cy="15075"/>
          </a:xfrm>
          <a:custGeom>
            <a:avLst/>
            <a:gdLst>
              <a:gd name="T0" fmla="*/ 0 w 33"/>
              <a:gd name="T1" fmla="*/ 2147483646 h 16"/>
              <a:gd name="T2" fmla="*/ 2147483646 w 33"/>
              <a:gd name="T3" fmla="*/ 0 h 16"/>
              <a:gd name="T4" fmla="*/ 2147483646 w 33"/>
              <a:gd name="T5" fmla="*/ 2147483646 h 16"/>
              <a:gd name="T6" fmla="*/ 2147483646 w 33"/>
              <a:gd name="T7" fmla="*/ 2147483646 h 16"/>
              <a:gd name="T8" fmla="*/ 0 w 33"/>
              <a:gd name="T9" fmla="*/ 2147483646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16"/>
              <a:gd name="T17" fmla="*/ 33 w 33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16">
                <a:moveTo>
                  <a:pt x="0" y="13"/>
                </a:moveTo>
                <a:cubicBezTo>
                  <a:pt x="5" y="0"/>
                  <a:pt x="16" y="0"/>
                  <a:pt x="16" y="0"/>
                </a:cubicBezTo>
                <a:cubicBezTo>
                  <a:pt x="33" y="16"/>
                  <a:pt x="33" y="16"/>
                  <a:pt x="33" y="16"/>
                </a:cubicBezTo>
                <a:cubicBezTo>
                  <a:pt x="33" y="16"/>
                  <a:pt x="33" y="16"/>
                  <a:pt x="33" y="16"/>
                </a:cubicBezTo>
                <a:lnTo>
                  <a:pt x="0" y="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48" name="Freeform 584"/>
          <p:cNvSpPr>
            <a:spLocks/>
          </p:cNvSpPr>
          <p:nvPr userDrawn="1"/>
        </p:nvSpPr>
        <p:spPr bwMode="auto">
          <a:xfrm>
            <a:off x="6641446" y="3401582"/>
            <a:ext cx="983279" cy="520955"/>
          </a:xfrm>
          <a:custGeom>
            <a:avLst/>
            <a:gdLst>
              <a:gd name="T0" fmla="*/ 2147483646 w 1053"/>
              <a:gd name="T1" fmla="*/ 2147483646 h 558"/>
              <a:gd name="T2" fmla="*/ 2147483646 w 1053"/>
              <a:gd name="T3" fmla="*/ 2147483646 h 558"/>
              <a:gd name="T4" fmla="*/ 2147483646 w 1053"/>
              <a:gd name="T5" fmla="*/ 2147483646 h 558"/>
              <a:gd name="T6" fmla="*/ 2147483646 w 1053"/>
              <a:gd name="T7" fmla="*/ 2147483646 h 558"/>
              <a:gd name="T8" fmla="*/ 2147483646 w 1053"/>
              <a:gd name="T9" fmla="*/ 2147483646 h 558"/>
              <a:gd name="T10" fmla="*/ 2147483646 w 1053"/>
              <a:gd name="T11" fmla="*/ 2147483646 h 558"/>
              <a:gd name="T12" fmla="*/ 2147483646 w 1053"/>
              <a:gd name="T13" fmla="*/ 2147483646 h 558"/>
              <a:gd name="T14" fmla="*/ 2147483646 w 1053"/>
              <a:gd name="T15" fmla="*/ 2147483646 h 558"/>
              <a:gd name="T16" fmla="*/ 2147483646 w 1053"/>
              <a:gd name="T17" fmla="*/ 2147483646 h 558"/>
              <a:gd name="T18" fmla="*/ 2147483646 w 1053"/>
              <a:gd name="T19" fmla="*/ 2147483646 h 558"/>
              <a:gd name="T20" fmla="*/ 2147483646 w 1053"/>
              <a:gd name="T21" fmla="*/ 2147483646 h 558"/>
              <a:gd name="T22" fmla="*/ 2147483646 w 1053"/>
              <a:gd name="T23" fmla="*/ 2147483646 h 558"/>
              <a:gd name="T24" fmla="*/ 2147483646 w 1053"/>
              <a:gd name="T25" fmla="*/ 2147483646 h 558"/>
              <a:gd name="T26" fmla="*/ 2147483646 w 1053"/>
              <a:gd name="T27" fmla="*/ 2147483646 h 558"/>
              <a:gd name="T28" fmla="*/ 2147483646 w 1053"/>
              <a:gd name="T29" fmla="*/ 2147483646 h 558"/>
              <a:gd name="T30" fmla="*/ 2147483646 w 1053"/>
              <a:gd name="T31" fmla="*/ 2147483646 h 558"/>
              <a:gd name="T32" fmla="*/ 2147483646 w 1053"/>
              <a:gd name="T33" fmla="*/ 2147483646 h 558"/>
              <a:gd name="T34" fmla="*/ 2147483646 w 1053"/>
              <a:gd name="T35" fmla="*/ 2147483646 h 558"/>
              <a:gd name="T36" fmla="*/ 2147483646 w 1053"/>
              <a:gd name="T37" fmla="*/ 2147483646 h 558"/>
              <a:gd name="T38" fmla="*/ 2147483646 w 1053"/>
              <a:gd name="T39" fmla="*/ 2147483646 h 558"/>
              <a:gd name="T40" fmla="*/ 2147483646 w 1053"/>
              <a:gd name="T41" fmla="*/ 2147483646 h 558"/>
              <a:gd name="T42" fmla="*/ 2147483646 w 1053"/>
              <a:gd name="T43" fmla="*/ 2147483646 h 558"/>
              <a:gd name="T44" fmla="*/ 2147483646 w 1053"/>
              <a:gd name="T45" fmla="*/ 2147483646 h 558"/>
              <a:gd name="T46" fmla="*/ 2147483646 w 1053"/>
              <a:gd name="T47" fmla="*/ 2147483646 h 558"/>
              <a:gd name="T48" fmla="*/ 2147483646 w 1053"/>
              <a:gd name="T49" fmla="*/ 2147483646 h 558"/>
              <a:gd name="T50" fmla="*/ 2147483646 w 1053"/>
              <a:gd name="T51" fmla="*/ 2147483646 h 558"/>
              <a:gd name="T52" fmla="*/ 2147483646 w 1053"/>
              <a:gd name="T53" fmla="*/ 2147483646 h 558"/>
              <a:gd name="T54" fmla="*/ 2147483646 w 1053"/>
              <a:gd name="T55" fmla="*/ 2147483646 h 558"/>
              <a:gd name="T56" fmla="*/ 2147483646 w 1053"/>
              <a:gd name="T57" fmla="*/ 2147483646 h 558"/>
              <a:gd name="T58" fmla="*/ 2147483646 w 1053"/>
              <a:gd name="T59" fmla="*/ 2147483646 h 558"/>
              <a:gd name="T60" fmla="*/ 2147483646 w 1053"/>
              <a:gd name="T61" fmla="*/ 2147483646 h 558"/>
              <a:gd name="T62" fmla="*/ 2147483646 w 1053"/>
              <a:gd name="T63" fmla="*/ 2147483646 h 558"/>
              <a:gd name="T64" fmla="*/ 2147483646 w 1053"/>
              <a:gd name="T65" fmla="*/ 2147483646 h 558"/>
              <a:gd name="T66" fmla="*/ 2147483646 w 1053"/>
              <a:gd name="T67" fmla="*/ 2147483646 h 558"/>
              <a:gd name="T68" fmla="*/ 2147483646 w 1053"/>
              <a:gd name="T69" fmla="*/ 2147483646 h 558"/>
              <a:gd name="T70" fmla="*/ 2147483646 w 1053"/>
              <a:gd name="T71" fmla="*/ 2147483646 h 558"/>
              <a:gd name="T72" fmla="*/ 2147483646 w 1053"/>
              <a:gd name="T73" fmla="*/ 2147483646 h 558"/>
              <a:gd name="T74" fmla="*/ 2147483646 w 1053"/>
              <a:gd name="T75" fmla="*/ 2147483646 h 558"/>
              <a:gd name="T76" fmla="*/ 2147483646 w 1053"/>
              <a:gd name="T77" fmla="*/ 2147483646 h 558"/>
              <a:gd name="T78" fmla="*/ 2147483646 w 1053"/>
              <a:gd name="T79" fmla="*/ 2147483646 h 558"/>
              <a:gd name="T80" fmla="*/ 2147483646 w 1053"/>
              <a:gd name="T81" fmla="*/ 2147483646 h 558"/>
              <a:gd name="T82" fmla="*/ 2147483646 w 1053"/>
              <a:gd name="T83" fmla="*/ 2147483646 h 558"/>
              <a:gd name="T84" fmla="*/ 2147483646 w 1053"/>
              <a:gd name="T85" fmla="*/ 2147483646 h 558"/>
              <a:gd name="T86" fmla="*/ 2147483646 w 1053"/>
              <a:gd name="T87" fmla="*/ 2147483646 h 558"/>
              <a:gd name="T88" fmla="*/ 2147483646 w 1053"/>
              <a:gd name="T89" fmla="*/ 2147483646 h 558"/>
              <a:gd name="T90" fmla="*/ 2147483646 w 1053"/>
              <a:gd name="T91" fmla="*/ 2147483646 h 558"/>
              <a:gd name="T92" fmla="*/ 2147483646 w 1053"/>
              <a:gd name="T93" fmla="*/ 2147483646 h 558"/>
              <a:gd name="T94" fmla="*/ 2147483646 w 1053"/>
              <a:gd name="T95" fmla="*/ 2147483646 h 558"/>
              <a:gd name="T96" fmla="*/ 2147483646 w 1053"/>
              <a:gd name="T97" fmla="*/ 2147483646 h 55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053"/>
              <a:gd name="T148" fmla="*/ 0 h 558"/>
              <a:gd name="T149" fmla="*/ 1053 w 1053"/>
              <a:gd name="T150" fmla="*/ 558 h 55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053" h="558">
                <a:moveTo>
                  <a:pt x="10" y="418"/>
                </a:moveTo>
                <a:cubicBezTo>
                  <a:pt x="0" y="400"/>
                  <a:pt x="19" y="382"/>
                  <a:pt x="23" y="366"/>
                </a:cubicBezTo>
                <a:cubicBezTo>
                  <a:pt x="26" y="349"/>
                  <a:pt x="34" y="377"/>
                  <a:pt x="34" y="377"/>
                </a:cubicBezTo>
                <a:cubicBezTo>
                  <a:pt x="34" y="377"/>
                  <a:pt x="47" y="377"/>
                  <a:pt x="54" y="348"/>
                </a:cubicBezTo>
                <a:cubicBezTo>
                  <a:pt x="60" y="319"/>
                  <a:pt x="52" y="325"/>
                  <a:pt x="52" y="325"/>
                </a:cubicBezTo>
                <a:cubicBezTo>
                  <a:pt x="52" y="325"/>
                  <a:pt x="44" y="315"/>
                  <a:pt x="29" y="302"/>
                </a:cubicBezTo>
                <a:cubicBezTo>
                  <a:pt x="15" y="289"/>
                  <a:pt x="3" y="258"/>
                  <a:pt x="3" y="258"/>
                </a:cubicBezTo>
                <a:cubicBezTo>
                  <a:pt x="3" y="258"/>
                  <a:pt x="5" y="240"/>
                  <a:pt x="29" y="223"/>
                </a:cubicBezTo>
                <a:cubicBezTo>
                  <a:pt x="54" y="205"/>
                  <a:pt x="60" y="244"/>
                  <a:pt x="60" y="244"/>
                </a:cubicBezTo>
                <a:cubicBezTo>
                  <a:pt x="60" y="244"/>
                  <a:pt x="65" y="239"/>
                  <a:pt x="57" y="218"/>
                </a:cubicBezTo>
                <a:cubicBezTo>
                  <a:pt x="49" y="197"/>
                  <a:pt x="76" y="193"/>
                  <a:pt x="93" y="180"/>
                </a:cubicBezTo>
                <a:cubicBezTo>
                  <a:pt x="109" y="167"/>
                  <a:pt x="130" y="156"/>
                  <a:pt x="156" y="156"/>
                </a:cubicBezTo>
                <a:cubicBezTo>
                  <a:pt x="182" y="156"/>
                  <a:pt x="176" y="169"/>
                  <a:pt x="194" y="179"/>
                </a:cubicBezTo>
                <a:cubicBezTo>
                  <a:pt x="211" y="188"/>
                  <a:pt x="226" y="198"/>
                  <a:pt x="226" y="198"/>
                </a:cubicBezTo>
                <a:cubicBezTo>
                  <a:pt x="226" y="198"/>
                  <a:pt x="244" y="190"/>
                  <a:pt x="262" y="169"/>
                </a:cubicBezTo>
                <a:cubicBezTo>
                  <a:pt x="280" y="148"/>
                  <a:pt x="275" y="182"/>
                  <a:pt x="281" y="188"/>
                </a:cubicBezTo>
                <a:cubicBezTo>
                  <a:pt x="288" y="195"/>
                  <a:pt x="304" y="192"/>
                  <a:pt x="316" y="179"/>
                </a:cubicBezTo>
                <a:cubicBezTo>
                  <a:pt x="327" y="166"/>
                  <a:pt x="337" y="182"/>
                  <a:pt x="337" y="182"/>
                </a:cubicBezTo>
                <a:cubicBezTo>
                  <a:pt x="337" y="182"/>
                  <a:pt x="359" y="185"/>
                  <a:pt x="371" y="184"/>
                </a:cubicBezTo>
                <a:cubicBezTo>
                  <a:pt x="382" y="182"/>
                  <a:pt x="381" y="177"/>
                  <a:pt x="381" y="161"/>
                </a:cubicBezTo>
                <a:cubicBezTo>
                  <a:pt x="381" y="144"/>
                  <a:pt x="359" y="148"/>
                  <a:pt x="359" y="148"/>
                </a:cubicBezTo>
                <a:cubicBezTo>
                  <a:pt x="359" y="148"/>
                  <a:pt x="351" y="120"/>
                  <a:pt x="355" y="109"/>
                </a:cubicBezTo>
                <a:cubicBezTo>
                  <a:pt x="358" y="97"/>
                  <a:pt x="381" y="104"/>
                  <a:pt x="381" y="104"/>
                </a:cubicBezTo>
                <a:cubicBezTo>
                  <a:pt x="386" y="88"/>
                  <a:pt x="386" y="88"/>
                  <a:pt x="386" y="88"/>
                </a:cubicBezTo>
                <a:cubicBezTo>
                  <a:pt x="386" y="88"/>
                  <a:pt x="386" y="88"/>
                  <a:pt x="377" y="55"/>
                </a:cubicBezTo>
                <a:cubicBezTo>
                  <a:pt x="369" y="22"/>
                  <a:pt x="399" y="48"/>
                  <a:pt x="425" y="42"/>
                </a:cubicBezTo>
                <a:cubicBezTo>
                  <a:pt x="451" y="35"/>
                  <a:pt x="465" y="34"/>
                  <a:pt x="491" y="31"/>
                </a:cubicBezTo>
                <a:cubicBezTo>
                  <a:pt x="517" y="27"/>
                  <a:pt x="534" y="26"/>
                  <a:pt x="547" y="13"/>
                </a:cubicBezTo>
                <a:cubicBezTo>
                  <a:pt x="560" y="0"/>
                  <a:pt x="569" y="9"/>
                  <a:pt x="586" y="6"/>
                </a:cubicBezTo>
                <a:cubicBezTo>
                  <a:pt x="602" y="3"/>
                  <a:pt x="615" y="0"/>
                  <a:pt x="621" y="21"/>
                </a:cubicBezTo>
                <a:cubicBezTo>
                  <a:pt x="628" y="42"/>
                  <a:pt x="634" y="35"/>
                  <a:pt x="647" y="34"/>
                </a:cubicBezTo>
                <a:cubicBezTo>
                  <a:pt x="661" y="32"/>
                  <a:pt x="677" y="44"/>
                  <a:pt x="691" y="53"/>
                </a:cubicBezTo>
                <a:cubicBezTo>
                  <a:pt x="706" y="63"/>
                  <a:pt x="711" y="63"/>
                  <a:pt x="721" y="63"/>
                </a:cubicBezTo>
                <a:cubicBezTo>
                  <a:pt x="730" y="63"/>
                  <a:pt x="740" y="48"/>
                  <a:pt x="757" y="32"/>
                </a:cubicBezTo>
                <a:cubicBezTo>
                  <a:pt x="773" y="16"/>
                  <a:pt x="771" y="31"/>
                  <a:pt x="784" y="31"/>
                </a:cubicBezTo>
                <a:cubicBezTo>
                  <a:pt x="797" y="31"/>
                  <a:pt x="781" y="53"/>
                  <a:pt x="792" y="73"/>
                </a:cubicBezTo>
                <a:cubicBezTo>
                  <a:pt x="804" y="92"/>
                  <a:pt x="870" y="195"/>
                  <a:pt x="887" y="195"/>
                </a:cubicBezTo>
                <a:cubicBezTo>
                  <a:pt x="903" y="195"/>
                  <a:pt x="937" y="192"/>
                  <a:pt x="958" y="195"/>
                </a:cubicBezTo>
                <a:cubicBezTo>
                  <a:pt x="979" y="198"/>
                  <a:pt x="983" y="223"/>
                  <a:pt x="996" y="229"/>
                </a:cubicBezTo>
                <a:cubicBezTo>
                  <a:pt x="1009" y="236"/>
                  <a:pt x="1053" y="240"/>
                  <a:pt x="1053" y="240"/>
                </a:cubicBezTo>
                <a:cubicBezTo>
                  <a:pt x="1053" y="240"/>
                  <a:pt x="1025" y="251"/>
                  <a:pt x="1025" y="262"/>
                </a:cubicBezTo>
                <a:cubicBezTo>
                  <a:pt x="1025" y="273"/>
                  <a:pt x="1012" y="284"/>
                  <a:pt x="1004" y="284"/>
                </a:cubicBezTo>
                <a:cubicBezTo>
                  <a:pt x="997" y="284"/>
                  <a:pt x="982" y="284"/>
                  <a:pt x="986" y="296"/>
                </a:cubicBezTo>
                <a:cubicBezTo>
                  <a:pt x="989" y="307"/>
                  <a:pt x="997" y="322"/>
                  <a:pt x="986" y="322"/>
                </a:cubicBezTo>
                <a:cubicBezTo>
                  <a:pt x="974" y="322"/>
                  <a:pt x="961" y="316"/>
                  <a:pt x="961" y="316"/>
                </a:cubicBezTo>
                <a:cubicBezTo>
                  <a:pt x="961" y="316"/>
                  <a:pt x="944" y="292"/>
                  <a:pt x="928" y="307"/>
                </a:cubicBezTo>
                <a:cubicBezTo>
                  <a:pt x="911" y="322"/>
                  <a:pt x="907" y="335"/>
                  <a:pt x="911" y="346"/>
                </a:cubicBezTo>
                <a:cubicBezTo>
                  <a:pt x="915" y="357"/>
                  <a:pt x="911" y="372"/>
                  <a:pt x="918" y="386"/>
                </a:cubicBezTo>
                <a:cubicBezTo>
                  <a:pt x="926" y="399"/>
                  <a:pt x="926" y="406"/>
                  <a:pt x="926" y="406"/>
                </a:cubicBezTo>
                <a:cubicBezTo>
                  <a:pt x="926" y="406"/>
                  <a:pt x="903" y="389"/>
                  <a:pt x="892" y="395"/>
                </a:cubicBezTo>
                <a:cubicBezTo>
                  <a:pt x="881" y="401"/>
                  <a:pt x="870" y="406"/>
                  <a:pt x="870" y="406"/>
                </a:cubicBezTo>
                <a:cubicBezTo>
                  <a:pt x="870" y="406"/>
                  <a:pt x="881" y="453"/>
                  <a:pt x="885" y="459"/>
                </a:cubicBezTo>
                <a:cubicBezTo>
                  <a:pt x="888" y="464"/>
                  <a:pt x="875" y="518"/>
                  <a:pt x="866" y="522"/>
                </a:cubicBezTo>
                <a:cubicBezTo>
                  <a:pt x="866" y="522"/>
                  <a:pt x="842" y="503"/>
                  <a:pt x="830" y="500"/>
                </a:cubicBezTo>
                <a:cubicBezTo>
                  <a:pt x="819" y="496"/>
                  <a:pt x="785" y="492"/>
                  <a:pt x="770" y="492"/>
                </a:cubicBezTo>
                <a:cubicBezTo>
                  <a:pt x="755" y="492"/>
                  <a:pt x="748" y="485"/>
                  <a:pt x="740" y="492"/>
                </a:cubicBezTo>
                <a:cubicBezTo>
                  <a:pt x="733" y="500"/>
                  <a:pt x="722" y="503"/>
                  <a:pt x="720" y="496"/>
                </a:cubicBezTo>
                <a:cubicBezTo>
                  <a:pt x="718" y="488"/>
                  <a:pt x="722" y="472"/>
                  <a:pt x="712" y="481"/>
                </a:cubicBezTo>
                <a:cubicBezTo>
                  <a:pt x="703" y="490"/>
                  <a:pt x="692" y="483"/>
                  <a:pt x="694" y="488"/>
                </a:cubicBezTo>
                <a:cubicBezTo>
                  <a:pt x="695" y="494"/>
                  <a:pt x="701" y="494"/>
                  <a:pt x="697" y="502"/>
                </a:cubicBezTo>
                <a:cubicBezTo>
                  <a:pt x="694" y="509"/>
                  <a:pt x="684" y="509"/>
                  <a:pt x="684" y="509"/>
                </a:cubicBezTo>
                <a:cubicBezTo>
                  <a:pt x="684" y="509"/>
                  <a:pt x="678" y="499"/>
                  <a:pt x="673" y="498"/>
                </a:cubicBezTo>
                <a:cubicBezTo>
                  <a:pt x="660" y="494"/>
                  <a:pt x="660" y="499"/>
                  <a:pt x="652" y="502"/>
                </a:cubicBezTo>
                <a:cubicBezTo>
                  <a:pt x="637" y="507"/>
                  <a:pt x="630" y="511"/>
                  <a:pt x="628" y="517"/>
                </a:cubicBezTo>
                <a:cubicBezTo>
                  <a:pt x="628" y="517"/>
                  <a:pt x="602" y="507"/>
                  <a:pt x="587" y="526"/>
                </a:cubicBezTo>
                <a:cubicBezTo>
                  <a:pt x="572" y="545"/>
                  <a:pt x="551" y="558"/>
                  <a:pt x="534" y="541"/>
                </a:cubicBezTo>
                <a:cubicBezTo>
                  <a:pt x="518" y="524"/>
                  <a:pt x="491" y="509"/>
                  <a:pt x="480" y="487"/>
                </a:cubicBezTo>
                <a:cubicBezTo>
                  <a:pt x="469" y="464"/>
                  <a:pt x="486" y="459"/>
                  <a:pt x="450" y="457"/>
                </a:cubicBezTo>
                <a:cubicBezTo>
                  <a:pt x="415" y="455"/>
                  <a:pt x="392" y="462"/>
                  <a:pt x="379" y="455"/>
                </a:cubicBezTo>
                <a:cubicBezTo>
                  <a:pt x="366" y="447"/>
                  <a:pt x="370" y="438"/>
                  <a:pt x="355" y="455"/>
                </a:cubicBezTo>
                <a:cubicBezTo>
                  <a:pt x="340" y="472"/>
                  <a:pt x="340" y="470"/>
                  <a:pt x="327" y="472"/>
                </a:cubicBezTo>
                <a:cubicBezTo>
                  <a:pt x="314" y="474"/>
                  <a:pt x="299" y="475"/>
                  <a:pt x="297" y="457"/>
                </a:cubicBezTo>
                <a:cubicBezTo>
                  <a:pt x="295" y="438"/>
                  <a:pt x="287" y="425"/>
                  <a:pt x="289" y="414"/>
                </a:cubicBezTo>
                <a:cubicBezTo>
                  <a:pt x="291" y="402"/>
                  <a:pt x="308" y="378"/>
                  <a:pt x="289" y="391"/>
                </a:cubicBezTo>
                <a:cubicBezTo>
                  <a:pt x="271" y="404"/>
                  <a:pt x="248" y="415"/>
                  <a:pt x="246" y="436"/>
                </a:cubicBezTo>
                <a:cubicBezTo>
                  <a:pt x="244" y="457"/>
                  <a:pt x="242" y="464"/>
                  <a:pt x="250" y="483"/>
                </a:cubicBezTo>
                <a:cubicBezTo>
                  <a:pt x="257" y="502"/>
                  <a:pt x="263" y="513"/>
                  <a:pt x="261" y="524"/>
                </a:cubicBezTo>
                <a:cubicBezTo>
                  <a:pt x="259" y="535"/>
                  <a:pt x="256" y="541"/>
                  <a:pt x="248" y="541"/>
                </a:cubicBezTo>
                <a:cubicBezTo>
                  <a:pt x="241" y="541"/>
                  <a:pt x="237" y="537"/>
                  <a:pt x="220" y="522"/>
                </a:cubicBezTo>
                <a:cubicBezTo>
                  <a:pt x="203" y="507"/>
                  <a:pt x="201" y="488"/>
                  <a:pt x="186" y="502"/>
                </a:cubicBezTo>
                <a:cubicBezTo>
                  <a:pt x="171" y="515"/>
                  <a:pt x="156" y="500"/>
                  <a:pt x="158" y="517"/>
                </a:cubicBezTo>
                <a:cubicBezTo>
                  <a:pt x="160" y="533"/>
                  <a:pt x="151" y="545"/>
                  <a:pt x="145" y="528"/>
                </a:cubicBezTo>
                <a:cubicBezTo>
                  <a:pt x="139" y="511"/>
                  <a:pt x="143" y="490"/>
                  <a:pt x="143" y="490"/>
                </a:cubicBezTo>
                <a:cubicBezTo>
                  <a:pt x="143" y="490"/>
                  <a:pt x="139" y="464"/>
                  <a:pt x="128" y="474"/>
                </a:cubicBezTo>
                <a:cubicBezTo>
                  <a:pt x="117" y="483"/>
                  <a:pt x="100" y="477"/>
                  <a:pt x="108" y="466"/>
                </a:cubicBezTo>
                <a:cubicBezTo>
                  <a:pt x="115" y="455"/>
                  <a:pt x="124" y="444"/>
                  <a:pt x="111" y="444"/>
                </a:cubicBezTo>
                <a:cubicBezTo>
                  <a:pt x="98" y="444"/>
                  <a:pt x="89" y="438"/>
                  <a:pt x="95" y="429"/>
                </a:cubicBezTo>
                <a:cubicBezTo>
                  <a:pt x="100" y="419"/>
                  <a:pt x="93" y="412"/>
                  <a:pt x="104" y="412"/>
                </a:cubicBezTo>
                <a:cubicBezTo>
                  <a:pt x="115" y="412"/>
                  <a:pt x="106" y="397"/>
                  <a:pt x="121" y="410"/>
                </a:cubicBezTo>
                <a:cubicBezTo>
                  <a:pt x="136" y="423"/>
                  <a:pt x="139" y="393"/>
                  <a:pt x="139" y="393"/>
                </a:cubicBezTo>
                <a:cubicBezTo>
                  <a:pt x="139" y="393"/>
                  <a:pt x="141" y="372"/>
                  <a:pt x="160" y="382"/>
                </a:cubicBezTo>
                <a:cubicBezTo>
                  <a:pt x="179" y="391"/>
                  <a:pt x="175" y="386"/>
                  <a:pt x="181" y="374"/>
                </a:cubicBezTo>
                <a:cubicBezTo>
                  <a:pt x="186" y="363"/>
                  <a:pt x="186" y="365"/>
                  <a:pt x="183" y="356"/>
                </a:cubicBezTo>
                <a:cubicBezTo>
                  <a:pt x="179" y="346"/>
                  <a:pt x="183" y="341"/>
                  <a:pt x="171" y="341"/>
                </a:cubicBezTo>
                <a:cubicBezTo>
                  <a:pt x="160" y="341"/>
                  <a:pt x="117" y="322"/>
                  <a:pt x="100" y="333"/>
                </a:cubicBezTo>
                <a:cubicBezTo>
                  <a:pt x="83" y="344"/>
                  <a:pt x="65" y="350"/>
                  <a:pt x="61" y="357"/>
                </a:cubicBezTo>
                <a:cubicBezTo>
                  <a:pt x="57" y="365"/>
                  <a:pt x="55" y="395"/>
                  <a:pt x="38" y="393"/>
                </a:cubicBezTo>
                <a:cubicBezTo>
                  <a:pt x="22" y="391"/>
                  <a:pt x="10" y="418"/>
                  <a:pt x="10" y="4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49" name="Freeform 585"/>
          <p:cNvSpPr>
            <a:spLocks/>
          </p:cNvSpPr>
          <p:nvPr userDrawn="1"/>
        </p:nvSpPr>
        <p:spPr bwMode="auto">
          <a:xfrm>
            <a:off x="6867583" y="3755029"/>
            <a:ext cx="402023" cy="288116"/>
          </a:xfrm>
          <a:custGeom>
            <a:avLst/>
            <a:gdLst>
              <a:gd name="T0" fmla="*/ 2147483646 w 430"/>
              <a:gd name="T1" fmla="*/ 2147483646 h 309"/>
              <a:gd name="T2" fmla="*/ 2147483646 w 430"/>
              <a:gd name="T3" fmla="*/ 2147483646 h 309"/>
              <a:gd name="T4" fmla="*/ 2147483646 w 430"/>
              <a:gd name="T5" fmla="*/ 2147483646 h 309"/>
              <a:gd name="T6" fmla="*/ 2147483646 w 430"/>
              <a:gd name="T7" fmla="*/ 2147483646 h 309"/>
              <a:gd name="T8" fmla="*/ 2147483646 w 430"/>
              <a:gd name="T9" fmla="*/ 2147483646 h 309"/>
              <a:gd name="T10" fmla="*/ 2147483646 w 430"/>
              <a:gd name="T11" fmla="*/ 2147483646 h 309"/>
              <a:gd name="T12" fmla="*/ 2147483646 w 430"/>
              <a:gd name="T13" fmla="*/ 2147483646 h 309"/>
              <a:gd name="T14" fmla="*/ 2147483646 w 430"/>
              <a:gd name="T15" fmla="*/ 2147483646 h 309"/>
              <a:gd name="T16" fmla="*/ 2147483646 w 430"/>
              <a:gd name="T17" fmla="*/ 2147483646 h 309"/>
              <a:gd name="T18" fmla="*/ 2147483646 w 430"/>
              <a:gd name="T19" fmla="*/ 2147483646 h 309"/>
              <a:gd name="T20" fmla="*/ 2147483646 w 430"/>
              <a:gd name="T21" fmla="*/ 2147483646 h 309"/>
              <a:gd name="T22" fmla="*/ 2147483646 w 430"/>
              <a:gd name="T23" fmla="*/ 2147483646 h 309"/>
              <a:gd name="T24" fmla="*/ 2147483646 w 430"/>
              <a:gd name="T25" fmla="*/ 2147483646 h 309"/>
              <a:gd name="T26" fmla="*/ 2147483646 w 430"/>
              <a:gd name="T27" fmla="*/ 2147483646 h 309"/>
              <a:gd name="T28" fmla="*/ 2147483646 w 430"/>
              <a:gd name="T29" fmla="*/ 2147483646 h 309"/>
              <a:gd name="T30" fmla="*/ 2147483646 w 430"/>
              <a:gd name="T31" fmla="*/ 2147483646 h 309"/>
              <a:gd name="T32" fmla="*/ 2147483646 w 430"/>
              <a:gd name="T33" fmla="*/ 2147483646 h 309"/>
              <a:gd name="T34" fmla="*/ 2147483646 w 430"/>
              <a:gd name="T35" fmla="*/ 2147483646 h 309"/>
              <a:gd name="T36" fmla="*/ 2147483646 w 430"/>
              <a:gd name="T37" fmla="*/ 2147483646 h 309"/>
              <a:gd name="T38" fmla="*/ 2147483646 w 430"/>
              <a:gd name="T39" fmla="*/ 2147483646 h 309"/>
              <a:gd name="T40" fmla="*/ 2147483646 w 430"/>
              <a:gd name="T41" fmla="*/ 2147483646 h 309"/>
              <a:gd name="T42" fmla="*/ 2147483646 w 430"/>
              <a:gd name="T43" fmla="*/ 2147483646 h 309"/>
              <a:gd name="T44" fmla="*/ 2147483646 w 430"/>
              <a:gd name="T45" fmla="*/ 2147483646 h 309"/>
              <a:gd name="T46" fmla="*/ 2147483646 w 430"/>
              <a:gd name="T47" fmla="*/ 2147483646 h 309"/>
              <a:gd name="T48" fmla="*/ 2147483646 w 430"/>
              <a:gd name="T49" fmla="*/ 2147483646 h 309"/>
              <a:gd name="T50" fmla="*/ 2147483646 w 430"/>
              <a:gd name="T51" fmla="*/ 2147483646 h 309"/>
              <a:gd name="T52" fmla="*/ 2147483646 w 430"/>
              <a:gd name="T53" fmla="*/ 2147483646 h 309"/>
              <a:gd name="T54" fmla="*/ 2147483646 w 430"/>
              <a:gd name="T55" fmla="*/ 2147483646 h 309"/>
              <a:gd name="T56" fmla="*/ 2147483646 w 430"/>
              <a:gd name="T57" fmla="*/ 2147483646 h 309"/>
              <a:gd name="T58" fmla="*/ 2147483646 w 430"/>
              <a:gd name="T59" fmla="*/ 2147483646 h 309"/>
              <a:gd name="T60" fmla="*/ 2147483646 w 430"/>
              <a:gd name="T61" fmla="*/ 2147483646 h 309"/>
              <a:gd name="T62" fmla="*/ 2147483646 w 430"/>
              <a:gd name="T63" fmla="*/ 2147483646 h 309"/>
              <a:gd name="T64" fmla="*/ 2147483646 w 430"/>
              <a:gd name="T65" fmla="*/ 2147483646 h 309"/>
              <a:gd name="T66" fmla="*/ 2147483646 w 430"/>
              <a:gd name="T67" fmla="*/ 2147483646 h 309"/>
              <a:gd name="T68" fmla="*/ 2147483646 w 430"/>
              <a:gd name="T69" fmla="*/ 2147483646 h 309"/>
              <a:gd name="T70" fmla="*/ 2147483646 w 430"/>
              <a:gd name="T71" fmla="*/ 2147483646 h 309"/>
              <a:gd name="T72" fmla="*/ 2147483646 w 430"/>
              <a:gd name="T73" fmla="*/ 2147483646 h 309"/>
              <a:gd name="T74" fmla="*/ 2147483646 w 430"/>
              <a:gd name="T75" fmla="*/ 2147483646 h 309"/>
              <a:gd name="T76" fmla="*/ 2147483646 w 430"/>
              <a:gd name="T77" fmla="*/ 2147483646 h 309"/>
              <a:gd name="T78" fmla="*/ 2147483646 w 430"/>
              <a:gd name="T79" fmla="*/ 2147483646 h 309"/>
              <a:gd name="T80" fmla="*/ 2147483646 w 430"/>
              <a:gd name="T81" fmla="*/ 2147483646 h 309"/>
              <a:gd name="T82" fmla="*/ 2147483646 w 430"/>
              <a:gd name="T83" fmla="*/ 2147483646 h 309"/>
              <a:gd name="T84" fmla="*/ 2147483646 w 430"/>
              <a:gd name="T85" fmla="*/ 2147483646 h 309"/>
              <a:gd name="T86" fmla="*/ 2147483646 w 430"/>
              <a:gd name="T87" fmla="*/ 2147483646 h 309"/>
              <a:gd name="T88" fmla="*/ 2147483646 w 430"/>
              <a:gd name="T89" fmla="*/ 2147483646 h 309"/>
              <a:gd name="T90" fmla="*/ 2147483646 w 430"/>
              <a:gd name="T91" fmla="*/ 2147483646 h 309"/>
              <a:gd name="T92" fmla="*/ 2147483646 w 430"/>
              <a:gd name="T93" fmla="*/ 2147483646 h 309"/>
              <a:gd name="T94" fmla="*/ 2147483646 w 430"/>
              <a:gd name="T95" fmla="*/ 2147483646 h 309"/>
              <a:gd name="T96" fmla="*/ 2147483646 w 430"/>
              <a:gd name="T97" fmla="*/ 2147483646 h 309"/>
              <a:gd name="T98" fmla="*/ 2147483646 w 430"/>
              <a:gd name="T99" fmla="*/ 2147483646 h 309"/>
              <a:gd name="T100" fmla="*/ 2147483646 w 430"/>
              <a:gd name="T101" fmla="*/ 2147483646 h 30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30"/>
              <a:gd name="T154" fmla="*/ 0 h 309"/>
              <a:gd name="T155" fmla="*/ 430 w 430"/>
              <a:gd name="T156" fmla="*/ 309 h 30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30" h="309">
                <a:moveTo>
                  <a:pt x="6" y="163"/>
                </a:moveTo>
                <a:cubicBezTo>
                  <a:pt x="14" y="163"/>
                  <a:pt x="17" y="157"/>
                  <a:pt x="19" y="146"/>
                </a:cubicBezTo>
                <a:cubicBezTo>
                  <a:pt x="21" y="135"/>
                  <a:pt x="15" y="124"/>
                  <a:pt x="8" y="105"/>
                </a:cubicBezTo>
                <a:cubicBezTo>
                  <a:pt x="0" y="86"/>
                  <a:pt x="2" y="79"/>
                  <a:pt x="4" y="58"/>
                </a:cubicBezTo>
                <a:cubicBezTo>
                  <a:pt x="6" y="37"/>
                  <a:pt x="29" y="26"/>
                  <a:pt x="47" y="13"/>
                </a:cubicBezTo>
                <a:cubicBezTo>
                  <a:pt x="66" y="0"/>
                  <a:pt x="49" y="24"/>
                  <a:pt x="47" y="36"/>
                </a:cubicBezTo>
                <a:cubicBezTo>
                  <a:pt x="45" y="47"/>
                  <a:pt x="53" y="60"/>
                  <a:pt x="55" y="79"/>
                </a:cubicBezTo>
                <a:cubicBezTo>
                  <a:pt x="57" y="97"/>
                  <a:pt x="72" y="96"/>
                  <a:pt x="85" y="94"/>
                </a:cubicBezTo>
                <a:cubicBezTo>
                  <a:pt x="98" y="92"/>
                  <a:pt x="98" y="94"/>
                  <a:pt x="113" y="77"/>
                </a:cubicBezTo>
                <a:cubicBezTo>
                  <a:pt x="128" y="60"/>
                  <a:pt x="124" y="69"/>
                  <a:pt x="137" y="77"/>
                </a:cubicBezTo>
                <a:cubicBezTo>
                  <a:pt x="150" y="84"/>
                  <a:pt x="173" y="77"/>
                  <a:pt x="208" y="79"/>
                </a:cubicBezTo>
                <a:cubicBezTo>
                  <a:pt x="244" y="81"/>
                  <a:pt x="227" y="86"/>
                  <a:pt x="238" y="109"/>
                </a:cubicBezTo>
                <a:cubicBezTo>
                  <a:pt x="249" y="131"/>
                  <a:pt x="276" y="146"/>
                  <a:pt x="292" y="163"/>
                </a:cubicBezTo>
                <a:cubicBezTo>
                  <a:pt x="309" y="180"/>
                  <a:pt x="330" y="167"/>
                  <a:pt x="345" y="148"/>
                </a:cubicBezTo>
                <a:cubicBezTo>
                  <a:pt x="360" y="129"/>
                  <a:pt x="386" y="139"/>
                  <a:pt x="386" y="139"/>
                </a:cubicBezTo>
                <a:cubicBezTo>
                  <a:pt x="386" y="139"/>
                  <a:pt x="371" y="156"/>
                  <a:pt x="376" y="160"/>
                </a:cubicBezTo>
                <a:cubicBezTo>
                  <a:pt x="380" y="163"/>
                  <a:pt x="383" y="168"/>
                  <a:pt x="390" y="167"/>
                </a:cubicBezTo>
                <a:cubicBezTo>
                  <a:pt x="398" y="166"/>
                  <a:pt x="405" y="162"/>
                  <a:pt x="412" y="165"/>
                </a:cubicBezTo>
                <a:cubicBezTo>
                  <a:pt x="418" y="169"/>
                  <a:pt x="424" y="169"/>
                  <a:pt x="427" y="176"/>
                </a:cubicBezTo>
                <a:cubicBezTo>
                  <a:pt x="430" y="183"/>
                  <a:pt x="427" y="185"/>
                  <a:pt x="422" y="192"/>
                </a:cubicBezTo>
                <a:cubicBezTo>
                  <a:pt x="417" y="198"/>
                  <a:pt x="407" y="199"/>
                  <a:pt x="404" y="201"/>
                </a:cubicBezTo>
                <a:cubicBezTo>
                  <a:pt x="401" y="204"/>
                  <a:pt x="392" y="208"/>
                  <a:pt x="392" y="208"/>
                </a:cubicBezTo>
                <a:cubicBezTo>
                  <a:pt x="392" y="208"/>
                  <a:pt x="374" y="205"/>
                  <a:pt x="382" y="196"/>
                </a:cubicBezTo>
                <a:cubicBezTo>
                  <a:pt x="390" y="187"/>
                  <a:pt x="389" y="179"/>
                  <a:pt x="389" y="179"/>
                </a:cubicBezTo>
                <a:cubicBezTo>
                  <a:pt x="389" y="179"/>
                  <a:pt x="374" y="179"/>
                  <a:pt x="365" y="181"/>
                </a:cubicBezTo>
                <a:cubicBezTo>
                  <a:pt x="356" y="183"/>
                  <a:pt x="345" y="184"/>
                  <a:pt x="345" y="184"/>
                </a:cubicBezTo>
                <a:cubicBezTo>
                  <a:pt x="334" y="207"/>
                  <a:pt x="334" y="207"/>
                  <a:pt x="334" y="207"/>
                </a:cubicBezTo>
                <a:cubicBezTo>
                  <a:pt x="331" y="228"/>
                  <a:pt x="331" y="228"/>
                  <a:pt x="331" y="228"/>
                </a:cubicBezTo>
                <a:cubicBezTo>
                  <a:pt x="331" y="228"/>
                  <a:pt x="313" y="232"/>
                  <a:pt x="306" y="229"/>
                </a:cubicBezTo>
                <a:cubicBezTo>
                  <a:pt x="299" y="227"/>
                  <a:pt x="291" y="237"/>
                  <a:pt x="291" y="237"/>
                </a:cubicBezTo>
                <a:cubicBezTo>
                  <a:pt x="297" y="260"/>
                  <a:pt x="297" y="260"/>
                  <a:pt x="297" y="260"/>
                </a:cubicBezTo>
                <a:cubicBezTo>
                  <a:pt x="297" y="260"/>
                  <a:pt x="291" y="305"/>
                  <a:pt x="287" y="307"/>
                </a:cubicBezTo>
                <a:cubicBezTo>
                  <a:pt x="283" y="309"/>
                  <a:pt x="268" y="304"/>
                  <a:pt x="262" y="300"/>
                </a:cubicBezTo>
                <a:cubicBezTo>
                  <a:pt x="262" y="300"/>
                  <a:pt x="268" y="280"/>
                  <a:pt x="257" y="280"/>
                </a:cubicBezTo>
                <a:cubicBezTo>
                  <a:pt x="246" y="280"/>
                  <a:pt x="237" y="273"/>
                  <a:pt x="235" y="268"/>
                </a:cubicBezTo>
                <a:cubicBezTo>
                  <a:pt x="233" y="264"/>
                  <a:pt x="232" y="247"/>
                  <a:pt x="242" y="253"/>
                </a:cubicBezTo>
                <a:cubicBezTo>
                  <a:pt x="253" y="259"/>
                  <a:pt x="255" y="255"/>
                  <a:pt x="255" y="255"/>
                </a:cubicBezTo>
                <a:cubicBezTo>
                  <a:pt x="252" y="247"/>
                  <a:pt x="252" y="247"/>
                  <a:pt x="252" y="247"/>
                </a:cubicBezTo>
                <a:cubicBezTo>
                  <a:pt x="252" y="247"/>
                  <a:pt x="241" y="245"/>
                  <a:pt x="237" y="247"/>
                </a:cubicBezTo>
                <a:cubicBezTo>
                  <a:pt x="234" y="250"/>
                  <a:pt x="208" y="249"/>
                  <a:pt x="205" y="245"/>
                </a:cubicBezTo>
                <a:cubicBezTo>
                  <a:pt x="203" y="241"/>
                  <a:pt x="186" y="232"/>
                  <a:pt x="186" y="232"/>
                </a:cubicBezTo>
                <a:cubicBezTo>
                  <a:pt x="166" y="212"/>
                  <a:pt x="166" y="212"/>
                  <a:pt x="166" y="212"/>
                </a:cubicBezTo>
                <a:cubicBezTo>
                  <a:pt x="166" y="212"/>
                  <a:pt x="156" y="202"/>
                  <a:pt x="154" y="197"/>
                </a:cubicBezTo>
                <a:cubicBezTo>
                  <a:pt x="151" y="192"/>
                  <a:pt x="156" y="183"/>
                  <a:pt x="152" y="177"/>
                </a:cubicBezTo>
                <a:cubicBezTo>
                  <a:pt x="149" y="170"/>
                  <a:pt x="152" y="162"/>
                  <a:pt x="142" y="167"/>
                </a:cubicBezTo>
                <a:cubicBezTo>
                  <a:pt x="133" y="172"/>
                  <a:pt x="129" y="177"/>
                  <a:pt x="121" y="171"/>
                </a:cubicBezTo>
                <a:cubicBezTo>
                  <a:pt x="114" y="165"/>
                  <a:pt x="105" y="151"/>
                  <a:pt x="105" y="151"/>
                </a:cubicBezTo>
                <a:cubicBezTo>
                  <a:pt x="105" y="151"/>
                  <a:pt x="74" y="125"/>
                  <a:pt x="63" y="135"/>
                </a:cubicBezTo>
                <a:cubicBezTo>
                  <a:pt x="52" y="145"/>
                  <a:pt x="38" y="154"/>
                  <a:pt x="39" y="158"/>
                </a:cubicBezTo>
                <a:cubicBezTo>
                  <a:pt x="41" y="162"/>
                  <a:pt x="40" y="174"/>
                  <a:pt x="32" y="173"/>
                </a:cubicBezTo>
                <a:cubicBezTo>
                  <a:pt x="24" y="172"/>
                  <a:pt x="6" y="163"/>
                  <a:pt x="6" y="16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50" name="Freeform 586"/>
          <p:cNvSpPr>
            <a:spLocks/>
          </p:cNvSpPr>
          <p:nvPr userDrawn="1"/>
        </p:nvSpPr>
        <p:spPr bwMode="auto">
          <a:xfrm>
            <a:off x="7194225" y="3842132"/>
            <a:ext cx="256288" cy="134008"/>
          </a:xfrm>
          <a:custGeom>
            <a:avLst/>
            <a:gdLst>
              <a:gd name="T0" fmla="*/ 2147483646 w 274"/>
              <a:gd name="T1" fmla="*/ 2147483646 h 143"/>
              <a:gd name="T2" fmla="*/ 2147483646 w 274"/>
              <a:gd name="T3" fmla="*/ 2147483646 h 143"/>
              <a:gd name="T4" fmla="*/ 2147483646 w 274"/>
              <a:gd name="T5" fmla="*/ 2147483646 h 143"/>
              <a:gd name="T6" fmla="*/ 2147483646 w 274"/>
              <a:gd name="T7" fmla="*/ 2147483646 h 143"/>
              <a:gd name="T8" fmla="*/ 2147483646 w 274"/>
              <a:gd name="T9" fmla="*/ 2147483646 h 143"/>
              <a:gd name="T10" fmla="*/ 2147483646 w 274"/>
              <a:gd name="T11" fmla="*/ 2147483646 h 143"/>
              <a:gd name="T12" fmla="*/ 2147483646 w 274"/>
              <a:gd name="T13" fmla="*/ 2147483646 h 143"/>
              <a:gd name="T14" fmla="*/ 2147483646 w 274"/>
              <a:gd name="T15" fmla="*/ 2147483646 h 143"/>
              <a:gd name="T16" fmla="*/ 2147483646 w 274"/>
              <a:gd name="T17" fmla="*/ 2147483646 h 143"/>
              <a:gd name="T18" fmla="*/ 2147483646 w 274"/>
              <a:gd name="T19" fmla="*/ 2147483646 h 143"/>
              <a:gd name="T20" fmla="*/ 2147483646 w 274"/>
              <a:gd name="T21" fmla="*/ 2147483646 h 143"/>
              <a:gd name="T22" fmla="*/ 2147483646 w 274"/>
              <a:gd name="T23" fmla="*/ 2147483646 h 143"/>
              <a:gd name="T24" fmla="*/ 2147483646 w 274"/>
              <a:gd name="T25" fmla="*/ 2147483646 h 143"/>
              <a:gd name="T26" fmla="*/ 2147483646 w 274"/>
              <a:gd name="T27" fmla="*/ 2147483646 h 143"/>
              <a:gd name="T28" fmla="*/ 2147483646 w 274"/>
              <a:gd name="T29" fmla="*/ 2147483646 h 143"/>
              <a:gd name="T30" fmla="*/ 2147483646 w 274"/>
              <a:gd name="T31" fmla="*/ 2147483646 h 143"/>
              <a:gd name="T32" fmla="*/ 2147483646 w 274"/>
              <a:gd name="T33" fmla="*/ 2147483646 h 143"/>
              <a:gd name="T34" fmla="*/ 2147483646 w 274"/>
              <a:gd name="T35" fmla="*/ 2147483646 h 143"/>
              <a:gd name="T36" fmla="*/ 2147483646 w 274"/>
              <a:gd name="T37" fmla="*/ 2147483646 h 143"/>
              <a:gd name="T38" fmla="*/ 2147483646 w 274"/>
              <a:gd name="T39" fmla="*/ 2147483646 h 143"/>
              <a:gd name="T40" fmla="*/ 2147483646 w 274"/>
              <a:gd name="T41" fmla="*/ 2147483646 h 143"/>
              <a:gd name="T42" fmla="*/ 2147483646 w 274"/>
              <a:gd name="T43" fmla="*/ 2147483646 h 143"/>
              <a:gd name="T44" fmla="*/ 2147483646 w 274"/>
              <a:gd name="T45" fmla="*/ 2147483646 h 143"/>
              <a:gd name="T46" fmla="*/ 2147483646 w 274"/>
              <a:gd name="T47" fmla="*/ 2147483646 h 143"/>
              <a:gd name="T48" fmla="*/ 2147483646 w 274"/>
              <a:gd name="T49" fmla="*/ 2147483646 h 143"/>
              <a:gd name="T50" fmla="*/ 2147483646 w 274"/>
              <a:gd name="T51" fmla="*/ 2147483646 h 143"/>
              <a:gd name="T52" fmla="*/ 2147483646 w 274"/>
              <a:gd name="T53" fmla="*/ 2147483646 h 143"/>
              <a:gd name="T54" fmla="*/ 2147483646 w 274"/>
              <a:gd name="T55" fmla="*/ 2147483646 h 143"/>
              <a:gd name="T56" fmla="*/ 2147483646 w 274"/>
              <a:gd name="T57" fmla="*/ 2147483646 h 143"/>
              <a:gd name="T58" fmla="*/ 2147483646 w 274"/>
              <a:gd name="T59" fmla="*/ 2147483646 h 143"/>
              <a:gd name="T60" fmla="*/ 2147483646 w 274"/>
              <a:gd name="T61" fmla="*/ 2147483646 h 143"/>
              <a:gd name="T62" fmla="*/ 2147483646 w 274"/>
              <a:gd name="T63" fmla="*/ 2147483646 h 143"/>
              <a:gd name="T64" fmla="*/ 2147483646 w 274"/>
              <a:gd name="T65" fmla="*/ 2147483646 h 143"/>
              <a:gd name="T66" fmla="*/ 2147483646 w 274"/>
              <a:gd name="T67" fmla="*/ 2147483646 h 143"/>
              <a:gd name="T68" fmla="*/ 2147483646 w 274"/>
              <a:gd name="T69" fmla="*/ 2147483646 h 143"/>
              <a:gd name="T70" fmla="*/ 2147483646 w 274"/>
              <a:gd name="T71" fmla="*/ 2147483646 h 143"/>
              <a:gd name="T72" fmla="*/ 2147483646 w 274"/>
              <a:gd name="T73" fmla="*/ 2147483646 h 14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74"/>
              <a:gd name="T112" fmla="*/ 0 h 143"/>
              <a:gd name="T113" fmla="*/ 274 w 274"/>
              <a:gd name="T114" fmla="*/ 143 h 14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74" h="143">
                <a:moveTo>
                  <a:pt x="274" y="50"/>
                </a:moveTo>
                <a:cubicBezTo>
                  <a:pt x="274" y="50"/>
                  <a:pt x="250" y="31"/>
                  <a:pt x="238" y="28"/>
                </a:cubicBezTo>
                <a:cubicBezTo>
                  <a:pt x="227" y="24"/>
                  <a:pt x="193" y="20"/>
                  <a:pt x="178" y="20"/>
                </a:cubicBezTo>
                <a:cubicBezTo>
                  <a:pt x="163" y="20"/>
                  <a:pt x="156" y="13"/>
                  <a:pt x="148" y="20"/>
                </a:cubicBezTo>
                <a:cubicBezTo>
                  <a:pt x="141" y="28"/>
                  <a:pt x="130" y="31"/>
                  <a:pt x="128" y="24"/>
                </a:cubicBezTo>
                <a:cubicBezTo>
                  <a:pt x="126" y="16"/>
                  <a:pt x="130" y="0"/>
                  <a:pt x="120" y="9"/>
                </a:cubicBezTo>
                <a:cubicBezTo>
                  <a:pt x="111" y="18"/>
                  <a:pt x="100" y="11"/>
                  <a:pt x="102" y="16"/>
                </a:cubicBezTo>
                <a:cubicBezTo>
                  <a:pt x="103" y="22"/>
                  <a:pt x="109" y="22"/>
                  <a:pt x="105" y="30"/>
                </a:cubicBezTo>
                <a:cubicBezTo>
                  <a:pt x="102" y="37"/>
                  <a:pt x="92" y="37"/>
                  <a:pt x="92" y="37"/>
                </a:cubicBezTo>
                <a:cubicBezTo>
                  <a:pt x="92" y="37"/>
                  <a:pt x="86" y="27"/>
                  <a:pt x="81" y="26"/>
                </a:cubicBezTo>
                <a:cubicBezTo>
                  <a:pt x="68" y="22"/>
                  <a:pt x="68" y="27"/>
                  <a:pt x="60" y="30"/>
                </a:cubicBezTo>
                <a:cubicBezTo>
                  <a:pt x="45" y="35"/>
                  <a:pt x="38" y="39"/>
                  <a:pt x="36" y="45"/>
                </a:cubicBezTo>
                <a:cubicBezTo>
                  <a:pt x="36" y="45"/>
                  <a:pt x="21" y="62"/>
                  <a:pt x="26" y="66"/>
                </a:cubicBezTo>
                <a:cubicBezTo>
                  <a:pt x="30" y="69"/>
                  <a:pt x="33" y="74"/>
                  <a:pt x="40" y="73"/>
                </a:cubicBezTo>
                <a:cubicBezTo>
                  <a:pt x="48" y="72"/>
                  <a:pt x="55" y="68"/>
                  <a:pt x="62" y="71"/>
                </a:cubicBezTo>
                <a:cubicBezTo>
                  <a:pt x="68" y="75"/>
                  <a:pt x="74" y="75"/>
                  <a:pt x="77" y="82"/>
                </a:cubicBezTo>
                <a:cubicBezTo>
                  <a:pt x="80" y="89"/>
                  <a:pt x="77" y="91"/>
                  <a:pt x="72" y="98"/>
                </a:cubicBezTo>
                <a:cubicBezTo>
                  <a:pt x="67" y="104"/>
                  <a:pt x="57" y="105"/>
                  <a:pt x="54" y="107"/>
                </a:cubicBezTo>
                <a:cubicBezTo>
                  <a:pt x="51" y="110"/>
                  <a:pt x="42" y="114"/>
                  <a:pt x="42" y="114"/>
                </a:cubicBezTo>
                <a:cubicBezTo>
                  <a:pt x="42" y="114"/>
                  <a:pt x="34" y="120"/>
                  <a:pt x="31" y="121"/>
                </a:cubicBezTo>
                <a:cubicBezTo>
                  <a:pt x="28" y="122"/>
                  <a:pt x="16" y="126"/>
                  <a:pt x="14" y="126"/>
                </a:cubicBezTo>
                <a:cubicBezTo>
                  <a:pt x="13" y="125"/>
                  <a:pt x="7" y="115"/>
                  <a:pt x="5" y="126"/>
                </a:cubicBezTo>
                <a:cubicBezTo>
                  <a:pt x="2" y="136"/>
                  <a:pt x="0" y="140"/>
                  <a:pt x="10" y="141"/>
                </a:cubicBezTo>
                <a:cubicBezTo>
                  <a:pt x="19" y="142"/>
                  <a:pt x="27" y="141"/>
                  <a:pt x="33" y="142"/>
                </a:cubicBezTo>
                <a:cubicBezTo>
                  <a:pt x="40" y="143"/>
                  <a:pt x="50" y="136"/>
                  <a:pt x="50" y="136"/>
                </a:cubicBezTo>
                <a:cubicBezTo>
                  <a:pt x="64" y="132"/>
                  <a:pt x="64" y="132"/>
                  <a:pt x="64" y="132"/>
                </a:cubicBezTo>
                <a:cubicBezTo>
                  <a:pt x="64" y="132"/>
                  <a:pt x="95" y="138"/>
                  <a:pt x="103" y="133"/>
                </a:cubicBezTo>
                <a:cubicBezTo>
                  <a:pt x="110" y="128"/>
                  <a:pt x="124" y="105"/>
                  <a:pt x="132" y="103"/>
                </a:cubicBezTo>
                <a:cubicBezTo>
                  <a:pt x="139" y="101"/>
                  <a:pt x="145" y="100"/>
                  <a:pt x="157" y="101"/>
                </a:cubicBezTo>
                <a:cubicBezTo>
                  <a:pt x="169" y="102"/>
                  <a:pt x="174" y="100"/>
                  <a:pt x="182" y="96"/>
                </a:cubicBezTo>
                <a:cubicBezTo>
                  <a:pt x="190" y="92"/>
                  <a:pt x="199" y="84"/>
                  <a:pt x="199" y="84"/>
                </a:cubicBezTo>
                <a:cubicBezTo>
                  <a:pt x="199" y="84"/>
                  <a:pt x="210" y="72"/>
                  <a:pt x="220" y="77"/>
                </a:cubicBezTo>
                <a:cubicBezTo>
                  <a:pt x="231" y="82"/>
                  <a:pt x="232" y="77"/>
                  <a:pt x="237" y="74"/>
                </a:cubicBezTo>
                <a:cubicBezTo>
                  <a:pt x="242" y="71"/>
                  <a:pt x="240" y="65"/>
                  <a:pt x="244" y="64"/>
                </a:cubicBezTo>
                <a:cubicBezTo>
                  <a:pt x="247" y="63"/>
                  <a:pt x="256" y="62"/>
                  <a:pt x="256" y="62"/>
                </a:cubicBezTo>
                <a:cubicBezTo>
                  <a:pt x="256" y="62"/>
                  <a:pt x="263" y="59"/>
                  <a:pt x="266" y="59"/>
                </a:cubicBezTo>
                <a:cubicBezTo>
                  <a:pt x="268" y="60"/>
                  <a:pt x="274" y="50"/>
                  <a:pt x="274" y="5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51" name="Freeform 587"/>
          <p:cNvSpPr>
            <a:spLocks/>
          </p:cNvSpPr>
          <p:nvPr userDrawn="1"/>
        </p:nvSpPr>
        <p:spPr bwMode="auto">
          <a:xfrm>
            <a:off x="7291382" y="3450162"/>
            <a:ext cx="1472405" cy="1051959"/>
          </a:xfrm>
          <a:custGeom>
            <a:avLst/>
            <a:gdLst>
              <a:gd name="T0" fmla="*/ 2147483646 w 1580"/>
              <a:gd name="T1" fmla="*/ 2147483646 h 1128"/>
              <a:gd name="T2" fmla="*/ 2147483646 w 1580"/>
              <a:gd name="T3" fmla="*/ 2147483646 h 1128"/>
              <a:gd name="T4" fmla="*/ 2147483646 w 1580"/>
              <a:gd name="T5" fmla="*/ 2147483646 h 1128"/>
              <a:gd name="T6" fmla="*/ 2147483646 w 1580"/>
              <a:gd name="T7" fmla="*/ 2147483646 h 1128"/>
              <a:gd name="T8" fmla="*/ 2147483646 w 1580"/>
              <a:gd name="T9" fmla="*/ 2147483646 h 1128"/>
              <a:gd name="T10" fmla="*/ 2147483646 w 1580"/>
              <a:gd name="T11" fmla="*/ 2147483646 h 1128"/>
              <a:gd name="T12" fmla="*/ 2147483646 w 1580"/>
              <a:gd name="T13" fmla="*/ 2147483646 h 1128"/>
              <a:gd name="T14" fmla="*/ 2147483646 w 1580"/>
              <a:gd name="T15" fmla="*/ 2147483646 h 1128"/>
              <a:gd name="T16" fmla="*/ 2147483646 w 1580"/>
              <a:gd name="T17" fmla="*/ 2147483646 h 1128"/>
              <a:gd name="T18" fmla="*/ 2147483646 w 1580"/>
              <a:gd name="T19" fmla="*/ 2147483646 h 1128"/>
              <a:gd name="T20" fmla="*/ 2147483646 w 1580"/>
              <a:gd name="T21" fmla="*/ 2147483646 h 1128"/>
              <a:gd name="T22" fmla="*/ 2147483646 w 1580"/>
              <a:gd name="T23" fmla="*/ 2147483646 h 1128"/>
              <a:gd name="T24" fmla="*/ 2147483646 w 1580"/>
              <a:gd name="T25" fmla="*/ 2147483646 h 1128"/>
              <a:gd name="T26" fmla="*/ 2147483646 w 1580"/>
              <a:gd name="T27" fmla="*/ 2147483646 h 1128"/>
              <a:gd name="T28" fmla="*/ 2147483646 w 1580"/>
              <a:gd name="T29" fmla="*/ 2147483646 h 1128"/>
              <a:gd name="T30" fmla="*/ 2147483646 w 1580"/>
              <a:gd name="T31" fmla="*/ 2147483646 h 1128"/>
              <a:gd name="T32" fmla="*/ 2147483646 w 1580"/>
              <a:gd name="T33" fmla="*/ 2147483646 h 1128"/>
              <a:gd name="T34" fmla="*/ 2147483646 w 1580"/>
              <a:gd name="T35" fmla="*/ 2147483646 h 1128"/>
              <a:gd name="T36" fmla="*/ 2147483646 w 1580"/>
              <a:gd name="T37" fmla="*/ 2147483646 h 1128"/>
              <a:gd name="T38" fmla="*/ 2147483646 w 1580"/>
              <a:gd name="T39" fmla="*/ 2147483646 h 1128"/>
              <a:gd name="T40" fmla="*/ 2147483646 w 1580"/>
              <a:gd name="T41" fmla="*/ 2147483646 h 1128"/>
              <a:gd name="T42" fmla="*/ 2147483646 w 1580"/>
              <a:gd name="T43" fmla="*/ 2147483646 h 1128"/>
              <a:gd name="T44" fmla="*/ 2147483646 w 1580"/>
              <a:gd name="T45" fmla="*/ 2147483646 h 1128"/>
              <a:gd name="T46" fmla="*/ 2147483646 w 1580"/>
              <a:gd name="T47" fmla="*/ 2147483646 h 1128"/>
              <a:gd name="T48" fmla="*/ 2147483646 w 1580"/>
              <a:gd name="T49" fmla="*/ 2147483646 h 1128"/>
              <a:gd name="T50" fmla="*/ 2147483646 w 1580"/>
              <a:gd name="T51" fmla="*/ 2147483646 h 1128"/>
              <a:gd name="T52" fmla="*/ 2147483646 w 1580"/>
              <a:gd name="T53" fmla="*/ 2147483646 h 1128"/>
              <a:gd name="T54" fmla="*/ 2147483646 w 1580"/>
              <a:gd name="T55" fmla="*/ 2147483646 h 1128"/>
              <a:gd name="T56" fmla="*/ 2147483646 w 1580"/>
              <a:gd name="T57" fmla="*/ 2147483646 h 1128"/>
              <a:gd name="T58" fmla="*/ 2147483646 w 1580"/>
              <a:gd name="T59" fmla="*/ 2147483646 h 1128"/>
              <a:gd name="T60" fmla="*/ 2147483646 w 1580"/>
              <a:gd name="T61" fmla="*/ 2147483646 h 1128"/>
              <a:gd name="T62" fmla="*/ 2147483646 w 1580"/>
              <a:gd name="T63" fmla="*/ 2147483646 h 1128"/>
              <a:gd name="T64" fmla="*/ 2147483646 w 1580"/>
              <a:gd name="T65" fmla="*/ 2147483646 h 1128"/>
              <a:gd name="T66" fmla="*/ 2147483646 w 1580"/>
              <a:gd name="T67" fmla="*/ 2147483646 h 1128"/>
              <a:gd name="T68" fmla="*/ 2147483646 w 1580"/>
              <a:gd name="T69" fmla="*/ 2147483646 h 1128"/>
              <a:gd name="T70" fmla="*/ 2147483646 w 1580"/>
              <a:gd name="T71" fmla="*/ 2147483646 h 1128"/>
              <a:gd name="T72" fmla="*/ 2147483646 w 1580"/>
              <a:gd name="T73" fmla="*/ 2147483646 h 1128"/>
              <a:gd name="T74" fmla="*/ 2147483646 w 1580"/>
              <a:gd name="T75" fmla="*/ 2147483646 h 1128"/>
              <a:gd name="T76" fmla="*/ 2147483646 w 1580"/>
              <a:gd name="T77" fmla="*/ 2147483646 h 1128"/>
              <a:gd name="T78" fmla="*/ 2147483646 w 1580"/>
              <a:gd name="T79" fmla="*/ 2147483646 h 1128"/>
              <a:gd name="T80" fmla="*/ 2147483646 w 1580"/>
              <a:gd name="T81" fmla="*/ 2147483646 h 1128"/>
              <a:gd name="T82" fmla="*/ 2147483646 w 1580"/>
              <a:gd name="T83" fmla="*/ 2147483646 h 1128"/>
              <a:gd name="T84" fmla="*/ 2147483646 w 1580"/>
              <a:gd name="T85" fmla="*/ 2147483646 h 1128"/>
              <a:gd name="T86" fmla="*/ 2147483646 w 1580"/>
              <a:gd name="T87" fmla="*/ 2147483646 h 1128"/>
              <a:gd name="T88" fmla="*/ 2147483646 w 1580"/>
              <a:gd name="T89" fmla="*/ 2147483646 h 1128"/>
              <a:gd name="T90" fmla="*/ 2147483646 w 1580"/>
              <a:gd name="T91" fmla="*/ 2147483646 h 1128"/>
              <a:gd name="T92" fmla="*/ 2147483646 w 1580"/>
              <a:gd name="T93" fmla="*/ 2147483646 h 1128"/>
              <a:gd name="T94" fmla="*/ 2147483646 w 1580"/>
              <a:gd name="T95" fmla="*/ 2147483646 h 1128"/>
              <a:gd name="T96" fmla="*/ 2147483646 w 1580"/>
              <a:gd name="T97" fmla="*/ 2147483646 h 1128"/>
              <a:gd name="T98" fmla="*/ 2147483646 w 1580"/>
              <a:gd name="T99" fmla="*/ 2147483646 h 1128"/>
              <a:gd name="T100" fmla="*/ 2147483646 w 1580"/>
              <a:gd name="T101" fmla="*/ 2147483646 h 1128"/>
              <a:gd name="T102" fmla="*/ 2147483646 w 1580"/>
              <a:gd name="T103" fmla="*/ 2147483646 h 1128"/>
              <a:gd name="T104" fmla="*/ 2147483646 w 1580"/>
              <a:gd name="T105" fmla="*/ 2147483646 h 1128"/>
              <a:gd name="T106" fmla="*/ 2147483646 w 1580"/>
              <a:gd name="T107" fmla="*/ 2147483646 h 112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80"/>
              <a:gd name="T163" fmla="*/ 0 h 1128"/>
              <a:gd name="T164" fmla="*/ 1580 w 1580"/>
              <a:gd name="T165" fmla="*/ 1128 h 112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80" h="1128">
                <a:moveTo>
                  <a:pt x="358" y="188"/>
                </a:moveTo>
                <a:cubicBezTo>
                  <a:pt x="358" y="188"/>
                  <a:pt x="330" y="199"/>
                  <a:pt x="330" y="210"/>
                </a:cubicBezTo>
                <a:cubicBezTo>
                  <a:pt x="330" y="221"/>
                  <a:pt x="317" y="232"/>
                  <a:pt x="309" y="232"/>
                </a:cubicBezTo>
                <a:cubicBezTo>
                  <a:pt x="302" y="232"/>
                  <a:pt x="287" y="232"/>
                  <a:pt x="291" y="244"/>
                </a:cubicBezTo>
                <a:cubicBezTo>
                  <a:pt x="294" y="255"/>
                  <a:pt x="302" y="270"/>
                  <a:pt x="291" y="270"/>
                </a:cubicBezTo>
                <a:cubicBezTo>
                  <a:pt x="279" y="270"/>
                  <a:pt x="266" y="264"/>
                  <a:pt x="266" y="264"/>
                </a:cubicBezTo>
                <a:cubicBezTo>
                  <a:pt x="266" y="264"/>
                  <a:pt x="249" y="240"/>
                  <a:pt x="233" y="255"/>
                </a:cubicBezTo>
                <a:cubicBezTo>
                  <a:pt x="216" y="270"/>
                  <a:pt x="212" y="283"/>
                  <a:pt x="216" y="294"/>
                </a:cubicBezTo>
                <a:cubicBezTo>
                  <a:pt x="220" y="305"/>
                  <a:pt x="216" y="320"/>
                  <a:pt x="223" y="334"/>
                </a:cubicBezTo>
                <a:cubicBezTo>
                  <a:pt x="231" y="347"/>
                  <a:pt x="231" y="354"/>
                  <a:pt x="231" y="354"/>
                </a:cubicBezTo>
                <a:cubicBezTo>
                  <a:pt x="231" y="354"/>
                  <a:pt x="208" y="337"/>
                  <a:pt x="197" y="343"/>
                </a:cubicBezTo>
                <a:cubicBezTo>
                  <a:pt x="186" y="349"/>
                  <a:pt x="175" y="354"/>
                  <a:pt x="175" y="354"/>
                </a:cubicBezTo>
                <a:cubicBezTo>
                  <a:pt x="175" y="354"/>
                  <a:pt x="186" y="401"/>
                  <a:pt x="190" y="407"/>
                </a:cubicBezTo>
                <a:cubicBezTo>
                  <a:pt x="193" y="412"/>
                  <a:pt x="180" y="466"/>
                  <a:pt x="171" y="470"/>
                </a:cubicBezTo>
                <a:cubicBezTo>
                  <a:pt x="171" y="470"/>
                  <a:pt x="165" y="480"/>
                  <a:pt x="163" y="479"/>
                </a:cubicBezTo>
                <a:cubicBezTo>
                  <a:pt x="160" y="479"/>
                  <a:pt x="153" y="482"/>
                  <a:pt x="153" y="482"/>
                </a:cubicBezTo>
                <a:cubicBezTo>
                  <a:pt x="153" y="482"/>
                  <a:pt x="144" y="483"/>
                  <a:pt x="141" y="484"/>
                </a:cubicBezTo>
                <a:cubicBezTo>
                  <a:pt x="137" y="485"/>
                  <a:pt x="139" y="491"/>
                  <a:pt x="134" y="494"/>
                </a:cubicBezTo>
                <a:cubicBezTo>
                  <a:pt x="129" y="497"/>
                  <a:pt x="128" y="502"/>
                  <a:pt x="117" y="497"/>
                </a:cubicBezTo>
                <a:cubicBezTo>
                  <a:pt x="107" y="492"/>
                  <a:pt x="96" y="504"/>
                  <a:pt x="96" y="504"/>
                </a:cubicBezTo>
                <a:cubicBezTo>
                  <a:pt x="96" y="504"/>
                  <a:pt x="87" y="512"/>
                  <a:pt x="79" y="516"/>
                </a:cubicBezTo>
                <a:cubicBezTo>
                  <a:pt x="71" y="520"/>
                  <a:pt x="66" y="522"/>
                  <a:pt x="54" y="521"/>
                </a:cubicBezTo>
                <a:cubicBezTo>
                  <a:pt x="42" y="520"/>
                  <a:pt x="36" y="521"/>
                  <a:pt x="29" y="523"/>
                </a:cubicBezTo>
                <a:cubicBezTo>
                  <a:pt x="21" y="525"/>
                  <a:pt x="7" y="548"/>
                  <a:pt x="0" y="553"/>
                </a:cubicBezTo>
                <a:cubicBezTo>
                  <a:pt x="0" y="553"/>
                  <a:pt x="12" y="553"/>
                  <a:pt x="13" y="558"/>
                </a:cubicBezTo>
                <a:cubicBezTo>
                  <a:pt x="15" y="562"/>
                  <a:pt x="8" y="579"/>
                  <a:pt x="15" y="583"/>
                </a:cubicBezTo>
                <a:cubicBezTo>
                  <a:pt x="21" y="587"/>
                  <a:pt x="28" y="582"/>
                  <a:pt x="35" y="587"/>
                </a:cubicBezTo>
                <a:cubicBezTo>
                  <a:pt x="42" y="593"/>
                  <a:pt x="43" y="612"/>
                  <a:pt x="43" y="612"/>
                </a:cubicBezTo>
                <a:cubicBezTo>
                  <a:pt x="43" y="612"/>
                  <a:pt x="41" y="621"/>
                  <a:pt x="44" y="630"/>
                </a:cubicBezTo>
                <a:cubicBezTo>
                  <a:pt x="48" y="640"/>
                  <a:pt x="68" y="654"/>
                  <a:pt x="68" y="654"/>
                </a:cubicBezTo>
                <a:cubicBezTo>
                  <a:pt x="68" y="654"/>
                  <a:pt x="101" y="673"/>
                  <a:pt x="105" y="673"/>
                </a:cubicBezTo>
                <a:cubicBezTo>
                  <a:pt x="110" y="673"/>
                  <a:pt x="119" y="673"/>
                  <a:pt x="119" y="673"/>
                </a:cubicBezTo>
                <a:cubicBezTo>
                  <a:pt x="119" y="673"/>
                  <a:pt x="136" y="684"/>
                  <a:pt x="141" y="691"/>
                </a:cubicBezTo>
                <a:cubicBezTo>
                  <a:pt x="145" y="699"/>
                  <a:pt x="166" y="709"/>
                  <a:pt x="153" y="714"/>
                </a:cubicBezTo>
                <a:cubicBezTo>
                  <a:pt x="140" y="719"/>
                  <a:pt x="137" y="724"/>
                  <a:pt x="144" y="731"/>
                </a:cubicBezTo>
                <a:cubicBezTo>
                  <a:pt x="151" y="738"/>
                  <a:pt x="164" y="738"/>
                  <a:pt x="159" y="746"/>
                </a:cubicBezTo>
                <a:cubicBezTo>
                  <a:pt x="154" y="754"/>
                  <a:pt x="141" y="749"/>
                  <a:pt x="146" y="755"/>
                </a:cubicBezTo>
                <a:cubicBezTo>
                  <a:pt x="151" y="761"/>
                  <a:pt x="156" y="753"/>
                  <a:pt x="160" y="762"/>
                </a:cubicBezTo>
                <a:cubicBezTo>
                  <a:pt x="165" y="772"/>
                  <a:pt x="165" y="776"/>
                  <a:pt x="159" y="780"/>
                </a:cubicBezTo>
                <a:cubicBezTo>
                  <a:pt x="153" y="783"/>
                  <a:pt x="149" y="786"/>
                  <a:pt x="145" y="785"/>
                </a:cubicBezTo>
                <a:cubicBezTo>
                  <a:pt x="141" y="783"/>
                  <a:pt x="145" y="774"/>
                  <a:pt x="139" y="778"/>
                </a:cubicBezTo>
                <a:cubicBezTo>
                  <a:pt x="133" y="781"/>
                  <a:pt x="127" y="786"/>
                  <a:pt x="136" y="793"/>
                </a:cubicBezTo>
                <a:cubicBezTo>
                  <a:pt x="144" y="800"/>
                  <a:pt x="152" y="786"/>
                  <a:pt x="153" y="800"/>
                </a:cubicBezTo>
                <a:cubicBezTo>
                  <a:pt x="154" y="814"/>
                  <a:pt x="139" y="816"/>
                  <a:pt x="150" y="821"/>
                </a:cubicBezTo>
                <a:cubicBezTo>
                  <a:pt x="160" y="826"/>
                  <a:pt x="168" y="826"/>
                  <a:pt x="179" y="829"/>
                </a:cubicBezTo>
                <a:cubicBezTo>
                  <a:pt x="190" y="833"/>
                  <a:pt x="194" y="822"/>
                  <a:pt x="200" y="840"/>
                </a:cubicBezTo>
                <a:cubicBezTo>
                  <a:pt x="206" y="857"/>
                  <a:pt x="200" y="846"/>
                  <a:pt x="219" y="861"/>
                </a:cubicBezTo>
                <a:cubicBezTo>
                  <a:pt x="238" y="876"/>
                  <a:pt x="258" y="885"/>
                  <a:pt x="258" y="885"/>
                </a:cubicBezTo>
                <a:cubicBezTo>
                  <a:pt x="288" y="903"/>
                  <a:pt x="288" y="903"/>
                  <a:pt x="288" y="903"/>
                </a:cubicBezTo>
                <a:cubicBezTo>
                  <a:pt x="288" y="903"/>
                  <a:pt x="309" y="901"/>
                  <a:pt x="323" y="908"/>
                </a:cubicBezTo>
                <a:cubicBezTo>
                  <a:pt x="337" y="915"/>
                  <a:pt x="340" y="893"/>
                  <a:pt x="350" y="911"/>
                </a:cubicBezTo>
                <a:cubicBezTo>
                  <a:pt x="361" y="930"/>
                  <a:pt x="353" y="932"/>
                  <a:pt x="367" y="934"/>
                </a:cubicBezTo>
                <a:cubicBezTo>
                  <a:pt x="381" y="935"/>
                  <a:pt x="360" y="920"/>
                  <a:pt x="384" y="925"/>
                </a:cubicBezTo>
                <a:cubicBezTo>
                  <a:pt x="409" y="931"/>
                  <a:pt x="415" y="921"/>
                  <a:pt x="415" y="921"/>
                </a:cubicBezTo>
                <a:cubicBezTo>
                  <a:pt x="415" y="921"/>
                  <a:pt x="414" y="897"/>
                  <a:pt x="428" y="908"/>
                </a:cubicBezTo>
                <a:cubicBezTo>
                  <a:pt x="442" y="918"/>
                  <a:pt x="443" y="920"/>
                  <a:pt x="447" y="923"/>
                </a:cubicBezTo>
                <a:cubicBezTo>
                  <a:pt x="450" y="927"/>
                  <a:pt x="457" y="918"/>
                  <a:pt x="457" y="918"/>
                </a:cubicBezTo>
                <a:cubicBezTo>
                  <a:pt x="457" y="918"/>
                  <a:pt x="474" y="910"/>
                  <a:pt x="485" y="908"/>
                </a:cubicBezTo>
                <a:cubicBezTo>
                  <a:pt x="497" y="905"/>
                  <a:pt x="501" y="900"/>
                  <a:pt x="508" y="897"/>
                </a:cubicBezTo>
                <a:cubicBezTo>
                  <a:pt x="515" y="895"/>
                  <a:pt x="511" y="876"/>
                  <a:pt x="522" y="884"/>
                </a:cubicBezTo>
                <a:cubicBezTo>
                  <a:pt x="532" y="893"/>
                  <a:pt x="518" y="891"/>
                  <a:pt x="535" y="897"/>
                </a:cubicBezTo>
                <a:cubicBezTo>
                  <a:pt x="551" y="903"/>
                  <a:pt x="543" y="905"/>
                  <a:pt x="552" y="898"/>
                </a:cubicBezTo>
                <a:cubicBezTo>
                  <a:pt x="562" y="891"/>
                  <a:pt x="557" y="877"/>
                  <a:pt x="570" y="884"/>
                </a:cubicBezTo>
                <a:cubicBezTo>
                  <a:pt x="583" y="891"/>
                  <a:pt x="585" y="897"/>
                  <a:pt x="585" y="905"/>
                </a:cubicBezTo>
                <a:cubicBezTo>
                  <a:pt x="585" y="914"/>
                  <a:pt x="593" y="918"/>
                  <a:pt x="597" y="917"/>
                </a:cubicBezTo>
                <a:cubicBezTo>
                  <a:pt x="600" y="916"/>
                  <a:pt x="611" y="909"/>
                  <a:pt x="611" y="909"/>
                </a:cubicBezTo>
                <a:cubicBezTo>
                  <a:pt x="611" y="909"/>
                  <a:pt x="616" y="901"/>
                  <a:pt x="625" y="908"/>
                </a:cubicBezTo>
                <a:cubicBezTo>
                  <a:pt x="634" y="915"/>
                  <a:pt x="639" y="907"/>
                  <a:pt x="640" y="927"/>
                </a:cubicBezTo>
                <a:cubicBezTo>
                  <a:pt x="641" y="947"/>
                  <a:pt x="638" y="963"/>
                  <a:pt x="638" y="963"/>
                </a:cubicBezTo>
                <a:cubicBezTo>
                  <a:pt x="621" y="986"/>
                  <a:pt x="621" y="986"/>
                  <a:pt x="621" y="986"/>
                </a:cubicBezTo>
                <a:cubicBezTo>
                  <a:pt x="621" y="986"/>
                  <a:pt x="611" y="991"/>
                  <a:pt x="614" y="1006"/>
                </a:cubicBezTo>
                <a:cubicBezTo>
                  <a:pt x="618" y="1022"/>
                  <a:pt x="611" y="1028"/>
                  <a:pt x="623" y="1030"/>
                </a:cubicBezTo>
                <a:cubicBezTo>
                  <a:pt x="634" y="1032"/>
                  <a:pt x="632" y="1016"/>
                  <a:pt x="647" y="1025"/>
                </a:cubicBezTo>
                <a:cubicBezTo>
                  <a:pt x="663" y="1035"/>
                  <a:pt x="656" y="1038"/>
                  <a:pt x="659" y="1047"/>
                </a:cubicBezTo>
                <a:cubicBezTo>
                  <a:pt x="663" y="1057"/>
                  <a:pt x="675" y="1046"/>
                  <a:pt x="663" y="1057"/>
                </a:cubicBezTo>
                <a:cubicBezTo>
                  <a:pt x="650" y="1067"/>
                  <a:pt x="645" y="1051"/>
                  <a:pt x="650" y="1067"/>
                </a:cubicBezTo>
                <a:cubicBezTo>
                  <a:pt x="654" y="1084"/>
                  <a:pt x="648" y="1077"/>
                  <a:pt x="659" y="1081"/>
                </a:cubicBezTo>
                <a:cubicBezTo>
                  <a:pt x="670" y="1086"/>
                  <a:pt x="658" y="1073"/>
                  <a:pt x="684" y="1086"/>
                </a:cubicBezTo>
                <a:cubicBezTo>
                  <a:pt x="710" y="1099"/>
                  <a:pt x="718" y="1091"/>
                  <a:pt x="719" y="1085"/>
                </a:cubicBezTo>
                <a:cubicBezTo>
                  <a:pt x="720" y="1079"/>
                  <a:pt x="719" y="1069"/>
                  <a:pt x="726" y="1066"/>
                </a:cubicBezTo>
                <a:cubicBezTo>
                  <a:pt x="733" y="1064"/>
                  <a:pt x="753" y="1070"/>
                  <a:pt x="753" y="1070"/>
                </a:cubicBezTo>
                <a:cubicBezTo>
                  <a:pt x="753" y="1070"/>
                  <a:pt x="760" y="1069"/>
                  <a:pt x="771" y="1073"/>
                </a:cubicBezTo>
                <a:cubicBezTo>
                  <a:pt x="781" y="1078"/>
                  <a:pt x="789" y="1073"/>
                  <a:pt x="789" y="1073"/>
                </a:cubicBezTo>
                <a:cubicBezTo>
                  <a:pt x="789" y="1073"/>
                  <a:pt x="799" y="1067"/>
                  <a:pt x="802" y="1058"/>
                </a:cubicBezTo>
                <a:cubicBezTo>
                  <a:pt x="806" y="1049"/>
                  <a:pt x="803" y="1042"/>
                  <a:pt x="817" y="1047"/>
                </a:cubicBezTo>
                <a:cubicBezTo>
                  <a:pt x="832" y="1053"/>
                  <a:pt x="836" y="1058"/>
                  <a:pt x="836" y="1058"/>
                </a:cubicBezTo>
                <a:cubicBezTo>
                  <a:pt x="836" y="1058"/>
                  <a:pt x="840" y="1055"/>
                  <a:pt x="850" y="1063"/>
                </a:cubicBezTo>
                <a:cubicBezTo>
                  <a:pt x="861" y="1071"/>
                  <a:pt x="855" y="1072"/>
                  <a:pt x="854" y="1080"/>
                </a:cubicBezTo>
                <a:cubicBezTo>
                  <a:pt x="853" y="1089"/>
                  <a:pt x="856" y="1086"/>
                  <a:pt x="864" y="1091"/>
                </a:cubicBezTo>
                <a:cubicBezTo>
                  <a:pt x="873" y="1096"/>
                  <a:pt x="883" y="1093"/>
                  <a:pt x="883" y="1093"/>
                </a:cubicBezTo>
                <a:cubicBezTo>
                  <a:pt x="883" y="1093"/>
                  <a:pt x="897" y="1091"/>
                  <a:pt x="906" y="1092"/>
                </a:cubicBezTo>
                <a:cubicBezTo>
                  <a:pt x="914" y="1093"/>
                  <a:pt x="915" y="1092"/>
                  <a:pt x="924" y="1094"/>
                </a:cubicBezTo>
                <a:cubicBezTo>
                  <a:pt x="934" y="1097"/>
                  <a:pt x="940" y="1105"/>
                  <a:pt x="940" y="1105"/>
                </a:cubicBezTo>
                <a:cubicBezTo>
                  <a:pt x="940" y="1105"/>
                  <a:pt x="925" y="1107"/>
                  <a:pt x="931" y="1118"/>
                </a:cubicBezTo>
                <a:cubicBezTo>
                  <a:pt x="937" y="1128"/>
                  <a:pt x="937" y="1124"/>
                  <a:pt x="944" y="1125"/>
                </a:cubicBezTo>
                <a:cubicBezTo>
                  <a:pt x="951" y="1126"/>
                  <a:pt x="952" y="1127"/>
                  <a:pt x="952" y="1121"/>
                </a:cubicBezTo>
                <a:cubicBezTo>
                  <a:pt x="952" y="1116"/>
                  <a:pt x="951" y="1106"/>
                  <a:pt x="951" y="1106"/>
                </a:cubicBezTo>
                <a:cubicBezTo>
                  <a:pt x="951" y="1106"/>
                  <a:pt x="958" y="1101"/>
                  <a:pt x="970" y="1098"/>
                </a:cubicBezTo>
                <a:cubicBezTo>
                  <a:pt x="982" y="1094"/>
                  <a:pt x="986" y="1091"/>
                  <a:pt x="986" y="1091"/>
                </a:cubicBezTo>
                <a:cubicBezTo>
                  <a:pt x="986" y="1091"/>
                  <a:pt x="991" y="1078"/>
                  <a:pt x="1004" y="1080"/>
                </a:cubicBezTo>
                <a:cubicBezTo>
                  <a:pt x="1017" y="1083"/>
                  <a:pt x="1018" y="1078"/>
                  <a:pt x="1021" y="1070"/>
                </a:cubicBezTo>
                <a:cubicBezTo>
                  <a:pt x="1023" y="1062"/>
                  <a:pt x="1028" y="1053"/>
                  <a:pt x="1028" y="1053"/>
                </a:cubicBezTo>
                <a:cubicBezTo>
                  <a:pt x="1028" y="1053"/>
                  <a:pt x="1038" y="1060"/>
                  <a:pt x="1038" y="1066"/>
                </a:cubicBezTo>
                <a:cubicBezTo>
                  <a:pt x="1038" y="1066"/>
                  <a:pt x="1057" y="1073"/>
                  <a:pt x="1062" y="1067"/>
                </a:cubicBezTo>
                <a:cubicBezTo>
                  <a:pt x="1066" y="1062"/>
                  <a:pt x="1071" y="1056"/>
                  <a:pt x="1077" y="1059"/>
                </a:cubicBezTo>
                <a:cubicBezTo>
                  <a:pt x="1083" y="1063"/>
                  <a:pt x="1091" y="1059"/>
                  <a:pt x="1091" y="1059"/>
                </a:cubicBezTo>
                <a:cubicBezTo>
                  <a:pt x="1091" y="1059"/>
                  <a:pt x="1091" y="1059"/>
                  <a:pt x="1104" y="1062"/>
                </a:cubicBezTo>
                <a:cubicBezTo>
                  <a:pt x="1117" y="1064"/>
                  <a:pt x="1117" y="1066"/>
                  <a:pt x="1123" y="1060"/>
                </a:cubicBezTo>
                <a:cubicBezTo>
                  <a:pt x="1129" y="1055"/>
                  <a:pt x="1126" y="1039"/>
                  <a:pt x="1126" y="1039"/>
                </a:cubicBezTo>
                <a:cubicBezTo>
                  <a:pt x="1126" y="1039"/>
                  <a:pt x="1114" y="1037"/>
                  <a:pt x="1123" y="1032"/>
                </a:cubicBezTo>
                <a:cubicBezTo>
                  <a:pt x="1131" y="1028"/>
                  <a:pt x="1129" y="1024"/>
                  <a:pt x="1134" y="1022"/>
                </a:cubicBezTo>
                <a:cubicBezTo>
                  <a:pt x="1140" y="1019"/>
                  <a:pt x="1141" y="1015"/>
                  <a:pt x="1141" y="1015"/>
                </a:cubicBezTo>
                <a:cubicBezTo>
                  <a:pt x="1141" y="1015"/>
                  <a:pt x="1148" y="998"/>
                  <a:pt x="1158" y="999"/>
                </a:cubicBezTo>
                <a:cubicBezTo>
                  <a:pt x="1167" y="1001"/>
                  <a:pt x="1185" y="981"/>
                  <a:pt x="1185" y="981"/>
                </a:cubicBezTo>
                <a:cubicBezTo>
                  <a:pt x="1185" y="981"/>
                  <a:pt x="1190" y="962"/>
                  <a:pt x="1188" y="958"/>
                </a:cubicBezTo>
                <a:cubicBezTo>
                  <a:pt x="1187" y="955"/>
                  <a:pt x="1185" y="947"/>
                  <a:pt x="1183" y="947"/>
                </a:cubicBezTo>
                <a:cubicBezTo>
                  <a:pt x="1180" y="947"/>
                  <a:pt x="1168" y="937"/>
                  <a:pt x="1183" y="937"/>
                </a:cubicBezTo>
                <a:cubicBezTo>
                  <a:pt x="1197" y="937"/>
                  <a:pt x="1192" y="930"/>
                  <a:pt x="1200" y="938"/>
                </a:cubicBezTo>
                <a:cubicBezTo>
                  <a:pt x="1208" y="947"/>
                  <a:pt x="1208" y="941"/>
                  <a:pt x="1214" y="936"/>
                </a:cubicBezTo>
                <a:cubicBezTo>
                  <a:pt x="1220" y="931"/>
                  <a:pt x="1219" y="924"/>
                  <a:pt x="1221" y="918"/>
                </a:cubicBezTo>
                <a:cubicBezTo>
                  <a:pt x="1224" y="912"/>
                  <a:pt x="1220" y="903"/>
                  <a:pt x="1228" y="907"/>
                </a:cubicBezTo>
                <a:cubicBezTo>
                  <a:pt x="1236" y="910"/>
                  <a:pt x="1233" y="914"/>
                  <a:pt x="1239" y="907"/>
                </a:cubicBezTo>
                <a:cubicBezTo>
                  <a:pt x="1245" y="900"/>
                  <a:pt x="1246" y="894"/>
                  <a:pt x="1239" y="890"/>
                </a:cubicBezTo>
                <a:cubicBezTo>
                  <a:pt x="1232" y="887"/>
                  <a:pt x="1227" y="880"/>
                  <a:pt x="1227" y="880"/>
                </a:cubicBezTo>
                <a:cubicBezTo>
                  <a:pt x="1227" y="880"/>
                  <a:pt x="1217" y="876"/>
                  <a:pt x="1227" y="873"/>
                </a:cubicBezTo>
                <a:cubicBezTo>
                  <a:pt x="1238" y="869"/>
                  <a:pt x="1242" y="866"/>
                  <a:pt x="1239" y="862"/>
                </a:cubicBezTo>
                <a:cubicBezTo>
                  <a:pt x="1235" y="859"/>
                  <a:pt x="1231" y="854"/>
                  <a:pt x="1231" y="854"/>
                </a:cubicBezTo>
                <a:cubicBezTo>
                  <a:pt x="1231" y="854"/>
                  <a:pt x="1233" y="848"/>
                  <a:pt x="1221" y="854"/>
                </a:cubicBezTo>
                <a:cubicBezTo>
                  <a:pt x="1209" y="860"/>
                  <a:pt x="1206" y="861"/>
                  <a:pt x="1199" y="854"/>
                </a:cubicBezTo>
                <a:cubicBezTo>
                  <a:pt x="1192" y="847"/>
                  <a:pt x="1187" y="841"/>
                  <a:pt x="1197" y="837"/>
                </a:cubicBezTo>
                <a:cubicBezTo>
                  <a:pt x="1206" y="834"/>
                  <a:pt x="1198" y="820"/>
                  <a:pt x="1212" y="832"/>
                </a:cubicBezTo>
                <a:cubicBezTo>
                  <a:pt x="1226" y="843"/>
                  <a:pt x="1220" y="837"/>
                  <a:pt x="1228" y="835"/>
                </a:cubicBezTo>
                <a:cubicBezTo>
                  <a:pt x="1236" y="833"/>
                  <a:pt x="1244" y="817"/>
                  <a:pt x="1244" y="817"/>
                </a:cubicBezTo>
                <a:cubicBezTo>
                  <a:pt x="1244" y="817"/>
                  <a:pt x="1240" y="809"/>
                  <a:pt x="1234" y="808"/>
                </a:cubicBezTo>
                <a:cubicBezTo>
                  <a:pt x="1228" y="807"/>
                  <a:pt x="1234" y="806"/>
                  <a:pt x="1224" y="802"/>
                </a:cubicBezTo>
                <a:cubicBezTo>
                  <a:pt x="1213" y="799"/>
                  <a:pt x="1209" y="801"/>
                  <a:pt x="1208" y="793"/>
                </a:cubicBezTo>
                <a:cubicBezTo>
                  <a:pt x="1207" y="785"/>
                  <a:pt x="1212" y="781"/>
                  <a:pt x="1212" y="781"/>
                </a:cubicBezTo>
                <a:cubicBezTo>
                  <a:pt x="1212" y="781"/>
                  <a:pt x="1218" y="783"/>
                  <a:pt x="1226" y="785"/>
                </a:cubicBezTo>
                <a:cubicBezTo>
                  <a:pt x="1234" y="786"/>
                  <a:pt x="1234" y="776"/>
                  <a:pt x="1234" y="776"/>
                </a:cubicBezTo>
                <a:cubicBezTo>
                  <a:pt x="1234" y="776"/>
                  <a:pt x="1228" y="763"/>
                  <a:pt x="1222" y="763"/>
                </a:cubicBezTo>
                <a:cubicBezTo>
                  <a:pt x="1217" y="763"/>
                  <a:pt x="1212" y="758"/>
                  <a:pt x="1212" y="758"/>
                </a:cubicBezTo>
                <a:cubicBezTo>
                  <a:pt x="1212" y="758"/>
                  <a:pt x="1205" y="739"/>
                  <a:pt x="1211" y="732"/>
                </a:cubicBezTo>
                <a:cubicBezTo>
                  <a:pt x="1217" y="725"/>
                  <a:pt x="1225" y="716"/>
                  <a:pt x="1217" y="718"/>
                </a:cubicBezTo>
                <a:cubicBezTo>
                  <a:pt x="1208" y="719"/>
                  <a:pt x="1208" y="719"/>
                  <a:pt x="1208" y="719"/>
                </a:cubicBezTo>
                <a:cubicBezTo>
                  <a:pt x="1208" y="719"/>
                  <a:pt x="1194" y="728"/>
                  <a:pt x="1197" y="720"/>
                </a:cubicBezTo>
                <a:cubicBezTo>
                  <a:pt x="1199" y="712"/>
                  <a:pt x="1215" y="708"/>
                  <a:pt x="1200" y="706"/>
                </a:cubicBezTo>
                <a:cubicBezTo>
                  <a:pt x="1185" y="704"/>
                  <a:pt x="1147" y="743"/>
                  <a:pt x="1179" y="704"/>
                </a:cubicBezTo>
                <a:cubicBezTo>
                  <a:pt x="1211" y="664"/>
                  <a:pt x="1211" y="650"/>
                  <a:pt x="1224" y="652"/>
                </a:cubicBezTo>
                <a:cubicBezTo>
                  <a:pt x="1236" y="654"/>
                  <a:pt x="1236" y="639"/>
                  <a:pt x="1245" y="645"/>
                </a:cubicBezTo>
                <a:cubicBezTo>
                  <a:pt x="1253" y="651"/>
                  <a:pt x="1265" y="641"/>
                  <a:pt x="1265" y="637"/>
                </a:cubicBezTo>
                <a:cubicBezTo>
                  <a:pt x="1265" y="632"/>
                  <a:pt x="1268" y="626"/>
                  <a:pt x="1265" y="624"/>
                </a:cubicBezTo>
                <a:cubicBezTo>
                  <a:pt x="1261" y="621"/>
                  <a:pt x="1253" y="611"/>
                  <a:pt x="1247" y="613"/>
                </a:cubicBezTo>
                <a:cubicBezTo>
                  <a:pt x="1241" y="616"/>
                  <a:pt x="1231" y="619"/>
                  <a:pt x="1231" y="619"/>
                </a:cubicBezTo>
                <a:cubicBezTo>
                  <a:pt x="1231" y="619"/>
                  <a:pt x="1217" y="620"/>
                  <a:pt x="1214" y="612"/>
                </a:cubicBezTo>
                <a:cubicBezTo>
                  <a:pt x="1212" y="604"/>
                  <a:pt x="1213" y="594"/>
                  <a:pt x="1206" y="604"/>
                </a:cubicBezTo>
                <a:cubicBezTo>
                  <a:pt x="1199" y="613"/>
                  <a:pt x="1197" y="616"/>
                  <a:pt x="1193" y="624"/>
                </a:cubicBezTo>
                <a:cubicBezTo>
                  <a:pt x="1190" y="632"/>
                  <a:pt x="1180" y="632"/>
                  <a:pt x="1180" y="632"/>
                </a:cubicBezTo>
                <a:cubicBezTo>
                  <a:pt x="1180" y="632"/>
                  <a:pt x="1166" y="626"/>
                  <a:pt x="1165" y="619"/>
                </a:cubicBezTo>
                <a:cubicBezTo>
                  <a:pt x="1164" y="612"/>
                  <a:pt x="1171" y="600"/>
                  <a:pt x="1156" y="604"/>
                </a:cubicBezTo>
                <a:cubicBezTo>
                  <a:pt x="1140" y="607"/>
                  <a:pt x="1137" y="610"/>
                  <a:pt x="1134" y="599"/>
                </a:cubicBezTo>
                <a:cubicBezTo>
                  <a:pt x="1132" y="589"/>
                  <a:pt x="1131" y="584"/>
                  <a:pt x="1134" y="574"/>
                </a:cubicBezTo>
                <a:cubicBezTo>
                  <a:pt x="1138" y="565"/>
                  <a:pt x="1140" y="555"/>
                  <a:pt x="1154" y="562"/>
                </a:cubicBezTo>
                <a:cubicBezTo>
                  <a:pt x="1168" y="569"/>
                  <a:pt x="1174" y="558"/>
                  <a:pt x="1183" y="551"/>
                </a:cubicBezTo>
                <a:cubicBezTo>
                  <a:pt x="1191" y="544"/>
                  <a:pt x="1197" y="537"/>
                  <a:pt x="1199" y="530"/>
                </a:cubicBezTo>
                <a:cubicBezTo>
                  <a:pt x="1201" y="523"/>
                  <a:pt x="1201" y="513"/>
                  <a:pt x="1209" y="517"/>
                </a:cubicBezTo>
                <a:cubicBezTo>
                  <a:pt x="1218" y="520"/>
                  <a:pt x="1224" y="517"/>
                  <a:pt x="1224" y="510"/>
                </a:cubicBezTo>
                <a:cubicBezTo>
                  <a:pt x="1224" y="503"/>
                  <a:pt x="1224" y="499"/>
                  <a:pt x="1224" y="499"/>
                </a:cubicBezTo>
                <a:cubicBezTo>
                  <a:pt x="1224" y="499"/>
                  <a:pt x="1220" y="477"/>
                  <a:pt x="1238" y="496"/>
                </a:cubicBezTo>
                <a:cubicBezTo>
                  <a:pt x="1255" y="515"/>
                  <a:pt x="1252" y="523"/>
                  <a:pt x="1252" y="523"/>
                </a:cubicBezTo>
                <a:cubicBezTo>
                  <a:pt x="1252" y="523"/>
                  <a:pt x="1242" y="528"/>
                  <a:pt x="1239" y="542"/>
                </a:cubicBezTo>
                <a:cubicBezTo>
                  <a:pt x="1235" y="556"/>
                  <a:pt x="1242" y="547"/>
                  <a:pt x="1239" y="558"/>
                </a:cubicBezTo>
                <a:cubicBezTo>
                  <a:pt x="1235" y="569"/>
                  <a:pt x="1232" y="570"/>
                  <a:pt x="1232" y="570"/>
                </a:cubicBezTo>
                <a:cubicBezTo>
                  <a:pt x="1232" y="570"/>
                  <a:pt x="1238" y="584"/>
                  <a:pt x="1252" y="566"/>
                </a:cubicBezTo>
                <a:cubicBezTo>
                  <a:pt x="1266" y="549"/>
                  <a:pt x="1276" y="545"/>
                  <a:pt x="1283" y="540"/>
                </a:cubicBezTo>
                <a:cubicBezTo>
                  <a:pt x="1290" y="536"/>
                  <a:pt x="1303" y="536"/>
                  <a:pt x="1303" y="536"/>
                </a:cubicBezTo>
                <a:cubicBezTo>
                  <a:pt x="1303" y="536"/>
                  <a:pt x="1316" y="526"/>
                  <a:pt x="1321" y="522"/>
                </a:cubicBezTo>
                <a:cubicBezTo>
                  <a:pt x="1326" y="517"/>
                  <a:pt x="1337" y="504"/>
                  <a:pt x="1337" y="504"/>
                </a:cubicBezTo>
                <a:cubicBezTo>
                  <a:pt x="1337" y="504"/>
                  <a:pt x="1347" y="508"/>
                  <a:pt x="1354" y="505"/>
                </a:cubicBezTo>
                <a:cubicBezTo>
                  <a:pt x="1361" y="503"/>
                  <a:pt x="1368" y="503"/>
                  <a:pt x="1369" y="491"/>
                </a:cubicBezTo>
                <a:cubicBezTo>
                  <a:pt x="1370" y="479"/>
                  <a:pt x="1360" y="472"/>
                  <a:pt x="1375" y="477"/>
                </a:cubicBezTo>
                <a:cubicBezTo>
                  <a:pt x="1390" y="482"/>
                  <a:pt x="1397" y="490"/>
                  <a:pt x="1397" y="490"/>
                </a:cubicBezTo>
                <a:cubicBezTo>
                  <a:pt x="1397" y="490"/>
                  <a:pt x="1407" y="490"/>
                  <a:pt x="1406" y="482"/>
                </a:cubicBezTo>
                <a:cubicBezTo>
                  <a:pt x="1406" y="475"/>
                  <a:pt x="1405" y="466"/>
                  <a:pt x="1409" y="462"/>
                </a:cubicBezTo>
                <a:cubicBezTo>
                  <a:pt x="1413" y="458"/>
                  <a:pt x="1420" y="452"/>
                  <a:pt x="1420" y="452"/>
                </a:cubicBezTo>
                <a:cubicBezTo>
                  <a:pt x="1420" y="452"/>
                  <a:pt x="1425" y="443"/>
                  <a:pt x="1436" y="440"/>
                </a:cubicBezTo>
                <a:cubicBezTo>
                  <a:pt x="1446" y="437"/>
                  <a:pt x="1452" y="440"/>
                  <a:pt x="1452" y="440"/>
                </a:cubicBezTo>
                <a:cubicBezTo>
                  <a:pt x="1467" y="449"/>
                  <a:pt x="1467" y="449"/>
                  <a:pt x="1467" y="449"/>
                </a:cubicBezTo>
                <a:cubicBezTo>
                  <a:pt x="1466" y="445"/>
                  <a:pt x="1460" y="434"/>
                  <a:pt x="1469" y="424"/>
                </a:cubicBezTo>
                <a:cubicBezTo>
                  <a:pt x="1477" y="416"/>
                  <a:pt x="1477" y="392"/>
                  <a:pt x="1477" y="376"/>
                </a:cubicBezTo>
                <a:cubicBezTo>
                  <a:pt x="1477" y="359"/>
                  <a:pt x="1482" y="338"/>
                  <a:pt x="1500" y="350"/>
                </a:cubicBezTo>
                <a:cubicBezTo>
                  <a:pt x="1518" y="361"/>
                  <a:pt x="1529" y="356"/>
                  <a:pt x="1541" y="340"/>
                </a:cubicBezTo>
                <a:cubicBezTo>
                  <a:pt x="1552" y="324"/>
                  <a:pt x="1558" y="296"/>
                  <a:pt x="1558" y="296"/>
                </a:cubicBezTo>
                <a:cubicBezTo>
                  <a:pt x="1558" y="296"/>
                  <a:pt x="1567" y="281"/>
                  <a:pt x="1573" y="273"/>
                </a:cubicBezTo>
                <a:cubicBezTo>
                  <a:pt x="1580" y="265"/>
                  <a:pt x="1576" y="257"/>
                  <a:pt x="1573" y="247"/>
                </a:cubicBezTo>
                <a:cubicBezTo>
                  <a:pt x="1570" y="237"/>
                  <a:pt x="1558" y="228"/>
                  <a:pt x="1558" y="228"/>
                </a:cubicBezTo>
                <a:cubicBezTo>
                  <a:pt x="1558" y="228"/>
                  <a:pt x="1531" y="247"/>
                  <a:pt x="1519" y="252"/>
                </a:cubicBezTo>
                <a:cubicBezTo>
                  <a:pt x="1508" y="257"/>
                  <a:pt x="1493" y="254"/>
                  <a:pt x="1485" y="247"/>
                </a:cubicBezTo>
                <a:cubicBezTo>
                  <a:pt x="1477" y="241"/>
                  <a:pt x="1474" y="213"/>
                  <a:pt x="1474" y="213"/>
                </a:cubicBezTo>
                <a:cubicBezTo>
                  <a:pt x="1474" y="213"/>
                  <a:pt x="1454" y="188"/>
                  <a:pt x="1445" y="193"/>
                </a:cubicBezTo>
                <a:cubicBezTo>
                  <a:pt x="1435" y="198"/>
                  <a:pt x="1422" y="198"/>
                  <a:pt x="1417" y="190"/>
                </a:cubicBezTo>
                <a:cubicBezTo>
                  <a:pt x="1412" y="182"/>
                  <a:pt x="1404" y="187"/>
                  <a:pt x="1391" y="171"/>
                </a:cubicBezTo>
                <a:cubicBezTo>
                  <a:pt x="1378" y="154"/>
                  <a:pt x="1362" y="107"/>
                  <a:pt x="1358" y="88"/>
                </a:cubicBezTo>
                <a:cubicBezTo>
                  <a:pt x="1355" y="68"/>
                  <a:pt x="1366" y="47"/>
                  <a:pt x="1332" y="34"/>
                </a:cubicBezTo>
                <a:cubicBezTo>
                  <a:pt x="1298" y="21"/>
                  <a:pt x="1301" y="0"/>
                  <a:pt x="1269" y="9"/>
                </a:cubicBezTo>
                <a:cubicBezTo>
                  <a:pt x="1236" y="19"/>
                  <a:pt x="1217" y="21"/>
                  <a:pt x="1217" y="21"/>
                </a:cubicBezTo>
                <a:cubicBezTo>
                  <a:pt x="1217" y="21"/>
                  <a:pt x="1194" y="42"/>
                  <a:pt x="1199" y="52"/>
                </a:cubicBezTo>
                <a:cubicBezTo>
                  <a:pt x="1204" y="62"/>
                  <a:pt x="1204" y="81"/>
                  <a:pt x="1204" y="81"/>
                </a:cubicBezTo>
                <a:cubicBezTo>
                  <a:pt x="1204" y="81"/>
                  <a:pt x="1199" y="104"/>
                  <a:pt x="1183" y="119"/>
                </a:cubicBezTo>
                <a:cubicBezTo>
                  <a:pt x="1166" y="133"/>
                  <a:pt x="1165" y="148"/>
                  <a:pt x="1165" y="148"/>
                </a:cubicBezTo>
                <a:cubicBezTo>
                  <a:pt x="1165" y="148"/>
                  <a:pt x="1158" y="185"/>
                  <a:pt x="1140" y="187"/>
                </a:cubicBezTo>
                <a:cubicBezTo>
                  <a:pt x="1122" y="188"/>
                  <a:pt x="1109" y="198"/>
                  <a:pt x="1103" y="193"/>
                </a:cubicBezTo>
                <a:cubicBezTo>
                  <a:pt x="1103" y="193"/>
                  <a:pt x="1097" y="211"/>
                  <a:pt x="1096" y="219"/>
                </a:cubicBezTo>
                <a:cubicBezTo>
                  <a:pt x="1094" y="228"/>
                  <a:pt x="1087" y="222"/>
                  <a:pt x="1085" y="235"/>
                </a:cubicBezTo>
                <a:cubicBezTo>
                  <a:pt x="1084" y="248"/>
                  <a:pt x="1085" y="251"/>
                  <a:pt x="1094" y="253"/>
                </a:cubicBezTo>
                <a:cubicBezTo>
                  <a:pt x="1103" y="255"/>
                  <a:pt x="1103" y="246"/>
                  <a:pt x="1110" y="255"/>
                </a:cubicBezTo>
                <a:cubicBezTo>
                  <a:pt x="1116" y="264"/>
                  <a:pt x="1118" y="261"/>
                  <a:pt x="1121" y="260"/>
                </a:cubicBezTo>
                <a:cubicBezTo>
                  <a:pt x="1125" y="259"/>
                  <a:pt x="1139" y="264"/>
                  <a:pt x="1141" y="255"/>
                </a:cubicBezTo>
                <a:cubicBezTo>
                  <a:pt x="1143" y="247"/>
                  <a:pt x="1146" y="248"/>
                  <a:pt x="1153" y="248"/>
                </a:cubicBezTo>
                <a:cubicBezTo>
                  <a:pt x="1159" y="247"/>
                  <a:pt x="1165" y="244"/>
                  <a:pt x="1168" y="255"/>
                </a:cubicBezTo>
                <a:cubicBezTo>
                  <a:pt x="1171" y="265"/>
                  <a:pt x="1168" y="263"/>
                  <a:pt x="1181" y="273"/>
                </a:cubicBezTo>
                <a:cubicBezTo>
                  <a:pt x="1193" y="282"/>
                  <a:pt x="1200" y="284"/>
                  <a:pt x="1202" y="296"/>
                </a:cubicBezTo>
                <a:cubicBezTo>
                  <a:pt x="1205" y="308"/>
                  <a:pt x="1199" y="318"/>
                  <a:pt x="1199" y="318"/>
                </a:cubicBezTo>
                <a:cubicBezTo>
                  <a:pt x="1199" y="318"/>
                  <a:pt x="1175" y="312"/>
                  <a:pt x="1168" y="318"/>
                </a:cubicBezTo>
                <a:cubicBezTo>
                  <a:pt x="1161" y="325"/>
                  <a:pt x="1151" y="325"/>
                  <a:pt x="1151" y="325"/>
                </a:cubicBezTo>
                <a:cubicBezTo>
                  <a:pt x="1151" y="325"/>
                  <a:pt x="1128" y="323"/>
                  <a:pt x="1128" y="334"/>
                </a:cubicBezTo>
                <a:cubicBezTo>
                  <a:pt x="1128" y="345"/>
                  <a:pt x="1123" y="354"/>
                  <a:pt x="1123" y="354"/>
                </a:cubicBezTo>
                <a:cubicBezTo>
                  <a:pt x="1123" y="354"/>
                  <a:pt x="1112" y="346"/>
                  <a:pt x="1108" y="353"/>
                </a:cubicBezTo>
                <a:cubicBezTo>
                  <a:pt x="1104" y="360"/>
                  <a:pt x="1105" y="359"/>
                  <a:pt x="1096" y="359"/>
                </a:cubicBezTo>
                <a:cubicBezTo>
                  <a:pt x="1087" y="358"/>
                  <a:pt x="1083" y="350"/>
                  <a:pt x="1083" y="350"/>
                </a:cubicBezTo>
                <a:cubicBezTo>
                  <a:pt x="1083" y="350"/>
                  <a:pt x="1080" y="347"/>
                  <a:pt x="1073" y="351"/>
                </a:cubicBezTo>
                <a:cubicBezTo>
                  <a:pt x="1067" y="354"/>
                  <a:pt x="1060" y="349"/>
                  <a:pt x="1060" y="356"/>
                </a:cubicBezTo>
                <a:cubicBezTo>
                  <a:pt x="1060" y="363"/>
                  <a:pt x="1057" y="368"/>
                  <a:pt x="1057" y="368"/>
                </a:cubicBezTo>
                <a:cubicBezTo>
                  <a:pt x="1038" y="368"/>
                  <a:pt x="1038" y="368"/>
                  <a:pt x="1038" y="368"/>
                </a:cubicBezTo>
                <a:cubicBezTo>
                  <a:pt x="1038" y="368"/>
                  <a:pt x="1017" y="367"/>
                  <a:pt x="1014" y="362"/>
                </a:cubicBezTo>
                <a:cubicBezTo>
                  <a:pt x="1010" y="357"/>
                  <a:pt x="1003" y="354"/>
                  <a:pt x="996" y="358"/>
                </a:cubicBezTo>
                <a:cubicBezTo>
                  <a:pt x="989" y="362"/>
                  <a:pt x="981" y="359"/>
                  <a:pt x="981" y="359"/>
                </a:cubicBezTo>
                <a:cubicBezTo>
                  <a:pt x="975" y="353"/>
                  <a:pt x="975" y="353"/>
                  <a:pt x="975" y="353"/>
                </a:cubicBezTo>
                <a:cubicBezTo>
                  <a:pt x="975" y="353"/>
                  <a:pt x="954" y="376"/>
                  <a:pt x="965" y="379"/>
                </a:cubicBezTo>
                <a:cubicBezTo>
                  <a:pt x="976" y="383"/>
                  <a:pt x="982" y="382"/>
                  <a:pt x="982" y="382"/>
                </a:cubicBezTo>
                <a:cubicBezTo>
                  <a:pt x="982" y="382"/>
                  <a:pt x="985" y="396"/>
                  <a:pt x="980" y="403"/>
                </a:cubicBezTo>
                <a:cubicBezTo>
                  <a:pt x="974" y="410"/>
                  <a:pt x="965" y="413"/>
                  <a:pt x="961" y="413"/>
                </a:cubicBezTo>
                <a:cubicBezTo>
                  <a:pt x="957" y="414"/>
                  <a:pt x="947" y="405"/>
                  <a:pt x="949" y="418"/>
                </a:cubicBezTo>
                <a:cubicBezTo>
                  <a:pt x="951" y="430"/>
                  <a:pt x="944" y="437"/>
                  <a:pt x="944" y="437"/>
                </a:cubicBezTo>
                <a:cubicBezTo>
                  <a:pt x="944" y="437"/>
                  <a:pt x="935" y="436"/>
                  <a:pt x="925" y="435"/>
                </a:cubicBezTo>
                <a:cubicBezTo>
                  <a:pt x="915" y="433"/>
                  <a:pt x="913" y="430"/>
                  <a:pt x="913" y="430"/>
                </a:cubicBezTo>
                <a:cubicBezTo>
                  <a:pt x="888" y="441"/>
                  <a:pt x="888" y="441"/>
                  <a:pt x="888" y="441"/>
                </a:cubicBezTo>
                <a:cubicBezTo>
                  <a:pt x="888" y="441"/>
                  <a:pt x="871" y="447"/>
                  <a:pt x="857" y="447"/>
                </a:cubicBezTo>
                <a:cubicBezTo>
                  <a:pt x="843" y="447"/>
                  <a:pt x="828" y="461"/>
                  <a:pt x="828" y="461"/>
                </a:cubicBezTo>
                <a:cubicBezTo>
                  <a:pt x="828" y="461"/>
                  <a:pt x="816" y="471"/>
                  <a:pt x="817" y="481"/>
                </a:cubicBezTo>
                <a:cubicBezTo>
                  <a:pt x="819" y="490"/>
                  <a:pt x="813" y="499"/>
                  <a:pt x="808" y="499"/>
                </a:cubicBezTo>
                <a:cubicBezTo>
                  <a:pt x="803" y="499"/>
                  <a:pt x="798" y="483"/>
                  <a:pt x="798" y="483"/>
                </a:cubicBezTo>
                <a:cubicBezTo>
                  <a:pt x="791" y="466"/>
                  <a:pt x="791" y="466"/>
                  <a:pt x="791" y="466"/>
                </a:cubicBezTo>
                <a:cubicBezTo>
                  <a:pt x="791" y="466"/>
                  <a:pt x="779" y="457"/>
                  <a:pt x="772" y="458"/>
                </a:cubicBezTo>
                <a:cubicBezTo>
                  <a:pt x="765" y="459"/>
                  <a:pt x="746" y="456"/>
                  <a:pt x="746" y="456"/>
                </a:cubicBezTo>
                <a:cubicBezTo>
                  <a:pt x="746" y="456"/>
                  <a:pt x="734" y="452"/>
                  <a:pt x="731" y="445"/>
                </a:cubicBezTo>
                <a:cubicBezTo>
                  <a:pt x="727" y="438"/>
                  <a:pt x="722" y="431"/>
                  <a:pt x="722" y="431"/>
                </a:cubicBezTo>
                <a:cubicBezTo>
                  <a:pt x="722" y="431"/>
                  <a:pt x="707" y="420"/>
                  <a:pt x="702" y="435"/>
                </a:cubicBezTo>
                <a:cubicBezTo>
                  <a:pt x="698" y="450"/>
                  <a:pt x="677" y="455"/>
                  <a:pt x="677" y="455"/>
                </a:cubicBezTo>
                <a:cubicBezTo>
                  <a:pt x="677" y="455"/>
                  <a:pt x="670" y="443"/>
                  <a:pt x="656" y="445"/>
                </a:cubicBezTo>
                <a:cubicBezTo>
                  <a:pt x="641" y="448"/>
                  <a:pt x="617" y="443"/>
                  <a:pt x="617" y="443"/>
                </a:cubicBezTo>
                <a:cubicBezTo>
                  <a:pt x="597" y="427"/>
                  <a:pt x="597" y="427"/>
                  <a:pt x="597" y="427"/>
                </a:cubicBezTo>
                <a:cubicBezTo>
                  <a:pt x="597" y="427"/>
                  <a:pt x="589" y="417"/>
                  <a:pt x="583" y="410"/>
                </a:cubicBezTo>
                <a:cubicBezTo>
                  <a:pt x="577" y="403"/>
                  <a:pt x="559" y="381"/>
                  <a:pt x="559" y="381"/>
                </a:cubicBezTo>
                <a:cubicBezTo>
                  <a:pt x="538" y="364"/>
                  <a:pt x="538" y="364"/>
                  <a:pt x="538" y="364"/>
                </a:cubicBezTo>
                <a:cubicBezTo>
                  <a:pt x="505" y="351"/>
                  <a:pt x="505" y="351"/>
                  <a:pt x="505" y="351"/>
                </a:cubicBezTo>
                <a:cubicBezTo>
                  <a:pt x="505" y="351"/>
                  <a:pt x="489" y="350"/>
                  <a:pt x="477" y="342"/>
                </a:cubicBezTo>
                <a:cubicBezTo>
                  <a:pt x="465" y="334"/>
                  <a:pt x="461" y="317"/>
                  <a:pt x="461" y="317"/>
                </a:cubicBezTo>
                <a:cubicBezTo>
                  <a:pt x="467" y="292"/>
                  <a:pt x="467" y="292"/>
                  <a:pt x="467" y="292"/>
                </a:cubicBezTo>
                <a:cubicBezTo>
                  <a:pt x="467" y="292"/>
                  <a:pt x="460" y="266"/>
                  <a:pt x="444" y="252"/>
                </a:cubicBezTo>
                <a:cubicBezTo>
                  <a:pt x="429" y="238"/>
                  <a:pt x="400" y="225"/>
                  <a:pt x="400" y="225"/>
                </a:cubicBezTo>
                <a:cubicBezTo>
                  <a:pt x="400" y="225"/>
                  <a:pt x="375" y="213"/>
                  <a:pt x="372" y="205"/>
                </a:cubicBezTo>
                <a:cubicBezTo>
                  <a:pt x="369" y="197"/>
                  <a:pt x="358" y="188"/>
                  <a:pt x="358" y="18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52" name="Freeform 588"/>
          <p:cNvSpPr>
            <a:spLocks/>
          </p:cNvSpPr>
          <p:nvPr userDrawn="1"/>
        </p:nvSpPr>
        <p:spPr bwMode="auto">
          <a:xfrm>
            <a:off x="8458920" y="3857209"/>
            <a:ext cx="199336" cy="162484"/>
          </a:xfrm>
          <a:custGeom>
            <a:avLst/>
            <a:gdLst>
              <a:gd name="T0" fmla="*/ 2147483646 w 215"/>
              <a:gd name="T1" fmla="*/ 2147483646 h 174"/>
              <a:gd name="T2" fmla="*/ 2147483646 w 215"/>
              <a:gd name="T3" fmla="*/ 2147483646 h 174"/>
              <a:gd name="T4" fmla="*/ 2147483646 w 215"/>
              <a:gd name="T5" fmla="*/ 2147483646 h 174"/>
              <a:gd name="T6" fmla="*/ 2147483646 w 215"/>
              <a:gd name="T7" fmla="*/ 2147483646 h 174"/>
              <a:gd name="T8" fmla="*/ 2147483646 w 215"/>
              <a:gd name="T9" fmla="*/ 2147483646 h 174"/>
              <a:gd name="T10" fmla="*/ 2147483646 w 215"/>
              <a:gd name="T11" fmla="*/ 2147483646 h 174"/>
              <a:gd name="T12" fmla="*/ 2147483646 w 215"/>
              <a:gd name="T13" fmla="*/ 2147483646 h 174"/>
              <a:gd name="T14" fmla="*/ 2147483646 w 215"/>
              <a:gd name="T15" fmla="*/ 2147483646 h 174"/>
              <a:gd name="T16" fmla="*/ 2147483646 w 215"/>
              <a:gd name="T17" fmla="*/ 2147483646 h 174"/>
              <a:gd name="T18" fmla="*/ 2147483646 w 215"/>
              <a:gd name="T19" fmla="*/ 2147483646 h 174"/>
              <a:gd name="T20" fmla="*/ 2147483646 w 215"/>
              <a:gd name="T21" fmla="*/ 2147483646 h 174"/>
              <a:gd name="T22" fmla="*/ 2147483646 w 215"/>
              <a:gd name="T23" fmla="*/ 2147483646 h 174"/>
              <a:gd name="T24" fmla="*/ 2147483646 w 215"/>
              <a:gd name="T25" fmla="*/ 2147483646 h 174"/>
              <a:gd name="T26" fmla="*/ 2147483646 w 215"/>
              <a:gd name="T27" fmla="*/ 2147483646 h 174"/>
              <a:gd name="T28" fmla="*/ 0 w 215"/>
              <a:gd name="T29" fmla="*/ 2147483646 h 174"/>
              <a:gd name="T30" fmla="*/ 2147483646 w 215"/>
              <a:gd name="T31" fmla="*/ 2147483646 h 174"/>
              <a:gd name="T32" fmla="*/ 2147483646 w 215"/>
              <a:gd name="T33" fmla="*/ 2147483646 h 174"/>
              <a:gd name="T34" fmla="*/ 2147483646 w 215"/>
              <a:gd name="T35" fmla="*/ 2147483646 h 174"/>
              <a:gd name="T36" fmla="*/ 2147483646 w 215"/>
              <a:gd name="T37" fmla="*/ 2147483646 h 174"/>
              <a:gd name="T38" fmla="*/ 2147483646 w 215"/>
              <a:gd name="T39" fmla="*/ 2147483646 h 174"/>
              <a:gd name="T40" fmla="*/ 2147483646 w 215"/>
              <a:gd name="T41" fmla="*/ 2147483646 h 174"/>
              <a:gd name="T42" fmla="*/ 2147483646 w 215"/>
              <a:gd name="T43" fmla="*/ 2147483646 h 174"/>
              <a:gd name="T44" fmla="*/ 2147483646 w 215"/>
              <a:gd name="T45" fmla="*/ 2147483646 h 174"/>
              <a:gd name="T46" fmla="*/ 2147483646 w 215"/>
              <a:gd name="T47" fmla="*/ 2147483646 h 174"/>
              <a:gd name="T48" fmla="*/ 2147483646 w 215"/>
              <a:gd name="T49" fmla="*/ 2147483646 h 174"/>
              <a:gd name="T50" fmla="*/ 2147483646 w 215"/>
              <a:gd name="T51" fmla="*/ 2147483646 h 174"/>
              <a:gd name="T52" fmla="*/ 2147483646 w 215"/>
              <a:gd name="T53" fmla="*/ 2147483646 h 174"/>
              <a:gd name="T54" fmla="*/ 2147483646 w 215"/>
              <a:gd name="T55" fmla="*/ 2147483646 h 174"/>
              <a:gd name="T56" fmla="*/ 2147483646 w 215"/>
              <a:gd name="T57" fmla="*/ 2147483646 h 174"/>
              <a:gd name="T58" fmla="*/ 2147483646 w 215"/>
              <a:gd name="T59" fmla="*/ 2147483646 h 174"/>
              <a:gd name="T60" fmla="*/ 2147483646 w 215"/>
              <a:gd name="T61" fmla="*/ 2147483646 h 174"/>
              <a:gd name="T62" fmla="*/ 2147483646 w 215"/>
              <a:gd name="T63" fmla="*/ 2147483646 h 17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15"/>
              <a:gd name="T97" fmla="*/ 0 h 174"/>
              <a:gd name="T98" fmla="*/ 215 w 215"/>
              <a:gd name="T99" fmla="*/ 174 h 17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15" h="174">
                <a:moveTo>
                  <a:pt x="215" y="12"/>
                </a:moveTo>
                <a:cubicBezTo>
                  <a:pt x="200" y="3"/>
                  <a:pt x="200" y="3"/>
                  <a:pt x="200" y="3"/>
                </a:cubicBezTo>
                <a:cubicBezTo>
                  <a:pt x="200" y="3"/>
                  <a:pt x="194" y="0"/>
                  <a:pt x="184" y="3"/>
                </a:cubicBezTo>
                <a:cubicBezTo>
                  <a:pt x="173" y="6"/>
                  <a:pt x="168" y="15"/>
                  <a:pt x="168" y="15"/>
                </a:cubicBezTo>
                <a:cubicBezTo>
                  <a:pt x="168" y="15"/>
                  <a:pt x="161" y="21"/>
                  <a:pt x="157" y="25"/>
                </a:cubicBezTo>
                <a:cubicBezTo>
                  <a:pt x="153" y="29"/>
                  <a:pt x="154" y="38"/>
                  <a:pt x="154" y="45"/>
                </a:cubicBezTo>
                <a:cubicBezTo>
                  <a:pt x="155" y="53"/>
                  <a:pt x="145" y="53"/>
                  <a:pt x="145" y="53"/>
                </a:cubicBezTo>
                <a:cubicBezTo>
                  <a:pt x="145" y="53"/>
                  <a:pt x="138" y="45"/>
                  <a:pt x="123" y="40"/>
                </a:cubicBezTo>
                <a:cubicBezTo>
                  <a:pt x="108" y="35"/>
                  <a:pt x="118" y="42"/>
                  <a:pt x="117" y="54"/>
                </a:cubicBezTo>
                <a:cubicBezTo>
                  <a:pt x="116" y="66"/>
                  <a:pt x="109" y="66"/>
                  <a:pt x="102" y="68"/>
                </a:cubicBezTo>
                <a:cubicBezTo>
                  <a:pt x="95" y="71"/>
                  <a:pt x="85" y="67"/>
                  <a:pt x="85" y="67"/>
                </a:cubicBezTo>
                <a:cubicBezTo>
                  <a:pt x="85" y="67"/>
                  <a:pt x="74" y="80"/>
                  <a:pt x="69" y="85"/>
                </a:cubicBezTo>
                <a:cubicBezTo>
                  <a:pt x="64" y="89"/>
                  <a:pt x="51" y="99"/>
                  <a:pt x="51" y="99"/>
                </a:cubicBezTo>
                <a:cubicBezTo>
                  <a:pt x="51" y="99"/>
                  <a:pt x="38" y="99"/>
                  <a:pt x="31" y="103"/>
                </a:cubicBezTo>
                <a:cubicBezTo>
                  <a:pt x="24" y="108"/>
                  <a:pt x="14" y="112"/>
                  <a:pt x="0" y="129"/>
                </a:cubicBezTo>
                <a:cubicBezTo>
                  <a:pt x="0" y="129"/>
                  <a:pt x="24" y="116"/>
                  <a:pt x="31" y="112"/>
                </a:cubicBezTo>
                <a:cubicBezTo>
                  <a:pt x="39" y="108"/>
                  <a:pt x="52" y="108"/>
                  <a:pt x="59" y="108"/>
                </a:cubicBezTo>
                <a:cubicBezTo>
                  <a:pt x="65" y="108"/>
                  <a:pt x="84" y="112"/>
                  <a:pt x="87" y="110"/>
                </a:cubicBezTo>
                <a:cubicBezTo>
                  <a:pt x="91" y="108"/>
                  <a:pt x="106" y="109"/>
                  <a:pt x="106" y="118"/>
                </a:cubicBezTo>
                <a:cubicBezTo>
                  <a:pt x="106" y="126"/>
                  <a:pt x="93" y="131"/>
                  <a:pt x="92" y="135"/>
                </a:cubicBezTo>
                <a:cubicBezTo>
                  <a:pt x="91" y="138"/>
                  <a:pt x="86" y="131"/>
                  <a:pt x="79" y="138"/>
                </a:cubicBezTo>
                <a:cubicBezTo>
                  <a:pt x="72" y="144"/>
                  <a:pt x="65" y="152"/>
                  <a:pt x="68" y="158"/>
                </a:cubicBezTo>
                <a:cubicBezTo>
                  <a:pt x="72" y="164"/>
                  <a:pt x="76" y="167"/>
                  <a:pt x="85" y="169"/>
                </a:cubicBezTo>
                <a:cubicBezTo>
                  <a:pt x="95" y="170"/>
                  <a:pt x="98" y="167"/>
                  <a:pt x="108" y="171"/>
                </a:cubicBezTo>
                <a:cubicBezTo>
                  <a:pt x="117" y="174"/>
                  <a:pt x="118" y="167"/>
                  <a:pt x="127" y="163"/>
                </a:cubicBezTo>
                <a:cubicBezTo>
                  <a:pt x="135" y="159"/>
                  <a:pt x="148" y="148"/>
                  <a:pt x="156" y="150"/>
                </a:cubicBezTo>
                <a:cubicBezTo>
                  <a:pt x="163" y="153"/>
                  <a:pt x="148" y="133"/>
                  <a:pt x="144" y="129"/>
                </a:cubicBezTo>
                <a:cubicBezTo>
                  <a:pt x="140" y="125"/>
                  <a:pt x="144" y="107"/>
                  <a:pt x="153" y="106"/>
                </a:cubicBezTo>
                <a:cubicBezTo>
                  <a:pt x="163" y="105"/>
                  <a:pt x="180" y="82"/>
                  <a:pt x="189" y="78"/>
                </a:cubicBezTo>
                <a:cubicBezTo>
                  <a:pt x="197" y="74"/>
                  <a:pt x="202" y="60"/>
                  <a:pt x="203" y="57"/>
                </a:cubicBezTo>
                <a:cubicBezTo>
                  <a:pt x="204" y="54"/>
                  <a:pt x="200" y="39"/>
                  <a:pt x="200" y="39"/>
                </a:cubicBezTo>
                <a:lnTo>
                  <a:pt x="215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53" name="Freeform 589"/>
          <p:cNvSpPr>
            <a:spLocks/>
          </p:cNvSpPr>
          <p:nvPr userDrawn="1"/>
        </p:nvSpPr>
        <p:spPr bwMode="auto">
          <a:xfrm>
            <a:off x="8554401" y="3994565"/>
            <a:ext cx="73704" cy="135683"/>
          </a:xfrm>
          <a:custGeom>
            <a:avLst/>
            <a:gdLst>
              <a:gd name="T0" fmla="*/ 2147483646 w 80"/>
              <a:gd name="T1" fmla="*/ 2147483646 h 145"/>
              <a:gd name="T2" fmla="*/ 2147483646 w 80"/>
              <a:gd name="T3" fmla="*/ 2147483646 h 145"/>
              <a:gd name="T4" fmla="*/ 2147483646 w 80"/>
              <a:gd name="T5" fmla="*/ 2147483646 h 145"/>
              <a:gd name="T6" fmla="*/ 2147483646 w 80"/>
              <a:gd name="T7" fmla="*/ 2147483646 h 145"/>
              <a:gd name="T8" fmla="*/ 2147483646 w 80"/>
              <a:gd name="T9" fmla="*/ 2147483646 h 145"/>
              <a:gd name="T10" fmla="*/ 2147483646 w 80"/>
              <a:gd name="T11" fmla="*/ 2147483646 h 145"/>
              <a:gd name="T12" fmla="*/ 2147483646 w 80"/>
              <a:gd name="T13" fmla="*/ 2147483646 h 145"/>
              <a:gd name="T14" fmla="*/ 2147483646 w 80"/>
              <a:gd name="T15" fmla="*/ 2147483646 h 145"/>
              <a:gd name="T16" fmla="*/ 2147483646 w 80"/>
              <a:gd name="T17" fmla="*/ 2147483646 h 145"/>
              <a:gd name="T18" fmla="*/ 2147483646 w 80"/>
              <a:gd name="T19" fmla="*/ 2147483646 h 145"/>
              <a:gd name="T20" fmla="*/ 2147483646 w 80"/>
              <a:gd name="T21" fmla="*/ 2147483646 h 145"/>
              <a:gd name="T22" fmla="*/ 2147483646 w 80"/>
              <a:gd name="T23" fmla="*/ 2147483646 h 145"/>
              <a:gd name="T24" fmla="*/ 2147483646 w 80"/>
              <a:gd name="T25" fmla="*/ 2147483646 h 145"/>
              <a:gd name="T26" fmla="*/ 2147483646 w 80"/>
              <a:gd name="T27" fmla="*/ 2147483646 h 14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80"/>
              <a:gd name="T43" fmla="*/ 0 h 145"/>
              <a:gd name="T44" fmla="*/ 80 w 80"/>
              <a:gd name="T45" fmla="*/ 145 h 14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80" h="145">
                <a:moveTo>
                  <a:pt x="12" y="25"/>
                </a:moveTo>
                <a:cubicBezTo>
                  <a:pt x="12" y="25"/>
                  <a:pt x="43" y="0"/>
                  <a:pt x="56" y="4"/>
                </a:cubicBezTo>
                <a:cubicBezTo>
                  <a:pt x="56" y="4"/>
                  <a:pt x="65" y="18"/>
                  <a:pt x="67" y="21"/>
                </a:cubicBezTo>
                <a:cubicBezTo>
                  <a:pt x="69" y="24"/>
                  <a:pt x="72" y="31"/>
                  <a:pt x="75" y="38"/>
                </a:cubicBezTo>
                <a:cubicBezTo>
                  <a:pt x="78" y="45"/>
                  <a:pt x="77" y="50"/>
                  <a:pt x="78" y="54"/>
                </a:cubicBezTo>
                <a:cubicBezTo>
                  <a:pt x="78" y="58"/>
                  <a:pt x="80" y="78"/>
                  <a:pt x="74" y="94"/>
                </a:cubicBezTo>
                <a:cubicBezTo>
                  <a:pt x="68" y="111"/>
                  <a:pt x="69" y="109"/>
                  <a:pt x="52" y="115"/>
                </a:cubicBezTo>
                <a:cubicBezTo>
                  <a:pt x="36" y="120"/>
                  <a:pt x="17" y="145"/>
                  <a:pt x="9" y="132"/>
                </a:cubicBezTo>
                <a:cubicBezTo>
                  <a:pt x="0" y="118"/>
                  <a:pt x="6" y="98"/>
                  <a:pt x="11" y="96"/>
                </a:cubicBezTo>
                <a:cubicBezTo>
                  <a:pt x="16" y="94"/>
                  <a:pt x="21" y="84"/>
                  <a:pt x="21" y="84"/>
                </a:cubicBezTo>
                <a:cubicBezTo>
                  <a:pt x="19" y="71"/>
                  <a:pt x="19" y="71"/>
                  <a:pt x="19" y="71"/>
                </a:cubicBezTo>
                <a:cubicBezTo>
                  <a:pt x="19" y="71"/>
                  <a:pt x="8" y="59"/>
                  <a:pt x="9" y="55"/>
                </a:cubicBezTo>
                <a:cubicBezTo>
                  <a:pt x="10" y="50"/>
                  <a:pt x="11" y="39"/>
                  <a:pt x="11" y="39"/>
                </a:cubicBezTo>
                <a:lnTo>
                  <a:pt x="12" y="2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54" name="Freeform 590"/>
          <p:cNvSpPr>
            <a:spLocks/>
          </p:cNvSpPr>
          <p:nvPr userDrawn="1"/>
        </p:nvSpPr>
        <p:spPr bwMode="auto">
          <a:xfrm>
            <a:off x="8631455" y="3765079"/>
            <a:ext cx="380245" cy="448925"/>
          </a:xfrm>
          <a:custGeom>
            <a:avLst/>
            <a:gdLst>
              <a:gd name="T0" fmla="*/ 2147483646 w 407"/>
              <a:gd name="T1" fmla="*/ 2147483646 h 480"/>
              <a:gd name="T2" fmla="*/ 2147483646 w 407"/>
              <a:gd name="T3" fmla="*/ 2147483646 h 480"/>
              <a:gd name="T4" fmla="*/ 2147483646 w 407"/>
              <a:gd name="T5" fmla="*/ 2147483646 h 480"/>
              <a:gd name="T6" fmla="*/ 2147483646 w 407"/>
              <a:gd name="T7" fmla="*/ 2147483646 h 480"/>
              <a:gd name="T8" fmla="*/ 2147483646 w 407"/>
              <a:gd name="T9" fmla="*/ 2147483646 h 480"/>
              <a:gd name="T10" fmla="*/ 2147483646 w 407"/>
              <a:gd name="T11" fmla="*/ 2147483646 h 480"/>
              <a:gd name="T12" fmla="*/ 2147483646 w 407"/>
              <a:gd name="T13" fmla="*/ 2147483646 h 480"/>
              <a:gd name="T14" fmla="*/ 2147483646 w 407"/>
              <a:gd name="T15" fmla="*/ 2147483646 h 480"/>
              <a:gd name="T16" fmla="*/ 2147483646 w 407"/>
              <a:gd name="T17" fmla="*/ 2147483646 h 480"/>
              <a:gd name="T18" fmla="*/ 2147483646 w 407"/>
              <a:gd name="T19" fmla="*/ 2147483646 h 480"/>
              <a:gd name="T20" fmla="*/ 2147483646 w 407"/>
              <a:gd name="T21" fmla="*/ 2147483646 h 480"/>
              <a:gd name="T22" fmla="*/ 2147483646 w 407"/>
              <a:gd name="T23" fmla="*/ 2147483646 h 480"/>
              <a:gd name="T24" fmla="*/ 2147483646 w 407"/>
              <a:gd name="T25" fmla="*/ 2147483646 h 480"/>
              <a:gd name="T26" fmla="*/ 2147483646 w 407"/>
              <a:gd name="T27" fmla="*/ 2147483646 h 480"/>
              <a:gd name="T28" fmla="*/ 2147483646 w 407"/>
              <a:gd name="T29" fmla="*/ 2147483646 h 480"/>
              <a:gd name="T30" fmla="*/ 2147483646 w 407"/>
              <a:gd name="T31" fmla="*/ 2147483646 h 480"/>
              <a:gd name="T32" fmla="*/ 2147483646 w 407"/>
              <a:gd name="T33" fmla="*/ 2147483646 h 480"/>
              <a:gd name="T34" fmla="*/ 2147483646 w 407"/>
              <a:gd name="T35" fmla="*/ 2147483646 h 480"/>
              <a:gd name="T36" fmla="*/ 2147483646 w 407"/>
              <a:gd name="T37" fmla="*/ 2147483646 h 480"/>
              <a:gd name="T38" fmla="*/ 2147483646 w 407"/>
              <a:gd name="T39" fmla="*/ 2147483646 h 480"/>
              <a:gd name="T40" fmla="*/ 2147483646 w 407"/>
              <a:gd name="T41" fmla="*/ 2147483646 h 480"/>
              <a:gd name="T42" fmla="*/ 2147483646 w 407"/>
              <a:gd name="T43" fmla="*/ 2147483646 h 480"/>
              <a:gd name="T44" fmla="*/ 2147483646 w 407"/>
              <a:gd name="T45" fmla="*/ 2147483646 h 480"/>
              <a:gd name="T46" fmla="*/ 2147483646 w 407"/>
              <a:gd name="T47" fmla="*/ 2147483646 h 480"/>
              <a:gd name="T48" fmla="*/ 2147483646 w 407"/>
              <a:gd name="T49" fmla="*/ 2147483646 h 480"/>
              <a:gd name="T50" fmla="*/ 2147483646 w 407"/>
              <a:gd name="T51" fmla="*/ 2147483646 h 480"/>
              <a:gd name="T52" fmla="*/ 2147483646 w 407"/>
              <a:gd name="T53" fmla="*/ 2147483646 h 480"/>
              <a:gd name="T54" fmla="*/ 2147483646 w 407"/>
              <a:gd name="T55" fmla="*/ 2147483646 h 480"/>
              <a:gd name="T56" fmla="*/ 2147483646 w 407"/>
              <a:gd name="T57" fmla="*/ 2147483646 h 480"/>
              <a:gd name="T58" fmla="*/ 2147483646 w 407"/>
              <a:gd name="T59" fmla="*/ 2147483646 h 480"/>
              <a:gd name="T60" fmla="*/ 2147483646 w 407"/>
              <a:gd name="T61" fmla="*/ 2147483646 h 480"/>
              <a:gd name="T62" fmla="*/ 2147483646 w 407"/>
              <a:gd name="T63" fmla="*/ 2147483646 h 480"/>
              <a:gd name="T64" fmla="*/ 2147483646 w 407"/>
              <a:gd name="T65" fmla="*/ 2147483646 h 480"/>
              <a:gd name="T66" fmla="*/ 2147483646 w 407"/>
              <a:gd name="T67" fmla="*/ 2147483646 h 480"/>
              <a:gd name="T68" fmla="*/ 2147483646 w 407"/>
              <a:gd name="T69" fmla="*/ 2147483646 h 480"/>
              <a:gd name="T70" fmla="*/ 2147483646 w 407"/>
              <a:gd name="T71" fmla="*/ 2147483646 h 480"/>
              <a:gd name="T72" fmla="*/ 2147483646 w 407"/>
              <a:gd name="T73" fmla="*/ 2147483646 h 480"/>
              <a:gd name="T74" fmla="*/ 2147483646 w 407"/>
              <a:gd name="T75" fmla="*/ 2147483646 h 480"/>
              <a:gd name="T76" fmla="*/ 2147483646 w 407"/>
              <a:gd name="T77" fmla="*/ 2147483646 h 480"/>
              <a:gd name="T78" fmla="*/ 2147483646 w 407"/>
              <a:gd name="T79" fmla="*/ 2147483646 h 480"/>
              <a:gd name="T80" fmla="*/ 2147483646 w 407"/>
              <a:gd name="T81" fmla="*/ 2147483646 h 480"/>
              <a:gd name="T82" fmla="*/ 2147483646 w 407"/>
              <a:gd name="T83" fmla="*/ 2147483646 h 480"/>
              <a:gd name="T84" fmla="*/ 2147483646 w 407"/>
              <a:gd name="T85" fmla="*/ 2147483646 h 480"/>
              <a:gd name="T86" fmla="*/ 2147483646 w 407"/>
              <a:gd name="T87" fmla="*/ 2147483646 h 480"/>
              <a:gd name="T88" fmla="*/ 2147483646 w 407"/>
              <a:gd name="T89" fmla="*/ 2147483646 h 480"/>
              <a:gd name="T90" fmla="*/ 2147483646 w 407"/>
              <a:gd name="T91" fmla="*/ 2147483646 h 480"/>
              <a:gd name="T92" fmla="*/ 2147483646 w 407"/>
              <a:gd name="T93" fmla="*/ 2147483646 h 480"/>
              <a:gd name="T94" fmla="*/ 2147483646 w 407"/>
              <a:gd name="T95" fmla="*/ 2147483646 h 48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407"/>
              <a:gd name="T145" fmla="*/ 0 h 480"/>
              <a:gd name="T146" fmla="*/ 407 w 407"/>
              <a:gd name="T147" fmla="*/ 480 h 48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407" h="480">
                <a:moveTo>
                  <a:pt x="320" y="5"/>
                </a:moveTo>
                <a:cubicBezTo>
                  <a:pt x="308" y="6"/>
                  <a:pt x="295" y="0"/>
                  <a:pt x="303" y="22"/>
                </a:cubicBezTo>
                <a:cubicBezTo>
                  <a:pt x="310" y="45"/>
                  <a:pt x="324" y="52"/>
                  <a:pt x="306" y="63"/>
                </a:cubicBezTo>
                <a:cubicBezTo>
                  <a:pt x="289" y="74"/>
                  <a:pt x="284" y="73"/>
                  <a:pt x="276" y="79"/>
                </a:cubicBezTo>
                <a:cubicBezTo>
                  <a:pt x="267" y="85"/>
                  <a:pt x="262" y="100"/>
                  <a:pt x="266" y="110"/>
                </a:cubicBezTo>
                <a:cubicBezTo>
                  <a:pt x="269" y="120"/>
                  <a:pt x="274" y="117"/>
                  <a:pt x="273" y="129"/>
                </a:cubicBezTo>
                <a:cubicBezTo>
                  <a:pt x="272" y="142"/>
                  <a:pt x="272" y="113"/>
                  <a:pt x="284" y="131"/>
                </a:cubicBezTo>
                <a:cubicBezTo>
                  <a:pt x="297" y="148"/>
                  <a:pt x="297" y="147"/>
                  <a:pt x="295" y="154"/>
                </a:cubicBezTo>
                <a:cubicBezTo>
                  <a:pt x="294" y="161"/>
                  <a:pt x="289" y="169"/>
                  <a:pt x="284" y="165"/>
                </a:cubicBezTo>
                <a:cubicBezTo>
                  <a:pt x="279" y="161"/>
                  <a:pt x="281" y="153"/>
                  <a:pt x="269" y="160"/>
                </a:cubicBezTo>
                <a:cubicBezTo>
                  <a:pt x="258" y="167"/>
                  <a:pt x="255" y="165"/>
                  <a:pt x="261" y="179"/>
                </a:cubicBezTo>
                <a:cubicBezTo>
                  <a:pt x="267" y="192"/>
                  <a:pt x="262" y="198"/>
                  <a:pt x="265" y="206"/>
                </a:cubicBezTo>
                <a:cubicBezTo>
                  <a:pt x="267" y="213"/>
                  <a:pt x="274" y="207"/>
                  <a:pt x="269" y="219"/>
                </a:cubicBezTo>
                <a:cubicBezTo>
                  <a:pt x="265" y="231"/>
                  <a:pt x="262" y="225"/>
                  <a:pt x="260" y="234"/>
                </a:cubicBezTo>
                <a:cubicBezTo>
                  <a:pt x="256" y="246"/>
                  <a:pt x="250" y="256"/>
                  <a:pt x="250" y="260"/>
                </a:cubicBezTo>
                <a:cubicBezTo>
                  <a:pt x="250" y="263"/>
                  <a:pt x="245" y="261"/>
                  <a:pt x="241" y="267"/>
                </a:cubicBezTo>
                <a:cubicBezTo>
                  <a:pt x="238" y="273"/>
                  <a:pt x="241" y="279"/>
                  <a:pt x="235" y="287"/>
                </a:cubicBezTo>
                <a:cubicBezTo>
                  <a:pt x="229" y="294"/>
                  <a:pt x="224" y="283"/>
                  <a:pt x="218" y="292"/>
                </a:cubicBezTo>
                <a:cubicBezTo>
                  <a:pt x="212" y="300"/>
                  <a:pt x="212" y="295"/>
                  <a:pt x="207" y="304"/>
                </a:cubicBezTo>
                <a:cubicBezTo>
                  <a:pt x="202" y="313"/>
                  <a:pt x="197" y="314"/>
                  <a:pt x="193" y="313"/>
                </a:cubicBezTo>
                <a:cubicBezTo>
                  <a:pt x="190" y="311"/>
                  <a:pt x="183" y="310"/>
                  <a:pt x="188" y="304"/>
                </a:cubicBezTo>
                <a:cubicBezTo>
                  <a:pt x="193" y="298"/>
                  <a:pt x="199" y="292"/>
                  <a:pt x="194" y="290"/>
                </a:cubicBezTo>
                <a:cubicBezTo>
                  <a:pt x="190" y="289"/>
                  <a:pt x="187" y="284"/>
                  <a:pt x="185" y="288"/>
                </a:cubicBezTo>
                <a:cubicBezTo>
                  <a:pt x="182" y="292"/>
                  <a:pt x="180" y="282"/>
                  <a:pt x="177" y="295"/>
                </a:cubicBezTo>
                <a:cubicBezTo>
                  <a:pt x="175" y="309"/>
                  <a:pt x="177" y="314"/>
                  <a:pt x="177" y="319"/>
                </a:cubicBezTo>
                <a:cubicBezTo>
                  <a:pt x="177" y="324"/>
                  <a:pt x="171" y="320"/>
                  <a:pt x="169" y="326"/>
                </a:cubicBezTo>
                <a:cubicBezTo>
                  <a:pt x="166" y="332"/>
                  <a:pt x="163" y="335"/>
                  <a:pt x="166" y="343"/>
                </a:cubicBezTo>
                <a:cubicBezTo>
                  <a:pt x="170" y="352"/>
                  <a:pt x="156" y="359"/>
                  <a:pt x="153" y="349"/>
                </a:cubicBezTo>
                <a:cubicBezTo>
                  <a:pt x="149" y="340"/>
                  <a:pt x="149" y="333"/>
                  <a:pt x="143" y="333"/>
                </a:cubicBezTo>
                <a:cubicBezTo>
                  <a:pt x="137" y="333"/>
                  <a:pt x="124" y="336"/>
                  <a:pt x="122" y="341"/>
                </a:cubicBezTo>
                <a:cubicBezTo>
                  <a:pt x="119" y="346"/>
                  <a:pt x="112" y="349"/>
                  <a:pt x="106" y="346"/>
                </a:cubicBezTo>
                <a:cubicBezTo>
                  <a:pt x="100" y="342"/>
                  <a:pt x="99" y="332"/>
                  <a:pt x="94" y="342"/>
                </a:cubicBezTo>
                <a:cubicBezTo>
                  <a:pt x="89" y="352"/>
                  <a:pt x="84" y="348"/>
                  <a:pt x="75" y="349"/>
                </a:cubicBezTo>
                <a:cubicBezTo>
                  <a:pt x="67" y="351"/>
                  <a:pt x="53" y="373"/>
                  <a:pt x="52" y="380"/>
                </a:cubicBezTo>
                <a:cubicBezTo>
                  <a:pt x="51" y="388"/>
                  <a:pt x="37" y="379"/>
                  <a:pt x="37" y="388"/>
                </a:cubicBezTo>
                <a:cubicBezTo>
                  <a:pt x="37" y="396"/>
                  <a:pt x="41" y="396"/>
                  <a:pt x="41" y="396"/>
                </a:cubicBezTo>
                <a:cubicBezTo>
                  <a:pt x="41" y="396"/>
                  <a:pt x="37" y="402"/>
                  <a:pt x="28" y="401"/>
                </a:cubicBezTo>
                <a:cubicBezTo>
                  <a:pt x="20" y="400"/>
                  <a:pt x="19" y="396"/>
                  <a:pt x="10" y="407"/>
                </a:cubicBezTo>
                <a:cubicBezTo>
                  <a:pt x="1" y="418"/>
                  <a:pt x="0" y="432"/>
                  <a:pt x="11" y="429"/>
                </a:cubicBezTo>
                <a:cubicBezTo>
                  <a:pt x="22" y="427"/>
                  <a:pt x="20" y="421"/>
                  <a:pt x="26" y="423"/>
                </a:cubicBezTo>
                <a:cubicBezTo>
                  <a:pt x="32" y="426"/>
                  <a:pt x="38" y="426"/>
                  <a:pt x="36" y="434"/>
                </a:cubicBezTo>
                <a:cubicBezTo>
                  <a:pt x="33" y="443"/>
                  <a:pt x="36" y="444"/>
                  <a:pt x="33" y="449"/>
                </a:cubicBezTo>
                <a:cubicBezTo>
                  <a:pt x="31" y="454"/>
                  <a:pt x="28" y="454"/>
                  <a:pt x="25" y="458"/>
                </a:cubicBezTo>
                <a:cubicBezTo>
                  <a:pt x="21" y="461"/>
                  <a:pt x="16" y="463"/>
                  <a:pt x="21" y="467"/>
                </a:cubicBezTo>
                <a:cubicBezTo>
                  <a:pt x="26" y="472"/>
                  <a:pt x="25" y="463"/>
                  <a:pt x="31" y="471"/>
                </a:cubicBezTo>
                <a:cubicBezTo>
                  <a:pt x="37" y="480"/>
                  <a:pt x="44" y="476"/>
                  <a:pt x="46" y="472"/>
                </a:cubicBezTo>
                <a:cubicBezTo>
                  <a:pt x="47" y="469"/>
                  <a:pt x="52" y="460"/>
                  <a:pt x="49" y="452"/>
                </a:cubicBezTo>
                <a:cubicBezTo>
                  <a:pt x="47" y="443"/>
                  <a:pt x="49" y="438"/>
                  <a:pt x="54" y="438"/>
                </a:cubicBezTo>
                <a:cubicBezTo>
                  <a:pt x="59" y="438"/>
                  <a:pt x="62" y="437"/>
                  <a:pt x="62" y="431"/>
                </a:cubicBezTo>
                <a:cubicBezTo>
                  <a:pt x="62" y="424"/>
                  <a:pt x="58" y="412"/>
                  <a:pt x="53" y="413"/>
                </a:cubicBezTo>
                <a:cubicBezTo>
                  <a:pt x="51" y="401"/>
                  <a:pt x="51" y="401"/>
                  <a:pt x="51" y="401"/>
                </a:cubicBezTo>
                <a:cubicBezTo>
                  <a:pt x="51" y="401"/>
                  <a:pt x="38" y="395"/>
                  <a:pt x="53" y="394"/>
                </a:cubicBezTo>
                <a:cubicBezTo>
                  <a:pt x="68" y="392"/>
                  <a:pt x="73" y="385"/>
                  <a:pt x="78" y="384"/>
                </a:cubicBezTo>
                <a:cubicBezTo>
                  <a:pt x="83" y="383"/>
                  <a:pt x="91" y="378"/>
                  <a:pt x="91" y="378"/>
                </a:cubicBezTo>
                <a:cubicBezTo>
                  <a:pt x="91" y="378"/>
                  <a:pt x="97" y="373"/>
                  <a:pt x="102" y="377"/>
                </a:cubicBezTo>
                <a:cubicBezTo>
                  <a:pt x="107" y="380"/>
                  <a:pt x="103" y="370"/>
                  <a:pt x="110" y="369"/>
                </a:cubicBezTo>
                <a:cubicBezTo>
                  <a:pt x="116" y="368"/>
                  <a:pt x="124" y="374"/>
                  <a:pt x="132" y="375"/>
                </a:cubicBezTo>
                <a:cubicBezTo>
                  <a:pt x="139" y="377"/>
                  <a:pt x="147" y="357"/>
                  <a:pt x="151" y="370"/>
                </a:cubicBezTo>
                <a:cubicBezTo>
                  <a:pt x="156" y="384"/>
                  <a:pt x="144" y="386"/>
                  <a:pt x="154" y="392"/>
                </a:cubicBezTo>
                <a:cubicBezTo>
                  <a:pt x="164" y="399"/>
                  <a:pt x="172" y="394"/>
                  <a:pt x="172" y="394"/>
                </a:cubicBezTo>
                <a:cubicBezTo>
                  <a:pt x="172" y="394"/>
                  <a:pt x="174" y="368"/>
                  <a:pt x="181" y="362"/>
                </a:cubicBezTo>
                <a:cubicBezTo>
                  <a:pt x="188" y="356"/>
                  <a:pt x="194" y="353"/>
                  <a:pt x="196" y="358"/>
                </a:cubicBezTo>
                <a:cubicBezTo>
                  <a:pt x="197" y="363"/>
                  <a:pt x="197" y="365"/>
                  <a:pt x="197" y="372"/>
                </a:cubicBezTo>
                <a:cubicBezTo>
                  <a:pt x="197" y="378"/>
                  <a:pt x="202" y="380"/>
                  <a:pt x="202" y="380"/>
                </a:cubicBezTo>
                <a:cubicBezTo>
                  <a:pt x="202" y="380"/>
                  <a:pt x="225" y="381"/>
                  <a:pt x="230" y="372"/>
                </a:cubicBezTo>
                <a:cubicBezTo>
                  <a:pt x="235" y="362"/>
                  <a:pt x="235" y="342"/>
                  <a:pt x="242" y="341"/>
                </a:cubicBezTo>
                <a:cubicBezTo>
                  <a:pt x="250" y="340"/>
                  <a:pt x="245" y="347"/>
                  <a:pt x="256" y="347"/>
                </a:cubicBezTo>
                <a:cubicBezTo>
                  <a:pt x="267" y="347"/>
                  <a:pt x="269" y="331"/>
                  <a:pt x="269" y="331"/>
                </a:cubicBezTo>
                <a:cubicBezTo>
                  <a:pt x="269" y="331"/>
                  <a:pt x="290" y="330"/>
                  <a:pt x="290" y="324"/>
                </a:cubicBezTo>
                <a:cubicBezTo>
                  <a:pt x="290" y="317"/>
                  <a:pt x="278" y="308"/>
                  <a:pt x="290" y="303"/>
                </a:cubicBezTo>
                <a:cubicBezTo>
                  <a:pt x="303" y="298"/>
                  <a:pt x="299" y="281"/>
                  <a:pt x="299" y="281"/>
                </a:cubicBezTo>
                <a:cubicBezTo>
                  <a:pt x="298" y="268"/>
                  <a:pt x="298" y="268"/>
                  <a:pt x="298" y="268"/>
                </a:cubicBezTo>
                <a:cubicBezTo>
                  <a:pt x="301" y="256"/>
                  <a:pt x="301" y="256"/>
                  <a:pt x="301" y="256"/>
                </a:cubicBezTo>
                <a:cubicBezTo>
                  <a:pt x="314" y="260"/>
                  <a:pt x="314" y="260"/>
                  <a:pt x="314" y="260"/>
                </a:cubicBezTo>
                <a:cubicBezTo>
                  <a:pt x="315" y="240"/>
                  <a:pt x="315" y="240"/>
                  <a:pt x="315" y="240"/>
                </a:cubicBezTo>
                <a:cubicBezTo>
                  <a:pt x="315" y="240"/>
                  <a:pt x="317" y="222"/>
                  <a:pt x="320" y="218"/>
                </a:cubicBezTo>
                <a:cubicBezTo>
                  <a:pt x="322" y="214"/>
                  <a:pt x="322" y="196"/>
                  <a:pt x="315" y="196"/>
                </a:cubicBezTo>
                <a:cubicBezTo>
                  <a:pt x="308" y="196"/>
                  <a:pt x="299" y="197"/>
                  <a:pt x="301" y="183"/>
                </a:cubicBezTo>
                <a:cubicBezTo>
                  <a:pt x="304" y="170"/>
                  <a:pt x="310" y="166"/>
                  <a:pt x="306" y="156"/>
                </a:cubicBezTo>
                <a:cubicBezTo>
                  <a:pt x="303" y="147"/>
                  <a:pt x="292" y="123"/>
                  <a:pt x="292" y="123"/>
                </a:cubicBezTo>
                <a:cubicBezTo>
                  <a:pt x="292" y="123"/>
                  <a:pt x="284" y="113"/>
                  <a:pt x="283" y="110"/>
                </a:cubicBezTo>
                <a:cubicBezTo>
                  <a:pt x="282" y="106"/>
                  <a:pt x="284" y="101"/>
                  <a:pt x="295" y="104"/>
                </a:cubicBezTo>
                <a:cubicBezTo>
                  <a:pt x="306" y="106"/>
                  <a:pt x="306" y="115"/>
                  <a:pt x="310" y="113"/>
                </a:cubicBezTo>
                <a:cubicBezTo>
                  <a:pt x="314" y="112"/>
                  <a:pt x="310" y="106"/>
                  <a:pt x="317" y="102"/>
                </a:cubicBezTo>
                <a:cubicBezTo>
                  <a:pt x="325" y="99"/>
                  <a:pt x="335" y="102"/>
                  <a:pt x="335" y="108"/>
                </a:cubicBezTo>
                <a:cubicBezTo>
                  <a:pt x="335" y="115"/>
                  <a:pt x="323" y="116"/>
                  <a:pt x="335" y="118"/>
                </a:cubicBezTo>
                <a:cubicBezTo>
                  <a:pt x="347" y="121"/>
                  <a:pt x="341" y="106"/>
                  <a:pt x="351" y="120"/>
                </a:cubicBezTo>
                <a:cubicBezTo>
                  <a:pt x="360" y="133"/>
                  <a:pt x="356" y="137"/>
                  <a:pt x="369" y="117"/>
                </a:cubicBezTo>
                <a:cubicBezTo>
                  <a:pt x="383" y="97"/>
                  <a:pt x="368" y="110"/>
                  <a:pt x="388" y="91"/>
                </a:cubicBezTo>
                <a:cubicBezTo>
                  <a:pt x="407" y="73"/>
                  <a:pt x="401" y="64"/>
                  <a:pt x="401" y="64"/>
                </a:cubicBezTo>
                <a:cubicBezTo>
                  <a:pt x="388" y="58"/>
                  <a:pt x="388" y="58"/>
                  <a:pt x="388" y="58"/>
                </a:cubicBezTo>
                <a:cubicBezTo>
                  <a:pt x="388" y="58"/>
                  <a:pt x="381" y="51"/>
                  <a:pt x="375" y="54"/>
                </a:cubicBezTo>
                <a:cubicBezTo>
                  <a:pt x="369" y="58"/>
                  <a:pt x="358" y="54"/>
                  <a:pt x="358" y="54"/>
                </a:cubicBezTo>
                <a:cubicBezTo>
                  <a:pt x="358" y="54"/>
                  <a:pt x="346" y="53"/>
                  <a:pt x="344" y="46"/>
                </a:cubicBezTo>
                <a:cubicBezTo>
                  <a:pt x="343" y="38"/>
                  <a:pt x="335" y="30"/>
                  <a:pt x="335" y="30"/>
                </a:cubicBezTo>
                <a:lnTo>
                  <a:pt x="320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55" name="Freeform 591"/>
          <p:cNvSpPr>
            <a:spLocks/>
          </p:cNvSpPr>
          <p:nvPr userDrawn="1"/>
        </p:nvSpPr>
        <p:spPr bwMode="auto">
          <a:xfrm>
            <a:off x="8701810" y="4118523"/>
            <a:ext cx="58628" cy="51928"/>
          </a:xfrm>
          <a:custGeom>
            <a:avLst/>
            <a:gdLst>
              <a:gd name="T0" fmla="*/ 2147483646 w 62"/>
              <a:gd name="T1" fmla="*/ 2147483646 h 56"/>
              <a:gd name="T2" fmla="*/ 2147483646 w 62"/>
              <a:gd name="T3" fmla="*/ 2147483646 h 56"/>
              <a:gd name="T4" fmla="*/ 2147483646 w 62"/>
              <a:gd name="T5" fmla="*/ 2147483646 h 56"/>
              <a:gd name="T6" fmla="*/ 2147483646 w 62"/>
              <a:gd name="T7" fmla="*/ 2147483646 h 56"/>
              <a:gd name="T8" fmla="*/ 2147483646 w 62"/>
              <a:gd name="T9" fmla="*/ 2147483646 h 56"/>
              <a:gd name="T10" fmla="*/ 2147483646 w 62"/>
              <a:gd name="T11" fmla="*/ 2147483646 h 56"/>
              <a:gd name="T12" fmla="*/ 2147483646 w 62"/>
              <a:gd name="T13" fmla="*/ 2147483646 h 56"/>
              <a:gd name="T14" fmla="*/ 2147483646 w 62"/>
              <a:gd name="T15" fmla="*/ 2147483646 h 56"/>
              <a:gd name="T16" fmla="*/ 2147483646 w 62"/>
              <a:gd name="T17" fmla="*/ 2147483646 h 56"/>
              <a:gd name="T18" fmla="*/ 2147483646 w 62"/>
              <a:gd name="T19" fmla="*/ 2147483646 h 56"/>
              <a:gd name="T20" fmla="*/ 2147483646 w 62"/>
              <a:gd name="T21" fmla="*/ 2147483646 h 5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2"/>
              <a:gd name="T34" fmla="*/ 0 h 56"/>
              <a:gd name="T35" fmla="*/ 62 w 62"/>
              <a:gd name="T36" fmla="*/ 56 h 5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2" h="56">
                <a:moveTo>
                  <a:pt x="24" y="12"/>
                </a:moveTo>
                <a:cubicBezTo>
                  <a:pt x="20" y="14"/>
                  <a:pt x="14" y="12"/>
                  <a:pt x="9" y="21"/>
                </a:cubicBezTo>
                <a:cubicBezTo>
                  <a:pt x="4" y="29"/>
                  <a:pt x="0" y="40"/>
                  <a:pt x="8" y="40"/>
                </a:cubicBezTo>
                <a:cubicBezTo>
                  <a:pt x="15" y="40"/>
                  <a:pt x="20" y="38"/>
                  <a:pt x="21" y="42"/>
                </a:cubicBezTo>
                <a:cubicBezTo>
                  <a:pt x="22" y="45"/>
                  <a:pt x="14" y="56"/>
                  <a:pt x="21" y="51"/>
                </a:cubicBezTo>
                <a:cubicBezTo>
                  <a:pt x="29" y="46"/>
                  <a:pt x="30" y="35"/>
                  <a:pt x="35" y="29"/>
                </a:cubicBezTo>
                <a:cubicBezTo>
                  <a:pt x="40" y="23"/>
                  <a:pt x="37" y="18"/>
                  <a:pt x="47" y="22"/>
                </a:cubicBezTo>
                <a:cubicBezTo>
                  <a:pt x="57" y="26"/>
                  <a:pt x="62" y="14"/>
                  <a:pt x="62" y="14"/>
                </a:cubicBezTo>
                <a:cubicBezTo>
                  <a:pt x="62" y="14"/>
                  <a:pt x="62" y="0"/>
                  <a:pt x="57" y="2"/>
                </a:cubicBezTo>
                <a:cubicBezTo>
                  <a:pt x="52" y="5"/>
                  <a:pt x="36" y="5"/>
                  <a:pt x="36" y="5"/>
                </a:cubicBezTo>
                <a:lnTo>
                  <a:pt x="24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56" name="Freeform 592"/>
          <p:cNvSpPr>
            <a:spLocks/>
          </p:cNvSpPr>
          <p:nvPr userDrawn="1"/>
        </p:nvSpPr>
        <p:spPr bwMode="auto">
          <a:xfrm>
            <a:off x="8902821" y="3423361"/>
            <a:ext cx="97156" cy="333343"/>
          </a:xfrm>
          <a:custGeom>
            <a:avLst/>
            <a:gdLst>
              <a:gd name="T0" fmla="*/ 2147483646 w 105"/>
              <a:gd name="T1" fmla="*/ 2147483646 h 356"/>
              <a:gd name="T2" fmla="*/ 2147483646 w 105"/>
              <a:gd name="T3" fmla="*/ 2147483646 h 356"/>
              <a:gd name="T4" fmla="*/ 2147483646 w 105"/>
              <a:gd name="T5" fmla="*/ 2147483646 h 356"/>
              <a:gd name="T6" fmla="*/ 2147483646 w 105"/>
              <a:gd name="T7" fmla="*/ 2147483646 h 356"/>
              <a:gd name="T8" fmla="*/ 2147483646 w 105"/>
              <a:gd name="T9" fmla="*/ 2147483646 h 356"/>
              <a:gd name="T10" fmla="*/ 2147483646 w 105"/>
              <a:gd name="T11" fmla="*/ 2147483646 h 356"/>
              <a:gd name="T12" fmla="*/ 2147483646 w 105"/>
              <a:gd name="T13" fmla="*/ 2147483646 h 356"/>
              <a:gd name="T14" fmla="*/ 2147483646 w 105"/>
              <a:gd name="T15" fmla="*/ 2147483646 h 356"/>
              <a:gd name="T16" fmla="*/ 2147483646 w 105"/>
              <a:gd name="T17" fmla="*/ 2147483646 h 356"/>
              <a:gd name="T18" fmla="*/ 2147483646 w 105"/>
              <a:gd name="T19" fmla="*/ 2147483646 h 356"/>
              <a:gd name="T20" fmla="*/ 2147483646 w 105"/>
              <a:gd name="T21" fmla="*/ 2147483646 h 356"/>
              <a:gd name="T22" fmla="*/ 2147483646 w 105"/>
              <a:gd name="T23" fmla="*/ 2147483646 h 356"/>
              <a:gd name="T24" fmla="*/ 2147483646 w 105"/>
              <a:gd name="T25" fmla="*/ 2147483646 h 356"/>
              <a:gd name="T26" fmla="*/ 2147483646 w 105"/>
              <a:gd name="T27" fmla="*/ 2147483646 h 356"/>
              <a:gd name="T28" fmla="*/ 2147483646 w 105"/>
              <a:gd name="T29" fmla="*/ 2147483646 h 356"/>
              <a:gd name="T30" fmla="*/ 2147483646 w 105"/>
              <a:gd name="T31" fmla="*/ 2147483646 h 356"/>
              <a:gd name="T32" fmla="*/ 2147483646 w 105"/>
              <a:gd name="T33" fmla="*/ 2147483646 h 356"/>
              <a:gd name="T34" fmla="*/ 2147483646 w 105"/>
              <a:gd name="T35" fmla="*/ 2147483646 h 356"/>
              <a:gd name="T36" fmla="*/ 2147483646 w 105"/>
              <a:gd name="T37" fmla="*/ 2147483646 h 356"/>
              <a:gd name="T38" fmla="*/ 2147483646 w 105"/>
              <a:gd name="T39" fmla="*/ 2147483646 h 356"/>
              <a:gd name="T40" fmla="*/ 2147483646 w 105"/>
              <a:gd name="T41" fmla="*/ 2147483646 h 356"/>
              <a:gd name="T42" fmla="*/ 2147483646 w 105"/>
              <a:gd name="T43" fmla="*/ 2147483646 h 356"/>
              <a:gd name="T44" fmla="*/ 2147483646 w 105"/>
              <a:gd name="T45" fmla="*/ 2147483646 h 356"/>
              <a:gd name="T46" fmla="*/ 2147483646 w 105"/>
              <a:gd name="T47" fmla="*/ 2147483646 h 356"/>
              <a:gd name="T48" fmla="*/ 2147483646 w 105"/>
              <a:gd name="T49" fmla="*/ 2147483646 h 356"/>
              <a:gd name="T50" fmla="*/ 2147483646 w 105"/>
              <a:gd name="T51" fmla="*/ 2147483646 h 356"/>
              <a:gd name="T52" fmla="*/ 2147483646 w 105"/>
              <a:gd name="T53" fmla="*/ 2147483646 h 356"/>
              <a:gd name="T54" fmla="*/ 2147483646 w 105"/>
              <a:gd name="T55" fmla="*/ 2147483646 h 356"/>
              <a:gd name="T56" fmla="*/ 2147483646 w 105"/>
              <a:gd name="T57" fmla="*/ 2147483646 h 356"/>
              <a:gd name="T58" fmla="*/ 2147483646 w 105"/>
              <a:gd name="T59" fmla="*/ 2147483646 h 356"/>
              <a:gd name="T60" fmla="*/ 2147483646 w 105"/>
              <a:gd name="T61" fmla="*/ 2147483646 h 356"/>
              <a:gd name="T62" fmla="*/ 2147483646 w 105"/>
              <a:gd name="T63" fmla="*/ 2147483646 h 35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5"/>
              <a:gd name="T97" fmla="*/ 0 h 356"/>
              <a:gd name="T98" fmla="*/ 105 w 105"/>
              <a:gd name="T99" fmla="*/ 356 h 35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5" h="356">
                <a:moveTo>
                  <a:pt x="45" y="2"/>
                </a:moveTo>
                <a:cubicBezTo>
                  <a:pt x="34" y="4"/>
                  <a:pt x="26" y="8"/>
                  <a:pt x="29" y="27"/>
                </a:cubicBezTo>
                <a:cubicBezTo>
                  <a:pt x="31" y="45"/>
                  <a:pt x="39" y="44"/>
                  <a:pt x="27" y="59"/>
                </a:cubicBezTo>
                <a:cubicBezTo>
                  <a:pt x="16" y="74"/>
                  <a:pt x="15" y="83"/>
                  <a:pt x="19" y="90"/>
                </a:cubicBezTo>
                <a:cubicBezTo>
                  <a:pt x="23" y="96"/>
                  <a:pt x="30" y="97"/>
                  <a:pt x="23" y="114"/>
                </a:cubicBezTo>
                <a:cubicBezTo>
                  <a:pt x="15" y="131"/>
                  <a:pt x="13" y="129"/>
                  <a:pt x="23" y="144"/>
                </a:cubicBezTo>
                <a:cubicBezTo>
                  <a:pt x="32" y="158"/>
                  <a:pt x="46" y="151"/>
                  <a:pt x="37" y="173"/>
                </a:cubicBezTo>
                <a:cubicBezTo>
                  <a:pt x="29" y="195"/>
                  <a:pt x="32" y="186"/>
                  <a:pt x="34" y="205"/>
                </a:cubicBezTo>
                <a:cubicBezTo>
                  <a:pt x="35" y="225"/>
                  <a:pt x="41" y="232"/>
                  <a:pt x="30" y="235"/>
                </a:cubicBezTo>
                <a:cubicBezTo>
                  <a:pt x="19" y="237"/>
                  <a:pt x="0" y="220"/>
                  <a:pt x="13" y="240"/>
                </a:cubicBezTo>
                <a:cubicBezTo>
                  <a:pt x="25" y="259"/>
                  <a:pt x="31" y="251"/>
                  <a:pt x="30" y="264"/>
                </a:cubicBezTo>
                <a:cubicBezTo>
                  <a:pt x="29" y="278"/>
                  <a:pt x="34" y="284"/>
                  <a:pt x="35" y="300"/>
                </a:cubicBezTo>
                <a:cubicBezTo>
                  <a:pt x="36" y="316"/>
                  <a:pt x="31" y="322"/>
                  <a:pt x="29" y="328"/>
                </a:cubicBezTo>
                <a:cubicBezTo>
                  <a:pt x="26" y="334"/>
                  <a:pt x="14" y="334"/>
                  <a:pt x="26" y="342"/>
                </a:cubicBezTo>
                <a:cubicBezTo>
                  <a:pt x="39" y="349"/>
                  <a:pt x="38" y="340"/>
                  <a:pt x="45" y="336"/>
                </a:cubicBezTo>
                <a:cubicBezTo>
                  <a:pt x="52" y="331"/>
                  <a:pt x="53" y="315"/>
                  <a:pt x="59" y="328"/>
                </a:cubicBezTo>
                <a:cubicBezTo>
                  <a:pt x="66" y="342"/>
                  <a:pt x="58" y="356"/>
                  <a:pt x="67" y="355"/>
                </a:cubicBezTo>
                <a:cubicBezTo>
                  <a:pt x="75" y="354"/>
                  <a:pt x="79" y="328"/>
                  <a:pt x="74" y="322"/>
                </a:cubicBezTo>
                <a:cubicBezTo>
                  <a:pt x="69" y="316"/>
                  <a:pt x="63" y="318"/>
                  <a:pt x="57" y="300"/>
                </a:cubicBezTo>
                <a:cubicBezTo>
                  <a:pt x="51" y="281"/>
                  <a:pt x="48" y="284"/>
                  <a:pt x="53" y="270"/>
                </a:cubicBezTo>
                <a:cubicBezTo>
                  <a:pt x="58" y="257"/>
                  <a:pt x="52" y="249"/>
                  <a:pt x="57" y="238"/>
                </a:cubicBezTo>
                <a:cubicBezTo>
                  <a:pt x="62" y="227"/>
                  <a:pt x="63" y="213"/>
                  <a:pt x="70" y="216"/>
                </a:cubicBezTo>
                <a:cubicBezTo>
                  <a:pt x="78" y="220"/>
                  <a:pt x="88" y="240"/>
                  <a:pt x="96" y="237"/>
                </a:cubicBezTo>
                <a:cubicBezTo>
                  <a:pt x="105" y="235"/>
                  <a:pt x="104" y="220"/>
                  <a:pt x="99" y="218"/>
                </a:cubicBezTo>
                <a:cubicBezTo>
                  <a:pt x="94" y="215"/>
                  <a:pt x="84" y="209"/>
                  <a:pt x="79" y="202"/>
                </a:cubicBezTo>
                <a:cubicBezTo>
                  <a:pt x="74" y="194"/>
                  <a:pt x="70" y="186"/>
                  <a:pt x="70" y="176"/>
                </a:cubicBezTo>
                <a:cubicBezTo>
                  <a:pt x="70" y="166"/>
                  <a:pt x="64" y="145"/>
                  <a:pt x="64" y="134"/>
                </a:cubicBezTo>
                <a:cubicBezTo>
                  <a:pt x="64" y="123"/>
                  <a:pt x="62" y="106"/>
                  <a:pt x="59" y="93"/>
                </a:cubicBezTo>
                <a:cubicBezTo>
                  <a:pt x="57" y="81"/>
                  <a:pt x="52" y="70"/>
                  <a:pt x="57" y="56"/>
                </a:cubicBezTo>
                <a:cubicBezTo>
                  <a:pt x="62" y="43"/>
                  <a:pt x="54" y="37"/>
                  <a:pt x="54" y="22"/>
                </a:cubicBezTo>
                <a:cubicBezTo>
                  <a:pt x="54" y="7"/>
                  <a:pt x="59" y="0"/>
                  <a:pt x="52" y="1"/>
                </a:cubicBezTo>
                <a:cubicBezTo>
                  <a:pt x="45" y="2"/>
                  <a:pt x="45" y="2"/>
                  <a:pt x="45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57" name="Freeform 593"/>
          <p:cNvSpPr>
            <a:spLocks/>
          </p:cNvSpPr>
          <p:nvPr userDrawn="1"/>
        </p:nvSpPr>
        <p:spPr bwMode="auto">
          <a:xfrm>
            <a:off x="9020077" y="3750002"/>
            <a:ext cx="70353" cy="67004"/>
          </a:xfrm>
          <a:custGeom>
            <a:avLst/>
            <a:gdLst>
              <a:gd name="T0" fmla="*/ 2147483646 w 76"/>
              <a:gd name="T1" fmla="*/ 2147483646 h 72"/>
              <a:gd name="T2" fmla="*/ 2147483646 w 76"/>
              <a:gd name="T3" fmla="*/ 2147483646 h 72"/>
              <a:gd name="T4" fmla="*/ 2147483646 w 76"/>
              <a:gd name="T5" fmla="*/ 2147483646 h 72"/>
              <a:gd name="T6" fmla="*/ 2147483646 w 76"/>
              <a:gd name="T7" fmla="*/ 2147483646 h 72"/>
              <a:gd name="T8" fmla="*/ 2147483646 w 76"/>
              <a:gd name="T9" fmla="*/ 2147483646 h 72"/>
              <a:gd name="T10" fmla="*/ 2147483646 w 76"/>
              <a:gd name="T11" fmla="*/ 2147483646 h 72"/>
              <a:gd name="T12" fmla="*/ 2147483646 w 76"/>
              <a:gd name="T13" fmla="*/ 2147483646 h 72"/>
              <a:gd name="T14" fmla="*/ 2147483646 w 76"/>
              <a:gd name="T15" fmla="*/ 2147483646 h 72"/>
              <a:gd name="T16" fmla="*/ 2147483646 w 76"/>
              <a:gd name="T17" fmla="*/ 0 h 72"/>
              <a:gd name="T18" fmla="*/ 2147483646 w 76"/>
              <a:gd name="T19" fmla="*/ 2147483646 h 7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76"/>
              <a:gd name="T31" fmla="*/ 0 h 72"/>
              <a:gd name="T32" fmla="*/ 76 w 76"/>
              <a:gd name="T33" fmla="*/ 72 h 7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76" h="72">
                <a:moveTo>
                  <a:pt x="45" y="19"/>
                </a:moveTo>
                <a:cubicBezTo>
                  <a:pt x="40" y="21"/>
                  <a:pt x="32" y="33"/>
                  <a:pt x="28" y="41"/>
                </a:cubicBezTo>
                <a:cubicBezTo>
                  <a:pt x="24" y="48"/>
                  <a:pt x="18" y="56"/>
                  <a:pt x="15" y="56"/>
                </a:cubicBezTo>
                <a:cubicBezTo>
                  <a:pt x="11" y="56"/>
                  <a:pt x="0" y="43"/>
                  <a:pt x="7" y="56"/>
                </a:cubicBezTo>
                <a:cubicBezTo>
                  <a:pt x="15" y="68"/>
                  <a:pt x="24" y="72"/>
                  <a:pt x="31" y="65"/>
                </a:cubicBezTo>
                <a:cubicBezTo>
                  <a:pt x="37" y="59"/>
                  <a:pt x="38" y="45"/>
                  <a:pt x="44" y="41"/>
                </a:cubicBezTo>
                <a:cubicBezTo>
                  <a:pt x="50" y="37"/>
                  <a:pt x="54" y="31"/>
                  <a:pt x="59" y="31"/>
                </a:cubicBezTo>
                <a:cubicBezTo>
                  <a:pt x="64" y="31"/>
                  <a:pt x="71" y="24"/>
                  <a:pt x="74" y="19"/>
                </a:cubicBezTo>
                <a:cubicBezTo>
                  <a:pt x="76" y="14"/>
                  <a:pt x="70" y="0"/>
                  <a:pt x="70" y="0"/>
                </a:cubicBezTo>
                <a:lnTo>
                  <a:pt x="45" y="1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58" name="Freeform 594"/>
          <p:cNvSpPr>
            <a:spLocks/>
          </p:cNvSpPr>
          <p:nvPr userDrawn="1"/>
        </p:nvSpPr>
        <p:spPr bwMode="auto">
          <a:xfrm>
            <a:off x="9107182" y="3728227"/>
            <a:ext cx="28476" cy="38527"/>
          </a:xfrm>
          <a:custGeom>
            <a:avLst/>
            <a:gdLst>
              <a:gd name="T0" fmla="*/ 2147483646 w 30"/>
              <a:gd name="T1" fmla="*/ 2147483646 h 42"/>
              <a:gd name="T2" fmla="*/ 2147483646 w 30"/>
              <a:gd name="T3" fmla="*/ 2147483646 h 42"/>
              <a:gd name="T4" fmla="*/ 2147483646 w 30"/>
              <a:gd name="T5" fmla="*/ 2147483646 h 42"/>
              <a:gd name="T6" fmla="*/ 2147483646 w 30"/>
              <a:gd name="T7" fmla="*/ 2147483646 h 42"/>
              <a:gd name="T8" fmla="*/ 2147483646 w 30"/>
              <a:gd name="T9" fmla="*/ 2147483646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"/>
              <a:gd name="T16" fmla="*/ 0 h 42"/>
              <a:gd name="T17" fmla="*/ 30 w 30"/>
              <a:gd name="T18" fmla="*/ 42 h 4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" h="42">
                <a:moveTo>
                  <a:pt x="20" y="14"/>
                </a:moveTo>
                <a:cubicBezTo>
                  <a:pt x="13" y="16"/>
                  <a:pt x="10" y="0"/>
                  <a:pt x="5" y="21"/>
                </a:cubicBezTo>
                <a:cubicBezTo>
                  <a:pt x="0" y="42"/>
                  <a:pt x="21" y="26"/>
                  <a:pt x="21" y="26"/>
                </a:cubicBezTo>
                <a:cubicBezTo>
                  <a:pt x="30" y="18"/>
                  <a:pt x="30" y="18"/>
                  <a:pt x="30" y="18"/>
                </a:cubicBezTo>
                <a:lnTo>
                  <a:pt x="20" y="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59" name="Freeform 595"/>
          <p:cNvSpPr>
            <a:spLocks/>
          </p:cNvSpPr>
          <p:nvPr userDrawn="1"/>
        </p:nvSpPr>
        <p:spPr bwMode="auto">
          <a:xfrm>
            <a:off x="9152409" y="3701425"/>
            <a:ext cx="21777" cy="21776"/>
          </a:xfrm>
          <a:custGeom>
            <a:avLst/>
            <a:gdLst>
              <a:gd name="T0" fmla="*/ 2147483646 w 24"/>
              <a:gd name="T1" fmla="*/ 2147483646 h 23"/>
              <a:gd name="T2" fmla="*/ 2147483646 w 24"/>
              <a:gd name="T3" fmla="*/ 2147483646 h 23"/>
              <a:gd name="T4" fmla="*/ 2147483646 w 24"/>
              <a:gd name="T5" fmla="*/ 2147483646 h 23"/>
              <a:gd name="T6" fmla="*/ 2147483646 w 24"/>
              <a:gd name="T7" fmla="*/ 0 h 23"/>
              <a:gd name="T8" fmla="*/ 2147483646 w 24"/>
              <a:gd name="T9" fmla="*/ 2147483646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4"/>
              <a:gd name="T16" fmla="*/ 0 h 23"/>
              <a:gd name="T17" fmla="*/ 24 w 24"/>
              <a:gd name="T18" fmla="*/ 23 h 2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4" h="23">
                <a:moveTo>
                  <a:pt x="11" y="7"/>
                </a:moveTo>
                <a:cubicBezTo>
                  <a:pt x="10" y="13"/>
                  <a:pt x="0" y="18"/>
                  <a:pt x="8" y="20"/>
                </a:cubicBezTo>
                <a:cubicBezTo>
                  <a:pt x="15" y="23"/>
                  <a:pt x="20" y="15"/>
                  <a:pt x="20" y="15"/>
                </a:cubicBezTo>
                <a:cubicBezTo>
                  <a:pt x="24" y="0"/>
                  <a:pt x="24" y="0"/>
                  <a:pt x="24" y="0"/>
                </a:cubicBezTo>
                <a:lnTo>
                  <a:pt x="11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60" name="Freeform 596"/>
          <p:cNvSpPr>
            <a:spLocks/>
          </p:cNvSpPr>
          <p:nvPr userDrawn="1"/>
        </p:nvSpPr>
        <p:spPr bwMode="auto">
          <a:xfrm>
            <a:off x="9182561" y="3679648"/>
            <a:ext cx="13401" cy="8376"/>
          </a:xfrm>
          <a:custGeom>
            <a:avLst/>
            <a:gdLst>
              <a:gd name="T0" fmla="*/ 2147483646 w 15"/>
              <a:gd name="T1" fmla="*/ 0 h 9"/>
              <a:gd name="T2" fmla="*/ 2147483646 w 15"/>
              <a:gd name="T3" fmla="*/ 2147483646 h 9"/>
              <a:gd name="T4" fmla="*/ 2147483646 w 15"/>
              <a:gd name="T5" fmla="*/ 2147483646 h 9"/>
              <a:gd name="T6" fmla="*/ 2147483646 w 15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15"/>
              <a:gd name="T13" fmla="*/ 0 h 9"/>
              <a:gd name="T14" fmla="*/ 15 w 15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5" h="9">
                <a:moveTo>
                  <a:pt x="9" y="0"/>
                </a:moveTo>
                <a:cubicBezTo>
                  <a:pt x="4" y="1"/>
                  <a:pt x="0" y="9"/>
                  <a:pt x="7" y="9"/>
                </a:cubicBezTo>
                <a:cubicBezTo>
                  <a:pt x="13" y="9"/>
                  <a:pt x="15" y="3"/>
                  <a:pt x="15" y="3"/>
                </a:cubicBezTo>
                <a:lnTo>
                  <a:pt x="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61" name="Freeform 597"/>
          <p:cNvSpPr>
            <a:spLocks/>
          </p:cNvSpPr>
          <p:nvPr userDrawn="1"/>
        </p:nvSpPr>
        <p:spPr bwMode="auto">
          <a:xfrm>
            <a:off x="9226112" y="3619345"/>
            <a:ext cx="18427" cy="18427"/>
          </a:xfrm>
          <a:custGeom>
            <a:avLst/>
            <a:gdLst>
              <a:gd name="T0" fmla="*/ 2147483646 w 20"/>
              <a:gd name="T1" fmla="*/ 0 h 20"/>
              <a:gd name="T2" fmla="*/ 0 w 20"/>
              <a:gd name="T3" fmla="*/ 2147483646 h 20"/>
              <a:gd name="T4" fmla="*/ 2147483646 w 20"/>
              <a:gd name="T5" fmla="*/ 2147483646 h 20"/>
              <a:gd name="T6" fmla="*/ 2147483646 w 20"/>
              <a:gd name="T7" fmla="*/ 2147483646 h 20"/>
              <a:gd name="T8" fmla="*/ 2147483646 w 20"/>
              <a:gd name="T9" fmla="*/ 0 h 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20"/>
              <a:gd name="T17" fmla="*/ 20 w 20"/>
              <a:gd name="T18" fmla="*/ 20 h 2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20">
                <a:moveTo>
                  <a:pt x="6" y="0"/>
                </a:moveTo>
                <a:cubicBezTo>
                  <a:pt x="1" y="1"/>
                  <a:pt x="0" y="6"/>
                  <a:pt x="0" y="11"/>
                </a:cubicBezTo>
                <a:cubicBezTo>
                  <a:pt x="0" y="16"/>
                  <a:pt x="7" y="20"/>
                  <a:pt x="7" y="20"/>
                </a:cubicBezTo>
                <a:cubicBezTo>
                  <a:pt x="7" y="20"/>
                  <a:pt x="17" y="16"/>
                  <a:pt x="19" y="10"/>
                </a:cubicBezTo>
                <a:cubicBezTo>
                  <a:pt x="20" y="4"/>
                  <a:pt x="6" y="0"/>
                  <a:pt x="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62" name="Freeform 598"/>
          <p:cNvSpPr>
            <a:spLocks/>
          </p:cNvSpPr>
          <p:nvPr userDrawn="1"/>
        </p:nvSpPr>
        <p:spPr bwMode="auto">
          <a:xfrm>
            <a:off x="9236163" y="3585843"/>
            <a:ext cx="31827" cy="28477"/>
          </a:xfrm>
          <a:custGeom>
            <a:avLst/>
            <a:gdLst>
              <a:gd name="T0" fmla="*/ 2147483646 w 33"/>
              <a:gd name="T1" fmla="*/ 0 h 31"/>
              <a:gd name="T2" fmla="*/ 2147483646 w 33"/>
              <a:gd name="T3" fmla="*/ 2147483646 h 31"/>
              <a:gd name="T4" fmla="*/ 2147483646 w 33"/>
              <a:gd name="T5" fmla="*/ 2147483646 h 31"/>
              <a:gd name="T6" fmla="*/ 2147483646 w 33"/>
              <a:gd name="T7" fmla="*/ 2147483646 h 31"/>
              <a:gd name="T8" fmla="*/ 2147483646 w 33"/>
              <a:gd name="T9" fmla="*/ 2147483646 h 31"/>
              <a:gd name="T10" fmla="*/ 2147483646 w 33"/>
              <a:gd name="T11" fmla="*/ 0 h 3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31"/>
              <a:gd name="T20" fmla="*/ 33 w 33"/>
              <a:gd name="T21" fmla="*/ 31 h 3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31">
                <a:moveTo>
                  <a:pt x="24" y="0"/>
                </a:moveTo>
                <a:cubicBezTo>
                  <a:pt x="24" y="0"/>
                  <a:pt x="14" y="2"/>
                  <a:pt x="11" y="7"/>
                </a:cubicBezTo>
                <a:cubicBezTo>
                  <a:pt x="9" y="12"/>
                  <a:pt x="0" y="19"/>
                  <a:pt x="8" y="24"/>
                </a:cubicBezTo>
                <a:cubicBezTo>
                  <a:pt x="15" y="29"/>
                  <a:pt x="20" y="31"/>
                  <a:pt x="24" y="25"/>
                </a:cubicBezTo>
                <a:cubicBezTo>
                  <a:pt x="27" y="19"/>
                  <a:pt x="33" y="12"/>
                  <a:pt x="33" y="12"/>
                </a:cubicBezTo>
                <a:lnTo>
                  <a:pt x="2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63" name="Freeform 599"/>
          <p:cNvSpPr>
            <a:spLocks/>
          </p:cNvSpPr>
          <p:nvPr userDrawn="1"/>
        </p:nvSpPr>
        <p:spPr bwMode="auto">
          <a:xfrm>
            <a:off x="8391917" y="4359736"/>
            <a:ext cx="77055" cy="92131"/>
          </a:xfrm>
          <a:custGeom>
            <a:avLst/>
            <a:gdLst>
              <a:gd name="T0" fmla="*/ 2147483646 w 84"/>
              <a:gd name="T1" fmla="*/ 2147483646 h 100"/>
              <a:gd name="T2" fmla="*/ 2147483646 w 84"/>
              <a:gd name="T3" fmla="*/ 2147483646 h 100"/>
              <a:gd name="T4" fmla="*/ 2147483646 w 84"/>
              <a:gd name="T5" fmla="*/ 2147483646 h 100"/>
              <a:gd name="T6" fmla="*/ 2147483646 w 84"/>
              <a:gd name="T7" fmla="*/ 2147483646 h 100"/>
              <a:gd name="T8" fmla="*/ 2147483646 w 84"/>
              <a:gd name="T9" fmla="*/ 2147483646 h 100"/>
              <a:gd name="T10" fmla="*/ 2147483646 w 84"/>
              <a:gd name="T11" fmla="*/ 2147483646 h 100"/>
              <a:gd name="T12" fmla="*/ 2147483646 w 84"/>
              <a:gd name="T13" fmla="*/ 2147483646 h 1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4"/>
              <a:gd name="T22" fmla="*/ 0 h 100"/>
              <a:gd name="T23" fmla="*/ 84 w 84"/>
              <a:gd name="T24" fmla="*/ 100 h 10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4" h="100">
                <a:moveTo>
                  <a:pt x="75" y="12"/>
                </a:moveTo>
                <a:cubicBezTo>
                  <a:pt x="58" y="0"/>
                  <a:pt x="41" y="5"/>
                  <a:pt x="37" y="21"/>
                </a:cubicBezTo>
                <a:cubicBezTo>
                  <a:pt x="33" y="38"/>
                  <a:pt x="30" y="54"/>
                  <a:pt x="22" y="61"/>
                </a:cubicBezTo>
                <a:cubicBezTo>
                  <a:pt x="14" y="67"/>
                  <a:pt x="0" y="76"/>
                  <a:pt x="10" y="86"/>
                </a:cubicBezTo>
                <a:cubicBezTo>
                  <a:pt x="19" y="97"/>
                  <a:pt x="22" y="97"/>
                  <a:pt x="39" y="99"/>
                </a:cubicBezTo>
                <a:cubicBezTo>
                  <a:pt x="57" y="100"/>
                  <a:pt x="64" y="40"/>
                  <a:pt x="64" y="40"/>
                </a:cubicBezTo>
                <a:cubicBezTo>
                  <a:pt x="64" y="40"/>
                  <a:pt x="84" y="19"/>
                  <a:pt x="75" y="1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64" name="Freeform 600"/>
          <p:cNvSpPr>
            <a:spLocks/>
          </p:cNvSpPr>
          <p:nvPr userDrawn="1"/>
        </p:nvSpPr>
        <p:spPr bwMode="auto">
          <a:xfrm>
            <a:off x="8396943" y="4537295"/>
            <a:ext cx="108880" cy="185936"/>
          </a:xfrm>
          <a:custGeom>
            <a:avLst/>
            <a:gdLst>
              <a:gd name="T0" fmla="*/ 2147483646 w 117"/>
              <a:gd name="T1" fmla="*/ 2147483646 h 200"/>
              <a:gd name="T2" fmla="*/ 2147483646 w 117"/>
              <a:gd name="T3" fmla="*/ 2147483646 h 200"/>
              <a:gd name="T4" fmla="*/ 2147483646 w 117"/>
              <a:gd name="T5" fmla="*/ 2147483646 h 200"/>
              <a:gd name="T6" fmla="*/ 2147483646 w 117"/>
              <a:gd name="T7" fmla="*/ 2147483646 h 200"/>
              <a:gd name="T8" fmla="*/ 2147483646 w 117"/>
              <a:gd name="T9" fmla="*/ 2147483646 h 200"/>
              <a:gd name="T10" fmla="*/ 2147483646 w 117"/>
              <a:gd name="T11" fmla="*/ 2147483646 h 200"/>
              <a:gd name="T12" fmla="*/ 2147483646 w 117"/>
              <a:gd name="T13" fmla="*/ 2147483646 h 200"/>
              <a:gd name="T14" fmla="*/ 2147483646 w 117"/>
              <a:gd name="T15" fmla="*/ 2147483646 h 200"/>
              <a:gd name="T16" fmla="*/ 2147483646 w 117"/>
              <a:gd name="T17" fmla="*/ 2147483646 h 200"/>
              <a:gd name="T18" fmla="*/ 2147483646 w 117"/>
              <a:gd name="T19" fmla="*/ 2147483646 h 200"/>
              <a:gd name="T20" fmla="*/ 2147483646 w 117"/>
              <a:gd name="T21" fmla="*/ 2147483646 h 200"/>
              <a:gd name="T22" fmla="*/ 2147483646 w 117"/>
              <a:gd name="T23" fmla="*/ 2147483646 h 200"/>
              <a:gd name="T24" fmla="*/ 2147483646 w 117"/>
              <a:gd name="T25" fmla="*/ 2147483646 h 200"/>
              <a:gd name="T26" fmla="*/ 2147483646 w 117"/>
              <a:gd name="T27" fmla="*/ 2147483646 h 200"/>
              <a:gd name="T28" fmla="*/ 2147483646 w 117"/>
              <a:gd name="T29" fmla="*/ 2147483646 h 200"/>
              <a:gd name="T30" fmla="*/ 2147483646 w 117"/>
              <a:gd name="T31" fmla="*/ 2147483646 h 200"/>
              <a:gd name="T32" fmla="*/ 2147483646 w 117"/>
              <a:gd name="T33" fmla="*/ 2147483646 h 200"/>
              <a:gd name="T34" fmla="*/ 2147483646 w 117"/>
              <a:gd name="T35" fmla="*/ 2147483646 h 200"/>
              <a:gd name="T36" fmla="*/ 2147483646 w 117"/>
              <a:gd name="T37" fmla="*/ 2147483646 h 200"/>
              <a:gd name="T38" fmla="*/ 2147483646 w 117"/>
              <a:gd name="T39" fmla="*/ 2147483646 h 200"/>
              <a:gd name="T40" fmla="*/ 2147483646 w 117"/>
              <a:gd name="T41" fmla="*/ 2147483646 h 200"/>
              <a:gd name="T42" fmla="*/ 2147483646 w 117"/>
              <a:gd name="T43" fmla="*/ 2147483646 h 200"/>
              <a:gd name="T44" fmla="*/ 2147483646 w 117"/>
              <a:gd name="T45" fmla="*/ 2147483646 h 200"/>
              <a:gd name="T46" fmla="*/ 2147483646 w 117"/>
              <a:gd name="T47" fmla="*/ 2147483646 h 200"/>
              <a:gd name="T48" fmla="*/ 2147483646 w 117"/>
              <a:gd name="T49" fmla="*/ 2147483646 h 200"/>
              <a:gd name="T50" fmla="*/ 2147483646 w 117"/>
              <a:gd name="T51" fmla="*/ 2147483646 h 20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17"/>
              <a:gd name="T79" fmla="*/ 0 h 200"/>
              <a:gd name="T80" fmla="*/ 117 w 117"/>
              <a:gd name="T81" fmla="*/ 200 h 20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17" h="200">
                <a:moveTo>
                  <a:pt x="43" y="16"/>
                </a:moveTo>
                <a:cubicBezTo>
                  <a:pt x="38" y="20"/>
                  <a:pt x="20" y="0"/>
                  <a:pt x="17" y="13"/>
                </a:cubicBezTo>
                <a:cubicBezTo>
                  <a:pt x="15" y="27"/>
                  <a:pt x="0" y="81"/>
                  <a:pt x="15" y="92"/>
                </a:cubicBezTo>
                <a:cubicBezTo>
                  <a:pt x="29" y="102"/>
                  <a:pt x="36" y="101"/>
                  <a:pt x="36" y="112"/>
                </a:cubicBezTo>
                <a:cubicBezTo>
                  <a:pt x="36" y="123"/>
                  <a:pt x="24" y="124"/>
                  <a:pt x="28" y="132"/>
                </a:cubicBezTo>
                <a:cubicBezTo>
                  <a:pt x="32" y="140"/>
                  <a:pt x="36" y="146"/>
                  <a:pt x="44" y="151"/>
                </a:cubicBezTo>
                <a:cubicBezTo>
                  <a:pt x="52" y="157"/>
                  <a:pt x="52" y="147"/>
                  <a:pt x="63" y="151"/>
                </a:cubicBezTo>
                <a:cubicBezTo>
                  <a:pt x="74" y="155"/>
                  <a:pt x="92" y="165"/>
                  <a:pt x="93" y="173"/>
                </a:cubicBezTo>
                <a:cubicBezTo>
                  <a:pt x="94" y="181"/>
                  <a:pt x="84" y="188"/>
                  <a:pt x="88" y="192"/>
                </a:cubicBezTo>
                <a:cubicBezTo>
                  <a:pt x="92" y="196"/>
                  <a:pt x="88" y="194"/>
                  <a:pt x="103" y="197"/>
                </a:cubicBezTo>
                <a:cubicBezTo>
                  <a:pt x="117" y="200"/>
                  <a:pt x="111" y="184"/>
                  <a:pt x="104" y="182"/>
                </a:cubicBezTo>
                <a:cubicBezTo>
                  <a:pt x="97" y="181"/>
                  <a:pt x="98" y="173"/>
                  <a:pt x="98" y="173"/>
                </a:cubicBezTo>
                <a:cubicBezTo>
                  <a:pt x="98" y="173"/>
                  <a:pt x="105" y="167"/>
                  <a:pt x="111" y="169"/>
                </a:cubicBezTo>
                <a:cubicBezTo>
                  <a:pt x="116" y="170"/>
                  <a:pt x="116" y="159"/>
                  <a:pt x="116" y="159"/>
                </a:cubicBezTo>
                <a:cubicBezTo>
                  <a:pt x="116" y="159"/>
                  <a:pt x="111" y="143"/>
                  <a:pt x="103" y="143"/>
                </a:cubicBezTo>
                <a:cubicBezTo>
                  <a:pt x="94" y="143"/>
                  <a:pt x="89" y="143"/>
                  <a:pt x="85" y="140"/>
                </a:cubicBezTo>
                <a:cubicBezTo>
                  <a:pt x="81" y="138"/>
                  <a:pt x="81" y="120"/>
                  <a:pt x="73" y="127"/>
                </a:cubicBezTo>
                <a:cubicBezTo>
                  <a:pt x="65" y="134"/>
                  <a:pt x="54" y="136"/>
                  <a:pt x="54" y="136"/>
                </a:cubicBezTo>
                <a:cubicBezTo>
                  <a:pt x="54" y="136"/>
                  <a:pt x="44" y="136"/>
                  <a:pt x="44" y="132"/>
                </a:cubicBezTo>
                <a:cubicBezTo>
                  <a:pt x="44" y="128"/>
                  <a:pt x="36" y="116"/>
                  <a:pt x="44" y="113"/>
                </a:cubicBezTo>
                <a:cubicBezTo>
                  <a:pt x="52" y="111"/>
                  <a:pt x="48" y="123"/>
                  <a:pt x="51" y="101"/>
                </a:cubicBezTo>
                <a:cubicBezTo>
                  <a:pt x="54" y="79"/>
                  <a:pt x="46" y="78"/>
                  <a:pt x="58" y="69"/>
                </a:cubicBezTo>
                <a:cubicBezTo>
                  <a:pt x="70" y="59"/>
                  <a:pt x="70" y="58"/>
                  <a:pt x="70" y="47"/>
                </a:cubicBezTo>
                <a:cubicBezTo>
                  <a:pt x="70" y="36"/>
                  <a:pt x="70" y="25"/>
                  <a:pt x="67" y="21"/>
                </a:cubicBezTo>
                <a:cubicBezTo>
                  <a:pt x="65" y="17"/>
                  <a:pt x="59" y="9"/>
                  <a:pt x="59" y="9"/>
                </a:cubicBezTo>
                <a:lnTo>
                  <a:pt x="43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65" name="Freeform 601"/>
          <p:cNvSpPr>
            <a:spLocks/>
          </p:cNvSpPr>
          <p:nvPr userDrawn="1"/>
        </p:nvSpPr>
        <p:spPr bwMode="auto">
          <a:xfrm>
            <a:off x="8333288" y="4738307"/>
            <a:ext cx="63653" cy="68679"/>
          </a:xfrm>
          <a:custGeom>
            <a:avLst/>
            <a:gdLst>
              <a:gd name="T0" fmla="*/ 2147483646 w 68"/>
              <a:gd name="T1" fmla="*/ 2147483646 h 74"/>
              <a:gd name="T2" fmla="*/ 2147483646 w 68"/>
              <a:gd name="T3" fmla="*/ 2147483646 h 74"/>
              <a:gd name="T4" fmla="*/ 2147483646 w 68"/>
              <a:gd name="T5" fmla="*/ 2147483646 h 74"/>
              <a:gd name="T6" fmla="*/ 2147483646 w 68"/>
              <a:gd name="T7" fmla="*/ 2147483646 h 74"/>
              <a:gd name="T8" fmla="*/ 2147483646 w 68"/>
              <a:gd name="T9" fmla="*/ 2147483646 h 74"/>
              <a:gd name="T10" fmla="*/ 2147483646 w 68"/>
              <a:gd name="T11" fmla="*/ 2147483646 h 74"/>
              <a:gd name="T12" fmla="*/ 2147483646 w 68"/>
              <a:gd name="T13" fmla="*/ 2147483646 h 74"/>
              <a:gd name="T14" fmla="*/ 2147483646 w 68"/>
              <a:gd name="T15" fmla="*/ 2147483646 h 74"/>
              <a:gd name="T16" fmla="*/ 2147483646 w 68"/>
              <a:gd name="T17" fmla="*/ 2147483646 h 7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8"/>
              <a:gd name="T28" fmla="*/ 0 h 74"/>
              <a:gd name="T29" fmla="*/ 68 w 68"/>
              <a:gd name="T30" fmla="*/ 74 h 7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8" h="74">
                <a:moveTo>
                  <a:pt x="66" y="3"/>
                </a:moveTo>
                <a:cubicBezTo>
                  <a:pt x="60" y="0"/>
                  <a:pt x="61" y="1"/>
                  <a:pt x="57" y="16"/>
                </a:cubicBezTo>
                <a:cubicBezTo>
                  <a:pt x="53" y="31"/>
                  <a:pt x="49" y="46"/>
                  <a:pt x="41" y="49"/>
                </a:cubicBezTo>
                <a:cubicBezTo>
                  <a:pt x="32" y="51"/>
                  <a:pt x="26" y="59"/>
                  <a:pt x="20" y="62"/>
                </a:cubicBezTo>
                <a:cubicBezTo>
                  <a:pt x="15" y="65"/>
                  <a:pt x="0" y="54"/>
                  <a:pt x="3" y="63"/>
                </a:cubicBezTo>
                <a:cubicBezTo>
                  <a:pt x="5" y="73"/>
                  <a:pt x="13" y="74"/>
                  <a:pt x="32" y="67"/>
                </a:cubicBezTo>
                <a:cubicBezTo>
                  <a:pt x="51" y="61"/>
                  <a:pt x="61" y="39"/>
                  <a:pt x="61" y="39"/>
                </a:cubicBezTo>
                <a:cubicBezTo>
                  <a:pt x="68" y="20"/>
                  <a:pt x="68" y="20"/>
                  <a:pt x="68" y="20"/>
                </a:cubicBezTo>
                <a:lnTo>
                  <a:pt x="66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66" name="Freeform 602"/>
          <p:cNvSpPr>
            <a:spLocks/>
          </p:cNvSpPr>
          <p:nvPr userDrawn="1"/>
        </p:nvSpPr>
        <p:spPr bwMode="auto">
          <a:xfrm>
            <a:off x="8440495" y="4716531"/>
            <a:ext cx="77055" cy="75379"/>
          </a:xfrm>
          <a:custGeom>
            <a:avLst/>
            <a:gdLst>
              <a:gd name="T0" fmla="*/ 2147483646 w 83"/>
              <a:gd name="T1" fmla="*/ 2147483646 h 81"/>
              <a:gd name="T2" fmla="*/ 2147483646 w 83"/>
              <a:gd name="T3" fmla="*/ 2147483646 h 81"/>
              <a:gd name="T4" fmla="*/ 2147483646 w 83"/>
              <a:gd name="T5" fmla="*/ 2147483646 h 81"/>
              <a:gd name="T6" fmla="*/ 2147483646 w 83"/>
              <a:gd name="T7" fmla="*/ 2147483646 h 81"/>
              <a:gd name="T8" fmla="*/ 2147483646 w 83"/>
              <a:gd name="T9" fmla="*/ 2147483646 h 81"/>
              <a:gd name="T10" fmla="*/ 2147483646 w 83"/>
              <a:gd name="T11" fmla="*/ 2147483646 h 81"/>
              <a:gd name="T12" fmla="*/ 2147483646 w 83"/>
              <a:gd name="T13" fmla="*/ 2147483646 h 81"/>
              <a:gd name="T14" fmla="*/ 2147483646 w 83"/>
              <a:gd name="T15" fmla="*/ 2147483646 h 81"/>
              <a:gd name="T16" fmla="*/ 2147483646 w 83"/>
              <a:gd name="T17" fmla="*/ 2147483646 h 81"/>
              <a:gd name="T18" fmla="*/ 2147483646 w 83"/>
              <a:gd name="T19" fmla="*/ 2147483646 h 81"/>
              <a:gd name="T20" fmla="*/ 2147483646 w 83"/>
              <a:gd name="T21" fmla="*/ 2147483646 h 81"/>
              <a:gd name="T22" fmla="*/ 2147483646 w 83"/>
              <a:gd name="T23" fmla="*/ 2147483646 h 81"/>
              <a:gd name="T24" fmla="*/ 2147483646 w 83"/>
              <a:gd name="T25" fmla="*/ 2147483646 h 81"/>
              <a:gd name="T26" fmla="*/ 2147483646 w 83"/>
              <a:gd name="T27" fmla="*/ 2147483646 h 81"/>
              <a:gd name="T28" fmla="*/ 2147483646 w 83"/>
              <a:gd name="T29" fmla="*/ 2147483646 h 8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83"/>
              <a:gd name="T46" fmla="*/ 0 h 81"/>
              <a:gd name="T47" fmla="*/ 83 w 83"/>
              <a:gd name="T48" fmla="*/ 81 h 8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83" h="81">
                <a:moveTo>
                  <a:pt x="27" y="11"/>
                </a:moveTo>
                <a:cubicBezTo>
                  <a:pt x="22" y="11"/>
                  <a:pt x="18" y="0"/>
                  <a:pt x="14" y="9"/>
                </a:cubicBezTo>
                <a:cubicBezTo>
                  <a:pt x="10" y="19"/>
                  <a:pt x="0" y="40"/>
                  <a:pt x="12" y="39"/>
                </a:cubicBezTo>
                <a:cubicBezTo>
                  <a:pt x="24" y="38"/>
                  <a:pt x="26" y="20"/>
                  <a:pt x="31" y="27"/>
                </a:cubicBezTo>
                <a:cubicBezTo>
                  <a:pt x="37" y="34"/>
                  <a:pt x="26" y="35"/>
                  <a:pt x="33" y="40"/>
                </a:cubicBezTo>
                <a:cubicBezTo>
                  <a:pt x="39" y="46"/>
                  <a:pt x="43" y="50"/>
                  <a:pt x="37" y="54"/>
                </a:cubicBezTo>
                <a:cubicBezTo>
                  <a:pt x="30" y="58"/>
                  <a:pt x="20" y="57"/>
                  <a:pt x="22" y="62"/>
                </a:cubicBezTo>
                <a:cubicBezTo>
                  <a:pt x="27" y="76"/>
                  <a:pt x="42" y="81"/>
                  <a:pt x="45" y="73"/>
                </a:cubicBezTo>
                <a:cubicBezTo>
                  <a:pt x="47" y="65"/>
                  <a:pt x="43" y="59"/>
                  <a:pt x="49" y="54"/>
                </a:cubicBezTo>
                <a:cubicBezTo>
                  <a:pt x="54" y="49"/>
                  <a:pt x="57" y="47"/>
                  <a:pt x="60" y="57"/>
                </a:cubicBezTo>
                <a:cubicBezTo>
                  <a:pt x="62" y="66"/>
                  <a:pt x="81" y="46"/>
                  <a:pt x="81" y="46"/>
                </a:cubicBezTo>
                <a:cubicBezTo>
                  <a:pt x="81" y="46"/>
                  <a:pt x="83" y="27"/>
                  <a:pt x="76" y="34"/>
                </a:cubicBezTo>
                <a:cubicBezTo>
                  <a:pt x="69" y="40"/>
                  <a:pt x="59" y="42"/>
                  <a:pt x="56" y="38"/>
                </a:cubicBezTo>
                <a:cubicBezTo>
                  <a:pt x="47" y="30"/>
                  <a:pt x="34" y="32"/>
                  <a:pt x="37" y="24"/>
                </a:cubicBezTo>
                <a:cubicBezTo>
                  <a:pt x="39" y="16"/>
                  <a:pt x="27" y="11"/>
                  <a:pt x="27" y="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67" name="Freeform 603"/>
          <p:cNvSpPr>
            <a:spLocks/>
          </p:cNvSpPr>
          <p:nvPr userDrawn="1"/>
        </p:nvSpPr>
        <p:spPr bwMode="auto">
          <a:xfrm>
            <a:off x="8507499" y="4696430"/>
            <a:ext cx="40203" cy="63653"/>
          </a:xfrm>
          <a:custGeom>
            <a:avLst/>
            <a:gdLst>
              <a:gd name="T0" fmla="*/ 2147483646 w 42"/>
              <a:gd name="T1" fmla="*/ 2147483646 h 68"/>
              <a:gd name="T2" fmla="*/ 2147483646 w 42"/>
              <a:gd name="T3" fmla="*/ 2147483646 h 68"/>
              <a:gd name="T4" fmla="*/ 2147483646 w 42"/>
              <a:gd name="T5" fmla="*/ 2147483646 h 68"/>
              <a:gd name="T6" fmla="*/ 2147483646 w 42"/>
              <a:gd name="T7" fmla="*/ 2147483646 h 68"/>
              <a:gd name="T8" fmla="*/ 2147483646 w 42"/>
              <a:gd name="T9" fmla="*/ 2147483646 h 68"/>
              <a:gd name="T10" fmla="*/ 2147483646 w 42"/>
              <a:gd name="T11" fmla="*/ 2147483646 h 68"/>
              <a:gd name="T12" fmla="*/ 2147483646 w 42"/>
              <a:gd name="T13" fmla="*/ 2147483646 h 68"/>
              <a:gd name="T14" fmla="*/ 2147483646 w 42"/>
              <a:gd name="T15" fmla="*/ 2147483646 h 68"/>
              <a:gd name="T16" fmla="*/ 2147483646 w 42"/>
              <a:gd name="T17" fmla="*/ 2147483646 h 68"/>
              <a:gd name="T18" fmla="*/ 2147483646 w 42"/>
              <a:gd name="T19" fmla="*/ 2147483646 h 6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2"/>
              <a:gd name="T31" fmla="*/ 0 h 68"/>
              <a:gd name="T32" fmla="*/ 42 w 42"/>
              <a:gd name="T33" fmla="*/ 68 h 6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2" h="68">
                <a:moveTo>
                  <a:pt x="19" y="15"/>
                </a:moveTo>
                <a:cubicBezTo>
                  <a:pt x="15" y="17"/>
                  <a:pt x="0" y="28"/>
                  <a:pt x="7" y="36"/>
                </a:cubicBezTo>
                <a:cubicBezTo>
                  <a:pt x="13" y="44"/>
                  <a:pt x="19" y="40"/>
                  <a:pt x="20" y="47"/>
                </a:cubicBezTo>
                <a:cubicBezTo>
                  <a:pt x="21" y="53"/>
                  <a:pt x="9" y="63"/>
                  <a:pt x="19" y="65"/>
                </a:cubicBezTo>
                <a:cubicBezTo>
                  <a:pt x="28" y="68"/>
                  <a:pt x="35" y="53"/>
                  <a:pt x="34" y="49"/>
                </a:cubicBezTo>
                <a:cubicBezTo>
                  <a:pt x="32" y="45"/>
                  <a:pt x="23" y="34"/>
                  <a:pt x="32" y="34"/>
                </a:cubicBezTo>
                <a:cubicBezTo>
                  <a:pt x="42" y="34"/>
                  <a:pt x="42" y="25"/>
                  <a:pt x="40" y="21"/>
                </a:cubicBezTo>
                <a:cubicBezTo>
                  <a:pt x="39" y="17"/>
                  <a:pt x="36" y="0"/>
                  <a:pt x="32" y="9"/>
                </a:cubicBezTo>
                <a:cubicBezTo>
                  <a:pt x="28" y="17"/>
                  <a:pt x="23" y="23"/>
                  <a:pt x="23" y="23"/>
                </a:cubicBezTo>
                <a:lnTo>
                  <a:pt x="19" y="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68" name="Freeform 604"/>
          <p:cNvSpPr>
            <a:spLocks/>
          </p:cNvSpPr>
          <p:nvPr userDrawn="1"/>
        </p:nvSpPr>
        <p:spPr bwMode="auto">
          <a:xfrm>
            <a:off x="8447195" y="4766785"/>
            <a:ext cx="107205" cy="110556"/>
          </a:xfrm>
          <a:custGeom>
            <a:avLst/>
            <a:gdLst>
              <a:gd name="T0" fmla="*/ 2147483646 w 115"/>
              <a:gd name="T1" fmla="*/ 2147483646 h 120"/>
              <a:gd name="T2" fmla="*/ 2147483646 w 115"/>
              <a:gd name="T3" fmla="*/ 2147483646 h 120"/>
              <a:gd name="T4" fmla="*/ 2147483646 w 115"/>
              <a:gd name="T5" fmla="*/ 2147483646 h 120"/>
              <a:gd name="T6" fmla="*/ 2147483646 w 115"/>
              <a:gd name="T7" fmla="*/ 2147483646 h 120"/>
              <a:gd name="T8" fmla="*/ 2147483646 w 115"/>
              <a:gd name="T9" fmla="*/ 2147483646 h 120"/>
              <a:gd name="T10" fmla="*/ 2147483646 w 115"/>
              <a:gd name="T11" fmla="*/ 2147483646 h 120"/>
              <a:gd name="T12" fmla="*/ 2147483646 w 115"/>
              <a:gd name="T13" fmla="*/ 2147483646 h 120"/>
              <a:gd name="T14" fmla="*/ 2147483646 w 115"/>
              <a:gd name="T15" fmla="*/ 2147483646 h 120"/>
              <a:gd name="T16" fmla="*/ 2147483646 w 115"/>
              <a:gd name="T17" fmla="*/ 2147483646 h 120"/>
              <a:gd name="T18" fmla="*/ 2147483646 w 115"/>
              <a:gd name="T19" fmla="*/ 2147483646 h 120"/>
              <a:gd name="T20" fmla="*/ 2147483646 w 115"/>
              <a:gd name="T21" fmla="*/ 2147483646 h 120"/>
              <a:gd name="T22" fmla="*/ 2147483646 w 115"/>
              <a:gd name="T23" fmla="*/ 2147483646 h 120"/>
              <a:gd name="T24" fmla="*/ 2147483646 w 115"/>
              <a:gd name="T25" fmla="*/ 2147483646 h 120"/>
              <a:gd name="T26" fmla="*/ 2147483646 w 115"/>
              <a:gd name="T27" fmla="*/ 2147483646 h 120"/>
              <a:gd name="T28" fmla="*/ 2147483646 w 115"/>
              <a:gd name="T29" fmla="*/ 2147483646 h 120"/>
              <a:gd name="T30" fmla="*/ 2147483646 w 115"/>
              <a:gd name="T31" fmla="*/ 2147483646 h 120"/>
              <a:gd name="T32" fmla="*/ 2147483646 w 115"/>
              <a:gd name="T33" fmla="*/ 2147483646 h 120"/>
              <a:gd name="T34" fmla="*/ 2147483646 w 115"/>
              <a:gd name="T35" fmla="*/ 2147483646 h 120"/>
              <a:gd name="T36" fmla="*/ 2147483646 w 115"/>
              <a:gd name="T37" fmla="*/ 2147483646 h 120"/>
              <a:gd name="T38" fmla="*/ 2147483646 w 115"/>
              <a:gd name="T39" fmla="*/ 2147483646 h 120"/>
              <a:gd name="T40" fmla="*/ 2147483646 w 115"/>
              <a:gd name="T41" fmla="*/ 2147483646 h 120"/>
              <a:gd name="T42" fmla="*/ 2147483646 w 115"/>
              <a:gd name="T43" fmla="*/ 2147483646 h 12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15"/>
              <a:gd name="T67" fmla="*/ 0 h 120"/>
              <a:gd name="T68" fmla="*/ 115 w 115"/>
              <a:gd name="T69" fmla="*/ 120 h 120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15" h="120">
                <a:moveTo>
                  <a:pt x="55" y="37"/>
                </a:moveTo>
                <a:cubicBezTo>
                  <a:pt x="50" y="44"/>
                  <a:pt x="39" y="48"/>
                  <a:pt x="32" y="44"/>
                </a:cubicBezTo>
                <a:cubicBezTo>
                  <a:pt x="26" y="40"/>
                  <a:pt x="30" y="31"/>
                  <a:pt x="20" y="44"/>
                </a:cubicBezTo>
                <a:cubicBezTo>
                  <a:pt x="11" y="58"/>
                  <a:pt x="5" y="47"/>
                  <a:pt x="3" y="58"/>
                </a:cubicBezTo>
                <a:cubicBezTo>
                  <a:pt x="0" y="69"/>
                  <a:pt x="5" y="78"/>
                  <a:pt x="16" y="71"/>
                </a:cubicBezTo>
                <a:cubicBezTo>
                  <a:pt x="27" y="65"/>
                  <a:pt x="26" y="56"/>
                  <a:pt x="38" y="59"/>
                </a:cubicBezTo>
                <a:cubicBezTo>
                  <a:pt x="50" y="62"/>
                  <a:pt x="47" y="65"/>
                  <a:pt x="54" y="63"/>
                </a:cubicBezTo>
                <a:cubicBezTo>
                  <a:pt x="61" y="62"/>
                  <a:pt x="73" y="61"/>
                  <a:pt x="66" y="77"/>
                </a:cubicBezTo>
                <a:cubicBezTo>
                  <a:pt x="59" y="93"/>
                  <a:pt x="51" y="109"/>
                  <a:pt x="59" y="111"/>
                </a:cubicBezTo>
                <a:cubicBezTo>
                  <a:pt x="67" y="112"/>
                  <a:pt x="70" y="93"/>
                  <a:pt x="80" y="107"/>
                </a:cubicBezTo>
                <a:cubicBezTo>
                  <a:pt x="89" y="120"/>
                  <a:pt x="89" y="113"/>
                  <a:pt x="96" y="107"/>
                </a:cubicBezTo>
                <a:cubicBezTo>
                  <a:pt x="103" y="100"/>
                  <a:pt x="103" y="86"/>
                  <a:pt x="96" y="84"/>
                </a:cubicBezTo>
                <a:cubicBezTo>
                  <a:pt x="89" y="81"/>
                  <a:pt x="81" y="71"/>
                  <a:pt x="89" y="69"/>
                </a:cubicBezTo>
                <a:cubicBezTo>
                  <a:pt x="97" y="66"/>
                  <a:pt x="103" y="51"/>
                  <a:pt x="104" y="63"/>
                </a:cubicBezTo>
                <a:cubicBezTo>
                  <a:pt x="105" y="75"/>
                  <a:pt x="104" y="89"/>
                  <a:pt x="109" y="84"/>
                </a:cubicBezTo>
                <a:cubicBezTo>
                  <a:pt x="115" y="78"/>
                  <a:pt x="111" y="63"/>
                  <a:pt x="111" y="52"/>
                </a:cubicBezTo>
                <a:cubicBezTo>
                  <a:pt x="111" y="42"/>
                  <a:pt x="113" y="24"/>
                  <a:pt x="113" y="24"/>
                </a:cubicBezTo>
                <a:cubicBezTo>
                  <a:pt x="113" y="24"/>
                  <a:pt x="115" y="0"/>
                  <a:pt x="105" y="8"/>
                </a:cubicBezTo>
                <a:cubicBezTo>
                  <a:pt x="96" y="16"/>
                  <a:pt x="89" y="8"/>
                  <a:pt x="86" y="17"/>
                </a:cubicBezTo>
                <a:cubicBezTo>
                  <a:pt x="84" y="27"/>
                  <a:pt x="73" y="33"/>
                  <a:pt x="69" y="36"/>
                </a:cubicBezTo>
                <a:cubicBezTo>
                  <a:pt x="65" y="39"/>
                  <a:pt x="65" y="27"/>
                  <a:pt x="61" y="29"/>
                </a:cubicBezTo>
                <a:cubicBezTo>
                  <a:pt x="57" y="32"/>
                  <a:pt x="55" y="37"/>
                  <a:pt x="55" y="3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69" name="Freeform 605"/>
          <p:cNvSpPr>
            <a:spLocks/>
          </p:cNvSpPr>
          <p:nvPr userDrawn="1"/>
        </p:nvSpPr>
        <p:spPr bwMode="auto">
          <a:xfrm>
            <a:off x="7624725" y="3518839"/>
            <a:ext cx="790644" cy="396997"/>
          </a:xfrm>
          <a:custGeom>
            <a:avLst/>
            <a:gdLst>
              <a:gd name="T0" fmla="*/ 2147483646 w 847"/>
              <a:gd name="T1" fmla="*/ 2147483646 h 426"/>
              <a:gd name="T2" fmla="*/ 2147483646 w 847"/>
              <a:gd name="T3" fmla="*/ 2147483646 h 426"/>
              <a:gd name="T4" fmla="*/ 2147483646 w 847"/>
              <a:gd name="T5" fmla="*/ 2147483646 h 426"/>
              <a:gd name="T6" fmla="*/ 2147483646 w 847"/>
              <a:gd name="T7" fmla="*/ 2147483646 h 426"/>
              <a:gd name="T8" fmla="*/ 2147483646 w 847"/>
              <a:gd name="T9" fmla="*/ 2147483646 h 426"/>
              <a:gd name="T10" fmla="*/ 2147483646 w 847"/>
              <a:gd name="T11" fmla="*/ 2147483646 h 426"/>
              <a:gd name="T12" fmla="*/ 2147483646 w 847"/>
              <a:gd name="T13" fmla="*/ 2147483646 h 426"/>
              <a:gd name="T14" fmla="*/ 2147483646 w 847"/>
              <a:gd name="T15" fmla="*/ 2147483646 h 426"/>
              <a:gd name="T16" fmla="*/ 2147483646 w 847"/>
              <a:gd name="T17" fmla="*/ 2147483646 h 426"/>
              <a:gd name="T18" fmla="*/ 2147483646 w 847"/>
              <a:gd name="T19" fmla="*/ 2147483646 h 426"/>
              <a:gd name="T20" fmla="*/ 2147483646 w 847"/>
              <a:gd name="T21" fmla="*/ 2147483646 h 426"/>
              <a:gd name="T22" fmla="*/ 2147483646 w 847"/>
              <a:gd name="T23" fmla="*/ 2147483646 h 426"/>
              <a:gd name="T24" fmla="*/ 2147483646 w 847"/>
              <a:gd name="T25" fmla="*/ 2147483646 h 426"/>
              <a:gd name="T26" fmla="*/ 2147483646 w 847"/>
              <a:gd name="T27" fmla="*/ 2147483646 h 426"/>
              <a:gd name="T28" fmla="*/ 2147483646 w 847"/>
              <a:gd name="T29" fmla="*/ 2147483646 h 426"/>
              <a:gd name="T30" fmla="*/ 2147483646 w 847"/>
              <a:gd name="T31" fmla="*/ 2147483646 h 426"/>
              <a:gd name="T32" fmla="*/ 2147483646 w 847"/>
              <a:gd name="T33" fmla="*/ 2147483646 h 426"/>
              <a:gd name="T34" fmla="*/ 2147483646 w 847"/>
              <a:gd name="T35" fmla="*/ 2147483646 h 426"/>
              <a:gd name="T36" fmla="*/ 2147483646 w 847"/>
              <a:gd name="T37" fmla="*/ 2147483646 h 426"/>
              <a:gd name="T38" fmla="*/ 2147483646 w 847"/>
              <a:gd name="T39" fmla="*/ 2147483646 h 426"/>
              <a:gd name="T40" fmla="*/ 2147483646 w 847"/>
              <a:gd name="T41" fmla="*/ 2147483646 h 426"/>
              <a:gd name="T42" fmla="*/ 2147483646 w 847"/>
              <a:gd name="T43" fmla="*/ 2147483646 h 426"/>
              <a:gd name="T44" fmla="*/ 2147483646 w 847"/>
              <a:gd name="T45" fmla="*/ 2147483646 h 426"/>
              <a:gd name="T46" fmla="*/ 2147483646 w 847"/>
              <a:gd name="T47" fmla="*/ 2147483646 h 426"/>
              <a:gd name="T48" fmla="*/ 2147483646 w 847"/>
              <a:gd name="T49" fmla="*/ 2147483646 h 426"/>
              <a:gd name="T50" fmla="*/ 2147483646 w 847"/>
              <a:gd name="T51" fmla="*/ 2147483646 h 426"/>
              <a:gd name="T52" fmla="*/ 2147483646 w 847"/>
              <a:gd name="T53" fmla="*/ 2147483646 h 426"/>
              <a:gd name="T54" fmla="*/ 2147483646 w 847"/>
              <a:gd name="T55" fmla="*/ 2147483646 h 426"/>
              <a:gd name="T56" fmla="*/ 2147483646 w 847"/>
              <a:gd name="T57" fmla="*/ 2147483646 h 426"/>
              <a:gd name="T58" fmla="*/ 2147483646 w 847"/>
              <a:gd name="T59" fmla="*/ 2147483646 h 426"/>
              <a:gd name="T60" fmla="*/ 2147483646 w 847"/>
              <a:gd name="T61" fmla="*/ 2147483646 h 426"/>
              <a:gd name="T62" fmla="*/ 2147483646 w 847"/>
              <a:gd name="T63" fmla="*/ 2147483646 h 426"/>
              <a:gd name="T64" fmla="*/ 2147483646 w 847"/>
              <a:gd name="T65" fmla="*/ 2147483646 h 426"/>
              <a:gd name="T66" fmla="*/ 2147483646 w 847"/>
              <a:gd name="T67" fmla="*/ 2147483646 h 426"/>
              <a:gd name="T68" fmla="*/ 2147483646 w 847"/>
              <a:gd name="T69" fmla="*/ 2147483646 h 426"/>
              <a:gd name="T70" fmla="*/ 2147483646 w 847"/>
              <a:gd name="T71" fmla="*/ 2147483646 h 426"/>
              <a:gd name="T72" fmla="*/ 2147483646 w 847"/>
              <a:gd name="T73" fmla="*/ 2147483646 h 426"/>
              <a:gd name="T74" fmla="*/ 2147483646 w 847"/>
              <a:gd name="T75" fmla="*/ 2147483646 h 426"/>
              <a:gd name="T76" fmla="*/ 2147483646 w 847"/>
              <a:gd name="T77" fmla="*/ 2147483646 h 426"/>
              <a:gd name="T78" fmla="*/ 2147483646 w 847"/>
              <a:gd name="T79" fmla="*/ 2147483646 h 426"/>
              <a:gd name="T80" fmla="*/ 2147483646 w 847"/>
              <a:gd name="T81" fmla="*/ 2147483646 h 426"/>
              <a:gd name="T82" fmla="*/ 2147483646 w 847"/>
              <a:gd name="T83" fmla="*/ 2147483646 h 426"/>
              <a:gd name="T84" fmla="*/ 2147483646 w 847"/>
              <a:gd name="T85" fmla="*/ 2147483646 h 426"/>
              <a:gd name="T86" fmla="*/ 0 w 847"/>
              <a:gd name="T87" fmla="*/ 2147483646 h 4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847"/>
              <a:gd name="T133" fmla="*/ 0 h 426"/>
              <a:gd name="T134" fmla="*/ 847 w 847"/>
              <a:gd name="T135" fmla="*/ 426 h 42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847" h="426">
                <a:moveTo>
                  <a:pt x="0" y="116"/>
                </a:moveTo>
                <a:cubicBezTo>
                  <a:pt x="0" y="116"/>
                  <a:pt x="11" y="124"/>
                  <a:pt x="14" y="132"/>
                </a:cubicBezTo>
                <a:cubicBezTo>
                  <a:pt x="17" y="140"/>
                  <a:pt x="42" y="152"/>
                  <a:pt x="42" y="152"/>
                </a:cubicBezTo>
                <a:cubicBezTo>
                  <a:pt x="42" y="152"/>
                  <a:pt x="71" y="165"/>
                  <a:pt x="86" y="179"/>
                </a:cubicBezTo>
                <a:cubicBezTo>
                  <a:pt x="102" y="193"/>
                  <a:pt x="109" y="219"/>
                  <a:pt x="109" y="219"/>
                </a:cubicBezTo>
                <a:cubicBezTo>
                  <a:pt x="103" y="244"/>
                  <a:pt x="103" y="244"/>
                  <a:pt x="103" y="244"/>
                </a:cubicBezTo>
                <a:cubicBezTo>
                  <a:pt x="103" y="244"/>
                  <a:pt x="107" y="261"/>
                  <a:pt x="119" y="269"/>
                </a:cubicBezTo>
                <a:cubicBezTo>
                  <a:pt x="131" y="277"/>
                  <a:pt x="147" y="278"/>
                  <a:pt x="147" y="278"/>
                </a:cubicBezTo>
                <a:cubicBezTo>
                  <a:pt x="180" y="291"/>
                  <a:pt x="180" y="291"/>
                  <a:pt x="180" y="291"/>
                </a:cubicBezTo>
                <a:cubicBezTo>
                  <a:pt x="201" y="308"/>
                  <a:pt x="201" y="308"/>
                  <a:pt x="201" y="308"/>
                </a:cubicBezTo>
                <a:cubicBezTo>
                  <a:pt x="201" y="308"/>
                  <a:pt x="219" y="330"/>
                  <a:pt x="225" y="337"/>
                </a:cubicBezTo>
                <a:cubicBezTo>
                  <a:pt x="231" y="344"/>
                  <a:pt x="239" y="354"/>
                  <a:pt x="239" y="354"/>
                </a:cubicBezTo>
                <a:cubicBezTo>
                  <a:pt x="259" y="370"/>
                  <a:pt x="259" y="370"/>
                  <a:pt x="259" y="370"/>
                </a:cubicBezTo>
                <a:cubicBezTo>
                  <a:pt x="259" y="370"/>
                  <a:pt x="283" y="375"/>
                  <a:pt x="298" y="372"/>
                </a:cubicBezTo>
                <a:cubicBezTo>
                  <a:pt x="312" y="370"/>
                  <a:pt x="319" y="382"/>
                  <a:pt x="319" y="382"/>
                </a:cubicBezTo>
                <a:cubicBezTo>
                  <a:pt x="319" y="382"/>
                  <a:pt x="340" y="377"/>
                  <a:pt x="344" y="362"/>
                </a:cubicBezTo>
                <a:cubicBezTo>
                  <a:pt x="349" y="347"/>
                  <a:pt x="364" y="358"/>
                  <a:pt x="364" y="358"/>
                </a:cubicBezTo>
                <a:cubicBezTo>
                  <a:pt x="364" y="358"/>
                  <a:pt x="369" y="365"/>
                  <a:pt x="373" y="372"/>
                </a:cubicBezTo>
                <a:cubicBezTo>
                  <a:pt x="376" y="379"/>
                  <a:pt x="388" y="383"/>
                  <a:pt x="388" y="383"/>
                </a:cubicBezTo>
                <a:cubicBezTo>
                  <a:pt x="388" y="383"/>
                  <a:pt x="407" y="386"/>
                  <a:pt x="414" y="385"/>
                </a:cubicBezTo>
                <a:cubicBezTo>
                  <a:pt x="421" y="384"/>
                  <a:pt x="433" y="393"/>
                  <a:pt x="433" y="393"/>
                </a:cubicBezTo>
                <a:cubicBezTo>
                  <a:pt x="440" y="410"/>
                  <a:pt x="440" y="410"/>
                  <a:pt x="440" y="410"/>
                </a:cubicBezTo>
                <a:cubicBezTo>
                  <a:pt x="440" y="410"/>
                  <a:pt x="445" y="426"/>
                  <a:pt x="450" y="426"/>
                </a:cubicBezTo>
                <a:cubicBezTo>
                  <a:pt x="455" y="426"/>
                  <a:pt x="461" y="417"/>
                  <a:pt x="459" y="408"/>
                </a:cubicBezTo>
                <a:cubicBezTo>
                  <a:pt x="458" y="398"/>
                  <a:pt x="470" y="388"/>
                  <a:pt x="470" y="388"/>
                </a:cubicBezTo>
                <a:cubicBezTo>
                  <a:pt x="470" y="388"/>
                  <a:pt x="485" y="374"/>
                  <a:pt x="499" y="374"/>
                </a:cubicBezTo>
                <a:cubicBezTo>
                  <a:pt x="513" y="374"/>
                  <a:pt x="530" y="368"/>
                  <a:pt x="530" y="368"/>
                </a:cubicBezTo>
                <a:cubicBezTo>
                  <a:pt x="555" y="357"/>
                  <a:pt x="555" y="357"/>
                  <a:pt x="555" y="357"/>
                </a:cubicBezTo>
                <a:cubicBezTo>
                  <a:pt x="555" y="357"/>
                  <a:pt x="557" y="360"/>
                  <a:pt x="567" y="362"/>
                </a:cubicBezTo>
                <a:cubicBezTo>
                  <a:pt x="577" y="363"/>
                  <a:pt x="586" y="364"/>
                  <a:pt x="586" y="364"/>
                </a:cubicBezTo>
                <a:cubicBezTo>
                  <a:pt x="586" y="364"/>
                  <a:pt x="593" y="357"/>
                  <a:pt x="591" y="345"/>
                </a:cubicBezTo>
                <a:cubicBezTo>
                  <a:pt x="589" y="332"/>
                  <a:pt x="599" y="341"/>
                  <a:pt x="603" y="340"/>
                </a:cubicBezTo>
                <a:cubicBezTo>
                  <a:pt x="607" y="340"/>
                  <a:pt x="616" y="337"/>
                  <a:pt x="622" y="330"/>
                </a:cubicBezTo>
                <a:cubicBezTo>
                  <a:pt x="627" y="323"/>
                  <a:pt x="624" y="309"/>
                  <a:pt x="624" y="309"/>
                </a:cubicBezTo>
                <a:cubicBezTo>
                  <a:pt x="624" y="309"/>
                  <a:pt x="618" y="310"/>
                  <a:pt x="607" y="306"/>
                </a:cubicBezTo>
                <a:cubicBezTo>
                  <a:pt x="596" y="303"/>
                  <a:pt x="617" y="280"/>
                  <a:pt x="617" y="280"/>
                </a:cubicBezTo>
                <a:cubicBezTo>
                  <a:pt x="623" y="286"/>
                  <a:pt x="623" y="286"/>
                  <a:pt x="623" y="286"/>
                </a:cubicBezTo>
                <a:cubicBezTo>
                  <a:pt x="623" y="286"/>
                  <a:pt x="631" y="289"/>
                  <a:pt x="638" y="285"/>
                </a:cubicBezTo>
                <a:cubicBezTo>
                  <a:pt x="645" y="281"/>
                  <a:pt x="652" y="284"/>
                  <a:pt x="656" y="289"/>
                </a:cubicBezTo>
                <a:cubicBezTo>
                  <a:pt x="659" y="294"/>
                  <a:pt x="680" y="295"/>
                  <a:pt x="680" y="295"/>
                </a:cubicBezTo>
                <a:cubicBezTo>
                  <a:pt x="699" y="295"/>
                  <a:pt x="699" y="295"/>
                  <a:pt x="699" y="295"/>
                </a:cubicBezTo>
                <a:cubicBezTo>
                  <a:pt x="699" y="295"/>
                  <a:pt x="702" y="290"/>
                  <a:pt x="702" y="283"/>
                </a:cubicBezTo>
                <a:cubicBezTo>
                  <a:pt x="702" y="276"/>
                  <a:pt x="709" y="281"/>
                  <a:pt x="715" y="278"/>
                </a:cubicBezTo>
                <a:cubicBezTo>
                  <a:pt x="722" y="274"/>
                  <a:pt x="725" y="277"/>
                  <a:pt x="725" y="277"/>
                </a:cubicBezTo>
                <a:cubicBezTo>
                  <a:pt x="725" y="277"/>
                  <a:pt x="729" y="285"/>
                  <a:pt x="738" y="286"/>
                </a:cubicBezTo>
                <a:cubicBezTo>
                  <a:pt x="747" y="286"/>
                  <a:pt x="746" y="287"/>
                  <a:pt x="750" y="280"/>
                </a:cubicBezTo>
                <a:cubicBezTo>
                  <a:pt x="754" y="273"/>
                  <a:pt x="765" y="281"/>
                  <a:pt x="765" y="281"/>
                </a:cubicBezTo>
                <a:cubicBezTo>
                  <a:pt x="765" y="281"/>
                  <a:pt x="770" y="272"/>
                  <a:pt x="770" y="261"/>
                </a:cubicBezTo>
                <a:cubicBezTo>
                  <a:pt x="770" y="250"/>
                  <a:pt x="793" y="252"/>
                  <a:pt x="793" y="252"/>
                </a:cubicBezTo>
                <a:cubicBezTo>
                  <a:pt x="793" y="252"/>
                  <a:pt x="803" y="252"/>
                  <a:pt x="810" y="245"/>
                </a:cubicBezTo>
                <a:cubicBezTo>
                  <a:pt x="817" y="239"/>
                  <a:pt x="841" y="245"/>
                  <a:pt x="841" y="245"/>
                </a:cubicBezTo>
                <a:cubicBezTo>
                  <a:pt x="841" y="245"/>
                  <a:pt x="847" y="235"/>
                  <a:pt x="844" y="223"/>
                </a:cubicBezTo>
                <a:cubicBezTo>
                  <a:pt x="842" y="211"/>
                  <a:pt x="835" y="209"/>
                  <a:pt x="823" y="200"/>
                </a:cubicBezTo>
                <a:cubicBezTo>
                  <a:pt x="810" y="190"/>
                  <a:pt x="813" y="192"/>
                  <a:pt x="810" y="182"/>
                </a:cubicBezTo>
                <a:cubicBezTo>
                  <a:pt x="807" y="171"/>
                  <a:pt x="801" y="174"/>
                  <a:pt x="795" y="175"/>
                </a:cubicBezTo>
                <a:cubicBezTo>
                  <a:pt x="788" y="175"/>
                  <a:pt x="785" y="174"/>
                  <a:pt x="783" y="182"/>
                </a:cubicBezTo>
                <a:cubicBezTo>
                  <a:pt x="781" y="191"/>
                  <a:pt x="767" y="186"/>
                  <a:pt x="763" y="187"/>
                </a:cubicBezTo>
                <a:cubicBezTo>
                  <a:pt x="760" y="188"/>
                  <a:pt x="758" y="191"/>
                  <a:pt x="752" y="182"/>
                </a:cubicBezTo>
                <a:cubicBezTo>
                  <a:pt x="745" y="173"/>
                  <a:pt x="745" y="182"/>
                  <a:pt x="736" y="180"/>
                </a:cubicBezTo>
                <a:cubicBezTo>
                  <a:pt x="727" y="178"/>
                  <a:pt x="726" y="175"/>
                  <a:pt x="727" y="162"/>
                </a:cubicBezTo>
                <a:cubicBezTo>
                  <a:pt x="729" y="149"/>
                  <a:pt x="736" y="155"/>
                  <a:pt x="738" y="146"/>
                </a:cubicBezTo>
                <a:cubicBezTo>
                  <a:pt x="739" y="138"/>
                  <a:pt x="745" y="120"/>
                  <a:pt x="745" y="120"/>
                </a:cubicBezTo>
                <a:cubicBezTo>
                  <a:pt x="738" y="115"/>
                  <a:pt x="727" y="94"/>
                  <a:pt x="727" y="94"/>
                </a:cubicBezTo>
                <a:cubicBezTo>
                  <a:pt x="727" y="94"/>
                  <a:pt x="690" y="96"/>
                  <a:pt x="677" y="91"/>
                </a:cubicBezTo>
                <a:cubicBezTo>
                  <a:pt x="664" y="86"/>
                  <a:pt x="659" y="94"/>
                  <a:pt x="641" y="104"/>
                </a:cubicBezTo>
                <a:cubicBezTo>
                  <a:pt x="623" y="114"/>
                  <a:pt x="608" y="115"/>
                  <a:pt x="594" y="114"/>
                </a:cubicBezTo>
                <a:cubicBezTo>
                  <a:pt x="579" y="112"/>
                  <a:pt x="548" y="117"/>
                  <a:pt x="537" y="109"/>
                </a:cubicBezTo>
                <a:cubicBezTo>
                  <a:pt x="525" y="101"/>
                  <a:pt x="502" y="89"/>
                  <a:pt x="502" y="89"/>
                </a:cubicBezTo>
                <a:cubicBezTo>
                  <a:pt x="502" y="89"/>
                  <a:pt x="496" y="68"/>
                  <a:pt x="485" y="68"/>
                </a:cubicBezTo>
                <a:cubicBezTo>
                  <a:pt x="473" y="68"/>
                  <a:pt x="475" y="55"/>
                  <a:pt x="450" y="68"/>
                </a:cubicBezTo>
                <a:cubicBezTo>
                  <a:pt x="426" y="81"/>
                  <a:pt x="416" y="89"/>
                  <a:pt x="402" y="81"/>
                </a:cubicBezTo>
                <a:cubicBezTo>
                  <a:pt x="387" y="73"/>
                  <a:pt x="371" y="57"/>
                  <a:pt x="371" y="57"/>
                </a:cubicBezTo>
                <a:cubicBezTo>
                  <a:pt x="371" y="57"/>
                  <a:pt x="371" y="32"/>
                  <a:pt x="356" y="18"/>
                </a:cubicBezTo>
                <a:cubicBezTo>
                  <a:pt x="341" y="3"/>
                  <a:pt x="332" y="10"/>
                  <a:pt x="315" y="5"/>
                </a:cubicBezTo>
                <a:cubicBezTo>
                  <a:pt x="299" y="0"/>
                  <a:pt x="288" y="8"/>
                  <a:pt x="288" y="8"/>
                </a:cubicBezTo>
                <a:cubicBezTo>
                  <a:pt x="288" y="8"/>
                  <a:pt x="270" y="50"/>
                  <a:pt x="276" y="60"/>
                </a:cubicBezTo>
                <a:cubicBezTo>
                  <a:pt x="283" y="70"/>
                  <a:pt x="297" y="80"/>
                  <a:pt x="286" y="91"/>
                </a:cubicBezTo>
                <a:cubicBezTo>
                  <a:pt x="275" y="102"/>
                  <a:pt x="249" y="102"/>
                  <a:pt x="249" y="102"/>
                </a:cubicBezTo>
                <a:cubicBezTo>
                  <a:pt x="249" y="102"/>
                  <a:pt x="227" y="101"/>
                  <a:pt x="205" y="94"/>
                </a:cubicBezTo>
                <a:cubicBezTo>
                  <a:pt x="182" y="88"/>
                  <a:pt x="167" y="86"/>
                  <a:pt x="167" y="86"/>
                </a:cubicBezTo>
                <a:cubicBezTo>
                  <a:pt x="167" y="86"/>
                  <a:pt x="164" y="72"/>
                  <a:pt x="157" y="68"/>
                </a:cubicBezTo>
                <a:cubicBezTo>
                  <a:pt x="151" y="65"/>
                  <a:pt x="140" y="62"/>
                  <a:pt x="140" y="62"/>
                </a:cubicBezTo>
                <a:cubicBezTo>
                  <a:pt x="140" y="62"/>
                  <a:pt x="131" y="75"/>
                  <a:pt x="117" y="67"/>
                </a:cubicBezTo>
                <a:cubicBezTo>
                  <a:pt x="102" y="59"/>
                  <a:pt x="89" y="55"/>
                  <a:pt x="89" y="55"/>
                </a:cubicBezTo>
                <a:cubicBezTo>
                  <a:pt x="89" y="55"/>
                  <a:pt x="68" y="76"/>
                  <a:pt x="58" y="86"/>
                </a:cubicBezTo>
                <a:cubicBezTo>
                  <a:pt x="48" y="96"/>
                  <a:pt x="22" y="96"/>
                  <a:pt x="22" y="96"/>
                </a:cubicBezTo>
                <a:cubicBezTo>
                  <a:pt x="0" y="115"/>
                  <a:pt x="0" y="115"/>
                  <a:pt x="0" y="115"/>
                </a:cubicBezTo>
                <a:lnTo>
                  <a:pt x="0" y="1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70" name="Freeform 606"/>
          <p:cNvSpPr>
            <a:spLocks/>
          </p:cNvSpPr>
          <p:nvPr userDrawn="1"/>
        </p:nvSpPr>
        <p:spPr bwMode="auto">
          <a:xfrm>
            <a:off x="6768752" y="3857209"/>
            <a:ext cx="348419" cy="268015"/>
          </a:xfrm>
          <a:custGeom>
            <a:avLst/>
            <a:gdLst>
              <a:gd name="T0" fmla="*/ 2147483646 w 374"/>
              <a:gd name="T1" fmla="*/ 2147483646 h 288"/>
              <a:gd name="T2" fmla="*/ 2147483646 w 374"/>
              <a:gd name="T3" fmla="*/ 2147483646 h 288"/>
              <a:gd name="T4" fmla="*/ 2147483646 w 374"/>
              <a:gd name="T5" fmla="*/ 2147483646 h 288"/>
              <a:gd name="T6" fmla="*/ 2147483646 w 374"/>
              <a:gd name="T7" fmla="*/ 2147483646 h 288"/>
              <a:gd name="T8" fmla="*/ 2147483646 w 374"/>
              <a:gd name="T9" fmla="*/ 2147483646 h 288"/>
              <a:gd name="T10" fmla="*/ 2147483646 w 374"/>
              <a:gd name="T11" fmla="*/ 2147483646 h 288"/>
              <a:gd name="T12" fmla="*/ 2147483646 w 374"/>
              <a:gd name="T13" fmla="*/ 2147483646 h 288"/>
              <a:gd name="T14" fmla="*/ 2147483646 w 374"/>
              <a:gd name="T15" fmla="*/ 2147483646 h 288"/>
              <a:gd name="T16" fmla="*/ 2147483646 w 374"/>
              <a:gd name="T17" fmla="*/ 2147483646 h 288"/>
              <a:gd name="T18" fmla="*/ 2147483646 w 374"/>
              <a:gd name="T19" fmla="*/ 2147483646 h 288"/>
              <a:gd name="T20" fmla="*/ 2147483646 w 374"/>
              <a:gd name="T21" fmla="*/ 2147483646 h 288"/>
              <a:gd name="T22" fmla="*/ 2147483646 w 374"/>
              <a:gd name="T23" fmla="*/ 2147483646 h 288"/>
              <a:gd name="T24" fmla="*/ 2147483646 w 374"/>
              <a:gd name="T25" fmla="*/ 2147483646 h 288"/>
              <a:gd name="T26" fmla="*/ 2147483646 w 374"/>
              <a:gd name="T27" fmla="*/ 2147483646 h 288"/>
              <a:gd name="T28" fmla="*/ 2147483646 w 374"/>
              <a:gd name="T29" fmla="*/ 2147483646 h 288"/>
              <a:gd name="T30" fmla="*/ 2147483646 w 374"/>
              <a:gd name="T31" fmla="*/ 2147483646 h 288"/>
              <a:gd name="T32" fmla="*/ 2147483646 w 374"/>
              <a:gd name="T33" fmla="*/ 2147483646 h 288"/>
              <a:gd name="T34" fmla="*/ 2147483646 w 374"/>
              <a:gd name="T35" fmla="*/ 2147483646 h 288"/>
              <a:gd name="T36" fmla="*/ 2147483646 w 374"/>
              <a:gd name="T37" fmla="*/ 2147483646 h 288"/>
              <a:gd name="T38" fmla="*/ 2147483646 w 374"/>
              <a:gd name="T39" fmla="*/ 2147483646 h 288"/>
              <a:gd name="T40" fmla="*/ 2147483646 w 374"/>
              <a:gd name="T41" fmla="*/ 2147483646 h 288"/>
              <a:gd name="T42" fmla="*/ 2147483646 w 374"/>
              <a:gd name="T43" fmla="*/ 2147483646 h 288"/>
              <a:gd name="T44" fmla="*/ 2147483646 w 374"/>
              <a:gd name="T45" fmla="*/ 2147483646 h 288"/>
              <a:gd name="T46" fmla="*/ 2147483646 w 374"/>
              <a:gd name="T47" fmla="*/ 2147483646 h 288"/>
              <a:gd name="T48" fmla="*/ 2147483646 w 374"/>
              <a:gd name="T49" fmla="*/ 2147483646 h 288"/>
              <a:gd name="T50" fmla="*/ 2147483646 w 374"/>
              <a:gd name="T51" fmla="*/ 2147483646 h 288"/>
              <a:gd name="T52" fmla="*/ 2147483646 w 374"/>
              <a:gd name="T53" fmla="*/ 2147483646 h 288"/>
              <a:gd name="T54" fmla="*/ 2147483646 w 374"/>
              <a:gd name="T55" fmla="*/ 2147483646 h 288"/>
              <a:gd name="T56" fmla="*/ 2147483646 w 374"/>
              <a:gd name="T57" fmla="*/ 2147483646 h 288"/>
              <a:gd name="T58" fmla="*/ 2147483646 w 374"/>
              <a:gd name="T59" fmla="*/ 2147483646 h 288"/>
              <a:gd name="T60" fmla="*/ 2147483646 w 374"/>
              <a:gd name="T61" fmla="*/ 2147483646 h 288"/>
              <a:gd name="T62" fmla="*/ 2147483646 w 374"/>
              <a:gd name="T63" fmla="*/ 2147483646 h 288"/>
              <a:gd name="T64" fmla="*/ 2147483646 w 374"/>
              <a:gd name="T65" fmla="*/ 2147483646 h 288"/>
              <a:gd name="T66" fmla="*/ 2147483646 w 374"/>
              <a:gd name="T67" fmla="*/ 2147483646 h 288"/>
              <a:gd name="T68" fmla="*/ 2147483646 w 374"/>
              <a:gd name="T69" fmla="*/ 2147483646 h 288"/>
              <a:gd name="T70" fmla="*/ 2147483646 w 374"/>
              <a:gd name="T71" fmla="*/ 2147483646 h 288"/>
              <a:gd name="T72" fmla="*/ 2147483646 w 374"/>
              <a:gd name="T73" fmla="*/ 2147483646 h 288"/>
              <a:gd name="T74" fmla="*/ 2147483646 w 374"/>
              <a:gd name="T75" fmla="*/ 2147483646 h 288"/>
              <a:gd name="T76" fmla="*/ 2147483646 w 374"/>
              <a:gd name="T77" fmla="*/ 2147483646 h 288"/>
              <a:gd name="T78" fmla="*/ 2147483646 w 374"/>
              <a:gd name="T79" fmla="*/ 2147483646 h 288"/>
              <a:gd name="T80" fmla="*/ 2147483646 w 374"/>
              <a:gd name="T81" fmla="*/ 2147483646 h 288"/>
              <a:gd name="T82" fmla="*/ 2147483646 w 374"/>
              <a:gd name="T83" fmla="*/ 2147483646 h 288"/>
              <a:gd name="T84" fmla="*/ 2147483646 w 374"/>
              <a:gd name="T85" fmla="*/ 2147483646 h 288"/>
              <a:gd name="T86" fmla="*/ 2147483646 w 374"/>
              <a:gd name="T87" fmla="*/ 2147483646 h 288"/>
              <a:gd name="T88" fmla="*/ 2147483646 w 374"/>
              <a:gd name="T89" fmla="*/ 2147483646 h 288"/>
              <a:gd name="T90" fmla="*/ 2147483646 w 374"/>
              <a:gd name="T91" fmla="*/ 2147483646 h 288"/>
              <a:gd name="T92" fmla="*/ 2147483646 w 374"/>
              <a:gd name="T93" fmla="*/ 2147483646 h 288"/>
              <a:gd name="T94" fmla="*/ 2147483646 w 374"/>
              <a:gd name="T95" fmla="*/ 2147483646 h 288"/>
              <a:gd name="T96" fmla="*/ 2147483646 w 374"/>
              <a:gd name="T97" fmla="*/ 2147483646 h 288"/>
              <a:gd name="T98" fmla="*/ 2147483646 w 374"/>
              <a:gd name="T99" fmla="*/ 2147483646 h 288"/>
              <a:gd name="T100" fmla="*/ 2147483646 w 374"/>
              <a:gd name="T101" fmla="*/ 2147483646 h 288"/>
              <a:gd name="T102" fmla="*/ 2147483646 w 374"/>
              <a:gd name="T103" fmla="*/ 2147483646 h 288"/>
              <a:gd name="T104" fmla="*/ 2147483646 w 374"/>
              <a:gd name="T105" fmla="*/ 2147483646 h 28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74"/>
              <a:gd name="T160" fmla="*/ 0 h 288"/>
              <a:gd name="T161" fmla="*/ 374 w 374"/>
              <a:gd name="T162" fmla="*/ 288 h 28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74" h="288">
                <a:moveTo>
                  <a:pt x="7" y="2"/>
                </a:moveTo>
                <a:cubicBezTo>
                  <a:pt x="7" y="2"/>
                  <a:pt x="3" y="23"/>
                  <a:pt x="9" y="40"/>
                </a:cubicBezTo>
                <a:cubicBezTo>
                  <a:pt x="15" y="57"/>
                  <a:pt x="24" y="45"/>
                  <a:pt x="22" y="29"/>
                </a:cubicBezTo>
                <a:cubicBezTo>
                  <a:pt x="20" y="12"/>
                  <a:pt x="35" y="27"/>
                  <a:pt x="50" y="14"/>
                </a:cubicBezTo>
                <a:cubicBezTo>
                  <a:pt x="65" y="0"/>
                  <a:pt x="67" y="19"/>
                  <a:pt x="84" y="34"/>
                </a:cubicBezTo>
                <a:cubicBezTo>
                  <a:pt x="101" y="49"/>
                  <a:pt x="105" y="53"/>
                  <a:pt x="112" y="53"/>
                </a:cubicBezTo>
                <a:cubicBezTo>
                  <a:pt x="112" y="53"/>
                  <a:pt x="130" y="62"/>
                  <a:pt x="138" y="63"/>
                </a:cubicBezTo>
                <a:cubicBezTo>
                  <a:pt x="146" y="64"/>
                  <a:pt x="147" y="52"/>
                  <a:pt x="145" y="48"/>
                </a:cubicBezTo>
                <a:cubicBezTo>
                  <a:pt x="144" y="44"/>
                  <a:pt x="158" y="35"/>
                  <a:pt x="169" y="25"/>
                </a:cubicBezTo>
                <a:cubicBezTo>
                  <a:pt x="180" y="15"/>
                  <a:pt x="211" y="41"/>
                  <a:pt x="211" y="41"/>
                </a:cubicBezTo>
                <a:cubicBezTo>
                  <a:pt x="211" y="41"/>
                  <a:pt x="220" y="55"/>
                  <a:pt x="227" y="61"/>
                </a:cubicBezTo>
                <a:cubicBezTo>
                  <a:pt x="235" y="67"/>
                  <a:pt x="239" y="62"/>
                  <a:pt x="248" y="57"/>
                </a:cubicBezTo>
                <a:cubicBezTo>
                  <a:pt x="258" y="52"/>
                  <a:pt x="255" y="60"/>
                  <a:pt x="258" y="67"/>
                </a:cubicBezTo>
                <a:cubicBezTo>
                  <a:pt x="262" y="73"/>
                  <a:pt x="257" y="82"/>
                  <a:pt x="260" y="87"/>
                </a:cubicBezTo>
                <a:cubicBezTo>
                  <a:pt x="262" y="92"/>
                  <a:pt x="272" y="102"/>
                  <a:pt x="272" y="102"/>
                </a:cubicBezTo>
                <a:cubicBezTo>
                  <a:pt x="292" y="122"/>
                  <a:pt x="292" y="122"/>
                  <a:pt x="292" y="122"/>
                </a:cubicBezTo>
                <a:cubicBezTo>
                  <a:pt x="292" y="122"/>
                  <a:pt x="309" y="131"/>
                  <a:pt x="311" y="135"/>
                </a:cubicBezTo>
                <a:cubicBezTo>
                  <a:pt x="314" y="139"/>
                  <a:pt x="340" y="140"/>
                  <a:pt x="343" y="137"/>
                </a:cubicBezTo>
                <a:cubicBezTo>
                  <a:pt x="347" y="135"/>
                  <a:pt x="358" y="137"/>
                  <a:pt x="358" y="137"/>
                </a:cubicBezTo>
                <a:cubicBezTo>
                  <a:pt x="361" y="145"/>
                  <a:pt x="361" y="145"/>
                  <a:pt x="361" y="145"/>
                </a:cubicBezTo>
                <a:cubicBezTo>
                  <a:pt x="361" y="145"/>
                  <a:pt x="359" y="149"/>
                  <a:pt x="348" y="143"/>
                </a:cubicBezTo>
                <a:cubicBezTo>
                  <a:pt x="338" y="137"/>
                  <a:pt x="339" y="154"/>
                  <a:pt x="341" y="158"/>
                </a:cubicBezTo>
                <a:cubicBezTo>
                  <a:pt x="343" y="163"/>
                  <a:pt x="352" y="170"/>
                  <a:pt x="363" y="170"/>
                </a:cubicBezTo>
                <a:cubicBezTo>
                  <a:pt x="374" y="170"/>
                  <a:pt x="368" y="190"/>
                  <a:pt x="368" y="190"/>
                </a:cubicBezTo>
                <a:cubicBezTo>
                  <a:pt x="368" y="190"/>
                  <a:pt x="354" y="195"/>
                  <a:pt x="347" y="197"/>
                </a:cubicBezTo>
                <a:cubicBezTo>
                  <a:pt x="340" y="200"/>
                  <a:pt x="331" y="204"/>
                  <a:pt x="328" y="214"/>
                </a:cubicBezTo>
                <a:cubicBezTo>
                  <a:pt x="326" y="223"/>
                  <a:pt x="325" y="232"/>
                  <a:pt x="316" y="239"/>
                </a:cubicBezTo>
                <a:cubicBezTo>
                  <a:pt x="306" y="246"/>
                  <a:pt x="296" y="245"/>
                  <a:pt x="290" y="250"/>
                </a:cubicBezTo>
                <a:cubicBezTo>
                  <a:pt x="284" y="255"/>
                  <a:pt x="274" y="250"/>
                  <a:pt x="269" y="258"/>
                </a:cubicBezTo>
                <a:cubicBezTo>
                  <a:pt x="263" y="266"/>
                  <a:pt x="259" y="288"/>
                  <a:pt x="250" y="266"/>
                </a:cubicBezTo>
                <a:cubicBezTo>
                  <a:pt x="240" y="245"/>
                  <a:pt x="251" y="238"/>
                  <a:pt x="251" y="238"/>
                </a:cubicBezTo>
                <a:cubicBezTo>
                  <a:pt x="251" y="238"/>
                  <a:pt x="256" y="229"/>
                  <a:pt x="251" y="228"/>
                </a:cubicBezTo>
                <a:cubicBezTo>
                  <a:pt x="246" y="226"/>
                  <a:pt x="230" y="212"/>
                  <a:pt x="219" y="212"/>
                </a:cubicBezTo>
                <a:cubicBezTo>
                  <a:pt x="209" y="212"/>
                  <a:pt x="179" y="197"/>
                  <a:pt x="173" y="192"/>
                </a:cubicBezTo>
                <a:cubicBezTo>
                  <a:pt x="168" y="188"/>
                  <a:pt x="156" y="176"/>
                  <a:pt x="149" y="176"/>
                </a:cubicBezTo>
                <a:cubicBezTo>
                  <a:pt x="142" y="176"/>
                  <a:pt x="129" y="173"/>
                  <a:pt x="121" y="169"/>
                </a:cubicBezTo>
                <a:cubicBezTo>
                  <a:pt x="112" y="165"/>
                  <a:pt x="98" y="170"/>
                  <a:pt x="98" y="170"/>
                </a:cubicBezTo>
                <a:cubicBezTo>
                  <a:pt x="50" y="192"/>
                  <a:pt x="50" y="192"/>
                  <a:pt x="50" y="192"/>
                </a:cubicBezTo>
                <a:cubicBezTo>
                  <a:pt x="50" y="192"/>
                  <a:pt x="53" y="171"/>
                  <a:pt x="53" y="158"/>
                </a:cubicBezTo>
                <a:cubicBezTo>
                  <a:pt x="53" y="146"/>
                  <a:pt x="49" y="131"/>
                  <a:pt x="57" y="127"/>
                </a:cubicBezTo>
                <a:cubicBezTo>
                  <a:pt x="66" y="122"/>
                  <a:pt x="70" y="122"/>
                  <a:pt x="73" y="119"/>
                </a:cubicBezTo>
                <a:cubicBezTo>
                  <a:pt x="75" y="115"/>
                  <a:pt x="76" y="104"/>
                  <a:pt x="66" y="104"/>
                </a:cubicBezTo>
                <a:cubicBezTo>
                  <a:pt x="55" y="104"/>
                  <a:pt x="50" y="96"/>
                  <a:pt x="47" y="102"/>
                </a:cubicBezTo>
                <a:cubicBezTo>
                  <a:pt x="43" y="108"/>
                  <a:pt x="36" y="111"/>
                  <a:pt x="31" y="111"/>
                </a:cubicBezTo>
                <a:cubicBezTo>
                  <a:pt x="27" y="111"/>
                  <a:pt x="15" y="107"/>
                  <a:pt x="15" y="99"/>
                </a:cubicBezTo>
                <a:cubicBezTo>
                  <a:pt x="15" y="90"/>
                  <a:pt x="16" y="80"/>
                  <a:pt x="22" y="77"/>
                </a:cubicBezTo>
                <a:cubicBezTo>
                  <a:pt x="28" y="75"/>
                  <a:pt x="27" y="65"/>
                  <a:pt x="36" y="72"/>
                </a:cubicBezTo>
                <a:cubicBezTo>
                  <a:pt x="46" y="79"/>
                  <a:pt x="54" y="76"/>
                  <a:pt x="60" y="74"/>
                </a:cubicBezTo>
                <a:cubicBezTo>
                  <a:pt x="66" y="72"/>
                  <a:pt x="68" y="65"/>
                  <a:pt x="63" y="59"/>
                </a:cubicBezTo>
                <a:cubicBezTo>
                  <a:pt x="58" y="53"/>
                  <a:pt x="47" y="30"/>
                  <a:pt x="47" y="30"/>
                </a:cubicBezTo>
                <a:cubicBezTo>
                  <a:pt x="47" y="30"/>
                  <a:pt x="35" y="42"/>
                  <a:pt x="28" y="52"/>
                </a:cubicBezTo>
                <a:cubicBezTo>
                  <a:pt x="21" y="61"/>
                  <a:pt x="2" y="59"/>
                  <a:pt x="1" y="41"/>
                </a:cubicBezTo>
                <a:cubicBezTo>
                  <a:pt x="0" y="23"/>
                  <a:pt x="7" y="2"/>
                  <a:pt x="7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71" name="Freeform 607"/>
          <p:cNvSpPr>
            <a:spLocks/>
          </p:cNvSpPr>
          <p:nvPr userDrawn="1"/>
        </p:nvSpPr>
        <p:spPr bwMode="auto">
          <a:xfrm>
            <a:off x="7135597" y="3920861"/>
            <a:ext cx="195987" cy="135683"/>
          </a:xfrm>
          <a:custGeom>
            <a:avLst/>
            <a:gdLst>
              <a:gd name="T0" fmla="*/ 2147483646 w 210"/>
              <a:gd name="T1" fmla="*/ 2147483646 h 144"/>
              <a:gd name="T2" fmla="*/ 2147483646 w 210"/>
              <a:gd name="T3" fmla="*/ 2147483646 h 144"/>
              <a:gd name="T4" fmla="*/ 2147483646 w 210"/>
              <a:gd name="T5" fmla="*/ 2147483646 h 144"/>
              <a:gd name="T6" fmla="*/ 2147483646 w 210"/>
              <a:gd name="T7" fmla="*/ 2147483646 h 144"/>
              <a:gd name="T8" fmla="*/ 2147483646 w 210"/>
              <a:gd name="T9" fmla="*/ 2147483646 h 144"/>
              <a:gd name="T10" fmla="*/ 2147483646 w 210"/>
              <a:gd name="T11" fmla="*/ 2147483646 h 144"/>
              <a:gd name="T12" fmla="*/ 2147483646 w 210"/>
              <a:gd name="T13" fmla="*/ 2147483646 h 144"/>
              <a:gd name="T14" fmla="*/ 2147483646 w 210"/>
              <a:gd name="T15" fmla="*/ 2147483646 h 144"/>
              <a:gd name="T16" fmla="*/ 2147483646 w 210"/>
              <a:gd name="T17" fmla="*/ 2147483646 h 144"/>
              <a:gd name="T18" fmla="*/ 2147483646 w 210"/>
              <a:gd name="T19" fmla="*/ 2147483646 h 144"/>
              <a:gd name="T20" fmla="*/ 2147483646 w 210"/>
              <a:gd name="T21" fmla="*/ 2147483646 h 144"/>
              <a:gd name="T22" fmla="*/ 2147483646 w 210"/>
              <a:gd name="T23" fmla="*/ 2147483646 h 144"/>
              <a:gd name="T24" fmla="*/ 2147483646 w 210"/>
              <a:gd name="T25" fmla="*/ 2147483646 h 144"/>
              <a:gd name="T26" fmla="*/ 2147483646 w 210"/>
              <a:gd name="T27" fmla="*/ 2147483646 h 144"/>
              <a:gd name="T28" fmla="*/ 2147483646 w 210"/>
              <a:gd name="T29" fmla="*/ 2147483646 h 144"/>
              <a:gd name="T30" fmla="*/ 2147483646 w 210"/>
              <a:gd name="T31" fmla="*/ 0 h 144"/>
              <a:gd name="T32" fmla="*/ 2147483646 w 210"/>
              <a:gd name="T33" fmla="*/ 2147483646 h 144"/>
              <a:gd name="T34" fmla="*/ 2147483646 w 210"/>
              <a:gd name="T35" fmla="*/ 2147483646 h 144"/>
              <a:gd name="T36" fmla="*/ 2147483646 w 210"/>
              <a:gd name="T37" fmla="*/ 2147483646 h 144"/>
              <a:gd name="T38" fmla="*/ 2147483646 w 210"/>
              <a:gd name="T39" fmla="*/ 2147483646 h 144"/>
              <a:gd name="T40" fmla="*/ 2147483646 w 210"/>
              <a:gd name="T41" fmla="*/ 2147483646 h 144"/>
              <a:gd name="T42" fmla="*/ 2147483646 w 210"/>
              <a:gd name="T43" fmla="*/ 2147483646 h 144"/>
              <a:gd name="T44" fmla="*/ 2147483646 w 210"/>
              <a:gd name="T45" fmla="*/ 2147483646 h 144"/>
              <a:gd name="T46" fmla="*/ 0 w 210"/>
              <a:gd name="T47" fmla="*/ 2147483646 h 144"/>
              <a:gd name="T48" fmla="*/ 2147483646 w 210"/>
              <a:gd name="T49" fmla="*/ 2147483646 h 144"/>
              <a:gd name="T50" fmla="*/ 2147483646 w 210"/>
              <a:gd name="T51" fmla="*/ 2147483646 h 144"/>
              <a:gd name="T52" fmla="*/ 2147483646 w 210"/>
              <a:gd name="T53" fmla="*/ 2147483646 h 144"/>
              <a:gd name="T54" fmla="*/ 2147483646 w 210"/>
              <a:gd name="T55" fmla="*/ 2147483646 h 144"/>
              <a:gd name="T56" fmla="*/ 2147483646 w 210"/>
              <a:gd name="T57" fmla="*/ 2147483646 h 144"/>
              <a:gd name="T58" fmla="*/ 2147483646 w 210"/>
              <a:gd name="T59" fmla="*/ 2147483646 h 144"/>
              <a:gd name="T60" fmla="*/ 2147483646 w 210"/>
              <a:gd name="T61" fmla="*/ 2147483646 h 144"/>
              <a:gd name="T62" fmla="*/ 2147483646 w 210"/>
              <a:gd name="T63" fmla="*/ 2147483646 h 14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10"/>
              <a:gd name="T97" fmla="*/ 0 h 144"/>
              <a:gd name="T98" fmla="*/ 210 w 210"/>
              <a:gd name="T99" fmla="*/ 144 h 14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10" h="144">
                <a:moveTo>
                  <a:pt x="210" y="125"/>
                </a:moveTo>
                <a:cubicBezTo>
                  <a:pt x="207" y="116"/>
                  <a:pt x="209" y="107"/>
                  <a:pt x="209" y="107"/>
                </a:cubicBezTo>
                <a:cubicBezTo>
                  <a:pt x="209" y="107"/>
                  <a:pt x="208" y="88"/>
                  <a:pt x="201" y="82"/>
                </a:cubicBezTo>
                <a:cubicBezTo>
                  <a:pt x="194" y="77"/>
                  <a:pt x="187" y="82"/>
                  <a:pt x="181" y="78"/>
                </a:cubicBezTo>
                <a:cubicBezTo>
                  <a:pt x="174" y="74"/>
                  <a:pt x="181" y="57"/>
                  <a:pt x="179" y="53"/>
                </a:cubicBezTo>
                <a:cubicBezTo>
                  <a:pt x="178" y="48"/>
                  <a:pt x="166" y="48"/>
                  <a:pt x="166" y="48"/>
                </a:cubicBezTo>
                <a:cubicBezTo>
                  <a:pt x="158" y="53"/>
                  <a:pt x="127" y="47"/>
                  <a:pt x="127" y="47"/>
                </a:cubicBezTo>
                <a:cubicBezTo>
                  <a:pt x="113" y="51"/>
                  <a:pt x="113" y="51"/>
                  <a:pt x="113" y="51"/>
                </a:cubicBezTo>
                <a:cubicBezTo>
                  <a:pt x="113" y="51"/>
                  <a:pt x="103" y="58"/>
                  <a:pt x="96" y="57"/>
                </a:cubicBezTo>
                <a:cubicBezTo>
                  <a:pt x="90" y="56"/>
                  <a:pt x="82" y="57"/>
                  <a:pt x="73" y="56"/>
                </a:cubicBezTo>
                <a:cubicBezTo>
                  <a:pt x="63" y="55"/>
                  <a:pt x="65" y="51"/>
                  <a:pt x="68" y="41"/>
                </a:cubicBezTo>
                <a:cubicBezTo>
                  <a:pt x="70" y="30"/>
                  <a:pt x="76" y="40"/>
                  <a:pt x="77" y="41"/>
                </a:cubicBezTo>
                <a:cubicBezTo>
                  <a:pt x="79" y="41"/>
                  <a:pt x="91" y="37"/>
                  <a:pt x="94" y="36"/>
                </a:cubicBezTo>
                <a:cubicBezTo>
                  <a:pt x="97" y="35"/>
                  <a:pt x="105" y="29"/>
                  <a:pt x="105" y="29"/>
                </a:cubicBezTo>
                <a:cubicBezTo>
                  <a:pt x="105" y="29"/>
                  <a:pt x="87" y="26"/>
                  <a:pt x="95" y="17"/>
                </a:cubicBezTo>
                <a:cubicBezTo>
                  <a:pt x="103" y="8"/>
                  <a:pt x="102" y="0"/>
                  <a:pt x="102" y="0"/>
                </a:cubicBezTo>
                <a:cubicBezTo>
                  <a:pt x="102" y="0"/>
                  <a:pt x="87" y="0"/>
                  <a:pt x="78" y="2"/>
                </a:cubicBezTo>
                <a:cubicBezTo>
                  <a:pt x="69" y="4"/>
                  <a:pt x="58" y="5"/>
                  <a:pt x="58" y="5"/>
                </a:cubicBezTo>
                <a:cubicBezTo>
                  <a:pt x="47" y="28"/>
                  <a:pt x="47" y="28"/>
                  <a:pt x="47" y="28"/>
                </a:cubicBezTo>
                <a:cubicBezTo>
                  <a:pt x="44" y="49"/>
                  <a:pt x="44" y="49"/>
                  <a:pt x="44" y="49"/>
                </a:cubicBezTo>
                <a:cubicBezTo>
                  <a:pt x="44" y="49"/>
                  <a:pt x="26" y="53"/>
                  <a:pt x="19" y="50"/>
                </a:cubicBezTo>
                <a:cubicBezTo>
                  <a:pt x="12" y="48"/>
                  <a:pt x="4" y="58"/>
                  <a:pt x="4" y="58"/>
                </a:cubicBezTo>
                <a:cubicBezTo>
                  <a:pt x="10" y="81"/>
                  <a:pt x="10" y="81"/>
                  <a:pt x="10" y="81"/>
                </a:cubicBezTo>
                <a:cubicBezTo>
                  <a:pt x="10" y="81"/>
                  <a:pt x="0" y="128"/>
                  <a:pt x="0" y="128"/>
                </a:cubicBezTo>
                <a:cubicBezTo>
                  <a:pt x="0" y="128"/>
                  <a:pt x="7" y="135"/>
                  <a:pt x="12" y="134"/>
                </a:cubicBezTo>
                <a:cubicBezTo>
                  <a:pt x="16" y="134"/>
                  <a:pt x="28" y="144"/>
                  <a:pt x="34" y="140"/>
                </a:cubicBezTo>
                <a:cubicBezTo>
                  <a:pt x="40" y="136"/>
                  <a:pt x="65" y="121"/>
                  <a:pt x="69" y="116"/>
                </a:cubicBezTo>
                <a:cubicBezTo>
                  <a:pt x="73" y="111"/>
                  <a:pt x="90" y="98"/>
                  <a:pt x="95" y="107"/>
                </a:cubicBezTo>
                <a:cubicBezTo>
                  <a:pt x="101" y="117"/>
                  <a:pt x="109" y="127"/>
                  <a:pt x="121" y="135"/>
                </a:cubicBezTo>
                <a:cubicBezTo>
                  <a:pt x="134" y="143"/>
                  <a:pt x="149" y="125"/>
                  <a:pt x="154" y="123"/>
                </a:cubicBezTo>
                <a:cubicBezTo>
                  <a:pt x="159" y="121"/>
                  <a:pt x="167" y="129"/>
                  <a:pt x="174" y="132"/>
                </a:cubicBezTo>
                <a:cubicBezTo>
                  <a:pt x="182" y="134"/>
                  <a:pt x="200" y="141"/>
                  <a:pt x="210" y="12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72" name="Freeform 608"/>
          <p:cNvSpPr>
            <a:spLocks/>
          </p:cNvSpPr>
          <p:nvPr userDrawn="1"/>
        </p:nvSpPr>
        <p:spPr bwMode="auto">
          <a:xfrm>
            <a:off x="6969763" y="4012992"/>
            <a:ext cx="361820" cy="266339"/>
          </a:xfrm>
          <a:custGeom>
            <a:avLst/>
            <a:gdLst>
              <a:gd name="T0" fmla="*/ 2147483646 w 387"/>
              <a:gd name="T1" fmla="*/ 2147483646 h 286"/>
              <a:gd name="T2" fmla="*/ 2147483646 w 387"/>
              <a:gd name="T3" fmla="*/ 2147483646 h 286"/>
              <a:gd name="T4" fmla="*/ 2147483646 w 387"/>
              <a:gd name="T5" fmla="*/ 2147483646 h 286"/>
              <a:gd name="T6" fmla="*/ 2147483646 w 387"/>
              <a:gd name="T7" fmla="*/ 2147483646 h 286"/>
              <a:gd name="T8" fmla="*/ 2147483646 w 387"/>
              <a:gd name="T9" fmla="*/ 2147483646 h 286"/>
              <a:gd name="T10" fmla="*/ 2147483646 w 387"/>
              <a:gd name="T11" fmla="*/ 2147483646 h 286"/>
              <a:gd name="T12" fmla="*/ 2147483646 w 387"/>
              <a:gd name="T13" fmla="*/ 2147483646 h 286"/>
              <a:gd name="T14" fmla="*/ 2147483646 w 387"/>
              <a:gd name="T15" fmla="*/ 2147483646 h 286"/>
              <a:gd name="T16" fmla="*/ 2147483646 w 387"/>
              <a:gd name="T17" fmla="*/ 2147483646 h 286"/>
              <a:gd name="T18" fmla="*/ 2147483646 w 387"/>
              <a:gd name="T19" fmla="*/ 2147483646 h 286"/>
              <a:gd name="T20" fmla="*/ 2147483646 w 387"/>
              <a:gd name="T21" fmla="*/ 2147483646 h 286"/>
              <a:gd name="T22" fmla="*/ 2147483646 w 387"/>
              <a:gd name="T23" fmla="*/ 2147483646 h 286"/>
              <a:gd name="T24" fmla="*/ 2147483646 w 387"/>
              <a:gd name="T25" fmla="*/ 2147483646 h 286"/>
              <a:gd name="T26" fmla="*/ 2147483646 w 387"/>
              <a:gd name="T27" fmla="*/ 2147483646 h 286"/>
              <a:gd name="T28" fmla="*/ 2147483646 w 387"/>
              <a:gd name="T29" fmla="*/ 2147483646 h 286"/>
              <a:gd name="T30" fmla="*/ 2147483646 w 387"/>
              <a:gd name="T31" fmla="*/ 2147483646 h 286"/>
              <a:gd name="T32" fmla="*/ 2147483646 w 387"/>
              <a:gd name="T33" fmla="*/ 2147483646 h 286"/>
              <a:gd name="T34" fmla="*/ 2147483646 w 387"/>
              <a:gd name="T35" fmla="*/ 2147483646 h 286"/>
              <a:gd name="T36" fmla="*/ 2147483646 w 387"/>
              <a:gd name="T37" fmla="*/ 2147483646 h 286"/>
              <a:gd name="T38" fmla="*/ 2147483646 w 387"/>
              <a:gd name="T39" fmla="*/ 2147483646 h 286"/>
              <a:gd name="T40" fmla="*/ 2147483646 w 387"/>
              <a:gd name="T41" fmla="*/ 2147483646 h 286"/>
              <a:gd name="T42" fmla="*/ 2147483646 w 387"/>
              <a:gd name="T43" fmla="*/ 2147483646 h 286"/>
              <a:gd name="T44" fmla="*/ 2147483646 w 387"/>
              <a:gd name="T45" fmla="*/ 2147483646 h 286"/>
              <a:gd name="T46" fmla="*/ 2147483646 w 387"/>
              <a:gd name="T47" fmla="*/ 2147483646 h 286"/>
              <a:gd name="T48" fmla="*/ 2147483646 w 387"/>
              <a:gd name="T49" fmla="*/ 2147483646 h 286"/>
              <a:gd name="T50" fmla="*/ 2147483646 w 387"/>
              <a:gd name="T51" fmla="*/ 2147483646 h 286"/>
              <a:gd name="T52" fmla="*/ 2147483646 w 387"/>
              <a:gd name="T53" fmla="*/ 2147483646 h 286"/>
              <a:gd name="T54" fmla="*/ 2147483646 w 387"/>
              <a:gd name="T55" fmla="*/ 2147483646 h 286"/>
              <a:gd name="T56" fmla="*/ 2147483646 w 387"/>
              <a:gd name="T57" fmla="*/ 2147483646 h 286"/>
              <a:gd name="T58" fmla="*/ 2147483646 w 387"/>
              <a:gd name="T59" fmla="*/ 2147483646 h 286"/>
              <a:gd name="T60" fmla="*/ 2147483646 w 387"/>
              <a:gd name="T61" fmla="*/ 2147483646 h 286"/>
              <a:gd name="T62" fmla="*/ 2147483646 w 387"/>
              <a:gd name="T63" fmla="*/ 2147483646 h 286"/>
              <a:gd name="T64" fmla="*/ 2147483646 w 387"/>
              <a:gd name="T65" fmla="*/ 2147483646 h 286"/>
              <a:gd name="T66" fmla="*/ 2147483646 w 387"/>
              <a:gd name="T67" fmla="*/ 2147483646 h 286"/>
              <a:gd name="T68" fmla="*/ 2147483646 w 387"/>
              <a:gd name="T69" fmla="*/ 2147483646 h 286"/>
              <a:gd name="T70" fmla="*/ 2147483646 w 387"/>
              <a:gd name="T71" fmla="*/ 2147483646 h 286"/>
              <a:gd name="T72" fmla="*/ 2147483646 w 387"/>
              <a:gd name="T73" fmla="*/ 2147483646 h 286"/>
              <a:gd name="T74" fmla="*/ 2147483646 w 387"/>
              <a:gd name="T75" fmla="*/ 2147483646 h 286"/>
              <a:gd name="T76" fmla="*/ 2147483646 w 387"/>
              <a:gd name="T77" fmla="*/ 2147483646 h 286"/>
              <a:gd name="T78" fmla="*/ 2147483646 w 387"/>
              <a:gd name="T79" fmla="*/ 2147483646 h 28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87"/>
              <a:gd name="T121" fmla="*/ 0 h 286"/>
              <a:gd name="T122" fmla="*/ 387 w 387"/>
              <a:gd name="T123" fmla="*/ 286 h 28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87" h="286">
                <a:moveTo>
                  <a:pt x="387" y="27"/>
                </a:moveTo>
                <a:cubicBezTo>
                  <a:pt x="377" y="43"/>
                  <a:pt x="359" y="36"/>
                  <a:pt x="351" y="34"/>
                </a:cubicBezTo>
                <a:cubicBezTo>
                  <a:pt x="344" y="31"/>
                  <a:pt x="336" y="23"/>
                  <a:pt x="331" y="25"/>
                </a:cubicBezTo>
                <a:cubicBezTo>
                  <a:pt x="326" y="27"/>
                  <a:pt x="311" y="45"/>
                  <a:pt x="298" y="37"/>
                </a:cubicBezTo>
                <a:cubicBezTo>
                  <a:pt x="286" y="29"/>
                  <a:pt x="278" y="19"/>
                  <a:pt x="272" y="9"/>
                </a:cubicBezTo>
                <a:cubicBezTo>
                  <a:pt x="267" y="0"/>
                  <a:pt x="250" y="13"/>
                  <a:pt x="246" y="18"/>
                </a:cubicBezTo>
                <a:cubicBezTo>
                  <a:pt x="242" y="23"/>
                  <a:pt x="217" y="38"/>
                  <a:pt x="211" y="42"/>
                </a:cubicBezTo>
                <a:cubicBezTo>
                  <a:pt x="205" y="46"/>
                  <a:pt x="193" y="36"/>
                  <a:pt x="189" y="36"/>
                </a:cubicBezTo>
                <a:cubicBezTo>
                  <a:pt x="184" y="37"/>
                  <a:pt x="177" y="30"/>
                  <a:pt x="177" y="30"/>
                </a:cubicBezTo>
                <a:cubicBezTo>
                  <a:pt x="173" y="32"/>
                  <a:pt x="158" y="27"/>
                  <a:pt x="152" y="23"/>
                </a:cubicBezTo>
                <a:cubicBezTo>
                  <a:pt x="152" y="23"/>
                  <a:pt x="138" y="28"/>
                  <a:pt x="131" y="30"/>
                </a:cubicBezTo>
                <a:cubicBezTo>
                  <a:pt x="124" y="33"/>
                  <a:pt x="115" y="37"/>
                  <a:pt x="112" y="47"/>
                </a:cubicBezTo>
                <a:cubicBezTo>
                  <a:pt x="110" y="56"/>
                  <a:pt x="109" y="65"/>
                  <a:pt x="100" y="72"/>
                </a:cubicBezTo>
                <a:cubicBezTo>
                  <a:pt x="90" y="79"/>
                  <a:pt x="80" y="78"/>
                  <a:pt x="74" y="83"/>
                </a:cubicBezTo>
                <a:cubicBezTo>
                  <a:pt x="68" y="88"/>
                  <a:pt x="58" y="83"/>
                  <a:pt x="53" y="91"/>
                </a:cubicBezTo>
                <a:cubicBezTo>
                  <a:pt x="47" y="99"/>
                  <a:pt x="43" y="121"/>
                  <a:pt x="34" y="99"/>
                </a:cubicBezTo>
                <a:cubicBezTo>
                  <a:pt x="24" y="78"/>
                  <a:pt x="35" y="71"/>
                  <a:pt x="35" y="71"/>
                </a:cubicBezTo>
                <a:cubicBezTo>
                  <a:pt x="35" y="71"/>
                  <a:pt x="14" y="86"/>
                  <a:pt x="20" y="104"/>
                </a:cubicBezTo>
                <a:cubicBezTo>
                  <a:pt x="26" y="122"/>
                  <a:pt x="24" y="136"/>
                  <a:pt x="15" y="142"/>
                </a:cubicBezTo>
                <a:cubicBezTo>
                  <a:pt x="6" y="148"/>
                  <a:pt x="0" y="150"/>
                  <a:pt x="4" y="163"/>
                </a:cubicBezTo>
                <a:cubicBezTo>
                  <a:pt x="9" y="176"/>
                  <a:pt x="11" y="187"/>
                  <a:pt x="21" y="199"/>
                </a:cubicBezTo>
                <a:cubicBezTo>
                  <a:pt x="30" y="211"/>
                  <a:pt x="37" y="223"/>
                  <a:pt x="37" y="229"/>
                </a:cubicBezTo>
                <a:cubicBezTo>
                  <a:pt x="37" y="234"/>
                  <a:pt x="38" y="239"/>
                  <a:pt x="31" y="247"/>
                </a:cubicBezTo>
                <a:cubicBezTo>
                  <a:pt x="24" y="256"/>
                  <a:pt x="10" y="266"/>
                  <a:pt x="10" y="266"/>
                </a:cubicBezTo>
                <a:cubicBezTo>
                  <a:pt x="10" y="266"/>
                  <a:pt x="17" y="279"/>
                  <a:pt x="31" y="282"/>
                </a:cubicBezTo>
                <a:cubicBezTo>
                  <a:pt x="46" y="286"/>
                  <a:pt x="95" y="278"/>
                  <a:pt x="112" y="275"/>
                </a:cubicBezTo>
                <a:cubicBezTo>
                  <a:pt x="130" y="273"/>
                  <a:pt x="150" y="272"/>
                  <a:pt x="155" y="263"/>
                </a:cubicBezTo>
                <a:cubicBezTo>
                  <a:pt x="159" y="253"/>
                  <a:pt x="158" y="248"/>
                  <a:pt x="162" y="232"/>
                </a:cubicBezTo>
                <a:cubicBezTo>
                  <a:pt x="165" y="216"/>
                  <a:pt x="168" y="203"/>
                  <a:pt x="177" y="205"/>
                </a:cubicBezTo>
                <a:cubicBezTo>
                  <a:pt x="186" y="207"/>
                  <a:pt x="179" y="205"/>
                  <a:pt x="200" y="200"/>
                </a:cubicBezTo>
                <a:cubicBezTo>
                  <a:pt x="222" y="196"/>
                  <a:pt x="231" y="177"/>
                  <a:pt x="238" y="173"/>
                </a:cubicBezTo>
                <a:cubicBezTo>
                  <a:pt x="245" y="170"/>
                  <a:pt x="254" y="143"/>
                  <a:pt x="257" y="135"/>
                </a:cubicBezTo>
                <a:cubicBezTo>
                  <a:pt x="259" y="126"/>
                  <a:pt x="269" y="119"/>
                  <a:pt x="278" y="117"/>
                </a:cubicBezTo>
                <a:cubicBezTo>
                  <a:pt x="287" y="115"/>
                  <a:pt x="292" y="104"/>
                  <a:pt x="296" y="95"/>
                </a:cubicBezTo>
                <a:cubicBezTo>
                  <a:pt x="299" y="85"/>
                  <a:pt x="301" y="77"/>
                  <a:pt x="296" y="72"/>
                </a:cubicBezTo>
                <a:cubicBezTo>
                  <a:pt x="290" y="68"/>
                  <a:pt x="288" y="59"/>
                  <a:pt x="296" y="58"/>
                </a:cubicBezTo>
                <a:cubicBezTo>
                  <a:pt x="303" y="57"/>
                  <a:pt x="304" y="45"/>
                  <a:pt x="310" y="48"/>
                </a:cubicBezTo>
                <a:cubicBezTo>
                  <a:pt x="315" y="50"/>
                  <a:pt x="320" y="48"/>
                  <a:pt x="328" y="44"/>
                </a:cubicBezTo>
                <a:cubicBezTo>
                  <a:pt x="337" y="41"/>
                  <a:pt x="334" y="38"/>
                  <a:pt x="347" y="43"/>
                </a:cubicBezTo>
                <a:cubicBezTo>
                  <a:pt x="360" y="48"/>
                  <a:pt x="387" y="43"/>
                  <a:pt x="387" y="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73" name="Freeform 609"/>
          <p:cNvSpPr>
            <a:spLocks/>
          </p:cNvSpPr>
          <p:nvPr userDrawn="1"/>
        </p:nvSpPr>
        <p:spPr bwMode="auto">
          <a:xfrm>
            <a:off x="6483987" y="3823706"/>
            <a:ext cx="169184" cy="97156"/>
          </a:xfrm>
          <a:custGeom>
            <a:avLst/>
            <a:gdLst>
              <a:gd name="T0" fmla="*/ 2147483646 w 182"/>
              <a:gd name="T1" fmla="*/ 2147483646 h 104"/>
              <a:gd name="T2" fmla="*/ 2147483646 w 182"/>
              <a:gd name="T3" fmla="*/ 2147483646 h 104"/>
              <a:gd name="T4" fmla="*/ 2147483646 w 182"/>
              <a:gd name="T5" fmla="*/ 2147483646 h 104"/>
              <a:gd name="T6" fmla="*/ 0 w 182"/>
              <a:gd name="T7" fmla="*/ 2147483646 h 104"/>
              <a:gd name="T8" fmla="*/ 2147483646 w 182"/>
              <a:gd name="T9" fmla="*/ 2147483646 h 104"/>
              <a:gd name="T10" fmla="*/ 2147483646 w 182"/>
              <a:gd name="T11" fmla="*/ 2147483646 h 104"/>
              <a:gd name="T12" fmla="*/ 2147483646 w 182"/>
              <a:gd name="T13" fmla="*/ 2147483646 h 104"/>
              <a:gd name="T14" fmla="*/ 2147483646 w 182"/>
              <a:gd name="T15" fmla="*/ 2147483646 h 104"/>
              <a:gd name="T16" fmla="*/ 2147483646 w 182"/>
              <a:gd name="T17" fmla="*/ 2147483646 h 104"/>
              <a:gd name="T18" fmla="*/ 2147483646 w 182"/>
              <a:gd name="T19" fmla="*/ 2147483646 h 104"/>
              <a:gd name="T20" fmla="*/ 2147483646 w 182"/>
              <a:gd name="T21" fmla="*/ 2147483646 h 104"/>
              <a:gd name="T22" fmla="*/ 2147483646 w 182"/>
              <a:gd name="T23" fmla="*/ 2147483646 h 104"/>
              <a:gd name="T24" fmla="*/ 2147483646 w 182"/>
              <a:gd name="T25" fmla="*/ 2147483646 h 10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82"/>
              <a:gd name="T40" fmla="*/ 0 h 104"/>
              <a:gd name="T41" fmla="*/ 182 w 182"/>
              <a:gd name="T42" fmla="*/ 104 h 10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82" h="104">
                <a:moveTo>
                  <a:pt x="180" y="78"/>
                </a:moveTo>
                <a:cubicBezTo>
                  <a:pt x="154" y="55"/>
                  <a:pt x="163" y="42"/>
                  <a:pt x="144" y="41"/>
                </a:cubicBezTo>
                <a:cubicBezTo>
                  <a:pt x="124" y="39"/>
                  <a:pt x="89" y="31"/>
                  <a:pt x="77" y="29"/>
                </a:cubicBezTo>
                <a:cubicBezTo>
                  <a:pt x="66" y="28"/>
                  <a:pt x="28" y="0"/>
                  <a:pt x="0" y="9"/>
                </a:cubicBezTo>
                <a:cubicBezTo>
                  <a:pt x="0" y="9"/>
                  <a:pt x="6" y="23"/>
                  <a:pt x="13" y="27"/>
                </a:cubicBezTo>
                <a:cubicBezTo>
                  <a:pt x="19" y="31"/>
                  <a:pt x="37" y="48"/>
                  <a:pt x="38" y="54"/>
                </a:cubicBezTo>
                <a:cubicBezTo>
                  <a:pt x="39" y="59"/>
                  <a:pt x="20" y="71"/>
                  <a:pt x="27" y="83"/>
                </a:cubicBezTo>
                <a:cubicBezTo>
                  <a:pt x="34" y="94"/>
                  <a:pt x="56" y="98"/>
                  <a:pt x="66" y="97"/>
                </a:cubicBezTo>
                <a:cubicBezTo>
                  <a:pt x="76" y="96"/>
                  <a:pt x="90" y="95"/>
                  <a:pt x="105" y="95"/>
                </a:cubicBezTo>
                <a:cubicBezTo>
                  <a:pt x="120" y="95"/>
                  <a:pt x="118" y="91"/>
                  <a:pt x="130" y="97"/>
                </a:cubicBezTo>
                <a:cubicBezTo>
                  <a:pt x="141" y="104"/>
                  <a:pt x="150" y="104"/>
                  <a:pt x="153" y="100"/>
                </a:cubicBezTo>
                <a:cubicBezTo>
                  <a:pt x="156" y="96"/>
                  <a:pt x="182" y="104"/>
                  <a:pt x="179" y="98"/>
                </a:cubicBezTo>
                <a:cubicBezTo>
                  <a:pt x="176" y="92"/>
                  <a:pt x="180" y="78"/>
                  <a:pt x="180" y="7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74" name="Freeform 610"/>
          <p:cNvSpPr>
            <a:spLocks/>
          </p:cNvSpPr>
          <p:nvPr userDrawn="1"/>
        </p:nvSpPr>
        <p:spPr bwMode="auto">
          <a:xfrm>
            <a:off x="6604594" y="3862234"/>
            <a:ext cx="135681" cy="150759"/>
          </a:xfrm>
          <a:custGeom>
            <a:avLst/>
            <a:gdLst>
              <a:gd name="T0" fmla="*/ 0 w 145"/>
              <a:gd name="T1" fmla="*/ 2147483646 h 163"/>
              <a:gd name="T2" fmla="*/ 2147483646 w 145"/>
              <a:gd name="T3" fmla="*/ 2147483646 h 163"/>
              <a:gd name="T4" fmla="*/ 2147483646 w 145"/>
              <a:gd name="T5" fmla="*/ 2147483646 h 163"/>
              <a:gd name="T6" fmla="*/ 2147483646 w 145"/>
              <a:gd name="T7" fmla="*/ 2147483646 h 163"/>
              <a:gd name="T8" fmla="*/ 2147483646 w 145"/>
              <a:gd name="T9" fmla="*/ 2147483646 h 163"/>
              <a:gd name="T10" fmla="*/ 2147483646 w 145"/>
              <a:gd name="T11" fmla="*/ 0 h 163"/>
              <a:gd name="T12" fmla="*/ 2147483646 w 145"/>
              <a:gd name="T13" fmla="*/ 2147483646 h 163"/>
              <a:gd name="T14" fmla="*/ 2147483646 w 145"/>
              <a:gd name="T15" fmla="*/ 2147483646 h 163"/>
              <a:gd name="T16" fmla="*/ 2147483646 w 145"/>
              <a:gd name="T17" fmla="*/ 2147483646 h 163"/>
              <a:gd name="T18" fmla="*/ 2147483646 w 145"/>
              <a:gd name="T19" fmla="*/ 2147483646 h 163"/>
              <a:gd name="T20" fmla="*/ 2147483646 w 145"/>
              <a:gd name="T21" fmla="*/ 2147483646 h 163"/>
              <a:gd name="T22" fmla="*/ 2147483646 w 145"/>
              <a:gd name="T23" fmla="*/ 2147483646 h 163"/>
              <a:gd name="T24" fmla="*/ 2147483646 w 145"/>
              <a:gd name="T25" fmla="*/ 2147483646 h 163"/>
              <a:gd name="T26" fmla="*/ 2147483646 w 145"/>
              <a:gd name="T27" fmla="*/ 2147483646 h 163"/>
              <a:gd name="T28" fmla="*/ 2147483646 w 145"/>
              <a:gd name="T29" fmla="*/ 2147483646 h 163"/>
              <a:gd name="T30" fmla="*/ 2147483646 w 145"/>
              <a:gd name="T31" fmla="*/ 2147483646 h 163"/>
              <a:gd name="T32" fmla="*/ 2147483646 w 145"/>
              <a:gd name="T33" fmla="*/ 2147483646 h 163"/>
              <a:gd name="T34" fmla="*/ 2147483646 w 145"/>
              <a:gd name="T35" fmla="*/ 2147483646 h 163"/>
              <a:gd name="T36" fmla="*/ 2147483646 w 145"/>
              <a:gd name="T37" fmla="*/ 2147483646 h 163"/>
              <a:gd name="T38" fmla="*/ 0 w 145"/>
              <a:gd name="T39" fmla="*/ 2147483646 h 16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45"/>
              <a:gd name="T61" fmla="*/ 0 h 163"/>
              <a:gd name="T62" fmla="*/ 145 w 145"/>
              <a:gd name="T63" fmla="*/ 163 h 16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45" h="163">
                <a:moveTo>
                  <a:pt x="0" y="56"/>
                </a:moveTo>
                <a:cubicBezTo>
                  <a:pt x="11" y="63"/>
                  <a:pt x="20" y="63"/>
                  <a:pt x="23" y="59"/>
                </a:cubicBezTo>
                <a:cubicBezTo>
                  <a:pt x="26" y="55"/>
                  <a:pt x="52" y="63"/>
                  <a:pt x="49" y="57"/>
                </a:cubicBezTo>
                <a:cubicBezTo>
                  <a:pt x="46" y="51"/>
                  <a:pt x="50" y="37"/>
                  <a:pt x="50" y="37"/>
                </a:cubicBezTo>
                <a:cubicBezTo>
                  <a:pt x="76" y="60"/>
                  <a:pt x="90" y="47"/>
                  <a:pt x="82" y="37"/>
                </a:cubicBezTo>
                <a:cubicBezTo>
                  <a:pt x="74" y="27"/>
                  <a:pt x="76" y="0"/>
                  <a:pt x="76" y="0"/>
                </a:cubicBezTo>
                <a:cubicBezTo>
                  <a:pt x="76" y="0"/>
                  <a:pt x="89" y="26"/>
                  <a:pt x="97" y="34"/>
                </a:cubicBezTo>
                <a:cubicBezTo>
                  <a:pt x="104" y="43"/>
                  <a:pt x="111" y="59"/>
                  <a:pt x="120" y="64"/>
                </a:cubicBezTo>
                <a:cubicBezTo>
                  <a:pt x="129" y="68"/>
                  <a:pt x="137" y="76"/>
                  <a:pt x="141" y="81"/>
                </a:cubicBezTo>
                <a:cubicBezTo>
                  <a:pt x="145" y="85"/>
                  <a:pt x="136" y="89"/>
                  <a:pt x="132" y="93"/>
                </a:cubicBezTo>
                <a:cubicBezTo>
                  <a:pt x="128" y="97"/>
                  <a:pt x="120" y="95"/>
                  <a:pt x="120" y="105"/>
                </a:cubicBezTo>
                <a:cubicBezTo>
                  <a:pt x="120" y="115"/>
                  <a:pt x="116" y="121"/>
                  <a:pt x="112" y="129"/>
                </a:cubicBezTo>
                <a:cubicBezTo>
                  <a:pt x="109" y="137"/>
                  <a:pt x="109" y="150"/>
                  <a:pt x="109" y="156"/>
                </a:cubicBezTo>
                <a:cubicBezTo>
                  <a:pt x="109" y="163"/>
                  <a:pt x="94" y="160"/>
                  <a:pt x="88" y="156"/>
                </a:cubicBezTo>
                <a:cubicBezTo>
                  <a:pt x="82" y="152"/>
                  <a:pt x="76" y="133"/>
                  <a:pt x="77" y="128"/>
                </a:cubicBezTo>
                <a:cubicBezTo>
                  <a:pt x="78" y="124"/>
                  <a:pt x="80" y="115"/>
                  <a:pt x="71" y="119"/>
                </a:cubicBezTo>
                <a:cubicBezTo>
                  <a:pt x="63" y="124"/>
                  <a:pt x="54" y="128"/>
                  <a:pt x="51" y="124"/>
                </a:cubicBezTo>
                <a:cubicBezTo>
                  <a:pt x="47" y="120"/>
                  <a:pt x="43" y="110"/>
                  <a:pt x="40" y="107"/>
                </a:cubicBezTo>
                <a:cubicBezTo>
                  <a:pt x="38" y="104"/>
                  <a:pt x="19" y="88"/>
                  <a:pt x="16" y="85"/>
                </a:cubicBezTo>
                <a:cubicBezTo>
                  <a:pt x="13" y="82"/>
                  <a:pt x="0" y="56"/>
                  <a:pt x="0" y="5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75" name="Freeform 611"/>
          <p:cNvSpPr>
            <a:spLocks/>
          </p:cNvSpPr>
          <p:nvPr userDrawn="1"/>
        </p:nvSpPr>
        <p:spPr bwMode="auto">
          <a:xfrm>
            <a:off x="6545964" y="3907461"/>
            <a:ext cx="107205" cy="80404"/>
          </a:xfrm>
          <a:custGeom>
            <a:avLst/>
            <a:gdLst>
              <a:gd name="T0" fmla="*/ 2147483646 w 115"/>
              <a:gd name="T1" fmla="*/ 2147483646 h 86"/>
              <a:gd name="T2" fmla="*/ 2147483646 w 115"/>
              <a:gd name="T3" fmla="*/ 2147483646 h 86"/>
              <a:gd name="T4" fmla="*/ 2147483646 w 115"/>
              <a:gd name="T5" fmla="*/ 2147483646 h 86"/>
              <a:gd name="T6" fmla="*/ 2147483646 w 115"/>
              <a:gd name="T7" fmla="*/ 2147483646 h 86"/>
              <a:gd name="T8" fmla="*/ 2147483646 w 115"/>
              <a:gd name="T9" fmla="*/ 2147483646 h 86"/>
              <a:gd name="T10" fmla="*/ 0 w 115"/>
              <a:gd name="T11" fmla="*/ 2147483646 h 86"/>
              <a:gd name="T12" fmla="*/ 2147483646 w 115"/>
              <a:gd name="T13" fmla="*/ 2147483646 h 86"/>
              <a:gd name="T14" fmla="*/ 2147483646 w 115"/>
              <a:gd name="T15" fmla="*/ 2147483646 h 86"/>
              <a:gd name="T16" fmla="*/ 2147483646 w 115"/>
              <a:gd name="T17" fmla="*/ 2147483646 h 86"/>
              <a:gd name="T18" fmla="*/ 2147483646 w 115"/>
              <a:gd name="T19" fmla="*/ 2147483646 h 86"/>
              <a:gd name="T20" fmla="*/ 2147483646 w 115"/>
              <a:gd name="T21" fmla="*/ 2147483646 h 86"/>
              <a:gd name="T22" fmla="*/ 2147483646 w 115"/>
              <a:gd name="T23" fmla="*/ 2147483646 h 8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15"/>
              <a:gd name="T37" fmla="*/ 0 h 86"/>
              <a:gd name="T38" fmla="*/ 115 w 115"/>
              <a:gd name="T39" fmla="*/ 86 h 8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15" h="86">
                <a:moveTo>
                  <a:pt x="115" y="74"/>
                </a:moveTo>
                <a:cubicBezTo>
                  <a:pt x="111" y="70"/>
                  <a:pt x="107" y="60"/>
                  <a:pt x="104" y="57"/>
                </a:cubicBezTo>
                <a:cubicBezTo>
                  <a:pt x="102" y="54"/>
                  <a:pt x="83" y="38"/>
                  <a:pt x="80" y="35"/>
                </a:cubicBezTo>
                <a:cubicBezTo>
                  <a:pt x="77" y="32"/>
                  <a:pt x="64" y="6"/>
                  <a:pt x="64" y="6"/>
                </a:cubicBezTo>
                <a:cubicBezTo>
                  <a:pt x="52" y="0"/>
                  <a:pt x="54" y="4"/>
                  <a:pt x="39" y="4"/>
                </a:cubicBezTo>
                <a:cubicBezTo>
                  <a:pt x="24" y="4"/>
                  <a:pt x="10" y="5"/>
                  <a:pt x="0" y="6"/>
                </a:cubicBezTo>
                <a:cubicBezTo>
                  <a:pt x="0" y="6"/>
                  <a:pt x="13" y="28"/>
                  <a:pt x="20" y="32"/>
                </a:cubicBezTo>
                <a:cubicBezTo>
                  <a:pt x="26" y="35"/>
                  <a:pt x="31" y="43"/>
                  <a:pt x="31" y="54"/>
                </a:cubicBezTo>
                <a:cubicBezTo>
                  <a:pt x="32" y="64"/>
                  <a:pt x="35" y="71"/>
                  <a:pt x="41" y="71"/>
                </a:cubicBezTo>
                <a:cubicBezTo>
                  <a:pt x="47" y="72"/>
                  <a:pt x="50" y="65"/>
                  <a:pt x="60" y="69"/>
                </a:cubicBezTo>
                <a:cubicBezTo>
                  <a:pt x="71" y="74"/>
                  <a:pt x="70" y="74"/>
                  <a:pt x="80" y="78"/>
                </a:cubicBezTo>
                <a:cubicBezTo>
                  <a:pt x="89" y="82"/>
                  <a:pt x="113" y="86"/>
                  <a:pt x="115" y="7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76" name="Freeform 612"/>
          <p:cNvSpPr>
            <a:spLocks/>
          </p:cNvSpPr>
          <p:nvPr userDrawn="1"/>
        </p:nvSpPr>
        <p:spPr bwMode="auto">
          <a:xfrm>
            <a:off x="6581142" y="3969441"/>
            <a:ext cx="455625" cy="405372"/>
          </a:xfrm>
          <a:custGeom>
            <a:avLst/>
            <a:gdLst>
              <a:gd name="T0" fmla="*/ 2147483646 w 489"/>
              <a:gd name="T1" fmla="*/ 2147483646 h 434"/>
              <a:gd name="T2" fmla="*/ 2147483646 w 489"/>
              <a:gd name="T3" fmla="*/ 2147483646 h 434"/>
              <a:gd name="T4" fmla="*/ 2147483646 w 489"/>
              <a:gd name="T5" fmla="*/ 2147483646 h 434"/>
              <a:gd name="T6" fmla="*/ 2147483646 w 489"/>
              <a:gd name="T7" fmla="*/ 2147483646 h 434"/>
              <a:gd name="T8" fmla="*/ 2147483646 w 489"/>
              <a:gd name="T9" fmla="*/ 2147483646 h 434"/>
              <a:gd name="T10" fmla="*/ 2147483646 w 489"/>
              <a:gd name="T11" fmla="*/ 2147483646 h 434"/>
              <a:gd name="T12" fmla="*/ 2147483646 w 489"/>
              <a:gd name="T13" fmla="*/ 2147483646 h 434"/>
              <a:gd name="T14" fmla="*/ 2147483646 w 489"/>
              <a:gd name="T15" fmla="*/ 2147483646 h 434"/>
              <a:gd name="T16" fmla="*/ 2147483646 w 489"/>
              <a:gd name="T17" fmla="*/ 2147483646 h 434"/>
              <a:gd name="T18" fmla="*/ 2147483646 w 489"/>
              <a:gd name="T19" fmla="*/ 2147483646 h 434"/>
              <a:gd name="T20" fmla="*/ 2147483646 w 489"/>
              <a:gd name="T21" fmla="*/ 2147483646 h 434"/>
              <a:gd name="T22" fmla="*/ 2147483646 w 489"/>
              <a:gd name="T23" fmla="*/ 2147483646 h 434"/>
              <a:gd name="T24" fmla="*/ 2147483646 w 489"/>
              <a:gd name="T25" fmla="*/ 2147483646 h 434"/>
              <a:gd name="T26" fmla="*/ 2147483646 w 489"/>
              <a:gd name="T27" fmla="*/ 2147483646 h 434"/>
              <a:gd name="T28" fmla="*/ 2147483646 w 489"/>
              <a:gd name="T29" fmla="*/ 2147483646 h 434"/>
              <a:gd name="T30" fmla="*/ 2147483646 w 489"/>
              <a:gd name="T31" fmla="*/ 2147483646 h 434"/>
              <a:gd name="T32" fmla="*/ 2147483646 w 489"/>
              <a:gd name="T33" fmla="*/ 2147483646 h 434"/>
              <a:gd name="T34" fmla="*/ 2147483646 w 489"/>
              <a:gd name="T35" fmla="*/ 2147483646 h 434"/>
              <a:gd name="T36" fmla="*/ 2147483646 w 489"/>
              <a:gd name="T37" fmla="*/ 2147483646 h 434"/>
              <a:gd name="T38" fmla="*/ 2147483646 w 489"/>
              <a:gd name="T39" fmla="*/ 2147483646 h 434"/>
              <a:gd name="T40" fmla="*/ 2147483646 w 489"/>
              <a:gd name="T41" fmla="*/ 2147483646 h 434"/>
              <a:gd name="T42" fmla="*/ 2147483646 w 489"/>
              <a:gd name="T43" fmla="*/ 2147483646 h 434"/>
              <a:gd name="T44" fmla="*/ 2147483646 w 489"/>
              <a:gd name="T45" fmla="*/ 2147483646 h 434"/>
              <a:gd name="T46" fmla="*/ 2147483646 w 489"/>
              <a:gd name="T47" fmla="*/ 2147483646 h 434"/>
              <a:gd name="T48" fmla="*/ 2147483646 w 489"/>
              <a:gd name="T49" fmla="*/ 2147483646 h 434"/>
              <a:gd name="T50" fmla="*/ 2147483646 w 489"/>
              <a:gd name="T51" fmla="*/ 2147483646 h 434"/>
              <a:gd name="T52" fmla="*/ 2147483646 w 489"/>
              <a:gd name="T53" fmla="*/ 2147483646 h 434"/>
              <a:gd name="T54" fmla="*/ 2147483646 w 489"/>
              <a:gd name="T55" fmla="*/ 2147483646 h 434"/>
              <a:gd name="T56" fmla="*/ 2147483646 w 489"/>
              <a:gd name="T57" fmla="*/ 2147483646 h 434"/>
              <a:gd name="T58" fmla="*/ 2147483646 w 489"/>
              <a:gd name="T59" fmla="*/ 2147483646 h 434"/>
              <a:gd name="T60" fmla="*/ 2147483646 w 489"/>
              <a:gd name="T61" fmla="*/ 2147483646 h 434"/>
              <a:gd name="T62" fmla="*/ 2147483646 w 489"/>
              <a:gd name="T63" fmla="*/ 2147483646 h 434"/>
              <a:gd name="T64" fmla="*/ 2147483646 w 489"/>
              <a:gd name="T65" fmla="*/ 2147483646 h 434"/>
              <a:gd name="T66" fmla="*/ 2147483646 w 489"/>
              <a:gd name="T67" fmla="*/ 2147483646 h 434"/>
              <a:gd name="T68" fmla="*/ 2147483646 w 489"/>
              <a:gd name="T69" fmla="*/ 2147483646 h 434"/>
              <a:gd name="T70" fmla="*/ 2147483646 w 489"/>
              <a:gd name="T71" fmla="*/ 2147483646 h 434"/>
              <a:gd name="T72" fmla="*/ 2147483646 w 489"/>
              <a:gd name="T73" fmla="*/ 2147483646 h 434"/>
              <a:gd name="T74" fmla="*/ 2147483646 w 489"/>
              <a:gd name="T75" fmla="*/ 2147483646 h 434"/>
              <a:gd name="T76" fmla="*/ 2147483646 w 489"/>
              <a:gd name="T77" fmla="*/ 2147483646 h 434"/>
              <a:gd name="T78" fmla="*/ 2147483646 w 489"/>
              <a:gd name="T79" fmla="*/ 2147483646 h 434"/>
              <a:gd name="T80" fmla="*/ 2147483646 w 489"/>
              <a:gd name="T81" fmla="*/ 2147483646 h 434"/>
              <a:gd name="T82" fmla="*/ 2147483646 w 489"/>
              <a:gd name="T83" fmla="*/ 2147483646 h 434"/>
              <a:gd name="T84" fmla="*/ 2147483646 w 489"/>
              <a:gd name="T85" fmla="*/ 2147483646 h 434"/>
              <a:gd name="T86" fmla="*/ 2147483646 w 489"/>
              <a:gd name="T87" fmla="*/ 2147483646 h 434"/>
              <a:gd name="T88" fmla="*/ 2147483646 w 489"/>
              <a:gd name="T89" fmla="*/ 2147483646 h 434"/>
              <a:gd name="T90" fmla="*/ 2147483646 w 489"/>
              <a:gd name="T91" fmla="*/ 2147483646 h 434"/>
              <a:gd name="T92" fmla="*/ 2147483646 w 489"/>
              <a:gd name="T93" fmla="*/ 2147483646 h 434"/>
              <a:gd name="T94" fmla="*/ 2147483646 w 489"/>
              <a:gd name="T95" fmla="*/ 2147483646 h 434"/>
              <a:gd name="T96" fmla="*/ 2147483646 w 489"/>
              <a:gd name="T97" fmla="*/ 2147483646 h 434"/>
              <a:gd name="T98" fmla="*/ 2147483646 w 489"/>
              <a:gd name="T99" fmla="*/ 2147483646 h 434"/>
              <a:gd name="T100" fmla="*/ 2147483646 w 489"/>
              <a:gd name="T101" fmla="*/ 2147483646 h 434"/>
              <a:gd name="T102" fmla="*/ 2147483646 w 489"/>
              <a:gd name="T103" fmla="*/ 2147483646 h 434"/>
              <a:gd name="T104" fmla="*/ 2147483646 w 489"/>
              <a:gd name="T105" fmla="*/ 2147483646 h 434"/>
              <a:gd name="T106" fmla="*/ 2147483646 w 489"/>
              <a:gd name="T107" fmla="*/ 2147483646 h 43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89"/>
              <a:gd name="T163" fmla="*/ 0 h 434"/>
              <a:gd name="T164" fmla="*/ 489 w 489"/>
              <a:gd name="T165" fmla="*/ 434 h 43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89" h="434">
                <a:moveTo>
                  <a:pt x="449" y="329"/>
                </a:moveTo>
                <a:cubicBezTo>
                  <a:pt x="435" y="326"/>
                  <a:pt x="428" y="313"/>
                  <a:pt x="428" y="313"/>
                </a:cubicBezTo>
                <a:cubicBezTo>
                  <a:pt x="428" y="313"/>
                  <a:pt x="442" y="303"/>
                  <a:pt x="449" y="294"/>
                </a:cubicBezTo>
                <a:cubicBezTo>
                  <a:pt x="456" y="286"/>
                  <a:pt x="455" y="281"/>
                  <a:pt x="455" y="276"/>
                </a:cubicBezTo>
                <a:cubicBezTo>
                  <a:pt x="455" y="270"/>
                  <a:pt x="448" y="258"/>
                  <a:pt x="439" y="246"/>
                </a:cubicBezTo>
                <a:cubicBezTo>
                  <a:pt x="429" y="234"/>
                  <a:pt x="427" y="223"/>
                  <a:pt x="422" y="210"/>
                </a:cubicBezTo>
                <a:cubicBezTo>
                  <a:pt x="418" y="197"/>
                  <a:pt x="424" y="195"/>
                  <a:pt x="433" y="189"/>
                </a:cubicBezTo>
                <a:cubicBezTo>
                  <a:pt x="442" y="183"/>
                  <a:pt x="444" y="169"/>
                  <a:pt x="438" y="151"/>
                </a:cubicBezTo>
                <a:cubicBezTo>
                  <a:pt x="432" y="133"/>
                  <a:pt x="453" y="118"/>
                  <a:pt x="453" y="118"/>
                </a:cubicBezTo>
                <a:cubicBezTo>
                  <a:pt x="453" y="118"/>
                  <a:pt x="458" y="109"/>
                  <a:pt x="453" y="108"/>
                </a:cubicBezTo>
                <a:cubicBezTo>
                  <a:pt x="448" y="106"/>
                  <a:pt x="432" y="92"/>
                  <a:pt x="421" y="92"/>
                </a:cubicBezTo>
                <a:cubicBezTo>
                  <a:pt x="411" y="92"/>
                  <a:pt x="381" y="77"/>
                  <a:pt x="375" y="72"/>
                </a:cubicBezTo>
                <a:cubicBezTo>
                  <a:pt x="370" y="68"/>
                  <a:pt x="358" y="56"/>
                  <a:pt x="351" y="56"/>
                </a:cubicBezTo>
                <a:cubicBezTo>
                  <a:pt x="344" y="56"/>
                  <a:pt x="331" y="53"/>
                  <a:pt x="323" y="49"/>
                </a:cubicBezTo>
                <a:cubicBezTo>
                  <a:pt x="314" y="45"/>
                  <a:pt x="300" y="50"/>
                  <a:pt x="300" y="50"/>
                </a:cubicBezTo>
                <a:cubicBezTo>
                  <a:pt x="252" y="72"/>
                  <a:pt x="252" y="72"/>
                  <a:pt x="252" y="72"/>
                </a:cubicBezTo>
                <a:cubicBezTo>
                  <a:pt x="252" y="72"/>
                  <a:pt x="236" y="85"/>
                  <a:pt x="233" y="87"/>
                </a:cubicBezTo>
                <a:cubicBezTo>
                  <a:pt x="229" y="89"/>
                  <a:pt x="218" y="92"/>
                  <a:pt x="213" y="94"/>
                </a:cubicBezTo>
                <a:cubicBezTo>
                  <a:pt x="213" y="94"/>
                  <a:pt x="185" y="96"/>
                  <a:pt x="181" y="95"/>
                </a:cubicBezTo>
                <a:cubicBezTo>
                  <a:pt x="176" y="94"/>
                  <a:pt x="156" y="84"/>
                  <a:pt x="153" y="80"/>
                </a:cubicBezTo>
                <a:cubicBezTo>
                  <a:pt x="150" y="75"/>
                  <a:pt x="135" y="41"/>
                  <a:pt x="135" y="41"/>
                </a:cubicBezTo>
                <a:cubicBezTo>
                  <a:pt x="135" y="48"/>
                  <a:pt x="120" y="45"/>
                  <a:pt x="114" y="41"/>
                </a:cubicBezTo>
                <a:cubicBezTo>
                  <a:pt x="108" y="37"/>
                  <a:pt x="102" y="18"/>
                  <a:pt x="103" y="13"/>
                </a:cubicBezTo>
                <a:cubicBezTo>
                  <a:pt x="104" y="9"/>
                  <a:pt x="106" y="0"/>
                  <a:pt x="97" y="4"/>
                </a:cubicBezTo>
                <a:cubicBezTo>
                  <a:pt x="89" y="9"/>
                  <a:pt x="80" y="13"/>
                  <a:pt x="77" y="9"/>
                </a:cubicBezTo>
                <a:cubicBezTo>
                  <a:pt x="75" y="21"/>
                  <a:pt x="51" y="17"/>
                  <a:pt x="42" y="13"/>
                </a:cubicBezTo>
                <a:cubicBezTo>
                  <a:pt x="32" y="9"/>
                  <a:pt x="33" y="9"/>
                  <a:pt x="22" y="4"/>
                </a:cubicBezTo>
                <a:cubicBezTo>
                  <a:pt x="22" y="4"/>
                  <a:pt x="10" y="18"/>
                  <a:pt x="5" y="19"/>
                </a:cubicBezTo>
                <a:cubicBezTo>
                  <a:pt x="0" y="20"/>
                  <a:pt x="0" y="28"/>
                  <a:pt x="11" y="42"/>
                </a:cubicBezTo>
                <a:cubicBezTo>
                  <a:pt x="23" y="55"/>
                  <a:pt x="16" y="82"/>
                  <a:pt x="12" y="78"/>
                </a:cubicBezTo>
                <a:cubicBezTo>
                  <a:pt x="12" y="78"/>
                  <a:pt x="18" y="95"/>
                  <a:pt x="23" y="101"/>
                </a:cubicBezTo>
                <a:cubicBezTo>
                  <a:pt x="29" y="106"/>
                  <a:pt x="39" y="126"/>
                  <a:pt x="45" y="129"/>
                </a:cubicBezTo>
                <a:cubicBezTo>
                  <a:pt x="50" y="131"/>
                  <a:pt x="54" y="133"/>
                  <a:pt x="57" y="141"/>
                </a:cubicBezTo>
                <a:cubicBezTo>
                  <a:pt x="61" y="148"/>
                  <a:pt x="53" y="165"/>
                  <a:pt x="46" y="173"/>
                </a:cubicBezTo>
                <a:cubicBezTo>
                  <a:pt x="39" y="182"/>
                  <a:pt x="37" y="189"/>
                  <a:pt x="37" y="189"/>
                </a:cubicBezTo>
                <a:cubicBezTo>
                  <a:pt x="37" y="189"/>
                  <a:pt x="55" y="197"/>
                  <a:pt x="61" y="206"/>
                </a:cubicBezTo>
                <a:cubicBezTo>
                  <a:pt x="67" y="216"/>
                  <a:pt x="61" y="217"/>
                  <a:pt x="75" y="230"/>
                </a:cubicBezTo>
                <a:cubicBezTo>
                  <a:pt x="89" y="243"/>
                  <a:pt x="99" y="246"/>
                  <a:pt x="102" y="257"/>
                </a:cubicBezTo>
                <a:cubicBezTo>
                  <a:pt x="106" y="267"/>
                  <a:pt x="107" y="287"/>
                  <a:pt x="109" y="293"/>
                </a:cubicBezTo>
                <a:cubicBezTo>
                  <a:pt x="111" y="299"/>
                  <a:pt x="109" y="300"/>
                  <a:pt x="116" y="301"/>
                </a:cubicBezTo>
                <a:cubicBezTo>
                  <a:pt x="123" y="303"/>
                  <a:pt x="140" y="293"/>
                  <a:pt x="155" y="299"/>
                </a:cubicBezTo>
                <a:cubicBezTo>
                  <a:pt x="170" y="305"/>
                  <a:pt x="177" y="314"/>
                  <a:pt x="182" y="329"/>
                </a:cubicBezTo>
                <a:cubicBezTo>
                  <a:pt x="187" y="345"/>
                  <a:pt x="204" y="364"/>
                  <a:pt x="204" y="364"/>
                </a:cubicBezTo>
                <a:cubicBezTo>
                  <a:pt x="231" y="385"/>
                  <a:pt x="231" y="385"/>
                  <a:pt x="231" y="385"/>
                </a:cubicBezTo>
                <a:cubicBezTo>
                  <a:pt x="231" y="385"/>
                  <a:pt x="246" y="391"/>
                  <a:pt x="262" y="391"/>
                </a:cubicBezTo>
                <a:cubicBezTo>
                  <a:pt x="277" y="391"/>
                  <a:pt x="260" y="391"/>
                  <a:pt x="295" y="391"/>
                </a:cubicBezTo>
                <a:cubicBezTo>
                  <a:pt x="329" y="391"/>
                  <a:pt x="341" y="400"/>
                  <a:pt x="347" y="413"/>
                </a:cubicBezTo>
                <a:cubicBezTo>
                  <a:pt x="353" y="426"/>
                  <a:pt x="354" y="426"/>
                  <a:pt x="370" y="428"/>
                </a:cubicBezTo>
                <a:cubicBezTo>
                  <a:pt x="385" y="430"/>
                  <a:pt x="407" y="425"/>
                  <a:pt x="407" y="425"/>
                </a:cubicBezTo>
                <a:cubicBezTo>
                  <a:pt x="431" y="434"/>
                  <a:pt x="431" y="434"/>
                  <a:pt x="431" y="434"/>
                </a:cubicBezTo>
                <a:cubicBezTo>
                  <a:pt x="431" y="434"/>
                  <a:pt x="451" y="420"/>
                  <a:pt x="459" y="413"/>
                </a:cubicBezTo>
                <a:cubicBezTo>
                  <a:pt x="467" y="406"/>
                  <a:pt x="445" y="410"/>
                  <a:pt x="467" y="391"/>
                </a:cubicBezTo>
                <a:cubicBezTo>
                  <a:pt x="489" y="371"/>
                  <a:pt x="482" y="356"/>
                  <a:pt x="478" y="355"/>
                </a:cubicBezTo>
                <a:lnTo>
                  <a:pt x="449" y="32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77" name="Freeform 613"/>
          <p:cNvSpPr>
            <a:spLocks/>
          </p:cNvSpPr>
          <p:nvPr userDrawn="1"/>
        </p:nvSpPr>
        <p:spPr bwMode="auto">
          <a:xfrm>
            <a:off x="6448810" y="4038117"/>
            <a:ext cx="232839" cy="251264"/>
          </a:xfrm>
          <a:custGeom>
            <a:avLst/>
            <a:gdLst>
              <a:gd name="T0" fmla="*/ 2147483646 w 251"/>
              <a:gd name="T1" fmla="*/ 0 h 270"/>
              <a:gd name="T2" fmla="*/ 2147483646 w 251"/>
              <a:gd name="T3" fmla="*/ 2147483646 h 270"/>
              <a:gd name="T4" fmla="*/ 2147483646 w 251"/>
              <a:gd name="T5" fmla="*/ 2147483646 h 270"/>
              <a:gd name="T6" fmla="*/ 2147483646 w 251"/>
              <a:gd name="T7" fmla="*/ 2147483646 h 270"/>
              <a:gd name="T8" fmla="*/ 2147483646 w 251"/>
              <a:gd name="T9" fmla="*/ 2147483646 h 270"/>
              <a:gd name="T10" fmla="*/ 2147483646 w 251"/>
              <a:gd name="T11" fmla="*/ 2147483646 h 270"/>
              <a:gd name="T12" fmla="*/ 2147483646 w 251"/>
              <a:gd name="T13" fmla="*/ 2147483646 h 270"/>
              <a:gd name="T14" fmla="*/ 2147483646 w 251"/>
              <a:gd name="T15" fmla="*/ 2147483646 h 270"/>
              <a:gd name="T16" fmla="*/ 2147483646 w 251"/>
              <a:gd name="T17" fmla="*/ 2147483646 h 270"/>
              <a:gd name="T18" fmla="*/ 2147483646 w 251"/>
              <a:gd name="T19" fmla="*/ 2147483646 h 270"/>
              <a:gd name="T20" fmla="*/ 2147483646 w 251"/>
              <a:gd name="T21" fmla="*/ 2147483646 h 270"/>
              <a:gd name="T22" fmla="*/ 2147483646 w 251"/>
              <a:gd name="T23" fmla="*/ 2147483646 h 270"/>
              <a:gd name="T24" fmla="*/ 2147483646 w 251"/>
              <a:gd name="T25" fmla="*/ 2147483646 h 270"/>
              <a:gd name="T26" fmla="*/ 2147483646 w 251"/>
              <a:gd name="T27" fmla="*/ 2147483646 h 270"/>
              <a:gd name="T28" fmla="*/ 2147483646 w 251"/>
              <a:gd name="T29" fmla="*/ 2147483646 h 270"/>
              <a:gd name="T30" fmla="*/ 2147483646 w 251"/>
              <a:gd name="T31" fmla="*/ 2147483646 h 270"/>
              <a:gd name="T32" fmla="*/ 2147483646 w 251"/>
              <a:gd name="T33" fmla="*/ 2147483646 h 270"/>
              <a:gd name="T34" fmla="*/ 2147483646 w 251"/>
              <a:gd name="T35" fmla="*/ 2147483646 h 270"/>
              <a:gd name="T36" fmla="*/ 2147483646 w 251"/>
              <a:gd name="T37" fmla="*/ 2147483646 h 270"/>
              <a:gd name="T38" fmla="*/ 2147483646 w 251"/>
              <a:gd name="T39" fmla="*/ 2147483646 h 270"/>
              <a:gd name="T40" fmla="*/ 0 w 251"/>
              <a:gd name="T41" fmla="*/ 2147483646 h 270"/>
              <a:gd name="T42" fmla="*/ 2147483646 w 251"/>
              <a:gd name="T43" fmla="*/ 2147483646 h 270"/>
              <a:gd name="T44" fmla="*/ 2147483646 w 251"/>
              <a:gd name="T45" fmla="*/ 2147483646 h 270"/>
              <a:gd name="T46" fmla="*/ 2147483646 w 251"/>
              <a:gd name="T47" fmla="*/ 2147483646 h 270"/>
              <a:gd name="T48" fmla="*/ 2147483646 w 251"/>
              <a:gd name="T49" fmla="*/ 2147483646 h 270"/>
              <a:gd name="T50" fmla="*/ 2147483646 w 251"/>
              <a:gd name="T51" fmla="*/ 0 h 27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51"/>
              <a:gd name="T79" fmla="*/ 0 h 270"/>
              <a:gd name="T80" fmla="*/ 251 w 251"/>
              <a:gd name="T81" fmla="*/ 270 h 27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51" h="270">
                <a:moveTo>
                  <a:pt x="120" y="0"/>
                </a:moveTo>
                <a:cubicBezTo>
                  <a:pt x="127" y="7"/>
                  <a:pt x="150" y="0"/>
                  <a:pt x="154" y="4"/>
                </a:cubicBezTo>
                <a:cubicBezTo>
                  <a:pt x="154" y="4"/>
                  <a:pt x="160" y="21"/>
                  <a:pt x="165" y="27"/>
                </a:cubicBezTo>
                <a:cubicBezTo>
                  <a:pt x="171" y="32"/>
                  <a:pt x="181" y="52"/>
                  <a:pt x="187" y="55"/>
                </a:cubicBezTo>
                <a:cubicBezTo>
                  <a:pt x="192" y="57"/>
                  <a:pt x="196" y="59"/>
                  <a:pt x="199" y="67"/>
                </a:cubicBezTo>
                <a:cubicBezTo>
                  <a:pt x="203" y="74"/>
                  <a:pt x="195" y="91"/>
                  <a:pt x="188" y="99"/>
                </a:cubicBezTo>
                <a:cubicBezTo>
                  <a:pt x="181" y="108"/>
                  <a:pt x="179" y="115"/>
                  <a:pt x="179" y="115"/>
                </a:cubicBezTo>
                <a:cubicBezTo>
                  <a:pt x="179" y="115"/>
                  <a:pt x="197" y="123"/>
                  <a:pt x="203" y="132"/>
                </a:cubicBezTo>
                <a:cubicBezTo>
                  <a:pt x="209" y="142"/>
                  <a:pt x="203" y="143"/>
                  <a:pt x="217" y="156"/>
                </a:cubicBezTo>
                <a:cubicBezTo>
                  <a:pt x="231" y="169"/>
                  <a:pt x="241" y="172"/>
                  <a:pt x="244" y="183"/>
                </a:cubicBezTo>
                <a:cubicBezTo>
                  <a:pt x="248" y="193"/>
                  <a:pt x="249" y="213"/>
                  <a:pt x="251" y="219"/>
                </a:cubicBezTo>
                <a:cubicBezTo>
                  <a:pt x="251" y="219"/>
                  <a:pt x="246" y="233"/>
                  <a:pt x="239" y="237"/>
                </a:cubicBezTo>
                <a:cubicBezTo>
                  <a:pt x="232" y="240"/>
                  <a:pt x="228" y="245"/>
                  <a:pt x="226" y="254"/>
                </a:cubicBezTo>
                <a:cubicBezTo>
                  <a:pt x="225" y="264"/>
                  <a:pt x="214" y="270"/>
                  <a:pt x="205" y="268"/>
                </a:cubicBezTo>
                <a:cubicBezTo>
                  <a:pt x="197" y="267"/>
                  <a:pt x="185" y="263"/>
                  <a:pt x="172" y="263"/>
                </a:cubicBezTo>
                <a:cubicBezTo>
                  <a:pt x="160" y="263"/>
                  <a:pt x="148" y="260"/>
                  <a:pt x="141" y="253"/>
                </a:cubicBezTo>
                <a:cubicBezTo>
                  <a:pt x="134" y="246"/>
                  <a:pt x="117" y="218"/>
                  <a:pt x="111" y="210"/>
                </a:cubicBezTo>
                <a:cubicBezTo>
                  <a:pt x="106" y="202"/>
                  <a:pt x="95" y="189"/>
                  <a:pt x="90" y="189"/>
                </a:cubicBezTo>
                <a:cubicBezTo>
                  <a:pt x="86" y="189"/>
                  <a:pt x="48" y="167"/>
                  <a:pt x="39" y="167"/>
                </a:cubicBezTo>
                <a:cubicBezTo>
                  <a:pt x="29" y="167"/>
                  <a:pt x="15" y="163"/>
                  <a:pt x="12" y="162"/>
                </a:cubicBezTo>
                <a:cubicBezTo>
                  <a:pt x="8" y="160"/>
                  <a:pt x="0" y="126"/>
                  <a:pt x="0" y="126"/>
                </a:cubicBezTo>
                <a:cubicBezTo>
                  <a:pt x="0" y="126"/>
                  <a:pt x="12" y="118"/>
                  <a:pt x="27" y="110"/>
                </a:cubicBezTo>
                <a:cubicBezTo>
                  <a:pt x="42" y="102"/>
                  <a:pt x="57" y="88"/>
                  <a:pt x="63" y="79"/>
                </a:cubicBezTo>
                <a:cubicBezTo>
                  <a:pt x="69" y="71"/>
                  <a:pt x="76" y="59"/>
                  <a:pt x="77" y="42"/>
                </a:cubicBezTo>
                <a:cubicBezTo>
                  <a:pt x="79" y="24"/>
                  <a:pt x="95" y="9"/>
                  <a:pt x="102" y="11"/>
                </a:cubicBezTo>
                <a:cubicBezTo>
                  <a:pt x="109" y="14"/>
                  <a:pt x="120" y="0"/>
                  <a:pt x="12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78" name="Freeform 614"/>
          <p:cNvSpPr>
            <a:spLocks/>
          </p:cNvSpPr>
          <p:nvPr userDrawn="1"/>
        </p:nvSpPr>
        <p:spPr bwMode="auto">
          <a:xfrm>
            <a:off x="6373431" y="4031418"/>
            <a:ext cx="185935" cy="159135"/>
          </a:xfrm>
          <a:custGeom>
            <a:avLst/>
            <a:gdLst>
              <a:gd name="T0" fmla="*/ 2147483646 w 201"/>
              <a:gd name="T1" fmla="*/ 2147483646 h 170"/>
              <a:gd name="T2" fmla="*/ 2147483646 w 201"/>
              <a:gd name="T3" fmla="*/ 2147483646 h 170"/>
              <a:gd name="T4" fmla="*/ 2147483646 w 201"/>
              <a:gd name="T5" fmla="*/ 2147483646 h 170"/>
              <a:gd name="T6" fmla="*/ 2147483646 w 201"/>
              <a:gd name="T7" fmla="*/ 2147483646 h 170"/>
              <a:gd name="T8" fmla="*/ 2147483646 w 201"/>
              <a:gd name="T9" fmla="*/ 2147483646 h 170"/>
              <a:gd name="T10" fmla="*/ 2147483646 w 201"/>
              <a:gd name="T11" fmla="*/ 2147483646 h 170"/>
              <a:gd name="T12" fmla="*/ 2147483646 w 201"/>
              <a:gd name="T13" fmla="*/ 2147483646 h 170"/>
              <a:gd name="T14" fmla="*/ 2147483646 w 201"/>
              <a:gd name="T15" fmla="*/ 2147483646 h 170"/>
              <a:gd name="T16" fmla="*/ 2147483646 w 201"/>
              <a:gd name="T17" fmla="*/ 2147483646 h 170"/>
              <a:gd name="T18" fmla="*/ 2147483646 w 201"/>
              <a:gd name="T19" fmla="*/ 2147483646 h 170"/>
              <a:gd name="T20" fmla="*/ 2147483646 w 201"/>
              <a:gd name="T21" fmla="*/ 2147483646 h 170"/>
              <a:gd name="T22" fmla="*/ 2147483646 w 201"/>
              <a:gd name="T23" fmla="*/ 2147483646 h 170"/>
              <a:gd name="T24" fmla="*/ 2147483646 w 201"/>
              <a:gd name="T25" fmla="*/ 2147483646 h 170"/>
              <a:gd name="T26" fmla="*/ 2147483646 w 201"/>
              <a:gd name="T27" fmla="*/ 2147483646 h 170"/>
              <a:gd name="T28" fmla="*/ 2147483646 w 201"/>
              <a:gd name="T29" fmla="*/ 2147483646 h 170"/>
              <a:gd name="T30" fmla="*/ 2147483646 w 201"/>
              <a:gd name="T31" fmla="*/ 2147483646 h 170"/>
              <a:gd name="T32" fmla="*/ 2147483646 w 201"/>
              <a:gd name="T33" fmla="*/ 2147483646 h 170"/>
              <a:gd name="T34" fmla="*/ 2147483646 w 201"/>
              <a:gd name="T35" fmla="*/ 2147483646 h 170"/>
              <a:gd name="T36" fmla="*/ 2147483646 w 201"/>
              <a:gd name="T37" fmla="*/ 2147483646 h 170"/>
              <a:gd name="T38" fmla="*/ 2147483646 w 201"/>
              <a:gd name="T39" fmla="*/ 2147483646 h 17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1"/>
              <a:gd name="T61" fmla="*/ 0 h 170"/>
              <a:gd name="T62" fmla="*/ 201 w 201"/>
              <a:gd name="T63" fmla="*/ 170 h 17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1" h="170">
                <a:moveTo>
                  <a:pt x="25" y="44"/>
                </a:moveTo>
                <a:cubicBezTo>
                  <a:pt x="32" y="41"/>
                  <a:pt x="39" y="32"/>
                  <a:pt x="47" y="28"/>
                </a:cubicBezTo>
                <a:cubicBezTo>
                  <a:pt x="55" y="24"/>
                  <a:pt x="51" y="11"/>
                  <a:pt x="64" y="20"/>
                </a:cubicBezTo>
                <a:cubicBezTo>
                  <a:pt x="76" y="29"/>
                  <a:pt x="75" y="17"/>
                  <a:pt x="92" y="17"/>
                </a:cubicBezTo>
                <a:cubicBezTo>
                  <a:pt x="109" y="17"/>
                  <a:pt x="138" y="11"/>
                  <a:pt x="147" y="14"/>
                </a:cubicBezTo>
                <a:cubicBezTo>
                  <a:pt x="155" y="16"/>
                  <a:pt x="165" y="10"/>
                  <a:pt x="177" y="8"/>
                </a:cubicBezTo>
                <a:cubicBezTo>
                  <a:pt x="189" y="7"/>
                  <a:pt x="194" y="0"/>
                  <a:pt x="201" y="7"/>
                </a:cubicBezTo>
                <a:cubicBezTo>
                  <a:pt x="201" y="7"/>
                  <a:pt x="190" y="21"/>
                  <a:pt x="183" y="18"/>
                </a:cubicBezTo>
                <a:cubicBezTo>
                  <a:pt x="176" y="16"/>
                  <a:pt x="160" y="31"/>
                  <a:pt x="158" y="49"/>
                </a:cubicBezTo>
                <a:cubicBezTo>
                  <a:pt x="157" y="66"/>
                  <a:pt x="150" y="78"/>
                  <a:pt x="144" y="86"/>
                </a:cubicBezTo>
                <a:cubicBezTo>
                  <a:pt x="138" y="95"/>
                  <a:pt x="123" y="109"/>
                  <a:pt x="108" y="117"/>
                </a:cubicBezTo>
                <a:cubicBezTo>
                  <a:pt x="93" y="125"/>
                  <a:pt x="81" y="133"/>
                  <a:pt x="81" y="133"/>
                </a:cubicBezTo>
                <a:cubicBezTo>
                  <a:pt x="81" y="133"/>
                  <a:pt x="67" y="140"/>
                  <a:pt x="63" y="145"/>
                </a:cubicBezTo>
                <a:cubicBezTo>
                  <a:pt x="60" y="150"/>
                  <a:pt x="50" y="165"/>
                  <a:pt x="43" y="167"/>
                </a:cubicBezTo>
                <a:cubicBezTo>
                  <a:pt x="36" y="170"/>
                  <a:pt x="25" y="170"/>
                  <a:pt x="21" y="162"/>
                </a:cubicBezTo>
                <a:cubicBezTo>
                  <a:pt x="18" y="153"/>
                  <a:pt x="14" y="136"/>
                  <a:pt x="7" y="137"/>
                </a:cubicBezTo>
                <a:cubicBezTo>
                  <a:pt x="0" y="138"/>
                  <a:pt x="11" y="130"/>
                  <a:pt x="15" y="124"/>
                </a:cubicBezTo>
                <a:cubicBezTo>
                  <a:pt x="20" y="118"/>
                  <a:pt x="30" y="106"/>
                  <a:pt x="25" y="99"/>
                </a:cubicBezTo>
                <a:cubicBezTo>
                  <a:pt x="19" y="92"/>
                  <a:pt x="11" y="90"/>
                  <a:pt x="11" y="90"/>
                </a:cubicBezTo>
                <a:cubicBezTo>
                  <a:pt x="11" y="90"/>
                  <a:pt x="12" y="51"/>
                  <a:pt x="25" y="4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79" name="Freeform 615"/>
          <p:cNvSpPr>
            <a:spLocks/>
          </p:cNvSpPr>
          <p:nvPr userDrawn="1"/>
        </p:nvSpPr>
        <p:spPr bwMode="auto">
          <a:xfrm>
            <a:off x="6371755" y="4115172"/>
            <a:ext cx="28477" cy="43552"/>
          </a:xfrm>
          <a:custGeom>
            <a:avLst/>
            <a:gdLst>
              <a:gd name="T0" fmla="*/ 2147483646 w 31"/>
              <a:gd name="T1" fmla="*/ 0 h 47"/>
              <a:gd name="T2" fmla="*/ 2147483646 w 31"/>
              <a:gd name="T3" fmla="*/ 2147483646 h 47"/>
              <a:gd name="T4" fmla="*/ 2147483646 w 31"/>
              <a:gd name="T5" fmla="*/ 2147483646 h 47"/>
              <a:gd name="T6" fmla="*/ 2147483646 w 31"/>
              <a:gd name="T7" fmla="*/ 0 h 47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47"/>
              <a:gd name="T14" fmla="*/ 31 w 31"/>
              <a:gd name="T15" fmla="*/ 47 h 4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47">
                <a:moveTo>
                  <a:pt x="12" y="0"/>
                </a:moveTo>
                <a:cubicBezTo>
                  <a:pt x="12" y="0"/>
                  <a:pt x="31" y="10"/>
                  <a:pt x="28" y="18"/>
                </a:cubicBezTo>
                <a:cubicBezTo>
                  <a:pt x="25" y="26"/>
                  <a:pt x="5" y="47"/>
                  <a:pt x="5" y="47"/>
                </a:cubicBezTo>
                <a:cubicBezTo>
                  <a:pt x="5" y="47"/>
                  <a:pt x="0" y="16"/>
                  <a:pt x="1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80" name="Freeform 616"/>
          <p:cNvSpPr>
            <a:spLocks/>
          </p:cNvSpPr>
          <p:nvPr userDrawn="1"/>
        </p:nvSpPr>
        <p:spPr bwMode="auto">
          <a:xfrm>
            <a:off x="6334903" y="4150350"/>
            <a:ext cx="41877" cy="110556"/>
          </a:xfrm>
          <a:custGeom>
            <a:avLst/>
            <a:gdLst>
              <a:gd name="T0" fmla="*/ 2147483646 w 44"/>
              <a:gd name="T1" fmla="*/ 2147483646 h 118"/>
              <a:gd name="T2" fmla="*/ 2147483646 w 44"/>
              <a:gd name="T3" fmla="*/ 2147483646 h 118"/>
              <a:gd name="T4" fmla="*/ 2147483646 w 44"/>
              <a:gd name="T5" fmla="*/ 2147483646 h 118"/>
              <a:gd name="T6" fmla="*/ 2147483646 w 44"/>
              <a:gd name="T7" fmla="*/ 2147483646 h 118"/>
              <a:gd name="T8" fmla="*/ 2147483646 w 44"/>
              <a:gd name="T9" fmla="*/ 2147483646 h 118"/>
              <a:gd name="T10" fmla="*/ 2147483646 w 44"/>
              <a:gd name="T11" fmla="*/ 2147483646 h 118"/>
              <a:gd name="T12" fmla="*/ 2147483646 w 44"/>
              <a:gd name="T13" fmla="*/ 2147483646 h 1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4"/>
              <a:gd name="T22" fmla="*/ 0 h 118"/>
              <a:gd name="T23" fmla="*/ 44 w 44"/>
              <a:gd name="T24" fmla="*/ 118 h 1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4" h="118">
                <a:moveTo>
                  <a:pt x="44" y="8"/>
                </a:moveTo>
                <a:cubicBezTo>
                  <a:pt x="44" y="8"/>
                  <a:pt x="21" y="42"/>
                  <a:pt x="27" y="51"/>
                </a:cubicBezTo>
                <a:cubicBezTo>
                  <a:pt x="32" y="61"/>
                  <a:pt x="31" y="107"/>
                  <a:pt x="24" y="118"/>
                </a:cubicBezTo>
                <a:cubicBezTo>
                  <a:pt x="24" y="118"/>
                  <a:pt x="5" y="94"/>
                  <a:pt x="4" y="73"/>
                </a:cubicBezTo>
                <a:cubicBezTo>
                  <a:pt x="2" y="53"/>
                  <a:pt x="0" y="45"/>
                  <a:pt x="8" y="39"/>
                </a:cubicBezTo>
                <a:cubicBezTo>
                  <a:pt x="17" y="32"/>
                  <a:pt x="17" y="29"/>
                  <a:pt x="21" y="20"/>
                </a:cubicBezTo>
                <a:cubicBezTo>
                  <a:pt x="25" y="11"/>
                  <a:pt x="34" y="0"/>
                  <a:pt x="44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81" name="Freeform 617"/>
          <p:cNvSpPr>
            <a:spLocks/>
          </p:cNvSpPr>
          <p:nvPr userDrawn="1"/>
        </p:nvSpPr>
        <p:spPr bwMode="auto">
          <a:xfrm>
            <a:off x="6355004" y="4155375"/>
            <a:ext cx="103856" cy="123957"/>
          </a:xfrm>
          <a:custGeom>
            <a:avLst/>
            <a:gdLst>
              <a:gd name="T0" fmla="*/ 2147483646 w 112"/>
              <a:gd name="T1" fmla="*/ 2147483646 h 133"/>
              <a:gd name="T2" fmla="*/ 2147483646 w 112"/>
              <a:gd name="T3" fmla="*/ 0 h 133"/>
              <a:gd name="T4" fmla="*/ 2147483646 w 112"/>
              <a:gd name="T5" fmla="*/ 2147483646 h 133"/>
              <a:gd name="T6" fmla="*/ 2147483646 w 112"/>
              <a:gd name="T7" fmla="*/ 2147483646 h 133"/>
              <a:gd name="T8" fmla="*/ 2147483646 w 112"/>
              <a:gd name="T9" fmla="*/ 2147483646 h 133"/>
              <a:gd name="T10" fmla="*/ 2147483646 w 112"/>
              <a:gd name="T11" fmla="*/ 2147483646 h 133"/>
              <a:gd name="T12" fmla="*/ 2147483646 w 112"/>
              <a:gd name="T13" fmla="*/ 2147483646 h 133"/>
              <a:gd name="T14" fmla="*/ 2147483646 w 112"/>
              <a:gd name="T15" fmla="*/ 2147483646 h 133"/>
              <a:gd name="T16" fmla="*/ 2147483646 w 112"/>
              <a:gd name="T17" fmla="*/ 2147483646 h 133"/>
              <a:gd name="T18" fmla="*/ 2147483646 w 112"/>
              <a:gd name="T19" fmla="*/ 2147483646 h 133"/>
              <a:gd name="T20" fmla="*/ 2147483646 w 112"/>
              <a:gd name="T21" fmla="*/ 2147483646 h 133"/>
              <a:gd name="T22" fmla="*/ 2147483646 w 112"/>
              <a:gd name="T23" fmla="*/ 2147483646 h 133"/>
              <a:gd name="T24" fmla="*/ 2147483646 w 112"/>
              <a:gd name="T25" fmla="*/ 2147483646 h 133"/>
              <a:gd name="T26" fmla="*/ 2147483646 w 112"/>
              <a:gd name="T27" fmla="*/ 2147483646 h 133"/>
              <a:gd name="T28" fmla="*/ 2147483646 w 112"/>
              <a:gd name="T29" fmla="*/ 2147483646 h 13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12"/>
              <a:gd name="T46" fmla="*/ 0 h 133"/>
              <a:gd name="T47" fmla="*/ 112 w 112"/>
              <a:gd name="T48" fmla="*/ 133 h 13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12" h="133">
                <a:moveTo>
                  <a:pt x="112" y="36"/>
                </a:moveTo>
                <a:cubicBezTo>
                  <a:pt x="108" y="34"/>
                  <a:pt x="100" y="0"/>
                  <a:pt x="100" y="0"/>
                </a:cubicBezTo>
                <a:cubicBezTo>
                  <a:pt x="100" y="0"/>
                  <a:pt x="86" y="7"/>
                  <a:pt x="82" y="12"/>
                </a:cubicBezTo>
                <a:cubicBezTo>
                  <a:pt x="79" y="17"/>
                  <a:pt x="69" y="32"/>
                  <a:pt x="62" y="34"/>
                </a:cubicBezTo>
                <a:cubicBezTo>
                  <a:pt x="55" y="37"/>
                  <a:pt x="44" y="37"/>
                  <a:pt x="40" y="29"/>
                </a:cubicBezTo>
                <a:cubicBezTo>
                  <a:pt x="37" y="20"/>
                  <a:pt x="33" y="3"/>
                  <a:pt x="26" y="4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3"/>
                  <a:pt x="0" y="37"/>
                  <a:pt x="6" y="46"/>
                </a:cubicBezTo>
                <a:cubicBezTo>
                  <a:pt x="11" y="56"/>
                  <a:pt x="10" y="102"/>
                  <a:pt x="3" y="113"/>
                </a:cubicBezTo>
                <a:cubicBezTo>
                  <a:pt x="19" y="130"/>
                  <a:pt x="19" y="130"/>
                  <a:pt x="19" y="130"/>
                </a:cubicBezTo>
                <a:cubicBezTo>
                  <a:pt x="19" y="130"/>
                  <a:pt x="43" y="133"/>
                  <a:pt x="48" y="128"/>
                </a:cubicBezTo>
                <a:cubicBezTo>
                  <a:pt x="53" y="122"/>
                  <a:pt x="68" y="103"/>
                  <a:pt x="72" y="95"/>
                </a:cubicBezTo>
                <a:cubicBezTo>
                  <a:pt x="77" y="87"/>
                  <a:pt x="79" y="85"/>
                  <a:pt x="86" y="83"/>
                </a:cubicBezTo>
                <a:cubicBezTo>
                  <a:pt x="93" y="80"/>
                  <a:pt x="95" y="74"/>
                  <a:pt x="95" y="69"/>
                </a:cubicBezTo>
                <a:cubicBezTo>
                  <a:pt x="95" y="63"/>
                  <a:pt x="106" y="39"/>
                  <a:pt x="112" y="3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82" name="Freeform 618"/>
          <p:cNvSpPr>
            <a:spLocks/>
          </p:cNvSpPr>
          <p:nvPr userDrawn="1"/>
        </p:nvSpPr>
        <p:spPr bwMode="auto">
          <a:xfrm>
            <a:off x="6349979" y="4188876"/>
            <a:ext cx="495828" cy="428824"/>
          </a:xfrm>
          <a:custGeom>
            <a:avLst/>
            <a:gdLst>
              <a:gd name="T0" fmla="*/ 2147483646 w 532"/>
              <a:gd name="T1" fmla="*/ 2147483646 h 459"/>
              <a:gd name="T2" fmla="*/ 2147483646 w 532"/>
              <a:gd name="T3" fmla="*/ 2147483646 h 459"/>
              <a:gd name="T4" fmla="*/ 2147483646 w 532"/>
              <a:gd name="T5" fmla="*/ 2147483646 h 459"/>
              <a:gd name="T6" fmla="*/ 2147483646 w 532"/>
              <a:gd name="T7" fmla="*/ 2147483646 h 459"/>
              <a:gd name="T8" fmla="*/ 2147483646 w 532"/>
              <a:gd name="T9" fmla="*/ 2147483646 h 459"/>
              <a:gd name="T10" fmla="*/ 2147483646 w 532"/>
              <a:gd name="T11" fmla="*/ 2147483646 h 459"/>
              <a:gd name="T12" fmla="*/ 2147483646 w 532"/>
              <a:gd name="T13" fmla="*/ 2147483646 h 459"/>
              <a:gd name="T14" fmla="*/ 2147483646 w 532"/>
              <a:gd name="T15" fmla="*/ 0 h 459"/>
              <a:gd name="T16" fmla="*/ 2147483646 w 532"/>
              <a:gd name="T17" fmla="*/ 2147483646 h 459"/>
              <a:gd name="T18" fmla="*/ 2147483646 w 532"/>
              <a:gd name="T19" fmla="*/ 2147483646 h 459"/>
              <a:gd name="T20" fmla="*/ 2147483646 w 532"/>
              <a:gd name="T21" fmla="*/ 2147483646 h 459"/>
              <a:gd name="T22" fmla="*/ 2147483646 w 532"/>
              <a:gd name="T23" fmla="*/ 2147483646 h 459"/>
              <a:gd name="T24" fmla="*/ 2147483646 w 532"/>
              <a:gd name="T25" fmla="*/ 2147483646 h 459"/>
              <a:gd name="T26" fmla="*/ 2147483646 w 532"/>
              <a:gd name="T27" fmla="*/ 2147483646 h 459"/>
              <a:gd name="T28" fmla="*/ 2147483646 w 532"/>
              <a:gd name="T29" fmla="*/ 2147483646 h 459"/>
              <a:gd name="T30" fmla="*/ 2147483646 w 532"/>
              <a:gd name="T31" fmla="*/ 2147483646 h 459"/>
              <a:gd name="T32" fmla="*/ 2147483646 w 532"/>
              <a:gd name="T33" fmla="*/ 2147483646 h 459"/>
              <a:gd name="T34" fmla="*/ 2147483646 w 532"/>
              <a:gd name="T35" fmla="*/ 2147483646 h 459"/>
              <a:gd name="T36" fmla="*/ 2147483646 w 532"/>
              <a:gd name="T37" fmla="*/ 2147483646 h 459"/>
              <a:gd name="T38" fmla="*/ 2147483646 w 532"/>
              <a:gd name="T39" fmla="*/ 2147483646 h 459"/>
              <a:gd name="T40" fmla="*/ 2147483646 w 532"/>
              <a:gd name="T41" fmla="*/ 2147483646 h 459"/>
              <a:gd name="T42" fmla="*/ 2147483646 w 532"/>
              <a:gd name="T43" fmla="*/ 2147483646 h 459"/>
              <a:gd name="T44" fmla="*/ 2147483646 w 532"/>
              <a:gd name="T45" fmla="*/ 2147483646 h 459"/>
              <a:gd name="T46" fmla="*/ 2147483646 w 532"/>
              <a:gd name="T47" fmla="*/ 2147483646 h 459"/>
              <a:gd name="T48" fmla="*/ 2147483646 w 532"/>
              <a:gd name="T49" fmla="*/ 2147483646 h 459"/>
              <a:gd name="T50" fmla="*/ 2147483646 w 532"/>
              <a:gd name="T51" fmla="*/ 2147483646 h 459"/>
              <a:gd name="T52" fmla="*/ 2147483646 w 532"/>
              <a:gd name="T53" fmla="*/ 2147483646 h 459"/>
              <a:gd name="T54" fmla="*/ 2147483646 w 532"/>
              <a:gd name="T55" fmla="*/ 2147483646 h 459"/>
              <a:gd name="T56" fmla="*/ 2147483646 w 532"/>
              <a:gd name="T57" fmla="*/ 2147483646 h 459"/>
              <a:gd name="T58" fmla="*/ 2147483646 w 532"/>
              <a:gd name="T59" fmla="*/ 2147483646 h 459"/>
              <a:gd name="T60" fmla="*/ 2147483646 w 532"/>
              <a:gd name="T61" fmla="*/ 2147483646 h 459"/>
              <a:gd name="T62" fmla="*/ 2147483646 w 532"/>
              <a:gd name="T63" fmla="*/ 2147483646 h 459"/>
              <a:gd name="T64" fmla="*/ 2147483646 w 532"/>
              <a:gd name="T65" fmla="*/ 2147483646 h 459"/>
              <a:gd name="T66" fmla="*/ 2147483646 w 532"/>
              <a:gd name="T67" fmla="*/ 2147483646 h 459"/>
              <a:gd name="T68" fmla="*/ 2147483646 w 532"/>
              <a:gd name="T69" fmla="*/ 2147483646 h 459"/>
              <a:gd name="T70" fmla="*/ 2147483646 w 532"/>
              <a:gd name="T71" fmla="*/ 2147483646 h 459"/>
              <a:gd name="T72" fmla="*/ 2147483646 w 532"/>
              <a:gd name="T73" fmla="*/ 2147483646 h 459"/>
              <a:gd name="T74" fmla="*/ 2147483646 w 532"/>
              <a:gd name="T75" fmla="*/ 2147483646 h 459"/>
              <a:gd name="T76" fmla="*/ 2147483646 w 532"/>
              <a:gd name="T77" fmla="*/ 2147483646 h 459"/>
              <a:gd name="T78" fmla="*/ 2147483646 w 532"/>
              <a:gd name="T79" fmla="*/ 2147483646 h 459"/>
              <a:gd name="T80" fmla="*/ 2147483646 w 532"/>
              <a:gd name="T81" fmla="*/ 2147483646 h 459"/>
              <a:gd name="T82" fmla="*/ 2147483646 w 532"/>
              <a:gd name="T83" fmla="*/ 2147483646 h 459"/>
              <a:gd name="T84" fmla="*/ 2147483646 w 532"/>
              <a:gd name="T85" fmla="*/ 2147483646 h 459"/>
              <a:gd name="T86" fmla="*/ 2147483646 w 532"/>
              <a:gd name="T87" fmla="*/ 2147483646 h 459"/>
              <a:gd name="T88" fmla="*/ 2147483646 w 532"/>
              <a:gd name="T89" fmla="*/ 2147483646 h 459"/>
              <a:gd name="T90" fmla="*/ 2147483646 w 532"/>
              <a:gd name="T91" fmla="*/ 2147483646 h 459"/>
              <a:gd name="T92" fmla="*/ 2147483646 w 532"/>
              <a:gd name="T93" fmla="*/ 2147483646 h 459"/>
              <a:gd name="T94" fmla="*/ 2147483646 w 532"/>
              <a:gd name="T95" fmla="*/ 2147483646 h 459"/>
              <a:gd name="T96" fmla="*/ 2147483646 w 532"/>
              <a:gd name="T97" fmla="*/ 2147483646 h 459"/>
              <a:gd name="T98" fmla="*/ 2147483646 w 532"/>
              <a:gd name="T99" fmla="*/ 2147483646 h 459"/>
              <a:gd name="T100" fmla="*/ 2147483646 w 532"/>
              <a:gd name="T101" fmla="*/ 2147483646 h 459"/>
              <a:gd name="T102" fmla="*/ 2147483646 w 532"/>
              <a:gd name="T103" fmla="*/ 2147483646 h 459"/>
              <a:gd name="T104" fmla="*/ 2147483646 w 532"/>
              <a:gd name="T105" fmla="*/ 2147483646 h 459"/>
              <a:gd name="T106" fmla="*/ 2147483646 w 532"/>
              <a:gd name="T107" fmla="*/ 2147483646 h 459"/>
              <a:gd name="T108" fmla="*/ 2147483646 w 532"/>
              <a:gd name="T109" fmla="*/ 2147483646 h 459"/>
              <a:gd name="T110" fmla="*/ 2147483646 w 532"/>
              <a:gd name="T111" fmla="*/ 2147483646 h 459"/>
              <a:gd name="T112" fmla="*/ 2147483646 w 532"/>
              <a:gd name="T113" fmla="*/ 2147483646 h 459"/>
              <a:gd name="T114" fmla="*/ 2147483646 w 532"/>
              <a:gd name="T115" fmla="*/ 2147483646 h 459"/>
              <a:gd name="T116" fmla="*/ 2147483646 w 532"/>
              <a:gd name="T117" fmla="*/ 2147483646 h 459"/>
              <a:gd name="T118" fmla="*/ 2147483646 w 532"/>
              <a:gd name="T119" fmla="*/ 2147483646 h 459"/>
              <a:gd name="T120" fmla="*/ 2147483646 w 532"/>
              <a:gd name="T121" fmla="*/ 2147483646 h 459"/>
              <a:gd name="T122" fmla="*/ 2147483646 w 532"/>
              <a:gd name="T123" fmla="*/ 2147483646 h 45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32"/>
              <a:gd name="T187" fmla="*/ 0 h 459"/>
              <a:gd name="T188" fmla="*/ 532 w 532"/>
              <a:gd name="T189" fmla="*/ 459 h 45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32" h="459">
                <a:moveTo>
                  <a:pt x="332" y="92"/>
                </a:moveTo>
                <a:cubicBezTo>
                  <a:pt x="331" y="102"/>
                  <a:pt x="320" y="108"/>
                  <a:pt x="311" y="106"/>
                </a:cubicBezTo>
                <a:cubicBezTo>
                  <a:pt x="303" y="105"/>
                  <a:pt x="291" y="101"/>
                  <a:pt x="278" y="101"/>
                </a:cubicBezTo>
                <a:cubicBezTo>
                  <a:pt x="266" y="101"/>
                  <a:pt x="254" y="98"/>
                  <a:pt x="247" y="91"/>
                </a:cubicBezTo>
                <a:cubicBezTo>
                  <a:pt x="240" y="84"/>
                  <a:pt x="223" y="56"/>
                  <a:pt x="217" y="48"/>
                </a:cubicBezTo>
                <a:cubicBezTo>
                  <a:pt x="212" y="40"/>
                  <a:pt x="201" y="27"/>
                  <a:pt x="196" y="27"/>
                </a:cubicBezTo>
                <a:cubicBezTo>
                  <a:pt x="192" y="27"/>
                  <a:pt x="154" y="5"/>
                  <a:pt x="145" y="5"/>
                </a:cubicBezTo>
                <a:cubicBezTo>
                  <a:pt x="135" y="5"/>
                  <a:pt x="121" y="1"/>
                  <a:pt x="118" y="0"/>
                </a:cubicBezTo>
                <a:cubicBezTo>
                  <a:pt x="112" y="3"/>
                  <a:pt x="101" y="27"/>
                  <a:pt x="101" y="33"/>
                </a:cubicBezTo>
                <a:cubicBezTo>
                  <a:pt x="101" y="38"/>
                  <a:pt x="99" y="44"/>
                  <a:pt x="92" y="47"/>
                </a:cubicBezTo>
                <a:cubicBezTo>
                  <a:pt x="85" y="49"/>
                  <a:pt x="83" y="51"/>
                  <a:pt x="78" y="59"/>
                </a:cubicBezTo>
                <a:cubicBezTo>
                  <a:pt x="74" y="67"/>
                  <a:pt x="59" y="86"/>
                  <a:pt x="54" y="92"/>
                </a:cubicBezTo>
                <a:cubicBezTo>
                  <a:pt x="49" y="97"/>
                  <a:pt x="25" y="94"/>
                  <a:pt x="25" y="94"/>
                </a:cubicBezTo>
                <a:cubicBezTo>
                  <a:pt x="9" y="77"/>
                  <a:pt x="9" y="77"/>
                  <a:pt x="9" y="77"/>
                </a:cubicBezTo>
                <a:cubicBezTo>
                  <a:pt x="9" y="77"/>
                  <a:pt x="0" y="110"/>
                  <a:pt x="7" y="115"/>
                </a:cubicBezTo>
                <a:cubicBezTo>
                  <a:pt x="14" y="121"/>
                  <a:pt x="25" y="126"/>
                  <a:pt x="28" y="131"/>
                </a:cubicBezTo>
                <a:cubicBezTo>
                  <a:pt x="30" y="136"/>
                  <a:pt x="27" y="142"/>
                  <a:pt x="32" y="148"/>
                </a:cubicBezTo>
                <a:cubicBezTo>
                  <a:pt x="38" y="155"/>
                  <a:pt x="50" y="161"/>
                  <a:pt x="53" y="163"/>
                </a:cubicBezTo>
                <a:cubicBezTo>
                  <a:pt x="55" y="165"/>
                  <a:pt x="57" y="172"/>
                  <a:pt x="61" y="180"/>
                </a:cubicBezTo>
                <a:cubicBezTo>
                  <a:pt x="66" y="189"/>
                  <a:pt x="72" y="212"/>
                  <a:pt x="70" y="216"/>
                </a:cubicBezTo>
                <a:cubicBezTo>
                  <a:pt x="68" y="220"/>
                  <a:pt x="67" y="228"/>
                  <a:pt x="72" y="228"/>
                </a:cubicBezTo>
                <a:cubicBezTo>
                  <a:pt x="78" y="228"/>
                  <a:pt x="79" y="223"/>
                  <a:pt x="85" y="222"/>
                </a:cubicBezTo>
                <a:cubicBezTo>
                  <a:pt x="91" y="221"/>
                  <a:pt x="88" y="221"/>
                  <a:pt x="93" y="224"/>
                </a:cubicBezTo>
                <a:cubicBezTo>
                  <a:pt x="99" y="227"/>
                  <a:pt x="102" y="238"/>
                  <a:pt x="102" y="238"/>
                </a:cubicBezTo>
                <a:cubicBezTo>
                  <a:pt x="102" y="238"/>
                  <a:pt x="87" y="243"/>
                  <a:pt x="99" y="244"/>
                </a:cubicBezTo>
                <a:cubicBezTo>
                  <a:pt x="111" y="245"/>
                  <a:pt x="111" y="237"/>
                  <a:pt x="114" y="245"/>
                </a:cubicBezTo>
                <a:cubicBezTo>
                  <a:pt x="116" y="252"/>
                  <a:pt x="104" y="260"/>
                  <a:pt x="104" y="263"/>
                </a:cubicBezTo>
                <a:cubicBezTo>
                  <a:pt x="104" y="266"/>
                  <a:pt x="100" y="267"/>
                  <a:pt x="104" y="271"/>
                </a:cubicBezTo>
                <a:cubicBezTo>
                  <a:pt x="109" y="275"/>
                  <a:pt x="118" y="266"/>
                  <a:pt x="118" y="277"/>
                </a:cubicBezTo>
                <a:cubicBezTo>
                  <a:pt x="118" y="287"/>
                  <a:pt x="110" y="280"/>
                  <a:pt x="116" y="294"/>
                </a:cubicBezTo>
                <a:cubicBezTo>
                  <a:pt x="122" y="307"/>
                  <a:pt x="133" y="320"/>
                  <a:pt x="140" y="327"/>
                </a:cubicBezTo>
                <a:cubicBezTo>
                  <a:pt x="148" y="333"/>
                  <a:pt x="153" y="352"/>
                  <a:pt x="153" y="352"/>
                </a:cubicBezTo>
                <a:cubicBezTo>
                  <a:pt x="153" y="352"/>
                  <a:pt x="150" y="351"/>
                  <a:pt x="161" y="357"/>
                </a:cubicBezTo>
                <a:cubicBezTo>
                  <a:pt x="173" y="363"/>
                  <a:pt x="176" y="360"/>
                  <a:pt x="181" y="370"/>
                </a:cubicBezTo>
                <a:cubicBezTo>
                  <a:pt x="186" y="381"/>
                  <a:pt x="187" y="381"/>
                  <a:pt x="194" y="395"/>
                </a:cubicBezTo>
                <a:cubicBezTo>
                  <a:pt x="200" y="408"/>
                  <a:pt x="215" y="434"/>
                  <a:pt x="219" y="436"/>
                </a:cubicBezTo>
                <a:cubicBezTo>
                  <a:pt x="224" y="439"/>
                  <a:pt x="227" y="416"/>
                  <a:pt x="240" y="421"/>
                </a:cubicBezTo>
                <a:cubicBezTo>
                  <a:pt x="252" y="427"/>
                  <a:pt x="281" y="434"/>
                  <a:pt x="284" y="437"/>
                </a:cubicBezTo>
                <a:cubicBezTo>
                  <a:pt x="286" y="440"/>
                  <a:pt x="296" y="459"/>
                  <a:pt x="303" y="453"/>
                </a:cubicBezTo>
                <a:cubicBezTo>
                  <a:pt x="310" y="448"/>
                  <a:pt x="311" y="439"/>
                  <a:pt x="317" y="435"/>
                </a:cubicBezTo>
                <a:cubicBezTo>
                  <a:pt x="323" y="432"/>
                  <a:pt x="332" y="424"/>
                  <a:pt x="334" y="421"/>
                </a:cubicBezTo>
                <a:cubicBezTo>
                  <a:pt x="337" y="417"/>
                  <a:pt x="330" y="406"/>
                  <a:pt x="343" y="402"/>
                </a:cubicBezTo>
                <a:cubicBezTo>
                  <a:pt x="356" y="397"/>
                  <a:pt x="351" y="384"/>
                  <a:pt x="367" y="389"/>
                </a:cubicBezTo>
                <a:cubicBezTo>
                  <a:pt x="384" y="395"/>
                  <a:pt x="381" y="383"/>
                  <a:pt x="395" y="382"/>
                </a:cubicBezTo>
                <a:cubicBezTo>
                  <a:pt x="409" y="381"/>
                  <a:pt x="419" y="376"/>
                  <a:pt x="419" y="376"/>
                </a:cubicBezTo>
                <a:cubicBezTo>
                  <a:pt x="442" y="369"/>
                  <a:pt x="442" y="369"/>
                  <a:pt x="442" y="369"/>
                </a:cubicBezTo>
                <a:cubicBezTo>
                  <a:pt x="442" y="369"/>
                  <a:pt x="460" y="366"/>
                  <a:pt x="473" y="362"/>
                </a:cubicBezTo>
                <a:cubicBezTo>
                  <a:pt x="486" y="358"/>
                  <a:pt x="496" y="341"/>
                  <a:pt x="507" y="342"/>
                </a:cubicBezTo>
                <a:cubicBezTo>
                  <a:pt x="519" y="344"/>
                  <a:pt x="526" y="326"/>
                  <a:pt x="526" y="326"/>
                </a:cubicBezTo>
                <a:cubicBezTo>
                  <a:pt x="526" y="326"/>
                  <a:pt x="532" y="300"/>
                  <a:pt x="529" y="291"/>
                </a:cubicBezTo>
                <a:cubicBezTo>
                  <a:pt x="526" y="281"/>
                  <a:pt x="512" y="275"/>
                  <a:pt x="508" y="276"/>
                </a:cubicBezTo>
                <a:cubicBezTo>
                  <a:pt x="504" y="277"/>
                  <a:pt x="488" y="259"/>
                  <a:pt x="476" y="262"/>
                </a:cubicBezTo>
                <a:cubicBezTo>
                  <a:pt x="464" y="264"/>
                  <a:pt x="450" y="276"/>
                  <a:pt x="442" y="259"/>
                </a:cubicBezTo>
                <a:cubicBezTo>
                  <a:pt x="435" y="243"/>
                  <a:pt x="428" y="209"/>
                  <a:pt x="428" y="209"/>
                </a:cubicBezTo>
                <a:cubicBezTo>
                  <a:pt x="428" y="209"/>
                  <a:pt x="424" y="193"/>
                  <a:pt x="413" y="188"/>
                </a:cubicBezTo>
                <a:cubicBezTo>
                  <a:pt x="403" y="183"/>
                  <a:pt x="394" y="179"/>
                  <a:pt x="396" y="171"/>
                </a:cubicBezTo>
                <a:cubicBezTo>
                  <a:pt x="399" y="163"/>
                  <a:pt x="404" y="150"/>
                  <a:pt x="401" y="149"/>
                </a:cubicBezTo>
                <a:cubicBezTo>
                  <a:pt x="398" y="148"/>
                  <a:pt x="393" y="140"/>
                  <a:pt x="393" y="140"/>
                </a:cubicBezTo>
                <a:cubicBezTo>
                  <a:pt x="393" y="140"/>
                  <a:pt x="390" y="127"/>
                  <a:pt x="385" y="129"/>
                </a:cubicBezTo>
                <a:cubicBezTo>
                  <a:pt x="381" y="130"/>
                  <a:pt x="374" y="126"/>
                  <a:pt x="374" y="126"/>
                </a:cubicBezTo>
                <a:cubicBezTo>
                  <a:pt x="370" y="110"/>
                  <a:pt x="370" y="110"/>
                  <a:pt x="370" y="110"/>
                </a:cubicBezTo>
                <a:cubicBezTo>
                  <a:pt x="370" y="110"/>
                  <a:pt x="335" y="113"/>
                  <a:pt x="332" y="9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83" name="Freeform 619"/>
          <p:cNvSpPr>
            <a:spLocks/>
          </p:cNvSpPr>
          <p:nvPr userDrawn="1"/>
        </p:nvSpPr>
        <p:spPr bwMode="auto">
          <a:xfrm>
            <a:off x="6547641" y="4527246"/>
            <a:ext cx="257964" cy="169185"/>
          </a:xfrm>
          <a:custGeom>
            <a:avLst/>
            <a:gdLst>
              <a:gd name="T0" fmla="*/ 2147483646 w 277"/>
              <a:gd name="T1" fmla="*/ 2147483646 h 182"/>
              <a:gd name="T2" fmla="*/ 2147483646 w 277"/>
              <a:gd name="T3" fmla="*/ 2147483646 h 182"/>
              <a:gd name="T4" fmla="*/ 2147483646 w 277"/>
              <a:gd name="T5" fmla="*/ 2147483646 h 182"/>
              <a:gd name="T6" fmla="*/ 2147483646 w 277"/>
              <a:gd name="T7" fmla="*/ 2147483646 h 182"/>
              <a:gd name="T8" fmla="*/ 2147483646 w 277"/>
              <a:gd name="T9" fmla="*/ 2147483646 h 182"/>
              <a:gd name="T10" fmla="*/ 2147483646 w 277"/>
              <a:gd name="T11" fmla="*/ 2147483646 h 182"/>
              <a:gd name="T12" fmla="*/ 2147483646 w 277"/>
              <a:gd name="T13" fmla="*/ 2147483646 h 182"/>
              <a:gd name="T14" fmla="*/ 2147483646 w 277"/>
              <a:gd name="T15" fmla="*/ 2147483646 h 182"/>
              <a:gd name="T16" fmla="*/ 2147483646 w 277"/>
              <a:gd name="T17" fmla="*/ 2147483646 h 182"/>
              <a:gd name="T18" fmla="*/ 2147483646 w 277"/>
              <a:gd name="T19" fmla="*/ 2147483646 h 182"/>
              <a:gd name="T20" fmla="*/ 2147483646 w 277"/>
              <a:gd name="T21" fmla="*/ 2147483646 h 182"/>
              <a:gd name="T22" fmla="*/ 2147483646 w 277"/>
              <a:gd name="T23" fmla="*/ 0 h 182"/>
              <a:gd name="T24" fmla="*/ 2147483646 w 277"/>
              <a:gd name="T25" fmla="*/ 2147483646 h 182"/>
              <a:gd name="T26" fmla="*/ 2147483646 w 277"/>
              <a:gd name="T27" fmla="*/ 2147483646 h 182"/>
              <a:gd name="T28" fmla="*/ 2147483646 w 277"/>
              <a:gd name="T29" fmla="*/ 2147483646 h 182"/>
              <a:gd name="T30" fmla="*/ 2147483646 w 277"/>
              <a:gd name="T31" fmla="*/ 2147483646 h 182"/>
              <a:gd name="T32" fmla="*/ 2147483646 w 277"/>
              <a:gd name="T33" fmla="*/ 2147483646 h 182"/>
              <a:gd name="T34" fmla="*/ 2147483646 w 277"/>
              <a:gd name="T35" fmla="*/ 2147483646 h 182"/>
              <a:gd name="T36" fmla="*/ 2147483646 w 277"/>
              <a:gd name="T37" fmla="*/ 2147483646 h 182"/>
              <a:gd name="T38" fmla="*/ 2147483646 w 277"/>
              <a:gd name="T39" fmla="*/ 2147483646 h 182"/>
              <a:gd name="T40" fmla="*/ 2147483646 w 277"/>
              <a:gd name="T41" fmla="*/ 2147483646 h 182"/>
              <a:gd name="T42" fmla="*/ 2147483646 w 277"/>
              <a:gd name="T43" fmla="*/ 2147483646 h 182"/>
              <a:gd name="T44" fmla="*/ 2147483646 w 277"/>
              <a:gd name="T45" fmla="*/ 2147483646 h 182"/>
              <a:gd name="T46" fmla="*/ 2147483646 w 277"/>
              <a:gd name="T47" fmla="*/ 2147483646 h 182"/>
              <a:gd name="T48" fmla="*/ 2147483646 w 277"/>
              <a:gd name="T49" fmla="*/ 2147483646 h 182"/>
              <a:gd name="T50" fmla="*/ 2147483646 w 277"/>
              <a:gd name="T51" fmla="*/ 2147483646 h 182"/>
              <a:gd name="T52" fmla="*/ 2147483646 w 277"/>
              <a:gd name="T53" fmla="*/ 2147483646 h 182"/>
              <a:gd name="T54" fmla="*/ 2147483646 w 277"/>
              <a:gd name="T55" fmla="*/ 2147483646 h 182"/>
              <a:gd name="T56" fmla="*/ 2147483646 w 277"/>
              <a:gd name="T57" fmla="*/ 2147483646 h 18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77"/>
              <a:gd name="T88" fmla="*/ 0 h 182"/>
              <a:gd name="T89" fmla="*/ 277 w 277"/>
              <a:gd name="T90" fmla="*/ 182 h 18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77" h="182">
                <a:moveTo>
                  <a:pt x="7" y="74"/>
                </a:moveTo>
                <a:cubicBezTo>
                  <a:pt x="12" y="77"/>
                  <a:pt x="15" y="54"/>
                  <a:pt x="28" y="59"/>
                </a:cubicBezTo>
                <a:cubicBezTo>
                  <a:pt x="40" y="65"/>
                  <a:pt x="69" y="72"/>
                  <a:pt x="72" y="75"/>
                </a:cubicBezTo>
                <a:cubicBezTo>
                  <a:pt x="74" y="78"/>
                  <a:pt x="84" y="97"/>
                  <a:pt x="91" y="91"/>
                </a:cubicBezTo>
                <a:cubicBezTo>
                  <a:pt x="98" y="86"/>
                  <a:pt x="99" y="77"/>
                  <a:pt x="105" y="73"/>
                </a:cubicBezTo>
                <a:cubicBezTo>
                  <a:pt x="111" y="70"/>
                  <a:pt x="120" y="62"/>
                  <a:pt x="122" y="59"/>
                </a:cubicBezTo>
                <a:cubicBezTo>
                  <a:pt x="125" y="55"/>
                  <a:pt x="118" y="44"/>
                  <a:pt x="131" y="40"/>
                </a:cubicBezTo>
                <a:cubicBezTo>
                  <a:pt x="144" y="35"/>
                  <a:pt x="139" y="22"/>
                  <a:pt x="155" y="27"/>
                </a:cubicBezTo>
                <a:cubicBezTo>
                  <a:pt x="172" y="33"/>
                  <a:pt x="169" y="21"/>
                  <a:pt x="183" y="20"/>
                </a:cubicBezTo>
                <a:cubicBezTo>
                  <a:pt x="197" y="19"/>
                  <a:pt x="207" y="14"/>
                  <a:pt x="207" y="14"/>
                </a:cubicBezTo>
                <a:cubicBezTo>
                  <a:pt x="230" y="7"/>
                  <a:pt x="230" y="7"/>
                  <a:pt x="230" y="7"/>
                </a:cubicBezTo>
                <a:cubicBezTo>
                  <a:pt x="230" y="7"/>
                  <a:pt x="248" y="4"/>
                  <a:pt x="261" y="0"/>
                </a:cubicBezTo>
                <a:cubicBezTo>
                  <a:pt x="261" y="0"/>
                  <a:pt x="258" y="19"/>
                  <a:pt x="265" y="28"/>
                </a:cubicBezTo>
                <a:cubicBezTo>
                  <a:pt x="272" y="38"/>
                  <a:pt x="272" y="54"/>
                  <a:pt x="274" y="60"/>
                </a:cubicBezTo>
                <a:cubicBezTo>
                  <a:pt x="277" y="66"/>
                  <a:pt x="274" y="77"/>
                  <a:pt x="266" y="86"/>
                </a:cubicBezTo>
                <a:cubicBezTo>
                  <a:pt x="258" y="95"/>
                  <a:pt x="246" y="84"/>
                  <a:pt x="245" y="95"/>
                </a:cubicBezTo>
                <a:cubicBezTo>
                  <a:pt x="244" y="107"/>
                  <a:pt x="233" y="87"/>
                  <a:pt x="228" y="106"/>
                </a:cubicBezTo>
                <a:cubicBezTo>
                  <a:pt x="224" y="125"/>
                  <a:pt x="205" y="126"/>
                  <a:pt x="198" y="128"/>
                </a:cubicBezTo>
                <a:cubicBezTo>
                  <a:pt x="191" y="131"/>
                  <a:pt x="184" y="122"/>
                  <a:pt x="178" y="131"/>
                </a:cubicBezTo>
                <a:cubicBezTo>
                  <a:pt x="172" y="139"/>
                  <a:pt x="149" y="146"/>
                  <a:pt x="144" y="145"/>
                </a:cubicBezTo>
                <a:cubicBezTo>
                  <a:pt x="139" y="143"/>
                  <a:pt x="129" y="128"/>
                  <a:pt x="127" y="136"/>
                </a:cubicBezTo>
                <a:cubicBezTo>
                  <a:pt x="126" y="145"/>
                  <a:pt x="125" y="146"/>
                  <a:pt x="124" y="152"/>
                </a:cubicBezTo>
                <a:cubicBezTo>
                  <a:pt x="123" y="158"/>
                  <a:pt x="106" y="158"/>
                  <a:pt x="102" y="160"/>
                </a:cubicBezTo>
                <a:cubicBezTo>
                  <a:pt x="97" y="162"/>
                  <a:pt x="90" y="149"/>
                  <a:pt x="88" y="158"/>
                </a:cubicBezTo>
                <a:cubicBezTo>
                  <a:pt x="85" y="166"/>
                  <a:pt x="99" y="182"/>
                  <a:pt x="66" y="181"/>
                </a:cubicBezTo>
                <a:cubicBezTo>
                  <a:pt x="34" y="180"/>
                  <a:pt x="27" y="159"/>
                  <a:pt x="25" y="152"/>
                </a:cubicBezTo>
                <a:cubicBezTo>
                  <a:pt x="24" y="145"/>
                  <a:pt x="15" y="129"/>
                  <a:pt x="11" y="128"/>
                </a:cubicBezTo>
                <a:cubicBezTo>
                  <a:pt x="8" y="127"/>
                  <a:pt x="0" y="113"/>
                  <a:pt x="2" y="109"/>
                </a:cubicBezTo>
                <a:cubicBezTo>
                  <a:pt x="4" y="106"/>
                  <a:pt x="7" y="74"/>
                  <a:pt x="7" y="7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84" name="Freeform 620"/>
          <p:cNvSpPr>
            <a:spLocks/>
          </p:cNvSpPr>
          <p:nvPr userDrawn="1"/>
        </p:nvSpPr>
        <p:spPr bwMode="auto">
          <a:xfrm>
            <a:off x="6787178" y="4379836"/>
            <a:ext cx="170860" cy="217763"/>
          </a:xfrm>
          <a:custGeom>
            <a:avLst/>
            <a:gdLst>
              <a:gd name="T0" fmla="*/ 2147483646 w 183"/>
              <a:gd name="T1" fmla="*/ 2147483646 h 233"/>
              <a:gd name="T2" fmla="*/ 2147483646 w 183"/>
              <a:gd name="T3" fmla="*/ 2147483646 h 233"/>
              <a:gd name="T4" fmla="*/ 2147483646 w 183"/>
              <a:gd name="T5" fmla="*/ 2147483646 h 233"/>
              <a:gd name="T6" fmla="*/ 2147483646 w 183"/>
              <a:gd name="T7" fmla="*/ 2147483646 h 233"/>
              <a:gd name="T8" fmla="*/ 2147483646 w 183"/>
              <a:gd name="T9" fmla="*/ 2147483646 h 233"/>
              <a:gd name="T10" fmla="*/ 2147483646 w 183"/>
              <a:gd name="T11" fmla="*/ 2147483646 h 233"/>
              <a:gd name="T12" fmla="*/ 2147483646 w 183"/>
              <a:gd name="T13" fmla="*/ 2147483646 h 233"/>
              <a:gd name="T14" fmla="*/ 2147483646 w 183"/>
              <a:gd name="T15" fmla="*/ 2147483646 h 233"/>
              <a:gd name="T16" fmla="*/ 2147483646 w 183"/>
              <a:gd name="T17" fmla="*/ 2147483646 h 233"/>
              <a:gd name="T18" fmla="*/ 2147483646 w 183"/>
              <a:gd name="T19" fmla="*/ 2147483646 h 233"/>
              <a:gd name="T20" fmla="*/ 2147483646 w 183"/>
              <a:gd name="T21" fmla="*/ 2147483646 h 233"/>
              <a:gd name="T22" fmla="*/ 2147483646 w 183"/>
              <a:gd name="T23" fmla="*/ 2147483646 h 233"/>
              <a:gd name="T24" fmla="*/ 2147483646 w 183"/>
              <a:gd name="T25" fmla="*/ 2147483646 h 233"/>
              <a:gd name="T26" fmla="*/ 2147483646 w 183"/>
              <a:gd name="T27" fmla="*/ 2147483646 h 233"/>
              <a:gd name="T28" fmla="*/ 2147483646 w 183"/>
              <a:gd name="T29" fmla="*/ 2147483646 h 233"/>
              <a:gd name="T30" fmla="*/ 2147483646 w 183"/>
              <a:gd name="T31" fmla="*/ 2147483646 h 233"/>
              <a:gd name="T32" fmla="*/ 2147483646 w 183"/>
              <a:gd name="T33" fmla="*/ 2147483646 h 233"/>
              <a:gd name="T34" fmla="*/ 2147483646 w 183"/>
              <a:gd name="T35" fmla="*/ 2147483646 h 233"/>
              <a:gd name="T36" fmla="*/ 2147483646 w 183"/>
              <a:gd name="T37" fmla="*/ 2147483646 h 233"/>
              <a:gd name="T38" fmla="*/ 2147483646 w 183"/>
              <a:gd name="T39" fmla="*/ 2147483646 h 233"/>
              <a:gd name="T40" fmla="*/ 2147483646 w 183"/>
              <a:gd name="T41" fmla="*/ 2147483646 h 233"/>
              <a:gd name="T42" fmla="*/ 2147483646 w 183"/>
              <a:gd name="T43" fmla="*/ 2147483646 h 233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83"/>
              <a:gd name="T67" fmla="*/ 0 h 233"/>
              <a:gd name="T68" fmla="*/ 183 w 183"/>
              <a:gd name="T69" fmla="*/ 233 h 233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83" h="233">
                <a:moveTo>
                  <a:pt x="59" y="87"/>
                </a:moveTo>
                <a:cubicBezTo>
                  <a:pt x="62" y="96"/>
                  <a:pt x="56" y="122"/>
                  <a:pt x="56" y="122"/>
                </a:cubicBezTo>
                <a:cubicBezTo>
                  <a:pt x="56" y="122"/>
                  <a:pt x="49" y="140"/>
                  <a:pt x="37" y="138"/>
                </a:cubicBezTo>
                <a:cubicBezTo>
                  <a:pt x="26" y="137"/>
                  <a:pt x="16" y="154"/>
                  <a:pt x="3" y="158"/>
                </a:cubicBezTo>
                <a:cubicBezTo>
                  <a:pt x="3" y="158"/>
                  <a:pt x="0" y="177"/>
                  <a:pt x="7" y="186"/>
                </a:cubicBezTo>
                <a:cubicBezTo>
                  <a:pt x="14" y="196"/>
                  <a:pt x="14" y="212"/>
                  <a:pt x="16" y="218"/>
                </a:cubicBezTo>
                <a:cubicBezTo>
                  <a:pt x="16" y="218"/>
                  <a:pt x="22" y="233"/>
                  <a:pt x="34" y="230"/>
                </a:cubicBezTo>
                <a:cubicBezTo>
                  <a:pt x="46" y="226"/>
                  <a:pt x="62" y="222"/>
                  <a:pt x="71" y="220"/>
                </a:cubicBezTo>
                <a:cubicBezTo>
                  <a:pt x="81" y="219"/>
                  <a:pt x="97" y="215"/>
                  <a:pt x="98" y="210"/>
                </a:cubicBezTo>
                <a:cubicBezTo>
                  <a:pt x="100" y="205"/>
                  <a:pt x="90" y="196"/>
                  <a:pt x="105" y="185"/>
                </a:cubicBezTo>
                <a:cubicBezTo>
                  <a:pt x="121" y="175"/>
                  <a:pt x="124" y="157"/>
                  <a:pt x="134" y="157"/>
                </a:cubicBezTo>
                <a:cubicBezTo>
                  <a:pt x="143" y="157"/>
                  <a:pt x="143" y="166"/>
                  <a:pt x="143" y="157"/>
                </a:cubicBezTo>
                <a:cubicBezTo>
                  <a:pt x="143" y="148"/>
                  <a:pt x="155" y="129"/>
                  <a:pt x="159" y="124"/>
                </a:cubicBezTo>
                <a:cubicBezTo>
                  <a:pt x="164" y="120"/>
                  <a:pt x="173" y="103"/>
                  <a:pt x="178" y="97"/>
                </a:cubicBezTo>
                <a:cubicBezTo>
                  <a:pt x="183" y="91"/>
                  <a:pt x="166" y="63"/>
                  <a:pt x="161" y="62"/>
                </a:cubicBezTo>
                <a:cubicBezTo>
                  <a:pt x="155" y="61"/>
                  <a:pt x="144" y="36"/>
                  <a:pt x="137" y="36"/>
                </a:cubicBezTo>
                <a:cubicBezTo>
                  <a:pt x="130" y="36"/>
                  <a:pt x="116" y="34"/>
                  <a:pt x="111" y="26"/>
                </a:cubicBezTo>
                <a:cubicBezTo>
                  <a:pt x="107" y="17"/>
                  <a:pt x="98" y="14"/>
                  <a:pt x="94" y="12"/>
                </a:cubicBezTo>
                <a:cubicBezTo>
                  <a:pt x="89" y="9"/>
                  <a:pt x="84" y="0"/>
                  <a:pt x="83" y="6"/>
                </a:cubicBezTo>
                <a:cubicBezTo>
                  <a:pt x="82" y="12"/>
                  <a:pt x="81" y="33"/>
                  <a:pt x="81" y="33"/>
                </a:cubicBezTo>
                <a:cubicBezTo>
                  <a:pt x="81" y="33"/>
                  <a:pt x="71" y="46"/>
                  <a:pt x="69" y="49"/>
                </a:cubicBezTo>
                <a:cubicBezTo>
                  <a:pt x="67" y="53"/>
                  <a:pt x="59" y="87"/>
                  <a:pt x="59" y="8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85" name="Freeform 621"/>
          <p:cNvSpPr>
            <a:spLocks/>
          </p:cNvSpPr>
          <p:nvPr userDrawn="1"/>
        </p:nvSpPr>
        <p:spPr bwMode="auto">
          <a:xfrm>
            <a:off x="6735251" y="4348011"/>
            <a:ext cx="139032" cy="112231"/>
          </a:xfrm>
          <a:custGeom>
            <a:avLst/>
            <a:gdLst>
              <a:gd name="T0" fmla="*/ 0 w 150"/>
              <a:gd name="T1" fmla="*/ 2147483646 h 121"/>
              <a:gd name="T2" fmla="*/ 2147483646 w 150"/>
              <a:gd name="T3" fmla="*/ 2147483646 h 121"/>
              <a:gd name="T4" fmla="*/ 2147483646 w 150"/>
              <a:gd name="T5" fmla="*/ 2147483646 h 121"/>
              <a:gd name="T6" fmla="*/ 2147483646 w 150"/>
              <a:gd name="T7" fmla="*/ 2147483646 h 121"/>
              <a:gd name="T8" fmla="*/ 2147483646 w 150"/>
              <a:gd name="T9" fmla="*/ 2147483646 h 121"/>
              <a:gd name="T10" fmla="*/ 2147483646 w 150"/>
              <a:gd name="T11" fmla="*/ 2147483646 h 121"/>
              <a:gd name="T12" fmla="*/ 2147483646 w 150"/>
              <a:gd name="T13" fmla="*/ 2147483646 h 121"/>
              <a:gd name="T14" fmla="*/ 2147483646 w 150"/>
              <a:gd name="T15" fmla="*/ 2147483646 h 121"/>
              <a:gd name="T16" fmla="*/ 2147483646 w 150"/>
              <a:gd name="T17" fmla="*/ 2147483646 h 121"/>
              <a:gd name="T18" fmla="*/ 2147483646 w 150"/>
              <a:gd name="T19" fmla="*/ 2147483646 h 121"/>
              <a:gd name="T20" fmla="*/ 2147483646 w 150"/>
              <a:gd name="T21" fmla="*/ 2147483646 h 121"/>
              <a:gd name="T22" fmla="*/ 2147483646 w 150"/>
              <a:gd name="T23" fmla="*/ 0 h 121"/>
              <a:gd name="T24" fmla="*/ 2147483646 w 150"/>
              <a:gd name="T25" fmla="*/ 2147483646 h 121"/>
              <a:gd name="T26" fmla="*/ 2147483646 w 150"/>
              <a:gd name="T27" fmla="*/ 2147483646 h 121"/>
              <a:gd name="T28" fmla="*/ 2147483646 w 150"/>
              <a:gd name="T29" fmla="*/ 2147483646 h 121"/>
              <a:gd name="T30" fmla="*/ 2147483646 w 150"/>
              <a:gd name="T31" fmla="*/ 2147483646 h 121"/>
              <a:gd name="T32" fmla="*/ 2147483646 w 150"/>
              <a:gd name="T33" fmla="*/ 2147483646 h 121"/>
              <a:gd name="T34" fmla="*/ 2147483646 w 150"/>
              <a:gd name="T35" fmla="*/ 2147483646 h 121"/>
              <a:gd name="T36" fmla="*/ 0 w 150"/>
              <a:gd name="T37" fmla="*/ 2147483646 h 12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50"/>
              <a:gd name="T58" fmla="*/ 0 h 121"/>
              <a:gd name="T59" fmla="*/ 150 w 150"/>
              <a:gd name="T60" fmla="*/ 121 h 121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50" h="121">
                <a:moveTo>
                  <a:pt x="0" y="18"/>
                </a:moveTo>
                <a:cubicBezTo>
                  <a:pt x="11" y="23"/>
                  <a:pt x="15" y="39"/>
                  <a:pt x="15" y="39"/>
                </a:cubicBezTo>
                <a:cubicBezTo>
                  <a:pt x="15" y="39"/>
                  <a:pt x="22" y="73"/>
                  <a:pt x="29" y="89"/>
                </a:cubicBezTo>
                <a:cubicBezTo>
                  <a:pt x="37" y="106"/>
                  <a:pt x="51" y="94"/>
                  <a:pt x="63" y="92"/>
                </a:cubicBezTo>
                <a:cubicBezTo>
                  <a:pt x="75" y="89"/>
                  <a:pt x="91" y="107"/>
                  <a:pt x="95" y="106"/>
                </a:cubicBezTo>
                <a:cubicBezTo>
                  <a:pt x="99" y="105"/>
                  <a:pt x="113" y="111"/>
                  <a:pt x="116" y="121"/>
                </a:cubicBezTo>
                <a:cubicBezTo>
                  <a:pt x="116" y="121"/>
                  <a:pt x="124" y="87"/>
                  <a:pt x="126" y="83"/>
                </a:cubicBezTo>
                <a:cubicBezTo>
                  <a:pt x="128" y="80"/>
                  <a:pt x="138" y="67"/>
                  <a:pt x="138" y="67"/>
                </a:cubicBezTo>
                <a:cubicBezTo>
                  <a:pt x="138" y="67"/>
                  <a:pt x="139" y="46"/>
                  <a:pt x="140" y="40"/>
                </a:cubicBezTo>
                <a:cubicBezTo>
                  <a:pt x="140" y="40"/>
                  <a:pt x="145" y="30"/>
                  <a:pt x="148" y="27"/>
                </a:cubicBezTo>
                <a:cubicBezTo>
                  <a:pt x="150" y="24"/>
                  <a:pt x="149" y="11"/>
                  <a:pt x="149" y="9"/>
                </a:cubicBezTo>
                <a:cubicBezTo>
                  <a:pt x="149" y="7"/>
                  <a:pt x="148" y="0"/>
                  <a:pt x="148" y="0"/>
                </a:cubicBezTo>
                <a:cubicBezTo>
                  <a:pt x="148" y="0"/>
                  <a:pt x="134" y="11"/>
                  <a:pt x="132" y="16"/>
                </a:cubicBezTo>
                <a:cubicBezTo>
                  <a:pt x="130" y="20"/>
                  <a:pt x="123" y="24"/>
                  <a:pt x="118" y="30"/>
                </a:cubicBezTo>
                <a:cubicBezTo>
                  <a:pt x="113" y="36"/>
                  <a:pt x="112" y="37"/>
                  <a:pt x="109" y="42"/>
                </a:cubicBezTo>
                <a:cubicBezTo>
                  <a:pt x="106" y="46"/>
                  <a:pt x="71" y="55"/>
                  <a:pt x="66" y="55"/>
                </a:cubicBezTo>
                <a:cubicBezTo>
                  <a:pt x="62" y="54"/>
                  <a:pt x="48" y="53"/>
                  <a:pt x="45" y="52"/>
                </a:cubicBezTo>
                <a:cubicBezTo>
                  <a:pt x="42" y="51"/>
                  <a:pt x="32" y="47"/>
                  <a:pt x="30" y="44"/>
                </a:cubicBezTo>
                <a:cubicBezTo>
                  <a:pt x="29" y="40"/>
                  <a:pt x="13" y="20"/>
                  <a:pt x="0" y="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86" name="Freeform 622"/>
          <p:cNvSpPr>
            <a:spLocks/>
          </p:cNvSpPr>
          <p:nvPr userDrawn="1"/>
        </p:nvSpPr>
        <p:spPr bwMode="auto">
          <a:xfrm>
            <a:off x="6983165" y="4038117"/>
            <a:ext cx="405372" cy="386947"/>
          </a:xfrm>
          <a:custGeom>
            <a:avLst/>
            <a:gdLst>
              <a:gd name="T0" fmla="*/ 0 w 435"/>
              <a:gd name="T1" fmla="*/ 2147483646 h 415"/>
              <a:gd name="T2" fmla="*/ 2147483646 w 435"/>
              <a:gd name="T3" fmla="*/ 2147483646 h 415"/>
              <a:gd name="T4" fmla="*/ 2147483646 w 435"/>
              <a:gd name="T5" fmla="*/ 2147483646 h 415"/>
              <a:gd name="T6" fmla="*/ 2147483646 w 435"/>
              <a:gd name="T7" fmla="*/ 2147483646 h 415"/>
              <a:gd name="T8" fmla="*/ 2147483646 w 435"/>
              <a:gd name="T9" fmla="*/ 2147483646 h 415"/>
              <a:gd name="T10" fmla="*/ 2147483646 w 435"/>
              <a:gd name="T11" fmla="*/ 2147483646 h 415"/>
              <a:gd name="T12" fmla="*/ 2147483646 w 435"/>
              <a:gd name="T13" fmla="*/ 2147483646 h 415"/>
              <a:gd name="T14" fmla="*/ 2147483646 w 435"/>
              <a:gd name="T15" fmla="*/ 2147483646 h 415"/>
              <a:gd name="T16" fmla="*/ 2147483646 w 435"/>
              <a:gd name="T17" fmla="*/ 2147483646 h 415"/>
              <a:gd name="T18" fmla="*/ 2147483646 w 435"/>
              <a:gd name="T19" fmla="*/ 2147483646 h 415"/>
              <a:gd name="T20" fmla="*/ 2147483646 w 435"/>
              <a:gd name="T21" fmla="*/ 2147483646 h 415"/>
              <a:gd name="T22" fmla="*/ 2147483646 w 435"/>
              <a:gd name="T23" fmla="*/ 2147483646 h 415"/>
              <a:gd name="T24" fmla="*/ 2147483646 w 435"/>
              <a:gd name="T25" fmla="*/ 2147483646 h 415"/>
              <a:gd name="T26" fmla="*/ 2147483646 w 435"/>
              <a:gd name="T27" fmla="*/ 2147483646 h 415"/>
              <a:gd name="T28" fmla="*/ 2147483646 w 435"/>
              <a:gd name="T29" fmla="*/ 2147483646 h 415"/>
              <a:gd name="T30" fmla="*/ 2147483646 w 435"/>
              <a:gd name="T31" fmla="*/ 2147483646 h 415"/>
              <a:gd name="T32" fmla="*/ 2147483646 w 435"/>
              <a:gd name="T33" fmla="*/ 2147483646 h 415"/>
              <a:gd name="T34" fmla="*/ 2147483646 w 435"/>
              <a:gd name="T35" fmla="*/ 2147483646 h 415"/>
              <a:gd name="T36" fmla="*/ 2147483646 w 435"/>
              <a:gd name="T37" fmla="*/ 2147483646 h 415"/>
              <a:gd name="T38" fmla="*/ 2147483646 w 435"/>
              <a:gd name="T39" fmla="*/ 2147483646 h 415"/>
              <a:gd name="T40" fmla="*/ 2147483646 w 435"/>
              <a:gd name="T41" fmla="*/ 0 h 415"/>
              <a:gd name="T42" fmla="*/ 2147483646 w 435"/>
              <a:gd name="T43" fmla="*/ 2147483646 h 415"/>
              <a:gd name="T44" fmla="*/ 2147483646 w 435"/>
              <a:gd name="T45" fmla="*/ 2147483646 h 415"/>
              <a:gd name="T46" fmla="*/ 2147483646 w 435"/>
              <a:gd name="T47" fmla="*/ 2147483646 h 415"/>
              <a:gd name="T48" fmla="*/ 2147483646 w 435"/>
              <a:gd name="T49" fmla="*/ 2147483646 h 415"/>
              <a:gd name="T50" fmla="*/ 2147483646 w 435"/>
              <a:gd name="T51" fmla="*/ 2147483646 h 415"/>
              <a:gd name="T52" fmla="*/ 2147483646 w 435"/>
              <a:gd name="T53" fmla="*/ 2147483646 h 415"/>
              <a:gd name="T54" fmla="*/ 2147483646 w 435"/>
              <a:gd name="T55" fmla="*/ 2147483646 h 415"/>
              <a:gd name="T56" fmla="*/ 2147483646 w 435"/>
              <a:gd name="T57" fmla="*/ 2147483646 h 415"/>
              <a:gd name="T58" fmla="*/ 2147483646 w 435"/>
              <a:gd name="T59" fmla="*/ 2147483646 h 415"/>
              <a:gd name="T60" fmla="*/ 2147483646 w 435"/>
              <a:gd name="T61" fmla="*/ 2147483646 h 415"/>
              <a:gd name="T62" fmla="*/ 2147483646 w 435"/>
              <a:gd name="T63" fmla="*/ 2147483646 h 415"/>
              <a:gd name="T64" fmla="*/ 2147483646 w 435"/>
              <a:gd name="T65" fmla="*/ 2147483646 h 415"/>
              <a:gd name="T66" fmla="*/ 2147483646 w 435"/>
              <a:gd name="T67" fmla="*/ 2147483646 h 415"/>
              <a:gd name="T68" fmla="*/ 2147483646 w 435"/>
              <a:gd name="T69" fmla="*/ 2147483646 h 415"/>
              <a:gd name="T70" fmla="*/ 2147483646 w 435"/>
              <a:gd name="T71" fmla="*/ 2147483646 h 415"/>
              <a:gd name="T72" fmla="*/ 2147483646 w 435"/>
              <a:gd name="T73" fmla="*/ 2147483646 h 415"/>
              <a:gd name="T74" fmla="*/ 2147483646 w 435"/>
              <a:gd name="T75" fmla="*/ 2147483646 h 415"/>
              <a:gd name="T76" fmla="*/ 2147483646 w 435"/>
              <a:gd name="T77" fmla="*/ 2147483646 h 415"/>
              <a:gd name="T78" fmla="*/ 2147483646 w 435"/>
              <a:gd name="T79" fmla="*/ 2147483646 h 415"/>
              <a:gd name="T80" fmla="*/ 2147483646 w 435"/>
              <a:gd name="T81" fmla="*/ 2147483646 h 415"/>
              <a:gd name="T82" fmla="*/ 2147483646 w 435"/>
              <a:gd name="T83" fmla="*/ 2147483646 h 415"/>
              <a:gd name="T84" fmla="*/ 2147483646 w 435"/>
              <a:gd name="T85" fmla="*/ 2147483646 h 415"/>
              <a:gd name="T86" fmla="*/ 2147483646 w 435"/>
              <a:gd name="T87" fmla="*/ 2147483646 h 415"/>
              <a:gd name="T88" fmla="*/ 2147483646 w 435"/>
              <a:gd name="T89" fmla="*/ 2147483646 h 415"/>
              <a:gd name="T90" fmla="*/ 2147483646 w 435"/>
              <a:gd name="T91" fmla="*/ 2147483646 h 415"/>
              <a:gd name="T92" fmla="*/ 2147483646 w 435"/>
              <a:gd name="T93" fmla="*/ 2147483646 h 415"/>
              <a:gd name="T94" fmla="*/ 2147483646 w 435"/>
              <a:gd name="T95" fmla="*/ 2147483646 h 415"/>
              <a:gd name="T96" fmla="*/ 0 w 435"/>
              <a:gd name="T97" fmla="*/ 2147483646 h 41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35"/>
              <a:gd name="T148" fmla="*/ 0 h 415"/>
              <a:gd name="T149" fmla="*/ 435 w 435"/>
              <a:gd name="T150" fmla="*/ 415 h 41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35" h="415">
                <a:moveTo>
                  <a:pt x="0" y="360"/>
                </a:moveTo>
                <a:cubicBezTo>
                  <a:pt x="0" y="360"/>
                  <a:pt x="20" y="346"/>
                  <a:pt x="28" y="339"/>
                </a:cubicBezTo>
                <a:cubicBezTo>
                  <a:pt x="36" y="332"/>
                  <a:pt x="14" y="336"/>
                  <a:pt x="36" y="317"/>
                </a:cubicBezTo>
                <a:cubicBezTo>
                  <a:pt x="58" y="297"/>
                  <a:pt x="51" y="282"/>
                  <a:pt x="47" y="281"/>
                </a:cubicBezTo>
                <a:cubicBezTo>
                  <a:pt x="18" y="255"/>
                  <a:pt x="18" y="255"/>
                  <a:pt x="18" y="255"/>
                </a:cubicBezTo>
                <a:cubicBezTo>
                  <a:pt x="33" y="259"/>
                  <a:pt x="82" y="251"/>
                  <a:pt x="99" y="248"/>
                </a:cubicBezTo>
                <a:cubicBezTo>
                  <a:pt x="117" y="246"/>
                  <a:pt x="137" y="245"/>
                  <a:pt x="142" y="236"/>
                </a:cubicBezTo>
                <a:cubicBezTo>
                  <a:pt x="146" y="226"/>
                  <a:pt x="145" y="221"/>
                  <a:pt x="149" y="205"/>
                </a:cubicBezTo>
                <a:cubicBezTo>
                  <a:pt x="152" y="189"/>
                  <a:pt x="155" y="176"/>
                  <a:pt x="164" y="178"/>
                </a:cubicBezTo>
                <a:cubicBezTo>
                  <a:pt x="173" y="180"/>
                  <a:pt x="166" y="178"/>
                  <a:pt x="187" y="173"/>
                </a:cubicBezTo>
                <a:cubicBezTo>
                  <a:pt x="209" y="169"/>
                  <a:pt x="218" y="150"/>
                  <a:pt x="225" y="146"/>
                </a:cubicBezTo>
                <a:cubicBezTo>
                  <a:pt x="232" y="143"/>
                  <a:pt x="241" y="116"/>
                  <a:pt x="244" y="108"/>
                </a:cubicBezTo>
                <a:cubicBezTo>
                  <a:pt x="246" y="99"/>
                  <a:pt x="256" y="92"/>
                  <a:pt x="265" y="90"/>
                </a:cubicBezTo>
                <a:cubicBezTo>
                  <a:pt x="274" y="88"/>
                  <a:pt x="279" y="77"/>
                  <a:pt x="283" y="68"/>
                </a:cubicBezTo>
                <a:cubicBezTo>
                  <a:pt x="286" y="58"/>
                  <a:pt x="288" y="50"/>
                  <a:pt x="283" y="45"/>
                </a:cubicBezTo>
                <a:cubicBezTo>
                  <a:pt x="277" y="41"/>
                  <a:pt x="275" y="32"/>
                  <a:pt x="283" y="31"/>
                </a:cubicBezTo>
                <a:cubicBezTo>
                  <a:pt x="290" y="30"/>
                  <a:pt x="291" y="18"/>
                  <a:pt x="297" y="21"/>
                </a:cubicBezTo>
                <a:cubicBezTo>
                  <a:pt x="302" y="23"/>
                  <a:pt x="307" y="21"/>
                  <a:pt x="315" y="17"/>
                </a:cubicBezTo>
                <a:cubicBezTo>
                  <a:pt x="324" y="14"/>
                  <a:pt x="321" y="11"/>
                  <a:pt x="334" y="16"/>
                </a:cubicBezTo>
                <a:cubicBezTo>
                  <a:pt x="347" y="21"/>
                  <a:pt x="375" y="17"/>
                  <a:pt x="375" y="1"/>
                </a:cubicBezTo>
                <a:cubicBezTo>
                  <a:pt x="374" y="0"/>
                  <a:pt x="374" y="0"/>
                  <a:pt x="374" y="0"/>
                </a:cubicBezTo>
                <a:cubicBezTo>
                  <a:pt x="378" y="10"/>
                  <a:pt x="398" y="24"/>
                  <a:pt x="398" y="24"/>
                </a:cubicBezTo>
                <a:cubicBezTo>
                  <a:pt x="398" y="24"/>
                  <a:pt x="431" y="43"/>
                  <a:pt x="435" y="43"/>
                </a:cubicBezTo>
                <a:cubicBezTo>
                  <a:pt x="435" y="43"/>
                  <a:pt x="429" y="59"/>
                  <a:pt x="426" y="63"/>
                </a:cubicBezTo>
                <a:cubicBezTo>
                  <a:pt x="422" y="67"/>
                  <a:pt x="427" y="82"/>
                  <a:pt x="421" y="85"/>
                </a:cubicBezTo>
                <a:cubicBezTo>
                  <a:pt x="415" y="89"/>
                  <a:pt x="390" y="85"/>
                  <a:pt x="382" y="83"/>
                </a:cubicBezTo>
                <a:cubicBezTo>
                  <a:pt x="374" y="81"/>
                  <a:pt x="374" y="78"/>
                  <a:pt x="360" y="79"/>
                </a:cubicBezTo>
                <a:cubicBezTo>
                  <a:pt x="346" y="81"/>
                  <a:pt x="328" y="84"/>
                  <a:pt x="333" y="97"/>
                </a:cubicBezTo>
                <a:cubicBezTo>
                  <a:pt x="338" y="110"/>
                  <a:pt x="351" y="136"/>
                  <a:pt x="356" y="139"/>
                </a:cubicBezTo>
                <a:cubicBezTo>
                  <a:pt x="362" y="143"/>
                  <a:pt x="373" y="148"/>
                  <a:pt x="378" y="153"/>
                </a:cubicBezTo>
                <a:cubicBezTo>
                  <a:pt x="382" y="159"/>
                  <a:pt x="375" y="179"/>
                  <a:pt x="371" y="185"/>
                </a:cubicBezTo>
                <a:cubicBezTo>
                  <a:pt x="366" y="191"/>
                  <a:pt x="360" y="194"/>
                  <a:pt x="353" y="207"/>
                </a:cubicBezTo>
                <a:cubicBezTo>
                  <a:pt x="346" y="220"/>
                  <a:pt x="325" y="237"/>
                  <a:pt x="321" y="247"/>
                </a:cubicBezTo>
                <a:cubicBezTo>
                  <a:pt x="318" y="258"/>
                  <a:pt x="295" y="284"/>
                  <a:pt x="287" y="286"/>
                </a:cubicBezTo>
                <a:cubicBezTo>
                  <a:pt x="279" y="288"/>
                  <a:pt x="265" y="301"/>
                  <a:pt x="253" y="301"/>
                </a:cubicBezTo>
                <a:cubicBezTo>
                  <a:pt x="241" y="301"/>
                  <a:pt x="223" y="291"/>
                  <a:pt x="226" y="308"/>
                </a:cubicBezTo>
                <a:cubicBezTo>
                  <a:pt x="230" y="326"/>
                  <a:pt x="241" y="347"/>
                  <a:pt x="251" y="351"/>
                </a:cubicBezTo>
                <a:cubicBezTo>
                  <a:pt x="260" y="354"/>
                  <a:pt x="252" y="361"/>
                  <a:pt x="260" y="362"/>
                </a:cubicBezTo>
                <a:cubicBezTo>
                  <a:pt x="268" y="363"/>
                  <a:pt x="279" y="367"/>
                  <a:pt x="277" y="379"/>
                </a:cubicBezTo>
                <a:cubicBezTo>
                  <a:pt x="274" y="390"/>
                  <a:pt x="263" y="392"/>
                  <a:pt x="253" y="389"/>
                </a:cubicBezTo>
                <a:cubicBezTo>
                  <a:pt x="244" y="387"/>
                  <a:pt x="233" y="375"/>
                  <a:pt x="227" y="383"/>
                </a:cubicBezTo>
                <a:cubicBezTo>
                  <a:pt x="221" y="392"/>
                  <a:pt x="214" y="393"/>
                  <a:pt x="210" y="401"/>
                </a:cubicBezTo>
                <a:cubicBezTo>
                  <a:pt x="205" y="409"/>
                  <a:pt x="197" y="415"/>
                  <a:pt x="197" y="415"/>
                </a:cubicBezTo>
                <a:cubicBezTo>
                  <a:pt x="197" y="415"/>
                  <a:pt x="177" y="398"/>
                  <a:pt x="171" y="390"/>
                </a:cubicBezTo>
                <a:cubicBezTo>
                  <a:pt x="165" y="383"/>
                  <a:pt x="160" y="375"/>
                  <a:pt x="158" y="367"/>
                </a:cubicBezTo>
                <a:cubicBezTo>
                  <a:pt x="156" y="359"/>
                  <a:pt x="135" y="348"/>
                  <a:pt x="125" y="355"/>
                </a:cubicBezTo>
                <a:cubicBezTo>
                  <a:pt x="116" y="362"/>
                  <a:pt x="101" y="363"/>
                  <a:pt x="94" y="365"/>
                </a:cubicBezTo>
                <a:cubicBezTo>
                  <a:pt x="87" y="366"/>
                  <a:pt x="78" y="358"/>
                  <a:pt x="69" y="363"/>
                </a:cubicBezTo>
                <a:cubicBezTo>
                  <a:pt x="60" y="369"/>
                  <a:pt x="0" y="360"/>
                  <a:pt x="0" y="36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87" name="Freeform 623"/>
          <p:cNvSpPr>
            <a:spLocks/>
          </p:cNvSpPr>
          <p:nvPr userDrawn="1"/>
        </p:nvSpPr>
        <p:spPr bwMode="auto">
          <a:xfrm>
            <a:off x="7452189" y="4234105"/>
            <a:ext cx="192635" cy="120607"/>
          </a:xfrm>
          <a:custGeom>
            <a:avLst/>
            <a:gdLst>
              <a:gd name="T0" fmla="*/ 2147483646 w 206"/>
              <a:gd name="T1" fmla="*/ 0 h 129"/>
              <a:gd name="T2" fmla="*/ 2147483646 w 206"/>
              <a:gd name="T3" fmla="*/ 2147483646 h 129"/>
              <a:gd name="T4" fmla="*/ 2147483646 w 206"/>
              <a:gd name="T5" fmla="*/ 2147483646 h 129"/>
              <a:gd name="T6" fmla="*/ 2147483646 w 206"/>
              <a:gd name="T7" fmla="*/ 2147483646 h 129"/>
              <a:gd name="T8" fmla="*/ 2147483646 w 206"/>
              <a:gd name="T9" fmla="*/ 2147483646 h 129"/>
              <a:gd name="T10" fmla="*/ 2147483646 w 206"/>
              <a:gd name="T11" fmla="*/ 2147483646 h 129"/>
              <a:gd name="T12" fmla="*/ 2147483646 w 206"/>
              <a:gd name="T13" fmla="*/ 2147483646 h 129"/>
              <a:gd name="T14" fmla="*/ 2147483646 w 206"/>
              <a:gd name="T15" fmla="*/ 2147483646 h 129"/>
              <a:gd name="T16" fmla="*/ 2147483646 w 206"/>
              <a:gd name="T17" fmla="*/ 2147483646 h 129"/>
              <a:gd name="T18" fmla="*/ 2147483646 w 206"/>
              <a:gd name="T19" fmla="*/ 2147483646 h 129"/>
              <a:gd name="T20" fmla="*/ 2147483646 w 206"/>
              <a:gd name="T21" fmla="*/ 2147483646 h 129"/>
              <a:gd name="T22" fmla="*/ 2147483646 w 206"/>
              <a:gd name="T23" fmla="*/ 2147483646 h 129"/>
              <a:gd name="T24" fmla="*/ 2147483646 w 206"/>
              <a:gd name="T25" fmla="*/ 2147483646 h 129"/>
              <a:gd name="T26" fmla="*/ 2147483646 w 206"/>
              <a:gd name="T27" fmla="*/ 2147483646 h 129"/>
              <a:gd name="T28" fmla="*/ 2147483646 w 206"/>
              <a:gd name="T29" fmla="*/ 0 h 12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6"/>
              <a:gd name="T46" fmla="*/ 0 h 129"/>
              <a:gd name="T47" fmla="*/ 206 w 206"/>
              <a:gd name="T48" fmla="*/ 129 h 12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6" h="129">
                <a:moveTo>
                  <a:pt x="27" y="0"/>
                </a:moveTo>
                <a:cubicBezTo>
                  <a:pt x="33" y="17"/>
                  <a:pt x="27" y="6"/>
                  <a:pt x="46" y="21"/>
                </a:cubicBezTo>
                <a:cubicBezTo>
                  <a:pt x="65" y="36"/>
                  <a:pt x="85" y="45"/>
                  <a:pt x="85" y="45"/>
                </a:cubicBezTo>
                <a:cubicBezTo>
                  <a:pt x="115" y="63"/>
                  <a:pt x="115" y="63"/>
                  <a:pt x="115" y="63"/>
                </a:cubicBezTo>
                <a:cubicBezTo>
                  <a:pt x="115" y="63"/>
                  <a:pt x="136" y="61"/>
                  <a:pt x="150" y="68"/>
                </a:cubicBezTo>
                <a:cubicBezTo>
                  <a:pt x="164" y="75"/>
                  <a:pt x="167" y="53"/>
                  <a:pt x="177" y="71"/>
                </a:cubicBezTo>
                <a:cubicBezTo>
                  <a:pt x="188" y="90"/>
                  <a:pt x="180" y="92"/>
                  <a:pt x="194" y="94"/>
                </a:cubicBezTo>
                <a:cubicBezTo>
                  <a:pt x="194" y="94"/>
                  <a:pt x="206" y="109"/>
                  <a:pt x="206" y="112"/>
                </a:cubicBezTo>
                <a:cubicBezTo>
                  <a:pt x="206" y="115"/>
                  <a:pt x="197" y="125"/>
                  <a:pt x="197" y="125"/>
                </a:cubicBezTo>
                <a:cubicBezTo>
                  <a:pt x="197" y="125"/>
                  <a:pt x="165" y="129"/>
                  <a:pt x="155" y="118"/>
                </a:cubicBezTo>
                <a:cubicBezTo>
                  <a:pt x="145" y="107"/>
                  <a:pt x="137" y="107"/>
                  <a:pt x="112" y="97"/>
                </a:cubicBezTo>
                <a:cubicBezTo>
                  <a:pt x="86" y="87"/>
                  <a:pt x="57" y="78"/>
                  <a:pt x="45" y="71"/>
                </a:cubicBezTo>
                <a:cubicBezTo>
                  <a:pt x="33" y="64"/>
                  <a:pt x="16" y="57"/>
                  <a:pt x="8" y="44"/>
                </a:cubicBezTo>
                <a:cubicBezTo>
                  <a:pt x="0" y="31"/>
                  <a:pt x="3" y="21"/>
                  <a:pt x="11" y="18"/>
                </a:cubicBezTo>
                <a:cubicBezTo>
                  <a:pt x="19" y="15"/>
                  <a:pt x="27" y="0"/>
                  <a:pt x="2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88" name="Freeform 624"/>
          <p:cNvSpPr>
            <a:spLocks/>
          </p:cNvSpPr>
          <p:nvPr userDrawn="1"/>
        </p:nvSpPr>
        <p:spPr bwMode="auto">
          <a:xfrm>
            <a:off x="7626400" y="4267606"/>
            <a:ext cx="221112" cy="204361"/>
          </a:xfrm>
          <a:custGeom>
            <a:avLst/>
            <a:gdLst>
              <a:gd name="T0" fmla="*/ 2147483646 w 237"/>
              <a:gd name="T1" fmla="*/ 2147483646 h 219"/>
              <a:gd name="T2" fmla="*/ 2147483646 w 237"/>
              <a:gd name="T3" fmla="*/ 2147483646 h 219"/>
              <a:gd name="T4" fmla="*/ 2147483646 w 237"/>
              <a:gd name="T5" fmla="*/ 2147483646 h 219"/>
              <a:gd name="T6" fmla="*/ 2147483646 w 237"/>
              <a:gd name="T7" fmla="*/ 2147483646 h 219"/>
              <a:gd name="T8" fmla="*/ 2147483646 w 237"/>
              <a:gd name="T9" fmla="*/ 2147483646 h 219"/>
              <a:gd name="T10" fmla="*/ 2147483646 w 237"/>
              <a:gd name="T11" fmla="*/ 2147483646 h 219"/>
              <a:gd name="T12" fmla="*/ 2147483646 w 237"/>
              <a:gd name="T13" fmla="*/ 2147483646 h 219"/>
              <a:gd name="T14" fmla="*/ 2147483646 w 237"/>
              <a:gd name="T15" fmla="*/ 2147483646 h 219"/>
              <a:gd name="T16" fmla="*/ 2147483646 w 237"/>
              <a:gd name="T17" fmla="*/ 2147483646 h 219"/>
              <a:gd name="T18" fmla="*/ 2147483646 w 237"/>
              <a:gd name="T19" fmla="*/ 2147483646 h 219"/>
              <a:gd name="T20" fmla="*/ 2147483646 w 237"/>
              <a:gd name="T21" fmla="*/ 2147483646 h 219"/>
              <a:gd name="T22" fmla="*/ 2147483646 w 237"/>
              <a:gd name="T23" fmla="*/ 2147483646 h 219"/>
              <a:gd name="T24" fmla="*/ 2147483646 w 237"/>
              <a:gd name="T25" fmla="*/ 2147483646 h 219"/>
              <a:gd name="T26" fmla="*/ 2147483646 w 237"/>
              <a:gd name="T27" fmla="*/ 2147483646 h 219"/>
              <a:gd name="T28" fmla="*/ 2147483646 w 237"/>
              <a:gd name="T29" fmla="*/ 2147483646 h 219"/>
              <a:gd name="T30" fmla="*/ 2147483646 w 237"/>
              <a:gd name="T31" fmla="*/ 2147483646 h 219"/>
              <a:gd name="T32" fmla="*/ 2147483646 w 237"/>
              <a:gd name="T33" fmla="*/ 2147483646 h 219"/>
              <a:gd name="T34" fmla="*/ 2147483646 w 237"/>
              <a:gd name="T35" fmla="*/ 2147483646 h 219"/>
              <a:gd name="T36" fmla="*/ 2147483646 w 237"/>
              <a:gd name="T37" fmla="*/ 2147483646 h 219"/>
              <a:gd name="T38" fmla="*/ 2147483646 w 237"/>
              <a:gd name="T39" fmla="*/ 2147483646 h 219"/>
              <a:gd name="T40" fmla="*/ 2147483646 w 237"/>
              <a:gd name="T41" fmla="*/ 2147483646 h 219"/>
              <a:gd name="T42" fmla="*/ 2147483646 w 237"/>
              <a:gd name="T43" fmla="*/ 2147483646 h 219"/>
              <a:gd name="T44" fmla="*/ 2147483646 w 237"/>
              <a:gd name="T45" fmla="*/ 2147483646 h 219"/>
              <a:gd name="T46" fmla="*/ 2147483646 w 237"/>
              <a:gd name="T47" fmla="*/ 2147483646 h 219"/>
              <a:gd name="T48" fmla="*/ 2147483646 w 237"/>
              <a:gd name="T49" fmla="*/ 2147483646 h 219"/>
              <a:gd name="T50" fmla="*/ 2147483646 w 237"/>
              <a:gd name="T51" fmla="*/ 2147483646 h 219"/>
              <a:gd name="T52" fmla="*/ 2147483646 w 237"/>
              <a:gd name="T53" fmla="*/ 2147483646 h 219"/>
              <a:gd name="T54" fmla="*/ 2147483646 w 237"/>
              <a:gd name="T55" fmla="*/ 2147483646 h 219"/>
              <a:gd name="T56" fmla="*/ 2147483646 w 237"/>
              <a:gd name="T57" fmla="*/ 2147483646 h 219"/>
              <a:gd name="T58" fmla="*/ 2147483646 w 237"/>
              <a:gd name="T59" fmla="*/ 2147483646 h 219"/>
              <a:gd name="T60" fmla="*/ 2147483646 w 237"/>
              <a:gd name="T61" fmla="*/ 2147483646 h 219"/>
              <a:gd name="T62" fmla="*/ 2147483646 w 237"/>
              <a:gd name="T63" fmla="*/ 2147483646 h 219"/>
              <a:gd name="T64" fmla="*/ 2147483646 w 237"/>
              <a:gd name="T65" fmla="*/ 2147483646 h 21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37"/>
              <a:gd name="T100" fmla="*/ 0 h 219"/>
              <a:gd name="T101" fmla="*/ 237 w 237"/>
              <a:gd name="T102" fmla="*/ 219 h 21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37" h="219">
                <a:moveTo>
                  <a:pt x="237" y="41"/>
                </a:moveTo>
                <a:cubicBezTo>
                  <a:pt x="233" y="42"/>
                  <a:pt x="225" y="38"/>
                  <a:pt x="225" y="29"/>
                </a:cubicBezTo>
                <a:cubicBezTo>
                  <a:pt x="225" y="21"/>
                  <a:pt x="223" y="15"/>
                  <a:pt x="210" y="8"/>
                </a:cubicBezTo>
                <a:cubicBezTo>
                  <a:pt x="197" y="1"/>
                  <a:pt x="202" y="15"/>
                  <a:pt x="192" y="22"/>
                </a:cubicBezTo>
                <a:cubicBezTo>
                  <a:pt x="183" y="29"/>
                  <a:pt x="191" y="27"/>
                  <a:pt x="175" y="21"/>
                </a:cubicBezTo>
                <a:cubicBezTo>
                  <a:pt x="158" y="15"/>
                  <a:pt x="172" y="17"/>
                  <a:pt x="162" y="8"/>
                </a:cubicBezTo>
                <a:cubicBezTo>
                  <a:pt x="151" y="0"/>
                  <a:pt x="155" y="19"/>
                  <a:pt x="148" y="21"/>
                </a:cubicBezTo>
                <a:cubicBezTo>
                  <a:pt x="141" y="24"/>
                  <a:pt x="137" y="29"/>
                  <a:pt x="125" y="32"/>
                </a:cubicBezTo>
                <a:cubicBezTo>
                  <a:pt x="114" y="34"/>
                  <a:pt x="97" y="42"/>
                  <a:pt x="97" y="42"/>
                </a:cubicBezTo>
                <a:cubicBezTo>
                  <a:pt x="97" y="42"/>
                  <a:pt x="90" y="51"/>
                  <a:pt x="87" y="47"/>
                </a:cubicBezTo>
                <a:cubicBezTo>
                  <a:pt x="83" y="44"/>
                  <a:pt x="82" y="42"/>
                  <a:pt x="68" y="32"/>
                </a:cubicBezTo>
                <a:cubicBezTo>
                  <a:pt x="54" y="21"/>
                  <a:pt x="55" y="45"/>
                  <a:pt x="55" y="45"/>
                </a:cubicBezTo>
                <a:cubicBezTo>
                  <a:pt x="55" y="45"/>
                  <a:pt x="49" y="55"/>
                  <a:pt x="24" y="49"/>
                </a:cubicBezTo>
                <a:cubicBezTo>
                  <a:pt x="0" y="44"/>
                  <a:pt x="21" y="59"/>
                  <a:pt x="7" y="58"/>
                </a:cubicBezTo>
                <a:cubicBezTo>
                  <a:pt x="7" y="58"/>
                  <a:pt x="19" y="73"/>
                  <a:pt x="19" y="76"/>
                </a:cubicBezTo>
                <a:cubicBezTo>
                  <a:pt x="19" y="76"/>
                  <a:pt x="36" y="85"/>
                  <a:pt x="44" y="88"/>
                </a:cubicBezTo>
                <a:cubicBezTo>
                  <a:pt x="53" y="90"/>
                  <a:pt x="68" y="90"/>
                  <a:pt x="72" y="96"/>
                </a:cubicBezTo>
                <a:cubicBezTo>
                  <a:pt x="76" y="101"/>
                  <a:pt x="63" y="110"/>
                  <a:pt x="73" y="110"/>
                </a:cubicBezTo>
                <a:cubicBezTo>
                  <a:pt x="84" y="109"/>
                  <a:pt x="91" y="110"/>
                  <a:pt x="105" y="110"/>
                </a:cubicBezTo>
                <a:cubicBezTo>
                  <a:pt x="118" y="110"/>
                  <a:pt x="123" y="112"/>
                  <a:pt x="126" y="115"/>
                </a:cubicBezTo>
                <a:cubicBezTo>
                  <a:pt x="129" y="118"/>
                  <a:pt x="115" y="141"/>
                  <a:pt x="112" y="146"/>
                </a:cubicBezTo>
                <a:cubicBezTo>
                  <a:pt x="109" y="150"/>
                  <a:pt x="93" y="147"/>
                  <a:pt x="103" y="159"/>
                </a:cubicBezTo>
                <a:cubicBezTo>
                  <a:pt x="113" y="171"/>
                  <a:pt x="116" y="160"/>
                  <a:pt x="120" y="165"/>
                </a:cubicBezTo>
                <a:cubicBezTo>
                  <a:pt x="124" y="171"/>
                  <a:pt x="126" y="188"/>
                  <a:pt x="127" y="191"/>
                </a:cubicBezTo>
                <a:cubicBezTo>
                  <a:pt x="129" y="194"/>
                  <a:pt x="136" y="214"/>
                  <a:pt x="137" y="217"/>
                </a:cubicBezTo>
                <a:cubicBezTo>
                  <a:pt x="137" y="219"/>
                  <a:pt x="149" y="200"/>
                  <a:pt x="148" y="193"/>
                </a:cubicBezTo>
                <a:cubicBezTo>
                  <a:pt x="148" y="186"/>
                  <a:pt x="141" y="172"/>
                  <a:pt x="148" y="164"/>
                </a:cubicBezTo>
                <a:cubicBezTo>
                  <a:pt x="156" y="155"/>
                  <a:pt x="162" y="151"/>
                  <a:pt x="168" y="152"/>
                </a:cubicBezTo>
                <a:cubicBezTo>
                  <a:pt x="174" y="153"/>
                  <a:pt x="179" y="145"/>
                  <a:pt x="181" y="139"/>
                </a:cubicBezTo>
                <a:cubicBezTo>
                  <a:pt x="182" y="134"/>
                  <a:pt x="177" y="120"/>
                  <a:pt x="178" y="110"/>
                </a:cubicBezTo>
                <a:cubicBezTo>
                  <a:pt x="179" y="101"/>
                  <a:pt x="189" y="82"/>
                  <a:pt x="194" y="79"/>
                </a:cubicBezTo>
                <a:cubicBezTo>
                  <a:pt x="199" y="76"/>
                  <a:pt x="220" y="59"/>
                  <a:pt x="223" y="57"/>
                </a:cubicBezTo>
                <a:cubicBezTo>
                  <a:pt x="226" y="56"/>
                  <a:pt x="237" y="41"/>
                  <a:pt x="237" y="4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89" name="Freeform 625"/>
          <p:cNvSpPr>
            <a:spLocks/>
          </p:cNvSpPr>
          <p:nvPr userDrawn="1"/>
        </p:nvSpPr>
        <p:spPr bwMode="auto">
          <a:xfrm>
            <a:off x="7636451" y="4337961"/>
            <a:ext cx="117256" cy="155783"/>
          </a:xfrm>
          <a:custGeom>
            <a:avLst/>
            <a:gdLst>
              <a:gd name="T0" fmla="*/ 0 w 127"/>
              <a:gd name="T1" fmla="*/ 2147483646 h 167"/>
              <a:gd name="T2" fmla="*/ 2147483646 w 127"/>
              <a:gd name="T3" fmla="*/ 0 h 167"/>
              <a:gd name="T4" fmla="*/ 2147483646 w 127"/>
              <a:gd name="T5" fmla="*/ 2147483646 h 167"/>
              <a:gd name="T6" fmla="*/ 2147483646 w 127"/>
              <a:gd name="T7" fmla="*/ 2147483646 h 167"/>
              <a:gd name="T8" fmla="*/ 2147483646 w 127"/>
              <a:gd name="T9" fmla="*/ 2147483646 h 167"/>
              <a:gd name="T10" fmla="*/ 2147483646 w 127"/>
              <a:gd name="T11" fmla="*/ 2147483646 h 167"/>
              <a:gd name="T12" fmla="*/ 2147483646 w 127"/>
              <a:gd name="T13" fmla="*/ 2147483646 h 167"/>
              <a:gd name="T14" fmla="*/ 2147483646 w 127"/>
              <a:gd name="T15" fmla="*/ 2147483646 h 167"/>
              <a:gd name="T16" fmla="*/ 2147483646 w 127"/>
              <a:gd name="T17" fmla="*/ 2147483646 h 167"/>
              <a:gd name="T18" fmla="*/ 2147483646 w 127"/>
              <a:gd name="T19" fmla="*/ 2147483646 h 167"/>
              <a:gd name="T20" fmla="*/ 2147483646 w 127"/>
              <a:gd name="T21" fmla="*/ 2147483646 h 167"/>
              <a:gd name="T22" fmla="*/ 2147483646 w 127"/>
              <a:gd name="T23" fmla="*/ 2147483646 h 167"/>
              <a:gd name="T24" fmla="*/ 2147483646 w 127"/>
              <a:gd name="T25" fmla="*/ 2147483646 h 167"/>
              <a:gd name="T26" fmla="*/ 2147483646 w 127"/>
              <a:gd name="T27" fmla="*/ 2147483646 h 167"/>
              <a:gd name="T28" fmla="*/ 2147483646 w 127"/>
              <a:gd name="T29" fmla="*/ 2147483646 h 167"/>
              <a:gd name="T30" fmla="*/ 2147483646 w 127"/>
              <a:gd name="T31" fmla="*/ 2147483646 h 167"/>
              <a:gd name="T32" fmla="*/ 2147483646 w 127"/>
              <a:gd name="T33" fmla="*/ 2147483646 h 167"/>
              <a:gd name="T34" fmla="*/ 2147483646 w 127"/>
              <a:gd name="T35" fmla="*/ 2147483646 h 167"/>
              <a:gd name="T36" fmla="*/ 2147483646 w 127"/>
              <a:gd name="T37" fmla="*/ 2147483646 h 167"/>
              <a:gd name="T38" fmla="*/ 2147483646 w 127"/>
              <a:gd name="T39" fmla="*/ 2147483646 h 167"/>
              <a:gd name="T40" fmla="*/ 2147483646 w 127"/>
              <a:gd name="T41" fmla="*/ 2147483646 h 167"/>
              <a:gd name="T42" fmla="*/ 2147483646 w 127"/>
              <a:gd name="T43" fmla="*/ 2147483646 h 167"/>
              <a:gd name="T44" fmla="*/ 2147483646 w 127"/>
              <a:gd name="T45" fmla="*/ 2147483646 h 167"/>
              <a:gd name="T46" fmla="*/ 2147483646 w 127"/>
              <a:gd name="T47" fmla="*/ 2147483646 h 167"/>
              <a:gd name="T48" fmla="*/ 2147483646 w 127"/>
              <a:gd name="T49" fmla="*/ 2147483646 h 167"/>
              <a:gd name="T50" fmla="*/ 0 w 127"/>
              <a:gd name="T51" fmla="*/ 2147483646 h 16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27"/>
              <a:gd name="T79" fmla="*/ 0 h 167"/>
              <a:gd name="T80" fmla="*/ 127 w 127"/>
              <a:gd name="T81" fmla="*/ 167 h 16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27" h="167">
                <a:moveTo>
                  <a:pt x="0" y="13"/>
                </a:moveTo>
                <a:cubicBezTo>
                  <a:pt x="0" y="13"/>
                  <a:pt x="9" y="3"/>
                  <a:pt x="9" y="0"/>
                </a:cubicBezTo>
                <a:cubicBezTo>
                  <a:pt x="9" y="0"/>
                  <a:pt x="26" y="9"/>
                  <a:pt x="34" y="12"/>
                </a:cubicBezTo>
                <a:cubicBezTo>
                  <a:pt x="43" y="14"/>
                  <a:pt x="58" y="14"/>
                  <a:pt x="62" y="20"/>
                </a:cubicBezTo>
                <a:cubicBezTo>
                  <a:pt x="66" y="25"/>
                  <a:pt x="53" y="34"/>
                  <a:pt x="63" y="34"/>
                </a:cubicBezTo>
                <a:cubicBezTo>
                  <a:pt x="74" y="33"/>
                  <a:pt x="81" y="34"/>
                  <a:pt x="95" y="34"/>
                </a:cubicBezTo>
                <a:cubicBezTo>
                  <a:pt x="108" y="34"/>
                  <a:pt x="113" y="36"/>
                  <a:pt x="116" y="39"/>
                </a:cubicBezTo>
                <a:cubicBezTo>
                  <a:pt x="119" y="42"/>
                  <a:pt x="105" y="65"/>
                  <a:pt x="102" y="70"/>
                </a:cubicBezTo>
                <a:cubicBezTo>
                  <a:pt x="99" y="74"/>
                  <a:pt x="83" y="71"/>
                  <a:pt x="93" y="83"/>
                </a:cubicBezTo>
                <a:cubicBezTo>
                  <a:pt x="103" y="95"/>
                  <a:pt x="106" y="84"/>
                  <a:pt x="110" y="89"/>
                </a:cubicBezTo>
                <a:cubicBezTo>
                  <a:pt x="114" y="95"/>
                  <a:pt x="116" y="112"/>
                  <a:pt x="117" y="115"/>
                </a:cubicBezTo>
                <a:cubicBezTo>
                  <a:pt x="119" y="118"/>
                  <a:pt x="126" y="138"/>
                  <a:pt x="127" y="141"/>
                </a:cubicBezTo>
                <a:cubicBezTo>
                  <a:pt x="127" y="141"/>
                  <a:pt x="118" y="155"/>
                  <a:pt x="119" y="157"/>
                </a:cubicBezTo>
                <a:cubicBezTo>
                  <a:pt x="120" y="160"/>
                  <a:pt x="104" y="167"/>
                  <a:pt x="104" y="160"/>
                </a:cubicBezTo>
                <a:cubicBezTo>
                  <a:pt x="103" y="153"/>
                  <a:pt x="99" y="137"/>
                  <a:pt x="99" y="133"/>
                </a:cubicBezTo>
                <a:cubicBezTo>
                  <a:pt x="98" y="128"/>
                  <a:pt x="98" y="117"/>
                  <a:pt x="92" y="116"/>
                </a:cubicBezTo>
                <a:cubicBezTo>
                  <a:pt x="86" y="115"/>
                  <a:pt x="67" y="119"/>
                  <a:pt x="67" y="125"/>
                </a:cubicBezTo>
                <a:cubicBezTo>
                  <a:pt x="66" y="131"/>
                  <a:pt x="48" y="144"/>
                  <a:pt x="45" y="144"/>
                </a:cubicBezTo>
                <a:cubicBezTo>
                  <a:pt x="41" y="144"/>
                  <a:pt x="33" y="133"/>
                  <a:pt x="34" y="128"/>
                </a:cubicBezTo>
                <a:cubicBezTo>
                  <a:pt x="36" y="123"/>
                  <a:pt x="29" y="93"/>
                  <a:pt x="27" y="90"/>
                </a:cubicBezTo>
                <a:cubicBezTo>
                  <a:pt x="25" y="88"/>
                  <a:pt x="19" y="83"/>
                  <a:pt x="19" y="77"/>
                </a:cubicBezTo>
                <a:cubicBezTo>
                  <a:pt x="19" y="70"/>
                  <a:pt x="21" y="56"/>
                  <a:pt x="22" y="53"/>
                </a:cubicBezTo>
                <a:cubicBezTo>
                  <a:pt x="23" y="50"/>
                  <a:pt x="26" y="40"/>
                  <a:pt x="23" y="38"/>
                </a:cubicBezTo>
                <a:cubicBezTo>
                  <a:pt x="19" y="35"/>
                  <a:pt x="18" y="32"/>
                  <a:pt x="15" y="33"/>
                </a:cubicBezTo>
                <a:cubicBezTo>
                  <a:pt x="12" y="34"/>
                  <a:pt x="7" y="41"/>
                  <a:pt x="4" y="35"/>
                </a:cubicBezTo>
                <a:lnTo>
                  <a:pt x="0" y="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90" name="Freeform 626"/>
          <p:cNvSpPr>
            <a:spLocks/>
          </p:cNvSpPr>
          <p:nvPr userDrawn="1"/>
        </p:nvSpPr>
        <p:spPr bwMode="auto">
          <a:xfrm>
            <a:off x="7745331" y="4291058"/>
            <a:ext cx="216088" cy="467351"/>
          </a:xfrm>
          <a:custGeom>
            <a:avLst/>
            <a:gdLst>
              <a:gd name="T0" fmla="*/ 2147483646 w 231"/>
              <a:gd name="T1" fmla="*/ 2147483646 h 501"/>
              <a:gd name="T2" fmla="*/ 2147483646 w 231"/>
              <a:gd name="T3" fmla="*/ 2147483646 h 501"/>
              <a:gd name="T4" fmla="*/ 2147483646 w 231"/>
              <a:gd name="T5" fmla="*/ 2147483646 h 501"/>
              <a:gd name="T6" fmla="*/ 2147483646 w 231"/>
              <a:gd name="T7" fmla="*/ 2147483646 h 501"/>
              <a:gd name="T8" fmla="*/ 2147483646 w 231"/>
              <a:gd name="T9" fmla="*/ 2147483646 h 501"/>
              <a:gd name="T10" fmla="*/ 2147483646 w 231"/>
              <a:gd name="T11" fmla="*/ 2147483646 h 501"/>
              <a:gd name="T12" fmla="*/ 2147483646 w 231"/>
              <a:gd name="T13" fmla="*/ 2147483646 h 501"/>
              <a:gd name="T14" fmla="*/ 2147483646 w 231"/>
              <a:gd name="T15" fmla="*/ 2147483646 h 501"/>
              <a:gd name="T16" fmla="*/ 2147483646 w 231"/>
              <a:gd name="T17" fmla="*/ 2147483646 h 501"/>
              <a:gd name="T18" fmla="*/ 2147483646 w 231"/>
              <a:gd name="T19" fmla="*/ 2147483646 h 501"/>
              <a:gd name="T20" fmla="*/ 2147483646 w 231"/>
              <a:gd name="T21" fmla="*/ 2147483646 h 501"/>
              <a:gd name="T22" fmla="*/ 2147483646 w 231"/>
              <a:gd name="T23" fmla="*/ 2147483646 h 501"/>
              <a:gd name="T24" fmla="*/ 2147483646 w 231"/>
              <a:gd name="T25" fmla="*/ 2147483646 h 501"/>
              <a:gd name="T26" fmla="*/ 2147483646 w 231"/>
              <a:gd name="T27" fmla="*/ 2147483646 h 501"/>
              <a:gd name="T28" fmla="*/ 2147483646 w 231"/>
              <a:gd name="T29" fmla="*/ 2147483646 h 501"/>
              <a:gd name="T30" fmla="*/ 2147483646 w 231"/>
              <a:gd name="T31" fmla="*/ 2147483646 h 501"/>
              <a:gd name="T32" fmla="*/ 2147483646 w 231"/>
              <a:gd name="T33" fmla="*/ 2147483646 h 501"/>
              <a:gd name="T34" fmla="*/ 2147483646 w 231"/>
              <a:gd name="T35" fmla="*/ 2147483646 h 501"/>
              <a:gd name="T36" fmla="*/ 2147483646 w 231"/>
              <a:gd name="T37" fmla="*/ 2147483646 h 501"/>
              <a:gd name="T38" fmla="*/ 2147483646 w 231"/>
              <a:gd name="T39" fmla="*/ 2147483646 h 501"/>
              <a:gd name="T40" fmla="*/ 2147483646 w 231"/>
              <a:gd name="T41" fmla="*/ 2147483646 h 501"/>
              <a:gd name="T42" fmla="*/ 2147483646 w 231"/>
              <a:gd name="T43" fmla="*/ 2147483646 h 501"/>
              <a:gd name="T44" fmla="*/ 2147483646 w 231"/>
              <a:gd name="T45" fmla="*/ 2147483646 h 501"/>
              <a:gd name="T46" fmla="*/ 2147483646 w 231"/>
              <a:gd name="T47" fmla="*/ 2147483646 h 501"/>
              <a:gd name="T48" fmla="*/ 2147483646 w 231"/>
              <a:gd name="T49" fmla="*/ 2147483646 h 501"/>
              <a:gd name="T50" fmla="*/ 2147483646 w 231"/>
              <a:gd name="T51" fmla="*/ 2147483646 h 501"/>
              <a:gd name="T52" fmla="*/ 2147483646 w 231"/>
              <a:gd name="T53" fmla="*/ 2147483646 h 501"/>
              <a:gd name="T54" fmla="*/ 2147483646 w 231"/>
              <a:gd name="T55" fmla="*/ 2147483646 h 501"/>
              <a:gd name="T56" fmla="*/ 2147483646 w 231"/>
              <a:gd name="T57" fmla="*/ 2147483646 h 501"/>
              <a:gd name="T58" fmla="*/ 2147483646 w 231"/>
              <a:gd name="T59" fmla="*/ 2147483646 h 501"/>
              <a:gd name="T60" fmla="*/ 2147483646 w 231"/>
              <a:gd name="T61" fmla="*/ 2147483646 h 501"/>
              <a:gd name="T62" fmla="*/ 2147483646 w 231"/>
              <a:gd name="T63" fmla="*/ 2147483646 h 501"/>
              <a:gd name="T64" fmla="*/ 2147483646 w 231"/>
              <a:gd name="T65" fmla="*/ 2147483646 h 501"/>
              <a:gd name="T66" fmla="*/ 2147483646 w 231"/>
              <a:gd name="T67" fmla="*/ 2147483646 h 501"/>
              <a:gd name="T68" fmla="*/ 2147483646 w 231"/>
              <a:gd name="T69" fmla="*/ 2147483646 h 501"/>
              <a:gd name="T70" fmla="*/ 2147483646 w 231"/>
              <a:gd name="T71" fmla="*/ 2147483646 h 501"/>
              <a:gd name="T72" fmla="*/ 2147483646 w 231"/>
              <a:gd name="T73" fmla="*/ 2147483646 h 501"/>
              <a:gd name="T74" fmla="*/ 2147483646 w 231"/>
              <a:gd name="T75" fmla="*/ 2147483646 h 501"/>
              <a:gd name="T76" fmla="*/ 2147483646 w 231"/>
              <a:gd name="T77" fmla="*/ 2147483646 h 501"/>
              <a:gd name="T78" fmla="*/ 2147483646 w 231"/>
              <a:gd name="T79" fmla="*/ 2147483646 h 501"/>
              <a:gd name="T80" fmla="*/ 2147483646 w 231"/>
              <a:gd name="T81" fmla="*/ 2147483646 h 501"/>
              <a:gd name="T82" fmla="*/ 2147483646 w 231"/>
              <a:gd name="T83" fmla="*/ 2147483646 h 501"/>
              <a:gd name="T84" fmla="*/ 2147483646 w 231"/>
              <a:gd name="T85" fmla="*/ 2147483646 h 501"/>
              <a:gd name="T86" fmla="*/ 2147483646 w 231"/>
              <a:gd name="T87" fmla="*/ 2147483646 h 501"/>
              <a:gd name="T88" fmla="*/ 2147483646 w 231"/>
              <a:gd name="T89" fmla="*/ 2147483646 h 501"/>
              <a:gd name="T90" fmla="*/ 2147483646 w 231"/>
              <a:gd name="T91" fmla="*/ 2147483646 h 501"/>
              <a:gd name="T92" fmla="*/ 2147483646 w 231"/>
              <a:gd name="T93" fmla="*/ 2147483646 h 501"/>
              <a:gd name="T94" fmla="*/ 2147483646 w 231"/>
              <a:gd name="T95" fmla="*/ 2147483646 h 501"/>
              <a:gd name="T96" fmla="*/ 2147483646 w 231"/>
              <a:gd name="T97" fmla="*/ 2147483646 h 501"/>
              <a:gd name="T98" fmla="*/ 2147483646 w 231"/>
              <a:gd name="T99" fmla="*/ 2147483646 h 501"/>
              <a:gd name="T100" fmla="*/ 2147483646 w 231"/>
              <a:gd name="T101" fmla="*/ 2147483646 h 501"/>
              <a:gd name="T102" fmla="*/ 2147483646 w 231"/>
              <a:gd name="T103" fmla="*/ 2147483646 h 501"/>
              <a:gd name="T104" fmla="*/ 2147483646 w 231"/>
              <a:gd name="T105" fmla="*/ 2147483646 h 501"/>
              <a:gd name="T106" fmla="*/ 2147483646 w 231"/>
              <a:gd name="T107" fmla="*/ 2147483646 h 501"/>
              <a:gd name="T108" fmla="*/ 2147483646 w 231"/>
              <a:gd name="T109" fmla="*/ 2147483646 h 501"/>
              <a:gd name="T110" fmla="*/ 2147483646 w 231"/>
              <a:gd name="T111" fmla="*/ 2147483646 h 501"/>
              <a:gd name="T112" fmla="*/ 2147483646 w 231"/>
              <a:gd name="T113" fmla="*/ 2147483646 h 501"/>
              <a:gd name="T114" fmla="*/ 2147483646 w 231"/>
              <a:gd name="T115" fmla="*/ 2147483646 h 501"/>
              <a:gd name="T116" fmla="*/ 2147483646 w 231"/>
              <a:gd name="T117" fmla="*/ 2147483646 h 50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31"/>
              <a:gd name="T178" fmla="*/ 0 h 501"/>
              <a:gd name="T179" fmla="*/ 231 w 231"/>
              <a:gd name="T180" fmla="*/ 501 h 50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31" h="501">
                <a:moveTo>
                  <a:pt x="1" y="208"/>
                </a:moveTo>
                <a:cubicBezTo>
                  <a:pt x="0" y="206"/>
                  <a:pt x="9" y="192"/>
                  <a:pt x="9" y="192"/>
                </a:cubicBezTo>
                <a:cubicBezTo>
                  <a:pt x="9" y="194"/>
                  <a:pt x="21" y="175"/>
                  <a:pt x="20" y="168"/>
                </a:cubicBezTo>
                <a:cubicBezTo>
                  <a:pt x="20" y="161"/>
                  <a:pt x="13" y="147"/>
                  <a:pt x="20" y="139"/>
                </a:cubicBezTo>
                <a:cubicBezTo>
                  <a:pt x="28" y="130"/>
                  <a:pt x="34" y="126"/>
                  <a:pt x="40" y="127"/>
                </a:cubicBezTo>
                <a:cubicBezTo>
                  <a:pt x="46" y="128"/>
                  <a:pt x="51" y="120"/>
                  <a:pt x="53" y="114"/>
                </a:cubicBezTo>
                <a:cubicBezTo>
                  <a:pt x="54" y="109"/>
                  <a:pt x="49" y="95"/>
                  <a:pt x="50" y="85"/>
                </a:cubicBezTo>
                <a:cubicBezTo>
                  <a:pt x="51" y="76"/>
                  <a:pt x="61" y="57"/>
                  <a:pt x="66" y="54"/>
                </a:cubicBezTo>
                <a:cubicBezTo>
                  <a:pt x="71" y="51"/>
                  <a:pt x="92" y="34"/>
                  <a:pt x="95" y="32"/>
                </a:cubicBezTo>
                <a:cubicBezTo>
                  <a:pt x="98" y="31"/>
                  <a:pt x="109" y="16"/>
                  <a:pt x="109" y="16"/>
                </a:cubicBezTo>
                <a:cubicBezTo>
                  <a:pt x="112" y="15"/>
                  <a:pt x="123" y="8"/>
                  <a:pt x="123" y="8"/>
                </a:cubicBezTo>
                <a:cubicBezTo>
                  <a:pt x="123" y="8"/>
                  <a:pt x="128" y="0"/>
                  <a:pt x="137" y="7"/>
                </a:cubicBezTo>
                <a:cubicBezTo>
                  <a:pt x="146" y="14"/>
                  <a:pt x="151" y="6"/>
                  <a:pt x="152" y="26"/>
                </a:cubicBezTo>
                <a:cubicBezTo>
                  <a:pt x="153" y="46"/>
                  <a:pt x="150" y="62"/>
                  <a:pt x="150" y="62"/>
                </a:cubicBezTo>
                <a:cubicBezTo>
                  <a:pt x="133" y="85"/>
                  <a:pt x="133" y="85"/>
                  <a:pt x="133" y="85"/>
                </a:cubicBezTo>
                <a:cubicBezTo>
                  <a:pt x="133" y="85"/>
                  <a:pt x="123" y="90"/>
                  <a:pt x="126" y="105"/>
                </a:cubicBezTo>
                <a:cubicBezTo>
                  <a:pt x="130" y="121"/>
                  <a:pt x="123" y="127"/>
                  <a:pt x="135" y="129"/>
                </a:cubicBezTo>
                <a:cubicBezTo>
                  <a:pt x="146" y="131"/>
                  <a:pt x="144" y="115"/>
                  <a:pt x="159" y="124"/>
                </a:cubicBezTo>
                <a:cubicBezTo>
                  <a:pt x="175" y="134"/>
                  <a:pt x="168" y="137"/>
                  <a:pt x="171" y="146"/>
                </a:cubicBezTo>
                <a:cubicBezTo>
                  <a:pt x="175" y="156"/>
                  <a:pt x="187" y="145"/>
                  <a:pt x="175" y="156"/>
                </a:cubicBezTo>
                <a:cubicBezTo>
                  <a:pt x="162" y="166"/>
                  <a:pt x="157" y="150"/>
                  <a:pt x="162" y="166"/>
                </a:cubicBezTo>
                <a:cubicBezTo>
                  <a:pt x="166" y="183"/>
                  <a:pt x="160" y="176"/>
                  <a:pt x="171" y="180"/>
                </a:cubicBezTo>
                <a:cubicBezTo>
                  <a:pt x="182" y="185"/>
                  <a:pt x="170" y="172"/>
                  <a:pt x="196" y="185"/>
                </a:cubicBezTo>
                <a:cubicBezTo>
                  <a:pt x="222" y="198"/>
                  <a:pt x="230" y="190"/>
                  <a:pt x="231" y="184"/>
                </a:cubicBezTo>
                <a:cubicBezTo>
                  <a:pt x="231" y="184"/>
                  <a:pt x="228" y="211"/>
                  <a:pt x="218" y="211"/>
                </a:cubicBezTo>
                <a:cubicBezTo>
                  <a:pt x="207" y="212"/>
                  <a:pt x="195" y="213"/>
                  <a:pt x="196" y="221"/>
                </a:cubicBezTo>
                <a:cubicBezTo>
                  <a:pt x="197" y="229"/>
                  <a:pt x="186" y="229"/>
                  <a:pt x="180" y="229"/>
                </a:cubicBezTo>
                <a:cubicBezTo>
                  <a:pt x="174" y="229"/>
                  <a:pt x="173" y="217"/>
                  <a:pt x="165" y="230"/>
                </a:cubicBezTo>
                <a:cubicBezTo>
                  <a:pt x="157" y="243"/>
                  <a:pt x="137" y="257"/>
                  <a:pt x="138" y="264"/>
                </a:cubicBezTo>
                <a:cubicBezTo>
                  <a:pt x="139" y="271"/>
                  <a:pt x="132" y="277"/>
                  <a:pt x="127" y="279"/>
                </a:cubicBezTo>
                <a:cubicBezTo>
                  <a:pt x="122" y="282"/>
                  <a:pt x="117" y="286"/>
                  <a:pt x="125" y="292"/>
                </a:cubicBezTo>
                <a:cubicBezTo>
                  <a:pt x="132" y="299"/>
                  <a:pt x="146" y="306"/>
                  <a:pt x="151" y="316"/>
                </a:cubicBezTo>
                <a:cubicBezTo>
                  <a:pt x="156" y="326"/>
                  <a:pt x="153" y="327"/>
                  <a:pt x="155" y="342"/>
                </a:cubicBezTo>
                <a:cubicBezTo>
                  <a:pt x="158" y="357"/>
                  <a:pt x="142" y="362"/>
                  <a:pt x="150" y="374"/>
                </a:cubicBezTo>
                <a:cubicBezTo>
                  <a:pt x="158" y="387"/>
                  <a:pt x="167" y="401"/>
                  <a:pt x="170" y="408"/>
                </a:cubicBezTo>
                <a:cubicBezTo>
                  <a:pt x="173" y="414"/>
                  <a:pt x="180" y="415"/>
                  <a:pt x="178" y="428"/>
                </a:cubicBezTo>
                <a:cubicBezTo>
                  <a:pt x="176" y="441"/>
                  <a:pt x="171" y="445"/>
                  <a:pt x="173" y="452"/>
                </a:cubicBezTo>
                <a:cubicBezTo>
                  <a:pt x="176" y="459"/>
                  <a:pt x="176" y="479"/>
                  <a:pt x="173" y="485"/>
                </a:cubicBezTo>
                <a:cubicBezTo>
                  <a:pt x="171" y="491"/>
                  <a:pt x="170" y="496"/>
                  <a:pt x="165" y="498"/>
                </a:cubicBezTo>
                <a:cubicBezTo>
                  <a:pt x="159" y="501"/>
                  <a:pt x="153" y="501"/>
                  <a:pt x="153" y="501"/>
                </a:cubicBezTo>
                <a:cubicBezTo>
                  <a:pt x="153" y="501"/>
                  <a:pt x="160" y="481"/>
                  <a:pt x="158" y="466"/>
                </a:cubicBezTo>
                <a:cubicBezTo>
                  <a:pt x="155" y="451"/>
                  <a:pt x="147" y="441"/>
                  <a:pt x="148" y="435"/>
                </a:cubicBezTo>
                <a:cubicBezTo>
                  <a:pt x="149" y="428"/>
                  <a:pt x="156" y="420"/>
                  <a:pt x="151" y="416"/>
                </a:cubicBezTo>
                <a:cubicBezTo>
                  <a:pt x="146" y="413"/>
                  <a:pt x="138" y="411"/>
                  <a:pt x="132" y="400"/>
                </a:cubicBezTo>
                <a:cubicBezTo>
                  <a:pt x="127" y="388"/>
                  <a:pt x="124" y="380"/>
                  <a:pt x="124" y="371"/>
                </a:cubicBezTo>
                <a:cubicBezTo>
                  <a:pt x="124" y="362"/>
                  <a:pt x="126" y="364"/>
                  <a:pt x="123" y="353"/>
                </a:cubicBezTo>
                <a:cubicBezTo>
                  <a:pt x="120" y="341"/>
                  <a:pt x="120" y="333"/>
                  <a:pt x="114" y="333"/>
                </a:cubicBezTo>
                <a:cubicBezTo>
                  <a:pt x="108" y="332"/>
                  <a:pt x="108" y="317"/>
                  <a:pt x="100" y="325"/>
                </a:cubicBezTo>
                <a:cubicBezTo>
                  <a:pt x="92" y="333"/>
                  <a:pt x="79" y="355"/>
                  <a:pt x="72" y="357"/>
                </a:cubicBezTo>
                <a:cubicBezTo>
                  <a:pt x="65" y="359"/>
                  <a:pt x="37" y="354"/>
                  <a:pt x="36" y="346"/>
                </a:cubicBezTo>
                <a:cubicBezTo>
                  <a:pt x="34" y="337"/>
                  <a:pt x="25" y="325"/>
                  <a:pt x="30" y="318"/>
                </a:cubicBezTo>
                <a:cubicBezTo>
                  <a:pt x="34" y="311"/>
                  <a:pt x="44" y="309"/>
                  <a:pt x="48" y="303"/>
                </a:cubicBezTo>
                <a:cubicBezTo>
                  <a:pt x="52" y="297"/>
                  <a:pt x="53" y="281"/>
                  <a:pt x="46" y="281"/>
                </a:cubicBezTo>
                <a:cubicBezTo>
                  <a:pt x="39" y="281"/>
                  <a:pt x="22" y="273"/>
                  <a:pt x="22" y="273"/>
                </a:cubicBezTo>
                <a:cubicBezTo>
                  <a:pt x="22" y="273"/>
                  <a:pt x="25" y="258"/>
                  <a:pt x="31" y="258"/>
                </a:cubicBezTo>
                <a:cubicBezTo>
                  <a:pt x="37" y="259"/>
                  <a:pt x="43" y="243"/>
                  <a:pt x="37" y="243"/>
                </a:cubicBezTo>
                <a:cubicBezTo>
                  <a:pt x="31" y="243"/>
                  <a:pt x="29" y="244"/>
                  <a:pt x="25" y="238"/>
                </a:cubicBezTo>
                <a:cubicBezTo>
                  <a:pt x="22" y="231"/>
                  <a:pt x="17" y="220"/>
                  <a:pt x="11" y="223"/>
                </a:cubicBezTo>
                <a:cubicBezTo>
                  <a:pt x="5" y="225"/>
                  <a:pt x="1" y="208"/>
                  <a:pt x="1" y="20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91" name="Freeform 627"/>
          <p:cNvSpPr>
            <a:spLocks/>
          </p:cNvSpPr>
          <p:nvPr userDrawn="1"/>
        </p:nvSpPr>
        <p:spPr bwMode="auto">
          <a:xfrm>
            <a:off x="7961419" y="4423390"/>
            <a:ext cx="190960" cy="380247"/>
          </a:xfrm>
          <a:custGeom>
            <a:avLst/>
            <a:gdLst>
              <a:gd name="T0" fmla="*/ 2147483646 w 205"/>
              <a:gd name="T1" fmla="*/ 2147483646 h 408"/>
              <a:gd name="T2" fmla="*/ 2147483646 w 205"/>
              <a:gd name="T3" fmla="*/ 2147483646 h 408"/>
              <a:gd name="T4" fmla="*/ 2147483646 w 205"/>
              <a:gd name="T5" fmla="*/ 2147483646 h 408"/>
              <a:gd name="T6" fmla="*/ 2147483646 w 205"/>
              <a:gd name="T7" fmla="*/ 2147483646 h 408"/>
              <a:gd name="T8" fmla="*/ 2147483646 w 205"/>
              <a:gd name="T9" fmla="*/ 2147483646 h 408"/>
              <a:gd name="T10" fmla="*/ 2147483646 w 205"/>
              <a:gd name="T11" fmla="*/ 2147483646 h 408"/>
              <a:gd name="T12" fmla="*/ 2147483646 w 205"/>
              <a:gd name="T13" fmla="*/ 2147483646 h 408"/>
              <a:gd name="T14" fmla="*/ 2147483646 w 205"/>
              <a:gd name="T15" fmla="*/ 2147483646 h 408"/>
              <a:gd name="T16" fmla="*/ 2147483646 w 205"/>
              <a:gd name="T17" fmla="*/ 2147483646 h 408"/>
              <a:gd name="T18" fmla="*/ 2147483646 w 205"/>
              <a:gd name="T19" fmla="*/ 2147483646 h 408"/>
              <a:gd name="T20" fmla="*/ 2147483646 w 205"/>
              <a:gd name="T21" fmla="*/ 2147483646 h 408"/>
              <a:gd name="T22" fmla="*/ 2147483646 w 205"/>
              <a:gd name="T23" fmla="*/ 2147483646 h 408"/>
              <a:gd name="T24" fmla="*/ 2147483646 w 205"/>
              <a:gd name="T25" fmla="*/ 2147483646 h 408"/>
              <a:gd name="T26" fmla="*/ 2147483646 w 205"/>
              <a:gd name="T27" fmla="*/ 2147483646 h 408"/>
              <a:gd name="T28" fmla="*/ 2147483646 w 205"/>
              <a:gd name="T29" fmla="*/ 2147483646 h 408"/>
              <a:gd name="T30" fmla="*/ 2147483646 w 205"/>
              <a:gd name="T31" fmla="*/ 2147483646 h 408"/>
              <a:gd name="T32" fmla="*/ 2147483646 w 205"/>
              <a:gd name="T33" fmla="*/ 2147483646 h 408"/>
              <a:gd name="T34" fmla="*/ 2147483646 w 205"/>
              <a:gd name="T35" fmla="*/ 2147483646 h 408"/>
              <a:gd name="T36" fmla="*/ 2147483646 w 205"/>
              <a:gd name="T37" fmla="*/ 2147483646 h 408"/>
              <a:gd name="T38" fmla="*/ 2147483646 w 205"/>
              <a:gd name="T39" fmla="*/ 2147483646 h 408"/>
              <a:gd name="T40" fmla="*/ 2147483646 w 205"/>
              <a:gd name="T41" fmla="*/ 2147483646 h 408"/>
              <a:gd name="T42" fmla="*/ 2147483646 w 205"/>
              <a:gd name="T43" fmla="*/ 2147483646 h 408"/>
              <a:gd name="T44" fmla="*/ 2147483646 w 205"/>
              <a:gd name="T45" fmla="*/ 2147483646 h 408"/>
              <a:gd name="T46" fmla="*/ 2147483646 w 205"/>
              <a:gd name="T47" fmla="*/ 2147483646 h 408"/>
              <a:gd name="T48" fmla="*/ 2147483646 w 205"/>
              <a:gd name="T49" fmla="*/ 2147483646 h 408"/>
              <a:gd name="T50" fmla="*/ 2147483646 w 205"/>
              <a:gd name="T51" fmla="*/ 2147483646 h 408"/>
              <a:gd name="T52" fmla="*/ 2147483646 w 205"/>
              <a:gd name="T53" fmla="*/ 2147483646 h 408"/>
              <a:gd name="T54" fmla="*/ 2147483646 w 205"/>
              <a:gd name="T55" fmla="*/ 2147483646 h 408"/>
              <a:gd name="T56" fmla="*/ 2147483646 w 205"/>
              <a:gd name="T57" fmla="*/ 2147483646 h 408"/>
              <a:gd name="T58" fmla="*/ 2147483646 w 205"/>
              <a:gd name="T59" fmla="*/ 2147483646 h 408"/>
              <a:gd name="T60" fmla="*/ 2147483646 w 205"/>
              <a:gd name="T61" fmla="*/ 2147483646 h 408"/>
              <a:gd name="T62" fmla="*/ 2147483646 w 205"/>
              <a:gd name="T63" fmla="*/ 2147483646 h 408"/>
              <a:gd name="T64" fmla="*/ 2147483646 w 205"/>
              <a:gd name="T65" fmla="*/ 2147483646 h 408"/>
              <a:gd name="T66" fmla="*/ 0 w 205"/>
              <a:gd name="T67" fmla="*/ 2147483646 h 40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05"/>
              <a:gd name="T103" fmla="*/ 0 h 408"/>
              <a:gd name="T104" fmla="*/ 205 w 205"/>
              <a:gd name="T105" fmla="*/ 408 h 40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05" h="408">
                <a:moveTo>
                  <a:pt x="0" y="43"/>
                </a:moveTo>
                <a:cubicBezTo>
                  <a:pt x="1" y="37"/>
                  <a:pt x="0" y="27"/>
                  <a:pt x="7" y="24"/>
                </a:cubicBezTo>
                <a:cubicBezTo>
                  <a:pt x="14" y="22"/>
                  <a:pt x="34" y="28"/>
                  <a:pt x="34" y="28"/>
                </a:cubicBezTo>
                <a:cubicBezTo>
                  <a:pt x="34" y="28"/>
                  <a:pt x="41" y="27"/>
                  <a:pt x="52" y="31"/>
                </a:cubicBezTo>
                <a:cubicBezTo>
                  <a:pt x="62" y="36"/>
                  <a:pt x="70" y="31"/>
                  <a:pt x="70" y="31"/>
                </a:cubicBezTo>
                <a:cubicBezTo>
                  <a:pt x="70" y="31"/>
                  <a:pt x="80" y="25"/>
                  <a:pt x="83" y="16"/>
                </a:cubicBezTo>
                <a:cubicBezTo>
                  <a:pt x="87" y="7"/>
                  <a:pt x="84" y="0"/>
                  <a:pt x="98" y="5"/>
                </a:cubicBezTo>
                <a:cubicBezTo>
                  <a:pt x="113" y="11"/>
                  <a:pt x="117" y="16"/>
                  <a:pt x="117" y="16"/>
                </a:cubicBezTo>
                <a:cubicBezTo>
                  <a:pt x="117" y="16"/>
                  <a:pt x="121" y="13"/>
                  <a:pt x="131" y="21"/>
                </a:cubicBezTo>
                <a:cubicBezTo>
                  <a:pt x="142" y="29"/>
                  <a:pt x="136" y="30"/>
                  <a:pt x="135" y="38"/>
                </a:cubicBezTo>
                <a:cubicBezTo>
                  <a:pt x="134" y="47"/>
                  <a:pt x="137" y="44"/>
                  <a:pt x="145" y="49"/>
                </a:cubicBezTo>
                <a:cubicBezTo>
                  <a:pt x="154" y="54"/>
                  <a:pt x="164" y="51"/>
                  <a:pt x="164" y="51"/>
                </a:cubicBezTo>
                <a:cubicBezTo>
                  <a:pt x="164" y="51"/>
                  <a:pt x="153" y="60"/>
                  <a:pt x="148" y="63"/>
                </a:cubicBezTo>
                <a:cubicBezTo>
                  <a:pt x="143" y="67"/>
                  <a:pt x="132" y="70"/>
                  <a:pt x="131" y="77"/>
                </a:cubicBezTo>
                <a:cubicBezTo>
                  <a:pt x="129" y="84"/>
                  <a:pt x="117" y="95"/>
                  <a:pt x="114" y="102"/>
                </a:cubicBezTo>
                <a:cubicBezTo>
                  <a:pt x="112" y="109"/>
                  <a:pt x="110" y="128"/>
                  <a:pt x="117" y="133"/>
                </a:cubicBezTo>
                <a:cubicBezTo>
                  <a:pt x="124" y="139"/>
                  <a:pt x="129" y="150"/>
                  <a:pt x="127" y="159"/>
                </a:cubicBezTo>
                <a:cubicBezTo>
                  <a:pt x="125" y="168"/>
                  <a:pt x="120" y="173"/>
                  <a:pt x="129" y="178"/>
                </a:cubicBezTo>
                <a:cubicBezTo>
                  <a:pt x="139" y="182"/>
                  <a:pt x="142" y="182"/>
                  <a:pt x="150" y="186"/>
                </a:cubicBezTo>
                <a:cubicBezTo>
                  <a:pt x="159" y="189"/>
                  <a:pt x="160" y="202"/>
                  <a:pt x="166" y="206"/>
                </a:cubicBezTo>
                <a:cubicBezTo>
                  <a:pt x="171" y="209"/>
                  <a:pt x="175" y="215"/>
                  <a:pt x="182" y="218"/>
                </a:cubicBezTo>
                <a:cubicBezTo>
                  <a:pt x="189" y="222"/>
                  <a:pt x="194" y="227"/>
                  <a:pt x="194" y="231"/>
                </a:cubicBezTo>
                <a:cubicBezTo>
                  <a:pt x="194" y="236"/>
                  <a:pt x="188" y="243"/>
                  <a:pt x="191" y="252"/>
                </a:cubicBezTo>
                <a:cubicBezTo>
                  <a:pt x="195" y="261"/>
                  <a:pt x="203" y="272"/>
                  <a:pt x="200" y="277"/>
                </a:cubicBezTo>
                <a:cubicBezTo>
                  <a:pt x="198" y="281"/>
                  <a:pt x="192" y="285"/>
                  <a:pt x="196" y="289"/>
                </a:cubicBezTo>
                <a:cubicBezTo>
                  <a:pt x="199" y="294"/>
                  <a:pt x="205" y="305"/>
                  <a:pt x="204" y="312"/>
                </a:cubicBezTo>
                <a:cubicBezTo>
                  <a:pt x="203" y="319"/>
                  <a:pt x="203" y="329"/>
                  <a:pt x="199" y="328"/>
                </a:cubicBezTo>
                <a:cubicBezTo>
                  <a:pt x="196" y="327"/>
                  <a:pt x="199" y="330"/>
                  <a:pt x="196" y="336"/>
                </a:cubicBezTo>
                <a:cubicBezTo>
                  <a:pt x="192" y="342"/>
                  <a:pt x="184" y="346"/>
                  <a:pt x="182" y="343"/>
                </a:cubicBezTo>
                <a:cubicBezTo>
                  <a:pt x="167" y="349"/>
                  <a:pt x="167" y="349"/>
                  <a:pt x="167" y="349"/>
                </a:cubicBezTo>
                <a:cubicBezTo>
                  <a:pt x="167" y="349"/>
                  <a:pt x="159" y="337"/>
                  <a:pt x="157" y="345"/>
                </a:cubicBezTo>
                <a:cubicBezTo>
                  <a:pt x="156" y="353"/>
                  <a:pt x="150" y="358"/>
                  <a:pt x="150" y="358"/>
                </a:cubicBezTo>
                <a:cubicBezTo>
                  <a:pt x="150" y="358"/>
                  <a:pt x="138" y="349"/>
                  <a:pt x="139" y="353"/>
                </a:cubicBezTo>
                <a:cubicBezTo>
                  <a:pt x="140" y="358"/>
                  <a:pt x="136" y="365"/>
                  <a:pt x="136" y="365"/>
                </a:cubicBezTo>
                <a:cubicBezTo>
                  <a:pt x="136" y="365"/>
                  <a:pt x="132" y="373"/>
                  <a:pt x="128" y="373"/>
                </a:cubicBezTo>
                <a:cubicBezTo>
                  <a:pt x="125" y="373"/>
                  <a:pt x="121" y="367"/>
                  <a:pt x="119" y="371"/>
                </a:cubicBezTo>
                <a:cubicBezTo>
                  <a:pt x="117" y="374"/>
                  <a:pt x="119" y="390"/>
                  <a:pt x="119" y="390"/>
                </a:cubicBezTo>
                <a:cubicBezTo>
                  <a:pt x="119" y="390"/>
                  <a:pt x="110" y="395"/>
                  <a:pt x="106" y="397"/>
                </a:cubicBezTo>
                <a:cubicBezTo>
                  <a:pt x="103" y="398"/>
                  <a:pt x="97" y="390"/>
                  <a:pt x="97" y="395"/>
                </a:cubicBezTo>
                <a:cubicBezTo>
                  <a:pt x="97" y="401"/>
                  <a:pt x="96" y="404"/>
                  <a:pt x="92" y="406"/>
                </a:cubicBezTo>
                <a:cubicBezTo>
                  <a:pt x="89" y="408"/>
                  <a:pt x="81" y="404"/>
                  <a:pt x="81" y="404"/>
                </a:cubicBezTo>
                <a:cubicBezTo>
                  <a:pt x="79" y="393"/>
                  <a:pt x="82" y="390"/>
                  <a:pt x="86" y="384"/>
                </a:cubicBezTo>
                <a:cubicBezTo>
                  <a:pt x="91" y="378"/>
                  <a:pt x="97" y="373"/>
                  <a:pt x="90" y="372"/>
                </a:cubicBezTo>
                <a:cubicBezTo>
                  <a:pt x="83" y="371"/>
                  <a:pt x="79" y="366"/>
                  <a:pt x="79" y="366"/>
                </a:cubicBezTo>
                <a:cubicBezTo>
                  <a:pt x="79" y="366"/>
                  <a:pt x="77" y="359"/>
                  <a:pt x="84" y="353"/>
                </a:cubicBezTo>
                <a:cubicBezTo>
                  <a:pt x="91" y="348"/>
                  <a:pt x="85" y="342"/>
                  <a:pt x="94" y="346"/>
                </a:cubicBezTo>
                <a:cubicBezTo>
                  <a:pt x="104" y="351"/>
                  <a:pt x="104" y="344"/>
                  <a:pt x="108" y="343"/>
                </a:cubicBezTo>
                <a:cubicBezTo>
                  <a:pt x="113" y="342"/>
                  <a:pt x="112" y="319"/>
                  <a:pt x="119" y="316"/>
                </a:cubicBezTo>
                <a:cubicBezTo>
                  <a:pt x="126" y="314"/>
                  <a:pt x="129" y="314"/>
                  <a:pt x="138" y="310"/>
                </a:cubicBezTo>
                <a:cubicBezTo>
                  <a:pt x="146" y="307"/>
                  <a:pt x="159" y="307"/>
                  <a:pt x="157" y="295"/>
                </a:cubicBezTo>
                <a:cubicBezTo>
                  <a:pt x="156" y="284"/>
                  <a:pt x="154" y="281"/>
                  <a:pt x="154" y="271"/>
                </a:cubicBezTo>
                <a:cubicBezTo>
                  <a:pt x="154" y="260"/>
                  <a:pt x="153" y="251"/>
                  <a:pt x="147" y="250"/>
                </a:cubicBezTo>
                <a:cubicBezTo>
                  <a:pt x="141" y="249"/>
                  <a:pt x="134" y="250"/>
                  <a:pt x="139" y="237"/>
                </a:cubicBezTo>
                <a:cubicBezTo>
                  <a:pt x="143" y="224"/>
                  <a:pt x="143" y="216"/>
                  <a:pt x="143" y="216"/>
                </a:cubicBezTo>
                <a:cubicBezTo>
                  <a:pt x="142" y="208"/>
                  <a:pt x="146" y="200"/>
                  <a:pt x="140" y="203"/>
                </a:cubicBezTo>
                <a:cubicBezTo>
                  <a:pt x="134" y="207"/>
                  <a:pt x="129" y="203"/>
                  <a:pt x="128" y="196"/>
                </a:cubicBezTo>
                <a:cubicBezTo>
                  <a:pt x="127" y="189"/>
                  <a:pt x="129" y="182"/>
                  <a:pt x="124" y="186"/>
                </a:cubicBezTo>
                <a:cubicBezTo>
                  <a:pt x="118" y="189"/>
                  <a:pt x="113" y="185"/>
                  <a:pt x="108" y="180"/>
                </a:cubicBezTo>
                <a:cubicBezTo>
                  <a:pt x="104" y="175"/>
                  <a:pt x="99" y="173"/>
                  <a:pt x="93" y="155"/>
                </a:cubicBezTo>
                <a:cubicBezTo>
                  <a:pt x="88" y="138"/>
                  <a:pt x="89" y="130"/>
                  <a:pt x="76" y="124"/>
                </a:cubicBezTo>
                <a:cubicBezTo>
                  <a:pt x="63" y="118"/>
                  <a:pt x="54" y="102"/>
                  <a:pt x="60" y="102"/>
                </a:cubicBezTo>
                <a:cubicBezTo>
                  <a:pt x="65" y="102"/>
                  <a:pt x="65" y="95"/>
                  <a:pt x="70" y="94"/>
                </a:cubicBezTo>
                <a:cubicBezTo>
                  <a:pt x="75" y="93"/>
                  <a:pt x="71" y="76"/>
                  <a:pt x="64" y="74"/>
                </a:cubicBezTo>
                <a:cubicBezTo>
                  <a:pt x="57" y="72"/>
                  <a:pt x="56" y="62"/>
                  <a:pt x="50" y="66"/>
                </a:cubicBezTo>
                <a:cubicBezTo>
                  <a:pt x="44" y="69"/>
                  <a:pt x="41" y="74"/>
                  <a:pt x="36" y="72"/>
                </a:cubicBezTo>
                <a:cubicBezTo>
                  <a:pt x="32" y="69"/>
                  <a:pt x="23" y="63"/>
                  <a:pt x="25" y="58"/>
                </a:cubicBezTo>
                <a:cubicBezTo>
                  <a:pt x="26" y="52"/>
                  <a:pt x="26" y="42"/>
                  <a:pt x="21" y="40"/>
                </a:cubicBezTo>
                <a:cubicBezTo>
                  <a:pt x="16" y="38"/>
                  <a:pt x="0" y="43"/>
                  <a:pt x="0" y="4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92" name="Freeform 628"/>
          <p:cNvSpPr>
            <a:spLocks/>
          </p:cNvSpPr>
          <p:nvPr userDrawn="1"/>
        </p:nvSpPr>
        <p:spPr bwMode="auto">
          <a:xfrm>
            <a:off x="7914516" y="4458567"/>
            <a:ext cx="182584" cy="194311"/>
          </a:xfrm>
          <a:custGeom>
            <a:avLst/>
            <a:gdLst>
              <a:gd name="T0" fmla="*/ 0 w 196"/>
              <a:gd name="T1" fmla="*/ 2147483646 h 208"/>
              <a:gd name="T2" fmla="*/ 2147483646 w 196"/>
              <a:gd name="T3" fmla="*/ 2147483646 h 208"/>
              <a:gd name="T4" fmla="*/ 2147483646 w 196"/>
              <a:gd name="T5" fmla="*/ 2147483646 h 208"/>
              <a:gd name="T6" fmla="*/ 2147483646 w 196"/>
              <a:gd name="T7" fmla="*/ 2147483646 h 208"/>
              <a:gd name="T8" fmla="*/ 2147483646 w 196"/>
              <a:gd name="T9" fmla="*/ 2147483646 h 208"/>
              <a:gd name="T10" fmla="*/ 2147483646 w 196"/>
              <a:gd name="T11" fmla="*/ 2147483646 h 208"/>
              <a:gd name="T12" fmla="*/ 2147483646 w 196"/>
              <a:gd name="T13" fmla="*/ 2147483646 h 208"/>
              <a:gd name="T14" fmla="*/ 2147483646 w 196"/>
              <a:gd name="T15" fmla="*/ 2147483646 h 208"/>
              <a:gd name="T16" fmla="*/ 2147483646 w 196"/>
              <a:gd name="T17" fmla="*/ 2147483646 h 208"/>
              <a:gd name="T18" fmla="*/ 2147483646 w 196"/>
              <a:gd name="T19" fmla="*/ 2147483646 h 208"/>
              <a:gd name="T20" fmla="*/ 2147483646 w 196"/>
              <a:gd name="T21" fmla="*/ 2147483646 h 208"/>
              <a:gd name="T22" fmla="*/ 2147483646 w 196"/>
              <a:gd name="T23" fmla="*/ 2147483646 h 208"/>
              <a:gd name="T24" fmla="*/ 2147483646 w 196"/>
              <a:gd name="T25" fmla="*/ 2147483646 h 208"/>
              <a:gd name="T26" fmla="*/ 2147483646 w 196"/>
              <a:gd name="T27" fmla="*/ 2147483646 h 208"/>
              <a:gd name="T28" fmla="*/ 2147483646 w 196"/>
              <a:gd name="T29" fmla="*/ 2147483646 h 208"/>
              <a:gd name="T30" fmla="*/ 2147483646 w 196"/>
              <a:gd name="T31" fmla="*/ 2147483646 h 208"/>
              <a:gd name="T32" fmla="*/ 2147483646 w 196"/>
              <a:gd name="T33" fmla="*/ 2147483646 h 208"/>
              <a:gd name="T34" fmla="*/ 2147483646 w 196"/>
              <a:gd name="T35" fmla="*/ 2147483646 h 208"/>
              <a:gd name="T36" fmla="*/ 2147483646 w 196"/>
              <a:gd name="T37" fmla="*/ 2147483646 h 208"/>
              <a:gd name="T38" fmla="*/ 2147483646 w 196"/>
              <a:gd name="T39" fmla="*/ 2147483646 h 208"/>
              <a:gd name="T40" fmla="*/ 2147483646 w 196"/>
              <a:gd name="T41" fmla="*/ 2147483646 h 208"/>
              <a:gd name="T42" fmla="*/ 2147483646 w 196"/>
              <a:gd name="T43" fmla="*/ 2147483646 h 208"/>
              <a:gd name="T44" fmla="*/ 2147483646 w 196"/>
              <a:gd name="T45" fmla="*/ 2147483646 h 208"/>
              <a:gd name="T46" fmla="*/ 2147483646 w 196"/>
              <a:gd name="T47" fmla="*/ 2147483646 h 208"/>
              <a:gd name="T48" fmla="*/ 2147483646 w 196"/>
              <a:gd name="T49" fmla="*/ 2147483646 h 208"/>
              <a:gd name="T50" fmla="*/ 2147483646 w 196"/>
              <a:gd name="T51" fmla="*/ 2147483646 h 208"/>
              <a:gd name="T52" fmla="*/ 2147483646 w 196"/>
              <a:gd name="T53" fmla="*/ 2147483646 h 208"/>
              <a:gd name="T54" fmla="*/ 2147483646 w 196"/>
              <a:gd name="T55" fmla="*/ 2147483646 h 208"/>
              <a:gd name="T56" fmla="*/ 2147483646 w 196"/>
              <a:gd name="T57" fmla="*/ 2147483646 h 208"/>
              <a:gd name="T58" fmla="*/ 2147483646 w 196"/>
              <a:gd name="T59" fmla="*/ 2147483646 h 208"/>
              <a:gd name="T60" fmla="*/ 2147483646 w 196"/>
              <a:gd name="T61" fmla="*/ 2147483646 h 208"/>
              <a:gd name="T62" fmla="*/ 2147483646 w 196"/>
              <a:gd name="T63" fmla="*/ 2147483646 h 208"/>
              <a:gd name="T64" fmla="*/ 2147483646 w 196"/>
              <a:gd name="T65" fmla="*/ 2147483646 h 208"/>
              <a:gd name="T66" fmla="*/ 2147483646 w 196"/>
              <a:gd name="T67" fmla="*/ 2147483646 h 208"/>
              <a:gd name="T68" fmla="*/ 2147483646 w 196"/>
              <a:gd name="T69" fmla="*/ 2147483646 h 208"/>
              <a:gd name="T70" fmla="*/ 2147483646 w 196"/>
              <a:gd name="T71" fmla="*/ 2147483646 h 208"/>
              <a:gd name="T72" fmla="*/ 2147483646 w 196"/>
              <a:gd name="T73" fmla="*/ 2147483646 h 208"/>
              <a:gd name="T74" fmla="*/ 2147483646 w 196"/>
              <a:gd name="T75" fmla="*/ 2147483646 h 208"/>
              <a:gd name="T76" fmla="*/ 2147483646 w 196"/>
              <a:gd name="T77" fmla="*/ 2147483646 h 208"/>
              <a:gd name="T78" fmla="*/ 2147483646 w 196"/>
              <a:gd name="T79" fmla="*/ 2147483646 h 208"/>
              <a:gd name="T80" fmla="*/ 2147483646 w 196"/>
              <a:gd name="T81" fmla="*/ 2147483646 h 208"/>
              <a:gd name="T82" fmla="*/ 2147483646 w 196"/>
              <a:gd name="T83" fmla="*/ 2147483646 h 208"/>
              <a:gd name="T84" fmla="*/ 2147483646 w 196"/>
              <a:gd name="T85" fmla="*/ 2147483646 h 208"/>
              <a:gd name="T86" fmla="*/ 2147483646 w 196"/>
              <a:gd name="T87" fmla="*/ 2147483646 h 208"/>
              <a:gd name="T88" fmla="*/ 0 w 196"/>
              <a:gd name="T89" fmla="*/ 2147483646 h 20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96"/>
              <a:gd name="T136" fmla="*/ 0 h 208"/>
              <a:gd name="T137" fmla="*/ 196 w 196"/>
              <a:gd name="T138" fmla="*/ 208 h 20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96" h="208">
                <a:moveTo>
                  <a:pt x="0" y="50"/>
                </a:moveTo>
                <a:cubicBezTo>
                  <a:pt x="6" y="50"/>
                  <a:pt x="16" y="50"/>
                  <a:pt x="16" y="42"/>
                </a:cubicBezTo>
                <a:cubicBezTo>
                  <a:pt x="15" y="34"/>
                  <a:pt x="27" y="34"/>
                  <a:pt x="37" y="33"/>
                </a:cubicBezTo>
                <a:cubicBezTo>
                  <a:pt x="48" y="32"/>
                  <a:pt x="50" y="6"/>
                  <a:pt x="50" y="6"/>
                </a:cubicBezTo>
                <a:cubicBezTo>
                  <a:pt x="51" y="5"/>
                  <a:pt x="51" y="5"/>
                  <a:pt x="51" y="5"/>
                </a:cubicBezTo>
                <a:cubicBezTo>
                  <a:pt x="51" y="5"/>
                  <a:pt x="67" y="0"/>
                  <a:pt x="72" y="2"/>
                </a:cubicBezTo>
                <a:cubicBezTo>
                  <a:pt x="76" y="5"/>
                  <a:pt x="76" y="14"/>
                  <a:pt x="75" y="20"/>
                </a:cubicBezTo>
                <a:cubicBezTo>
                  <a:pt x="74" y="26"/>
                  <a:pt x="82" y="31"/>
                  <a:pt x="87" y="34"/>
                </a:cubicBezTo>
                <a:cubicBezTo>
                  <a:pt x="91" y="36"/>
                  <a:pt x="95" y="31"/>
                  <a:pt x="101" y="28"/>
                </a:cubicBezTo>
                <a:cubicBezTo>
                  <a:pt x="107" y="24"/>
                  <a:pt x="108" y="34"/>
                  <a:pt x="115" y="36"/>
                </a:cubicBezTo>
                <a:cubicBezTo>
                  <a:pt x="122" y="38"/>
                  <a:pt x="125" y="55"/>
                  <a:pt x="121" y="56"/>
                </a:cubicBezTo>
                <a:cubicBezTo>
                  <a:pt x="116" y="57"/>
                  <a:pt x="116" y="64"/>
                  <a:pt x="110" y="64"/>
                </a:cubicBezTo>
                <a:cubicBezTo>
                  <a:pt x="104" y="64"/>
                  <a:pt x="114" y="80"/>
                  <a:pt x="126" y="86"/>
                </a:cubicBezTo>
                <a:cubicBezTo>
                  <a:pt x="139" y="92"/>
                  <a:pt x="138" y="100"/>
                  <a:pt x="144" y="118"/>
                </a:cubicBezTo>
                <a:cubicBezTo>
                  <a:pt x="150" y="135"/>
                  <a:pt x="154" y="137"/>
                  <a:pt x="159" y="142"/>
                </a:cubicBezTo>
                <a:cubicBezTo>
                  <a:pt x="164" y="147"/>
                  <a:pt x="168" y="151"/>
                  <a:pt x="174" y="148"/>
                </a:cubicBezTo>
                <a:cubicBezTo>
                  <a:pt x="180" y="144"/>
                  <a:pt x="178" y="151"/>
                  <a:pt x="179" y="158"/>
                </a:cubicBezTo>
                <a:cubicBezTo>
                  <a:pt x="180" y="165"/>
                  <a:pt x="185" y="169"/>
                  <a:pt x="190" y="165"/>
                </a:cubicBezTo>
                <a:cubicBezTo>
                  <a:pt x="196" y="162"/>
                  <a:pt x="193" y="170"/>
                  <a:pt x="194" y="178"/>
                </a:cubicBezTo>
                <a:cubicBezTo>
                  <a:pt x="194" y="178"/>
                  <a:pt x="194" y="186"/>
                  <a:pt x="189" y="199"/>
                </a:cubicBezTo>
                <a:cubicBezTo>
                  <a:pt x="189" y="199"/>
                  <a:pt x="184" y="204"/>
                  <a:pt x="182" y="206"/>
                </a:cubicBezTo>
                <a:cubicBezTo>
                  <a:pt x="179" y="208"/>
                  <a:pt x="170" y="203"/>
                  <a:pt x="170" y="203"/>
                </a:cubicBezTo>
                <a:cubicBezTo>
                  <a:pt x="170" y="203"/>
                  <a:pt x="168" y="200"/>
                  <a:pt x="166" y="201"/>
                </a:cubicBezTo>
                <a:cubicBezTo>
                  <a:pt x="164" y="203"/>
                  <a:pt x="157" y="205"/>
                  <a:pt x="154" y="201"/>
                </a:cubicBezTo>
                <a:cubicBezTo>
                  <a:pt x="152" y="197"/>
                  <a:pt x="149" y="191"/>
                  <a:pt x="153" y="188"/>
                </a:cubicBezTo>
                <a:cubicBezTo>
                  <a:pt x="157" y="185"/>
                  <a:pt x="155" y="175"/>
                  <a:pt x="152" y="172"/>
                </a:cubicBezTo>
                <a:cubicBezTo>
                  <a:pt x="149" y="169"/>
                  <a:pt x="142" y="162"/>
                  <a:pt x="142" y="160"/>
                </a:cubicBezTo>
                <a:cubicBezTo>
                  <a:pt x="142" y="158"/>
                  <a:pt x="137" y="153"/>
                  <a:pt x="135" y="154"/>
                </a:cubicBezTo>
                <a:cubicBezTo>
                  <a:pt x="132" y="154"/>
                  <a:pt x="124" y="153"/>
                  <a:pt x="124" y="147"/>
                </a:cubicBezTo>
                <a:cubicBezTo>
                  <a:pt x="124" y="140"/>
                  <a:pt x="126" y="132"/>
                  <a:pt x="121" y="130"/>
                </a:cubicBezTo>
                <a:cubicBezTo>
                  <a:pt x="115" y="129"/>
                  <a:pt x="110" y="106"/>
                  <a:pt x="110" y="106"/>
                </a:cubicBezTo>
                <a:cubicBezTo>
                  <a:pt x="110" y="106"/>
                  <a:pt x="103" y="104"/>
                  <a:pt x="100" y="104"/>
                </a:cubicBezTo>
                <a:cubicBezTo>
                  <a:pt x="97" y="104"/>
                  <a:pt x="92" y="104"/>
                  <a:pt x="91" y="110"/>
                </a:cubicBezTo>
                <a:cubicBezTo>
                  <a:pt x="89" y="116"/>
                  <a:pt x="75" y="125"/>
                  <a:pt x="75" y="125"/>
                </a:cubicBezTo>
                <a:cubicBezTo>
                  <a:pt x="66" y="111"/>
                  <a:pt x="66" y="111"/>
                  <a:pt x="66" y="111"/>
                </a:cubicBezTo>
                <a:cubicBezTo>
                  <a:pt x="66" y="111"/>
                  <a:pt x="60" y="115"/>
                  <a:pt x="60" y="118"/>
                </a:cubicBezTo>
                <a:cubicBezTo>
                  <a:pt x="59" y="122"/>
                  <a:pt x="59" y="126"/>
                  <a:pt x="53" y="127"/>
                </a:cubicBezTo>
                <a:cubicBezTo>
                  <a:pt x="48" y="128"/>
                  <a:pt x="44" y="133"/>
                  <a:pt x="41" y="127"/>
                </a:cubicBezTo>
                <a:cubicBezTo>
                  <a:pt x="38" y="121"/>
                  <a:pt x="34" y="115"/>
                  <a:pt x="36" y="114"/>
                </a:cubicBezTo>
                <a:cubicBezTo>
                  <a:pt x="38" y="112"/>
                  <a:pt x="44" y="96"/>
                  <a:pt x="45" y="93"/>
                </a:cubicBezTo>
                <a:cubicBezTo>
                  <a:pt x="45" y="90"/>
                  <a:pt x="49" y="84"/>
                  <a:pt x="45" y="81"/>
                </a:cubicBezTo>
                <a:cubicBezTo>
                  <a:pt x="42" y="78"/>
                  <a:pt x="40" y="71"/>
                  <a:pt x="37" y="72"/>
                </a:cubicBezTo>
                <a:cubicBezTo>
                  <a:pt x="34" y="72"/>
                  <a:pt x="31" y="64"/>
                  <a:pt x="27" y="64"/>
                </a:cubicBezTo>
                <a:cubicBezTo>
                  <a:pt x="23" y="64"/>
                  <a:pt x="17" y="61"/>
                  <a:pt x="17" y="57"/>
                </a:cubicBezTo>
                <a:cubicBezTo>
                  <a:pt x="17" y="54"/>
                  <a:pt x="0" y="50"/>
                  <a:pt x="0" y="5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93" name="Freeform 629"/>
          <p:cNvSpPr>
            <a:spLocks/>
          </p:cNvSpPr>
          <p:nvPr userDrawn="1"/>
        </p:nvSpPr>
        <p:spPr bwMode="auto">
          <a:xfrm>
            <a:off x="7976494" y="4644501"/>
            <a:ext cx="132333" cy="125632"/>
          </a:xfrm>
          <a:custGeom>
            <a:avLst/>
            <a:gdLst>
              <a:gd name="T0" fmla="*/ 2147483646 w 141"/>
              <a:gd name="T1" fmla="*/ 2147483646 h 136"/>
              <a:gd name="T2" fmla="*/ 2147483646 w 141"/>
              <a:gd name="T3" fmla="*/ 2147483646 h 136"/>
              <a:gd name="T4" fmla="*/ 2147483646 w 141"/>
              <a:gd name="T5" fmla="*/ 2147483646 h 136"/>
              <a:gd name="T6" fmla="*/ 2147483646 w 141"/>
              <a:gd name="T7" fmla="*/ 2147483646 h 136"/>
              <a:gd name="T8" fmla="*/ 2147483646 w 141"/>
              <a:gd name="T9" fmla="*/ 2147483646 h 136"/>
              <a:gd name="T10" fmla="*/ 2147483646 w 141"/>
              <a:gd name="T11" fmla="*/ 2147483646 h 136"/>
              <a:gd name="T12" fmla="*/ 2147483646 w 141"/>
              <a:gd name="T13" fmla="*/ 2147483646 h 136"/>
              <a:gd name="T14" fmla="*/ 2147483646 w 141"/>
              <a:gd name="T15" fmla="*/ 2147483646 h 136"/>
              <a:gd name="T16" fmla="*/ 2147483646 w 141"/>
              <a:gd name="T17" fmla="*/ 2147483646 h 136"/>
              <a:gd name="T18" fmla="*/ 2147483646 w 141"/>
              <a:gd name="T19" fmla="*/ 0 h 136"/>
              <a:gd name="T20" fmla="*/ 2147483646 w 141"/>
              <a:gd name="T21" fmla="*/ 0 h 136"/>
              <a:gd name="T22" fmla="*/ 2147483646 w 141"/>
              <a:gd name="T23" fmla="*/ 2147483646 h 136"/>
              <a:gd name="T24" fmla="*/ 2147483646 w 141"/>
              <a:gd name="T25" fmla="*/ 2147483646 h 136"/>
              <a:gd name="T26" fmla="*/ 2147483646 w 141"/>
              <a:gd name="T27" fmla="*/ 2147483646 h 136"/>
              <a:gd name="T28" fmla="*/ 2147483646 w 141"/>
              <a:gd name="T29" fmla="*/ 2147483646 h 136"/>
              <a:gd name="T30" fmla="*/ 2147483646 w 141"/>
              <a:gd name="T31" fmla="*/ 2147483646 h 136"/>
              <a:gd name="T32" fmla="*/ 2147483646 w 141"/>
              <a:gd name="T33" fmla="*/ 2147483646 h 136"/>
              <a:gd name="T34" fmla="*/ 2147483646 w 141"/>
              <a:gd name="T35" fmla="*/ 2147483646 h 136"/>
              <a:gd name="T36" fmla="*/ 2147483646 w 141"/>
              <a:gd name="T37" fmla="*/ 2147483646 h 136"/>
              <a:gd name="T38" fmla="*/ 2147483646 w 141"/>
              <a:gd name="T39" fmla="*/ 2147483646 h 136"/>
              <a:gd name="T40" fmla="*/ 2147483646 w 141"/>
              <a:gd name="T41" fmla="*/ 2147483646 h 136"/>
              <a:gd name="T42" fmla="*/ 2147483646 w 141"/>
              <a:gd name="T43" fmla="*/ 2147483646 h 136"/>
              <a:gd name="T44" fmla="*/ 2147483646 w 141"/>
              <a:gd name="T45" fmla="*/ 2147483646 h 136"/>
              <a:gd name="T46" fmla="*/ 2147483646 w 141"/>
              <a:gd name="T47" fmla="*/ 2147483646 h 136"/>
              <a:gd name="T48" fmla="*/ 2147483646 w 141"/>
              <a:gd name="T49" fmla="*/ 2147483646 h 136"/>
              <a:gd name="T50" fmla="*/ 2147483646 w 141"/>
              <a:gd name="T51" fmla="*/ 2147483646 h 1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41"/>
              <a:gd name="T79" fmla="*/ 0 h 136"/>
              <a:gd name="T80" fmla="*/ 141 w 141"/>
              <a:gd name="T81" fmla="*/ 136 h 1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41" h="136">
                <a:moveTo>
                  <a:pt x="62" y="129"/>
                </a:moveTo>
                <a:cubicBezTo>
                  <a:pt x="62" y="129"/>
                  <a:pt x="59" y="123"/>
                  <a:pt x="66" y="117"/>
                </a:cubicBezTo>
                <a:cubicBezTo>
                  <a:pt x="73" y="111"/>
                  <a:pt x="68" y="105"/>
                  <a:pt x="77" y="110"/>
                </a:cubicBezTo>
                <a:cubicBezTo>
                  <a:pt x="86" y="114"/>
                  <a:pt x="86" y="107"/>
                  <a:pt x="91" y="106"/>
                </a:cubicBezTo>
                <a:cubicBezTo>
                  <a:pt x="96" y="105"/>
                  <a:pt x="94" y="82"/>
                  <a:pt x="101" y="79"/>
                </a:cubicBezTo>
                <a:cubicBezTo>
                  <a:pt x="108" y="77"/>
                  <a:pt x="112" y="77"/>
                  <a:pt x="120" y="74"/>
                </a:cubicBezTo>
                <a:cubicBezTo>
                  <a:pt x="128" y="70"/>
                  <a:pt x="141" y="70"/>
                  <a:pt x="140" y="58"/>
                </a:cubicBezTo>
                <a:cubicBezTo>
                  <a:pt x="139" y="47"/>
                  <a:pt x="136" y="44"/>
                  <a:pt x="136" y="34"/>
                </a:cubicBezTo>
                <a:cubicBezTo>
                  <a:pt x="136" y="24"/>
                  <a:pt x="135" y="14"/>
                  <a:pt x="129" y="13"/>
                </a:cubicBezTo>
                <a:cubicBezTo>
                  <a:pt x="124" y="12"/>
                  <a:pt x="117" y="13"/>
                  <a:pt x="121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15" y="5"/>
                  <a:pt x="113" y="7"/>
                </a:cubicBezTo>
                <a:cubicBezTo>
                  <a:pt x="111" y="10"/>
                  <a:pt x="101" y="4"/>
                  <a:pt x="101" y="4"/>
                </a:cubicBezTo>
                <a:cubicBezTo>
                  <a:pt x="101" y="4"/>
                  <a:pt x="100" y="1"/>
                  <a:pt x="97" y="3"/>
                </a:cubicBezTo>
                <a:cubicBezTo>
                  <a:pt x="95" y="4"/>
                  <a:pt x="88" y="7"/>
                  <a:pt x="86" y="3"/>
                </a:cubicBezTo>
                <a:cubicBezTo>
                  <a:pt x="86" y="3"/>
                  <a:pt x="72" y="7"/>
                  <a:pt x="69" y="8"/>
                </a:cubicBezTo>
                <a:cubicBezTo>
                  <a:pt x="65" y="10"/>
                  <a:pt x="50" y="12"/>
                  <a:pt x="50" y="12"/>
                </a:cubicBezTo>
                <a:cubicBezTo>
                  <a:pt x="50" y="12"/>
                  <a:pt x="34" y="10"/>
                  <a:pt x="30" y="11"/>
                </a:cubicBezTo>
                <a:cubicBezTo>
                  <a:pt x="26" y="12"/>
                  <a:pt x="18" y="13"/>
                  <a:pt x="15" y="17"/>
                </a:cubicBezTo>
                <a:cubicBezTo>
                  <a:pt x="13" y="21"/>
                  <a:pt x="0" y="24"/>
                  <a:pt x="7" y="34"/>
                </a:cubicBezTo>
                <a:cubicBezTo>
                  <a:pt x="14" y="44"/>
                  <a:pt x="19" y="55"/>
                  <a:pt x="20" y="60"/>
                </a:cubicBezTo>
                <a:cubicBezTo>
                  <a:pt x="20" y="65"/>
                  <a:pt x="20" y="77"/>
                  <a:pt x="21" y="81"/>
                </a:cubicBezTo>
                <a:cubicBezTo>
                  <a:pt x="22" y="85"/>
                  <a:pt x="21" y="93"/>
                  <a:pt x="23" y="96"/>
                </a:cubicBezTo>
                <a:cubicBezTo>
                  <a:pt x="25" y="100"/>
                  <a:pt x="22" y="118"/>
                  <a:pt x="28" y="122"/>
                </a:cubicBezTo>
                <a:cubicBezTo>
                  <a:pt x="33" y="126"/>
                  <a:pt x="45" y="121"/>
                  <a:pt x="45" y="121"/>
                </a:cubicBezTo>
                <a:cubicBezTo>
                  <a:pt x="45" y="121"/>
                  <a:pt x="55" y="136"/>
                  <a:pt x="62" y="12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94" name="Freeform 630"/>
          <p:cNvSpPr>
            <a:spLocks/>
          </p:cNvSpPr>
          <p:nvPr userDrawn="1"/>
        </p:nvSpPr>
        <p:spPr bwMode="auto">
          <a:xfrm>
            <a:off x="7854213" y="4493743"/>
            <a:ext cx="206036" cy="371871"/>
          </a:xfrm>
          <a:custGeom>
            <a:avLst/>
            <a:gdLst>
              <a:gd name="T0" fmla="*/ 2147483646 w 220"/>
              <a:gd name="T1" fmla="*/ 2147483646 h 397"/>
              <a:gd name="T2" fmla="*/ 2147483646 w 220"/>
              <a:gd name="T3" fmla="*/ 2147483646 h 397"/>
              <a:gd name="T4" fmla="*/ 2147483646 w 220"/>
              <a:gd name="T5" fmla="*/ 2147483646 h 397"/>
              <a:gd name="T6" fmla="*/ 2147483646 w 220"/>
              <a:gd name="T7" fmla="*/ 2147483646 h 397"/>
              <a:gd name="T8" fmla="*/ 2147483646 w 220"/>
              <a:gd name="T9" fmla="*/ 2147483646 h 397"/>
              <a:gd name="T10" fmla="*/ 2147483646 w 220"/>
              <a:gd name="T11" fmla="*/ 2147483646 h 397"/>
              <a:gd name="T12" fmla="*/ 2147483646 w 220"/>
              <a:gd name="T13" fmla="*/ 2147483646 h 397"/>
              <a:gd name="T14" fmla="*/ 2147483646 w 220"/>
              <a:gd name="T15" fmla="*/ 2147483646 h 397"/>
              <a:gd name="T16" fmla="*/ 2147483646 w 220"/>
              <a:gd name="T17" fmla="*/ 2147483646 h 397"/>
              <a:gd name="T18" fmla="*/ 2147483646 w 220"/>
              <a:gd name="T19" fmla="*/ 2147483646 h 397"/>
              <a:gd name="T20" fmla="*/ 2147483646 w 220"/>
              <a:gd name="T21" fmla="*/ 2147483646 h 397"/>
              <a:gd name="T22" fmla="*/ 2147483646 w 220"/>
              <a:gd name="T23" fmla="*/ 2147483646 h 397"/>
              <a:gd name="T24" fmla="*/ 2147483646 w 220"/>
              <a:gd name="T25" fmla="*/ 2147483646 h 397"/>
              <a:gd name="T26" fmla="*/ 2147483646 w 220"/>
              <a:gd name="T27" fmla="*/ 2147483646 h 397"/>
              <a:gd name="T28" fmla="*/ 2147483646 w 220"/>
              <a:gd name="T29" fmla="*/ 2147483646 h 397"/>
              <a:gd name="T30" fmla="*/ 2147483646 w 220"/>
              <a:gd name="T31" fmla="*/ 2147483646 h 397"/>
              <a:gd name="T32" fmla="*/ 2147483646 w 220"/>
              <a:gd name="T33" fmla="*/ 2147483646 h 397"/>
              <a:gd name="T34" fmla="*/ 2147483646 w 220"/>
              <a:gd name="T35" fmla="*/ 2147483646 h 397"/>
              <a:gd name="T36" fmla="*/ 2147483646 w 220"/>
              <a:gd name="T37" fmla="*/ 2147483646 h 397"/>
              <a:gd name="T38" fmla="*/ 2147483646 w 220"/>
              <a:gd name="T39" fmla="*/ 2147483646 h 397"/>
              <a:gd name="T40" fmla="*/ 2147483646 w 220"/>
              <a:gd name="T41" fmla="*/ 2147483646 h 397"/>
              <a:gd name="T42" fmla="*/ 2147483646 w 220"/>
              <a:gd name="T43" fmla="*/ 2147483646 h 397"/>
              <a:gd name="T44" fmla="*/ 2147483646 w 220"/>
              <a:gd name="T45" fmla="*/ 2147483646 h 397"/>
              <a:gd name="T46" fmla="*/ 2147483646 w 220"/>
              <a:gd name="T47" fmla="*/ 2147483646 h 397"/>
              <a:gd name="T48" fmla="*/ 2147483646 w 220"/>
              <a:gd name="T49" fmla="*/ 2147483646 h 397"/>
              <a:gd name="T50" fmla="*/ 2147483646 w 220"/>
              <a:gd name="T51" fmla="*/ 2147483646 h 397"/>
              <a:gd name="T52" fmla="*/ 2147483646 w 220"/>
              <a:gd name="T53" fmla="*/ 2147483646 h 397"/>
              <a:gd name="T54" fmla="*/ 2147483646 w 220"/>
              <a:gd name="T55" fmla="*/ 2147483646 h 397"/>
              <a:gd name="T56" fmla="*/ 2147483646 w 220"/>
              <a:gd name="T57" fmla="*/ 2147483646 h 397"/>
              <a:gd name="T58" fmla="*/ 2147483646 w 220"/>
              <a:gd name="T59" fmla="*/ 2147483646 h 397"/>
              <a:gd name="T60" fmla="*/ 2147483646 w 220"/>
              <a:gd name="T61" fmla="*/ 2147483646 h 397"/>
              <a:gd name="T62" fmla="*/ 2147483646 w 220"/>
              <a:gd name="T63" fmla="*/ 2147483646 h 397"/>
              <a:gd name="T64" fmla="*/ 2147483646 w 220"/>
              <a:gd name="T65" fmla="*/ 2147483646 h 397"/>
              <a:gd name="T66" fmla="*/ 2147483646 w 220"/>
              <a:gd name="T67" fmla="*/ 2147483646 h 39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20"/>
              <a:gd name="T103" fmla="*/ 0 h 397"/>
              <a:gd name="T104" fmla="*/ 220 w 220"/>
              <a:gd name="T105" fmla="*/ 397 h 397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20" h="397">
                <a:moveTo>
                  <a:pt x="159" y="282"/>
                </a:moveTo>
                <a:cubicBezTo>
                  <a:pt x="153" y="278"/>
                  <a:pt x="156" y="260"/>
                  <a:pt x="154" y="256"/>
                </a:cubicBezTo>
                <a:cubicBezTo>
                  <a:pt x="152" y="253"/>
                  <a:pt x="153" y="245"/>
                  <a:pt x="152" y="241"/>
                </a:cubicBezTo>
                <a:cubicBezTo>
                  <a:pt x="151" y="237"/>
                  <a:pt x="151" y="225"/>
                  <a:pt x="151" y="220"/>
                </a:cubicBezTo>
                <a:cubicBezTo>
                  <a:pt x="150" y="215"/>
                  <a:pt x="145" y="204"/>
                  <a:pt x="138" y="194"/>
                </a:cubicBezTo>
                <a:cubicBezTo>
                  <a:pt x="131" y="184"/>
                  <a:pt x="144" y="181"/>
                  <a:pt x="146" y="177"/>
                </a:cubicBezTo>
                <a:cubicBezTo>
                  <a:pt x="149" y="173"/>
                  <a:pt x="157" y="172"/>
                  <a:pt x="161" y="171"/>
                </a:cubicBezTo>
                <a:cubicBezTo>
                  <a:pt x="165" y="170"/>
                  <a:pt x="181" y="172"/>
                  <a:pt x="181" y="172"/>
                </a:cubicBezTo>
                <a:cubicBezTo>
                  <a:pt x="181" y="172"/>
                  <a:pt x="196" y="170"/>
                  <a:pt x="200" y="168"/>
                </a:cubicBezTo>
                <a:cubicBezTo>
                  <a:pt x="203" y="167"/>
                  <a:pt x="217" y="163"/>
                  <a:pt x="217" y="163"/>
                </a:cubicBezTo>
                <a:cubicBezTo>
                  <a:pt x="217" y="162"/>
                  <a:pt x="217" y="162"/>
                  <a:pt x="217" y="162"/>
                </a:cubicBezTo>
                <a:cubicBezTo>
                  <a:pt x="215" y="158"/>
                  <a:pt x="212" y="152"/>
                  <a:pt x="216" y="149"/>
                </a:cubicBezTo>
                <a:cubicBezTo>
                  <a:pt x="220" y="146"/>
                  <a:pt x="218" y="136"/>
                  <a:pt x="215" y="133"/>
                </a:cubicBezTo>
                <a:cubicBezTo>
                  <a:pt x="212" y="130"/>
                  <a:pt x="205" y="123"/>
                  <a:pt x="205" y="121"/>
                </a:cubicBezTo>
                <a:cubicBezTo>
                  <a:pt x="205" y="119"/>
                  <a:pt x="200" y="114"/>
                  <a:pt x="198" y="115"/>
                </a:cubicBezTo>
                <a:cubicBezTo>
                  <a:pt x="195" y="115"/>
                  <a:pt x="187" y="114"/>
                  <a:pt x="187" y="108"/>
                </a:cubicBezTo>
                <a:cubicBezTo>
                  <a:pt x="187" y="101"/>
                  <a:pt x="189" y="93"/>
                  <a:pt x="184" y="91"/>
                </a:cubicBezTo>
                <a:cubicBezTo>
                  <a:pt x="178" y="90"/>
                  <a:pt x="173" y="67"/>
                  <a:pt x="173" y="67"/>
                </a:cubicBezTo>
                <a:cubicBezTo>
                  <a:pt x="173" y="67"/>
                  <a:pt x="166" y="65"/>
                  <a:pt x="163" y="65"/>
                </a:cubicBezTo>
                <a:cubicBezTo>
                  <a:pt x="160" y="65"/>
                  <a:pt x="155" y="65"/>
                  <a:pt x="154" y="71"/>
                </a:cubicBezTo>
                <a:cubicBezTo>
                  <a:pt x="152" y="77"/>
                  <a:pt x="138" y="86"/>
                  <a:pt x="138" y="86"/>
                </a:cubicBezTo>
                <a:cubicBezTo>
                  <a:pt x="129" y="72"/>
                  <a:pt x="129" y="72"/>
                  <a:pt x="129" y="72"/>
                </a:cubicBezTo>
                <a:cubicBezTo>
                  <a:pt x="129" y="72"/>
                  <a:pt x="123" y="76"/>
                  <a:pt x="123" y="79"/>
                </a:cubicBezTo>
                <a:cubicBezTo>
                  <a:pt x="122" y="83"/>
                  <a:pt x="122" y="87"/>
                  <a:pt x="116" y="88"/>
                </a:cubicBezTo>
                <a:cubicBezTo>
                  <a:pt x="111" y="89"/>
                  <a:pt x="107" y="94"/>
                  <a:pt x="104" y="88"/>
                </a:cubicBezTo>
                <a:cubicBezTo>
                  <a:pt x="101" y="82"/>
                  <a:pt x="97" y="76"/>
                  <a:pt x="99" y="75"/>
                </a:cubicBezTo>
                <a:cubicBezTo>
                  <a:pt x="101" y="73"/>
                  <a:pt x="107" y="57"/>
                  <a:pt x="108" y="54"/>
                </a:cubicBezTo>
                <a:cubicBezTo>
                  <a:pt x="108" y="51"/>
                  <a:pt x="112" y="45"/>
                  <a:pt x="108" y="42"/>
                </a:cubicBezTo>
                <a:cubicBezTo>
                  <a:pt x="105" y="39"/>
                  <a:pt x="103" y="32"/>
                  <a:pt x="100" y="33"/>
                </a:cubicBezTo>
                <a:cubicBezTo>
                  <a:pt x="97" y="33"/>
                  <a:pt x="94" y="25"/>
                  <a:pt x="90" y="25"/>
                </a:cubicBezTo>
                <a:cubicBezTo>
                  <a:pt x="86" y="25"/>
                  <a:pt x="80" y="22"/>
                  <a:pt x="80" y="18"/>
                </a:cubicBezTo>
                <a:cubicBezTo>
                  <a:pt x="80" y="15"/>
                  <a:pt x="63" y="11"/>
                  <a:pt x="63" y="11"/>
                </a:cubicBezTo>
                <a:cubicBezTo>
                  <a:pt x="62" y="11"/>
                  <a:pt x="62" y="11"/>
                  <a:pt x="62" y="11"/>
                </a:cubicBezTo>
                <a:cubicBezTo>
                  <a:pt x="57" y="9"/>
                  <a:pt x="55" y="0"/>
                  <a:pt x="48" y="12"/>
                </a:cubicBezTo>
                <a:cubicBezTo>
                  <a:pt x="40" y="25"/>
                  <a:pt x="20" y="39"/>
                  <a:pt x="21" y="46"/>
                </a:cubicBezTo>
                <a:cubicBezTo>
                  <a:pt x="22" y="53"/>
                  <a:pt x="15" y="59"/>
                  <a:pt x="10" y="61"/>
                </a:cubicBezTo>
                <a:cubicBezTo>
                  <a:pt x="5" y="64"/>
                  <a:pt x="0" y="68"/>
                  <a:pt x="8" y="74"/>
                </a:cubicBezTo>
                <a:cubicBezTo>
                  <a:pt x="15" y="81"/>
                  <a:pt x="29" y="88"/>
                  <a:pt x="34" y="98"/>
                </a:cubicBezTo>
                <a:cubicBezTo>
                  <a:pt x="39" y="108"/>
                  <a:pt x="36" y="109"/>
                  <a:pt x="38" y="124"/>
                </a:cubicBezTo>
                <a:cubicBezTo>
                  <a:pt x="41" y="139"/>
                  <a:pt x="25" y="144"/>
                  <a:pt x="33" y="156"/>
                </a:cubicBezTo>
                <a:cubicBezTo>
                  <a:pt x="41" y="169"/>
                  <a:pt x="50" y="183"/>
                  <a:pt x="53" y="190"/>
                </a:cubicBezTo>
                <a:cubicBezTo>
                  <a:pt x="56" y="196"/>
                  <a:pt x="63" y="197"/>
                  <a:pt x="61" y="210"/>
                </a:cubicBezTo>
                <a:cubicBezTo>
                  <a:pt x="59" y="223"/>
                  <a:pt x="54" y="227"/>
                  <a:pt x="56" y="234"/>
                </a:cubicBezTo>
                <a:cubicBezTo>
                  <a:pt x="59" y="241"/>
                  <a:pt x="59" y="261"/>
                  <a:pt x="56" y="267"/>
                </a:cubicBezTo>
                <a:cubicBezTo>
                  <a:pt x="54" y="273"/>
                  <a:pt x="53" y="278"/>
                  <a:pt x="48" y="280"/>
                </a:cubicBezTo>
                <a:cubicBezTo>
                  <a:pt x="42" y="283"/>
                  <a:pt x="36" y="283"/>
                  <a:pt x="36" y="283"/>
                </a:cubicBezTo>
                <a:cubicBezTo>
                  <a:pt x="36" y="283"/>
                  <a:pt x="35" y="305"/>
                  <a:pt x="34" y="310"/>
                </a:cubicBezTo>
                <a:cubicBezTo>
                  <a:pt x="33" y="316"/>
                  <a:pt x="27" y="325"/>
                  <a:pt x="27" y="330"/>
                </a:cubicBezTo>
                <a:cubicBezTo>
                  <a:pt x="27" y="335"/>
                  <a:pt x="26" y="336"/>
                  <a:pt x="33" y="343"/>
                </a:cubicBezTo>
                <a:cubicBezTo>
                  <a:pt x="39" y="350"/>
                  <a:pt x="49" y="353"/>
                  <a:pt x="54" y="359"/>
                </a:cubicBezTo>
                <a:cubicBezTo>
                  <a:pt x="59" y="366"/>
                  <a:pt x="59" y="371"/>
                  <a:pt x="65" y="374"/>
                </a:cubicBezTo>
                <a:cubicBezTo>
                  <a:pt x="71" y="378"/>
                  <a:pt x="88" y="381"/>
                  <a:pt x="98" y="388"/>
                </a:cubicBezTo>
                <a:cubicBezTo>
                  <a:pt x="108" y="394"/>
                  <a:pt x="111" y="396"/>
                  <a:pt x="117" y="397"/>
                </a:cubicBezTo>
                <a:cubicBezTo>
                  <a:pt x="124" y="397"/>
                  <a:pt x="126" y="394"/>
                  <a:pt x="127" y="393"/>
                </a:cubicBezTo>
                <a:cubicBezTo>
                  <a:pt x="129" y="391"/>
                  <a:pt x="121" y="380"/>
                  <a:pt x="115" y="379"/>
                </a:cubicBezTo>
                <a:cubicBezTo>
                  <a:pt x="109" y="378"/>
                  <a:pt x="93" y="369"/>
                  <a:pt x="93" y="369"/>
                </a:cubicBezTo>
                <a:cubicBezTo>
                  <a:pt x="81" y="349"/>
                  <a:pt x="81" y="349"/>
                  <a:pt x="81" y="349"/>
                </a:cubicBezTo>
                <a:cubicBezTo>
                  <a:pt x="81" y="349"/>
                  <a:pt x="80" y="334"/>
                  <a:pt x="79" y="328"/>
                </a:cubicBezTo>
                <a:cubicBezTo>
                  <a:pt x="77" y="322"/>
                  <a:pt x="75" y="317"/>
                  <a:pt x="67" y="315"/>
                </a:cubicBezTo>
                <a:cubicBezTo>
                  <a:pt x="59" y="313"/>
                  <a:pt x="54" y="310"/>
                  <a:pt x="53" y="305"/>
                </a:cubicBezTo>
                <a:cubicBezTo>
                  <a:pt x="52" y="301"/>
                  <a:pt x="62" y="281"/>
                  <a:pt x="66" y="264"/>
                </a:cubicBezTo>
                <a:cubicBezTo>
                  <a:pt x="70" y="248"/>
                  <a:pt x="72" y="236"/>
                  <a:pt x="73" y="223"/>
                </a:cubicBezTo>
                <a:cubicBezTo>
                  <a:pt x="73" y="211"/>
                  <a:pt x="68" y="197"/>
                  <a:pt x="79" y="199"/>
                </a:cubicBezTo>
                <a:cubicBezTo>
                  <a:pt x="91" y="201"/>
                  <a:pt x="101" y="197"/>
                  <a:pt x="102" y="209"/>
                </a:cubicBezTo>
                <a:cubicBezTo>
                  <a:pt x="102" y="220"/>
                  <a:pt x="112" y="231"/>
                  <a:pt x="119" y="232"/>
                </a:cubicBezTo>
                <a:cubicBezTo>
                  <a:pt x="126" y="234"/>
                  <a:pt x="131" y="234"/>
                  <a:pt x="135" y="238"/>
                </a:cubicBezTo>
                <a:cubicBezTo>
                  <a:pt x="140" y="242"/>
                  <a:pt x="146" y="243"/>
                  <a:pt x="148" y="258"/>
                </a:cubicBezTo>
                <a:cubicBezTo>
                  <a:pt x="150" y="273"/>
                  <a:pt x="151" y="284"/>
                  <a:pt x="159" y="28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95" name="Freeform 631"/>
          <p:cNvSpPr>
            <a:spLocks/>
          </p:cNvSpPr>
          <p:nvPr userDrawn="1"/>
        </p:nvSpPr>
        <p:spPr bwMode="auto">
          <a:xfrm>
            <a:off x="7916191" y="4843837"/>
            <a:ext cx="113907" cy="139032"/>
          </a:xfrm>
          <a:custGeom>
            <a:avLst/>
            <a:gdLst>
              <a:gd name="T0" fmla="*/ 0 w 121"/>
              <a:gd name="T1" fmla="*/ 0 h 149"/>
              <a:gd name="T2" fmla="*/ 2147483646 w 121"/>
              <a:gd name="T3" fmla="*/ 2147483646 h 149"/>
              <a:gd name="T4" fmla="*/ 2147483646 w 121"/>
              <a:gd name="T5" fmla="*/ 2147483646 h 149"/>
              <a:gd name="T6" fmla="*/ 2147483646 w 121"/>
              <a:gd name="T7" fmla="*/ 2147483646 h 149"/>
              <a:gd name="T8" fmla="*/ 2147483646 w 121"/>
              <a:gd name="T9" fmla="*/ 2147483646 h 149"/>
              <a:gd name="T10" fmla="*/ 2147483646 w 121"/>
              <a:gd name="T11" fmla="*/ 2147483646 h 149"/>
              <a:gd name="T12" fmla="*/ 2147483646 w 121"/>
              <a:gd name="T13" fmla="*/ 2147483646 h 149"/>
              <a:gd name="T14" fmla="*/ 2147483646 w 121"/>
              <a:gd name="T15" fmla="*/ 2147483646 h 149"/>
              <a:gd name="T16" fmla="*/ 2147483646 w 121"/>
              <a:gd name="T17" fmla="*/ 2147483646 h 149"/>
              <a:gd name="T18" fmla="*/ 2147483646 w 121"/>
              <a:gd name="T19" fmla="*/ 2147483646 h 149"/>
              <a:gd name="T20" fmla="*/ 2147483646 w 121"/>
              <a:gd name="T21" fmla="*/ 2147483646 h 149"/>
              <a:gd name="T22" fmla="*/ 2147483646 w 121"/>
              <a:gd name="T23" fmla="*/ 2147483646 h 149"/>
              <a:gd name="T24" fmla="*/ 2147483646 w 121"/>
              <a:gd name="T25" fmla="*/ 2147483646 h 149"/>
              <a:gd name="T26" fmla="*/ 2147483646 w 121"/>
              <a:gd name="T27" fmla="*/ 2147483646 h 149"/>
              <a:gd name="T28" fmla="*/ 2147483646 w 121"/>
              <a:gd name="T29" fmla="*/ 2147483646 h 149"/>
              <a:gd name="T30" fmla="*/ 2147483646 w 121"/>
              <a:gd name="T31" fmla="*/ 2147483646 h 149"/>
              <a:gd name="T32" fmla="*/ 2147483646 w 121"/>
              <a:gd name="T33" fmla="*/ 2147483646 h 149"/>
              <a:gd name="T34" fmla="*/ 2147483646 w 121"/>
              <a:gd name="T35" fmla="*/ 2147483646 h 149"/>
              <a:gd name="T36" fmla="*/ 2147483646 w 121"/>
              <a:gd name="T37" fmla="*/ 2147483646 h 149"/>
              <a:gd name="T38" fmla="*/ 2147483646 w 121"/>
              <a:gd name="T39" fmla="*/ 2147483646 h 149"/>
              <a:gd name="T40" fmla="*/ 2147483646 w 121"/>
              <a:gd name="T41" fmla="*/ 2147483646 h 149"/>
              <a:gd name="T42" fmla="*/ 2147483646 w 121"/>
              <a:gd name="T43" fmla="*/ 2147483646 h 149"/>
              <a:gd name="T44" fmla="*/ 2147483646 w 121"/>
              <a:gd name="T45" fmla="*/ 2147483646 h 149"/>
              <a:gd name="T46" fmla="*/ 0 w 121"/>
              <a:gd name="T47" fmla="*/ 0 h 1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21"/>
              <a:gd name="T73" fmla="*/ 0 h 149"/>
              <a:gd name="T74" fmla="*/ 121 w 121"/>
              <a:gd name="T75" fmla="*/ 149 h 14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21" h="149">
                <a:moveTo>
                  <a:pt x="0" y="0"/>
                </a:moveTo>
                <a:cubicBezTo>
                  <a:pt x="6" y="4"/>
                  <a:pt x="23" y="7"/>
                  <a:pt x="33" y="14"/>
                </a:cubicBezTo>
                <a:cubicBezTo>
                  <a:pt x="43" y="20"/>
                  <a:pt x="46" y="22"/>
                  <a:pt x="52" y="23"/>
                </a:cubicBezTo>
                <a:cubicBezTo>
                  <a:pt x="59" y="23"/>
                  <a:pt x="61" y="20"/>
                  <a:pt x="62" y="19"/>
                </a:cubicBezTo>
                <a:cubicBezTo>
                  <a:pt x="62" y="19"/>
                  <a:pt x="67" y="27"/>
                  <a:pt x="72" y="31"/>
                </a:cubicBezTo>
                <a:cubicBezTo>
                  <a:pt x="77" y="36"/>
                  <a:pt x="84" y="40"/>
                  <a:pt x="87" y="46"/>
                </a:cubicBezTo>
                <a:cubicBezTo>
                  <a:pt x="91" y="52"/>
                  <a:pt x="95" y="53"/>
                  <a:pt x="96" y="62"/>
                </a:cubicBezTo>
                <a:cubicBezTo>
                  <a:pt x="96" y="72"/>
                  <a:pt x="91" y="72"/>
                  <a:pt x="93" y="82"/>
                </a:cubicBezTo>
                <a:cubicBezTo>
                  <a:pt x="95" y="92"/>
                  <a:pt x="90" y="102"/>
                  <a:pt x="96" y="109"/>
                </a:cubicBezTo>
                <a:cubicBezTo>
                  <a:pt x="103" y="116"/>
                  <a:pt x="106" y="117"/>
                  <a:pt x="109" y="120"/>
                </a:cubicBezTo>
                <a:cubicBezTo>
                  <a:pt x="113" y="123"/>
                  <a:pt x="109" y="125"/>
                  <a:pt x="113" y="126"/>
                </a:cubicBezTo>
                <a:cubicBezTo>
                  <a:pt x="117" y="126"/>
                  <a:pt x="121" y="131"/>
                  <a:pt x="120" y="133"/>
                </a:cubicBezTo>
                <a:cubicBezTo>
                  <a:pt x="119" y="135"/>
                  <a:pt x="112" y="132"/>
                  <a:pt x="112" y="137"/>
                </a:cubicBezTo>
                <a:cubicBezTo>
                  <a:pt x="112" y="141"/>
                  <a:pt x="110" y="139"/>
                  <a:pt x="108" y="143"/>
                </a:cubicBezTo>
                <a:cubicBezTo>
                  <a:pt x="106" y="147"/>
                  <a:pt x="103" y="149"/>
                  <a:pt x="99" y="146"/>
                </a:cubicBezTo>
                <a:cubicBezTo>
                  <a:pt x="94" y="142"/>
                  <a:pt x="93" y="138"/>
                  <a:pt x="91" y="135"/>
                </a:cubicBezTo>
                <a:cubicBezTo>
                  <a:pt x="89" y="131"/>
                  <a:pt x="88" y="127"/>
                  <a:pt x="81" y="124"/>
                </a:cubicBezTo>
                <a:cubicBezTo>
                  <a:pt x="73" y="120"/>
                  <a:pt x="58" y="112"/>
                  <a:pt x="52" y="108"/>
                </a:cubicBezTo>
                <a:cubicBezTo>
                  <a:pt x="46" y="105"/>
                  <a:pt x="38" y="96"/>
                  <a:pt x="35" y="92"/>
                </a:cubicBezTo>
                <a:cubicBezTo>
                  <a:pt x="33" y="88"/>
                  <a:pt x="29" y="81"/>
                  <a:pt x="28" y="77"/>
                </a:cubicBezTo>
                <a:cubicBezTo>
                  <a:pt x="28" y="73"/>
                  <a:pt x="25" y="64"/>
                  <a:pt x="22" y="61"/>
                </a:cubicBezTo>
                <a:cubicBezTo>
                  <a:pt x="20" y="58"/>
                  <a:pt x="17" y="54"/>
                  <a:pt x="14" y="49"/>
                </a:cubicBezTo>
                <a:cubicBezTo>
                  <a:pt x="11" y="44"/>
                  <a:pt x="13" y="33"/>
                  <a:pt x="13" y="30"/>
                </a:cubicBezTo>
                <a:cubicBezTo>
                  <a:pt x="14" y="26"/>
                  <a:pt x="11" y="8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96" name="Freeform 632"/>
          <p:cNvSpPr>
            <a:spLocks/>
          </p:cNvSpPr>
          <p:nvPr userDrawn="1"/>
        </p:nvSpPr>
        <p:spPr bwMode="auto">
          <a:xfrm>
            <a:off x="7165749" y="4078320"/>
            <a:ext cx="504204" cy="745416"/>
          </a:xfrm>
          <a:custGeom>
            <a:avLst/>
            <a:gdLst>
              <a:gd name="T0" fmla="*/ 2147483646 w 539"/>
              <a:gd name="T1" fmla="*/ 2147483646 h 798"/>
              <a:gd name="T2" fmla="*/ 2147483646 w 539"/>
              <a:gd name="T3" fmla="*/ 2147483646 h 798"/>
              <a:gd name="T4" fmla="*/ 2147483646 w 539"/>
              <a:gd name="T5" fmla="*/ 2147483646 h 798"/>
              <a:gd name="T6" fmla="*/ 2147483646 w 539"/>
              <a:gd name="T7" fmla="*/ 2147483646 h 798"/>
              <a:gd name="T8" fmla="*/ 2147483646 w 539"/>
              <a:gd name="T9" fmla="*/ 2147483646 h 798"/>
              <a:gd name="T10" fmla="*/ 2147483646 w 539"/>
              <a:gd name="T11" fmla="*/ 2147483646 h 798"/>
              <a:gd name="T12" fmla="*/ 2147483646 w 539"/>
              <a:gd name="T13" fmla="*/ 0 h 798"/>
              <a:gd name="T14" fmla="*/ 2147483646 w 539"/>
              <a:gd name="T15" fmla="*/ 2147483646 h 798"/>
              <a:gd name="T16" fmla="*/ 2147483646 w 539"/>
              <a:gd name="T17" fmla="*/ 2147483646 h 798"/>
              <a:gd name="T18" fmla="*/ 2147483646 w 539"/>
              <a:gd name="T19" fmla="*/ 2147483646 h 798"/>
              <a:gd name="T20" fmla="*/ 2147483646 w 539"/>
              <a:gd name="T21" fmla="*/ 2147483646 h 798"/>
              <a:gd name="T22" fmla="*/ 2147483646 w 539"/>
              <a:gd name="T23" fmla="*/ 2147483646 h 798"/>
              <a:gd name="T24" fmla="*/ 2147483646 w 539"/>
              <a:gd name="T25" fmla="*/ 2147483646 h 798"/>
              <a:gd name="T26" fmla="*/ 2147483646 w 539"/>
              <a:gd name="T27" fmla="*/ 2147483646 h 798"/>
              <a:gd name="T28" fmla="*/ 2147483646 w 539"/>
              <a:gd name="T29" fmla="*/ 2147483646 h 798"/>
              <a:gd name="T30" fmla="*/ 2147483646 w 539"/>
              <a:gd name="T31" fmla="*/ 2147483646 h 798"/>
              <a:gd name="T32" fmla="*/ 2147483646 w 539"/>
              <a:gd name="T33" fmla="*/ 2147483646 h 798"/>
              <a:gd name="T34" fmla="*/ 2147483646 w 539"/>
              <a:gd name="T35" fmla="*/ 2147483646 h 798"/>
              <a:gd name="T36" fmla="*/ 2147483646 w 539"/>
              <a:gd name="T37" fmla="*/ 2147483646 h 798"/>
              <a:gd name="T38" fmla="*/ 2147483646 w 539"/>
              <a:gd name="T39" fmla="*/ 2147483646 h 798"/>
              <a:gd name="T40" fmla="*/ 2147483646 w 539"/>
              <a:gd name="T41" fmla="*/ 2147483646 h 798"/>
              <a:gd name="T42" fmla="*/ 2147483646 w 539"/>
              <a:gd name="T43" fmla="*/ 2147483646 h 798"/>
              <a:gd name="T44" fmla="*/ 2147483646 w 539"/>
              <a:gd name="T45" fmla="*/ 2147483646 h 798"/>
              <a:gd name="T46" fmla="*/ 2147483646 w 539"/>
              <a:gd name="T47" fmla="*/ 2147483646 h 798"/>
              <a:gd name="T48" fmla="*/ 2147483646 w 539"/>
              <a:gd name="T49" fmla="*/ 2147483646 h 798"/>
              <a:gd name="T50" fmla="*/ 2147483646 w 539"/>
              <a:gd name="T51" fmla="*/ 2147483646 h 798"/>
              <a:gd name="T52" fmla="*/ 2147483646 w 539"/>
              <a:gd name="T53" fmla="*/ 2147483646 h 798"/>
              <a:gd name="T54" fmla="*/ 2147483646 w 539"/>
              <a:gd name="T55" fmla="*/ 2147483646 h 798"/>
              <a:gd name="T56" fmla="*/ 2147483646 w 539"/>
              <a:gd name="T57" fmla="*/ 2147483646 h 798"/>
              <a:gd name="T58" fmla="*/ 2147483646 w 539"/>
              <a:gd name="T59" fmla="*/ 2147483646 h 798"/>
              <a:gd name="T60" fmla="*/ 2147483646 w 539"/>
              <a:gd name="T61" fmla="*/ 2147483646 h 798"/>
              <a:gd name="T62" fmla="*/ 2147483646 w 539"/>
              <a:gd name="T63" fmla="*/ 2147483646 h 798"/>
              <a:gd name="T64" fmla="*/ 2147483646 w 539"/>
              <a:gd name="T65" fmla="*/ 2147483646 h 798"/>
              <a:gd name="T66" fmla="*/ 2147483646 w 539"/>
              <a:gd name="T67" fmla="*/ 2147483646 h 798"/>
              <a:gd name="T68" fmla="*/ 2147483646 w 539"/>
              <a:gd name="T69" fmla="*/ 2147483646 h 798"/>
              <a:gd name="T70" fmla="*/ 2147483646 w 539"/>
              <a:gd name="T71" fmla="*/ 2147483646 h 798"/>
              <a:gd name="T72" fmla="*/ 2147483646 w 539"/>
              <a:gd name="T73" fmla="*/ 2147483646 h 798"/>
              <a:gd name="T74" fmla="*/ 2147483646 w 539"/>
              <a:gd name="T75" fmla="*/ 2147483646 h 798"/>
              <a:gd name="T76" fmla="*/ 2147483646 w 539"/>
              <a:gd name="T77" fmla="*/ 2147483646 h 798"/>
              <a:gd name="T78" fmla="*/ 2147483646 w 539"/>
              <a:gd name="T79" fmla="*/ 2147483646 h 798"/>
              <a:gd name="T80" fmla="*/ 2147483646 w 539"/>
              <a:gd name="T81" fmla="*/ 2147483646 h 798"/>
              <a:gd name="T82" fmla="*/ 2147483646 w 539"/>
              <a:gd name="T83" fmla="*/ 2147483646 h 798"/>
              <a:gd name="T84" fmla="*/ 2147483646 w 539"/>
              <a:gd name="T85" fmla="*/ 2147483646 h 79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39"/>
              <a:gd name="T130" fmla="*/ 0 h 798"/>
              <a:gd name="T131" fmla="*/ 539 w 539"/>
              <a:gd name="T132" fmla="*/ 798 h 798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39" h="798">
                <a:moveTo>
                  <a:pt x="0" y="372"/>
                </a:moveTo>
                <a:cubicBezTo>
                  <a:pt x="0" y="372"/>
                  <a:pt x="8" y="366"/>
                  <a:pt x="13" y="358"/>
                </a:cubicBezTo>
                <a:cubicBezTo>
                  <a:pt x="17" y="350"/>
                  <a:pt x="24" y="349"/>
                  <a:pt x="30" y="340"/>
                </a:cubicBezTo>
                <a:cubicBezTo>
                  <a:pt x="36" y="332"/>
                  <a:pt x="47" y="344"/>
                  <a:pt x="56" y="346"/>
                </a:cubicBezTo>
                <a:cubicBezTo>
                  <a:pt x="66" y="349"/>
                  <a:pt x="77" y="347"/>
                  <a:pt x="80" y="336"/>
                </a:cubicBezTo>
                <a:cubicBezTo>
                  <a:pt x="82" y="324"/>
                  <a:pt x="71" y="320"/>
                  <a:pt x="63" y="319"/>
                </a:cubicBezTo>
                <a:cubicBezTo>
                  <a:pt x="55" y="318"/>
                  <a:pt x="63" y="311"/>
                  <a:pt x="54" y="308"/>
                </a:cubicBezTo>
                <a:cubicBezTo>
                  <a:pt x="44" y="304"/>
                  <a:pt x="33" y="283"/>
                  <a:pt x="29" y="265"/>
                </a:cubicBezTo>
                <a:cubicBezTo>
                  <a:pt x="26" y="248"/>
                  <a:pt x="44" y="258"/>
                  <a:pt x="56" y="258"/>
                </a:cubicBezTo>
                <a:cubicBezTo>
                  <a:pt x="68" y="258"/>
                  <a:pt x="82" y="245"/>
                  <a:pt x="90" y="243"/>
                </a:cubicBezTo>
                <a:cubicBezTo>
                  <a:pt x="98" y="241"/>
                  <a:pt x="121" y="215"/>
                  <a:pt x="124" y="204"/>
                </a:cubicBezTo>
                <a:cubicBezTo>
                  <a:pt x="128" y="194"/>
                  <a:pt x="149" y="177"/>
                  <a:pt x="156" y="164"/>
                </a:cubicBezTo>
                <a:cubicBezTo>
                  <a:pt x="163" y="151"/>
                  <a:pt x="169" y="148"/>
                  <a:pt x="174" y="142"/>
                </a:cubicBezTo>
                <a:cubicBezTo>
                  <a:pt x="178" y="136"/>
                  <a:pt x="185" y="116"/>
                  <a:pt x="181" y="110"/>
                </a:cubicBezTo>
                <a:cubicBezTo>
                  <a:pt x="176" y="105"/>
                  <a:pt x="165" y="100"/>
                  <a:pt x="159" y="96"/>
                </a:cubicBezTo>
                <a:cubicBezTo>
                  <a:pt x="154" y="93"/>
                  <a:pt x="141" y="67"/>
                  <a:pt x="136" y="54"/>
                </a:cubicBezTo>
                <a:cubicBezTo>
                  <a:pt x="131" y="41"/>
                  <a:pt x="149" y="38"/>
                  <a:pt x="163" y="36"/>
                </a:cubicBezTo>
                <a:cubicBezTo>
                  <a:pt x="177" y="35"/>
                  <a:pt x="177" y="38"/>
                  <a:pt x="185" y="40"/>
                </a:cubicBezTo>
                <a:cubicBezTo>
                  <a:pt x="193" y="42"/>
                  <a:pt x="218" y="46"/>
                  <a:pt x="224" y="42"/>
                </a:cubicBezTo>
                <a:cubicBezTo>
                  <a:pt x="230" y="39"/>
                  <a:pt x="225" y="24"/>
                  <a:pt x="229" y="20"/>
                </a:cubicBezTo>
                <a:cubicBezTo>
                  <a:pt x="232" y="16"/>
                  <a:pt x="238" y="0"/>
                  <a:pt x="238" y="0"/>
                </a:cubicBezTo>
                <a:cubicBezTo>
                  <a:pt x="243" y="0"/>
                  <a:pt x="252" y="0"/>
                  <a:pt x="252" y="0"/>
                </a:cubicBezTo>
                <a:cubicBezTo>
                  <a:pt x="252" y="0"/>
                  <a:pt x="269" y="11"/>
                  <a:pt x="274" y="18"/>
                </a:cubicBezTo>
                <a:cubicBezTo>
                  <a:pt x="278" y="26"/>
                  <a:pt x="299" y="36"/>
                  <a:pt x="286" y="41"/>
                </a:cubicBezTo>
                <a:cubicBezTo>
                  <a:pt x="273" y="46"/>
                  <a:pt x="270" y="51"/>
                  <a:pt x="277" y="58"/>
                </a:cubicBezTo>
                <a:cubicBezTo>
                  <a:pt x="284" y="65"/>
                  <a:pt x="297" y="65"/>
                  <a:pt x="292" y="73"/>
                </a:cubicBezTo>
                <a:cubicBezTo>
                  <a:pt x="287" y="81"/>
                  <a:pt x="274" y="76"/>
                  <a:pt x="279" y="82"/>
                </a:cubicBezTo>
                <a:cubicBezTo>
                  <a:pt x="284" y="88"/>
                  <a:pt x="289" y="80"/>
                  <a:pt x="293" y="89"/>
                </a:cubicBezTo>
                <a:cubicBezTo>
                  <a:pt x="298" y="99"/>
                  <a:pt x="298" y="103"/>
                  <a:pt x="292" y="107"/>
                </a:cubicBezTo>
                <a:cubicBezTo>
                  <a:pt x="286" y="110"/>
                  <a:pt x="282" y="113"/>
                  <a:pt x="278" y="112"/>
                </a:cubicBezTo>
                <a:cubicBezTo>
                  <a:pt x="274" y="110"/>
                  <a:pt x="278" y="101"/>
                  <a:pt x="272" y="105"/>
                </a:cubicBezTo>
                <a:cubicBezTo>
                  <a:pt x="266" y="108"/>
                  <a:pt x="260" y="113"/>
                  <a:pt x="269" y="120"/>
                </a:cubicBezTo>
                <a:cubicBezTo>
                  <a:pt x="277" y="127"/>
                  <a:pt x="285" y="113"/>
                  <a:pt x="286" y="127"/>
                </a:cubicBezTo>
                <a:cubicBezTo>
                  <a:pt x="287" y="141"/>
                  <a:pt x="272" y="143"/>
                  <a:pt x="283" y="148"/>
                </a:cubicBezTo>
                <a:cubicBezTo>
                  <a:pt x="293" y="153"/>
                  <a:pt x="301" y="153"/>
                  <a:pt x="312" y="156"/>
                </a:cubicBezTo>
                <a:cubicBezTo>
                  <a:pt x="323" y="160"/>
                  <a:pt x="327" y="149"/>
                  <a:pt x="333" y="167"/>
                </a:cubicBezTo>
                <a:cubicBezTo>
                  <a:pt x="333" y="167"/>
                  <a:pt x="325" y="182"/>
                  <a:pt x="317" y="185"/>
                </a:cubicBezTo>
                <a:cubicBezTo>
                  <a:pt x="309" y="188"/>
                  <a:pt x="306" y="198"/>
                  <a:pt x="314" y="211"/>
                </a:cubicBezTo>
                <a:cubicBezTo>
                  <a:pt x="322" y="224"/>
                  <a:pt x="339" y="231"/>
                  <a:pt x="351" y="238"/>
                </a:cubicBezTo>
                <a:cubicBezTo>
                  <a:pt x="363" y="245"/>
                  <a:pt x="392" y="254"/>
                  <a:pt x="418" y="264"/>
                </a:cubicBezTo>
                <a:cubicBezTo>
                  <a:pt x="443" y="274"/>
                  <a:pt x="451" y="274"/>
                  <a:pt x="461" y="285"/>
                </a:cubicBezTo>
                <a:cubicBezTo>
                  <a:pt x="471" y="296"/>
                  <a:pt x="503" y="292"/>
                  <a:pt x="503" y="292"/>
                </a:cubicBezTo>
                <a:cubicBezTo>
                  <a:pt x="507" y="314"/>
                  <a:pt x="507" y="314"/>
                  <a:pt x="507" y="314"/>
                </a:cubicBezTo>
                <a:cubicBezTo>
                  <a:pt x="510" y="320"/>
                  <a:pt x="515" y="313"/>
                  <a:pt x="518" y="312"/>
                </a:cubicBezTo>
                <a:cubicBezTo>
                  <a:pt x="521" y="311"/>
                  <a:pt x="522" y="314"/>
                  <a:pt x="526" y="317"/>
                </a:cubicBezTo>
                <a:cubicBezTo>
                  <a:pt x="529" y="319"/>
                  <a:pt x="526" y="329"/>
                  <a:pt x="525" y="332"/>
                </a:cubicBezTo>
                <a:cubicBezTo>
                  <a:pt x="524" y="335"/>
                  <a:pt x="522" y="349"/>
                  <a:pt x="522" y="356"/>
                </a:cubicBezTo>
                <a:cubicBezTo>
                  <a:pt x="522" y="362"/>
                  <a:pt x="528" y="367"/>
                  <a:pt x="530" y="369"/>
                </a:cubicBezTo>
                <a:cubicBezTo>
                  <a:pt x="532" y="372"/>
                  <a:pt x="539" y="402"/>
                  <a:pt x="537" y="407"/>
                </a:cubicBezTo>
                <a:cubicBezTo>
                  <a:pt x="522" y="411"/>
                  <a:pt x="522" y="411"/>
                  <a:pt x="522" y="411"/>
                </a:cubicBezTo>
                <a:cubicBezTo>
                  <a:pt x="519" y="423"/>
                  <a:pt x="505" y="431"/>
                  <a:pt x="505" y="426"/>
                </a:cubicBezTo>
                <a:cubicBezTo>
                  <a:pt x="507" y="416"/>
                  <a:pt x="502" y="411"/>
                  <a:pt x="502" y="411"/>
                </a:cubicBezTo>
                <a:cubicBezTo>
                  <a:pt x="502" y="411"/>
                  <a:pt x="486" y="417"/>
                  <a:pt x="487" y="422"/>
                </a:cubicBezTo>
                <a:cubicBezTo>
                  <a:pt x="489" y="426"/>
                  <a:pt x="472" y="428"/>
                  <a:pt x="476" y="432"/>
                </a:cubicBezTo>
                <a:cubicBezTo>
                  <a:pt x="481" y="437"/>
                  <a:pt x="470" y="451"/>
                  <a:pt x="470" y="451"/>
                </a:cubicBezTo>
                <a:cubicBezTo>
                  <a:pt x="470" y="451"/>
                  <a:pt x="472" y="461"/>
                  <a:pt x="472" y="466"/>
                </a:cubicBezTo>
                <a:cubicBezTo>
                  <a:pt x="472" y="471"/>
                  <a:pt x="469" y="477"/>
                  <a:pt x="464" y="471"/>
                </a:cubicBezTo>
                <a:cubicBezTo>
                  <a:pt x="460" y="464"/>
                  <a:pt x="449" y="471"/>
                  <a:pt x="449" y="471"/>
                </a:cubicBezTo>
                <a:cubicBezTo>
                  <a:pt x="439" y="471"/>
                  <a:pt x="439" y="471"/>
                  <a:pt x="439" y="471"/>
                </a:cubicBezTo>
                <a:cubicBezTo>
                  <a:pt x="442" y="482"/>
                  <a:pt x="442" y="482"/>
                  <a:pt x="442" y="482"/>
                </a:cubicBezTo>
                <a:cubicBezTo>
                  <a:pt x="427" y="485"/>
                  <a:pt x="427" y="485"/>
                  <a:pt x="427" y="485"/>
                </a:cubicBezTo>
                <a:cubicBezTo>
                  <a:pt x="421" y="476"/>
                  <a:pt x="421" y="476"/>
                  <a:pt x="421" y="476"/>
                </a:cubicBezTo>
                <a:cubicBezTo>
                  <a:pt x="418" y="490"/>
                  <a:pt x="421" y="502"/>
                  <a:pt x="421" y="502"/>
                </a:cubicBezTo>
                <a:cubicBezTo>
                  <a:pt x="405" y="511"/>
                  <a:pt x="405" y="511"/>
                  <a:pt x="405" y="511"/>
                </a:cubicBezTo>
                <a:cubicBezTo>
                  <a:pt x="405" y="511"/>
                  <a:pt x="398" y="529"/>
                  <a:pt x="390" y="525"/>
                </a:cubicBezTo>
                <a:cubicBezTo>
                  <a:pt x="383" y="520"/>
                  <a:pt x="375" y="513"/>
                  <a:pt x="375" y="525"/>
                </a:cubicBezTo>
                <a:cubicBezTo>
                  <a:pt x="375" y="537"/>
                  <a:pt x="374" y="546"/>
                  <a:pt x="369" y="549"/>
                </a:cubicBezTo>
                <a:cubicBezTo>
                  <a:pt x="365" y="552"/>
                  <a:pt x="353" y="547"/>
                  <a:pt x="353" y="547"/>
                </a:cubicBezTo>
                <a:cubicBezTo>
                  <a:pt x="353" y="547"/>
                  <a:pt x="346" y="555"/>
                  <a:pt x="351" y="561"/>
                </a:cubicBezTo>
                <a:cubicBezTo>
                  <a:pt x="356" y="567"/>
                  <a:pt x="357" y="567"/>
                  <a:pt x="353" y="572"/>
                </a:cubicBezTo>
                <a:cubicBezTo>
                  <a:pt x="348" y="576"/>
                  <a:pt x="340" y="573"/>
                  <a:pt x="340" y="573"/>
                </a:cubicBezTo>
                <a:cubicBezTo>
                  <a:pt x="340" y="573"/>
                  <a:pt x="333" y="573"/>
                  <a:pt x="330" y="578"/>
                </a:cubicBezTo>
                <a:cubicBezTo>
                  <a:pt x="327" y="582"/>
                  <a:pt x="324" y="573"/>
                  <a:pt x="319" y="573"/>
                </a:cubicBezTo>
                <a:cubicBezTo>
                  <a:pt x="315" y="573"/>
                  <a:pt x="310" y="565"/>
                  <a:pt x="309" y="575"/>
                </a:cubicBezTo>
                <a:cubicBezTo>
                  <a:pt x="307" y="584"/>
                  <a:pt x="312" y="596"/>
                  <a:pt x="312" y="596"/>
                </a:cubicBezTo>
                <a:cubicBezTo>
                  <a:pt x="312" y="596"/>
                  <a:pt x="303" y="597"/>
                  <a:pt x="303" y="603"/>
                </a:cubicBezTo>
                <a:cubicBezTo>
                  <a:pt x="303" y="609"/>
                  <a:pt x="310" y="618"/>
                  <a:pt x="310" y="618"/>
                </a:cubicBezTo>
                <a:cubicBezTo>
                  <a:pt x="310" y="618"/>
                  <a:pt x="313" y="620"/>
                  <a:pt x="312" y="629"/>
                </a:cubicBezTo>
                <a:cubicBezTo>
                  <a:pt x="310" y="638"/>
                  <a:pt x="307" y="641"/>
                  <a:pt x="310" y="647"/>
                </a:cubicBezTo>
                <a:cubicBezTo>
                  <a:pt x="313" y="653"/>
                  <a:pt x="324" y="644"/>
                  <a:pt x="319" y="655"/>
                </a:cubicBezTo>
                <a:cubicBezTo>
                  <a:pt x="315" y="665"/>
                  <a:pt x="308" y="666"/>
                  <a:pt x="304" y="671"/>
                </a:cubicBezTo>
                <a:cubicBezTo>
                  <a:pt x="295" y="683"/>
                  <a:pt x="312" y="673"/>
                  <a:pt x="295" y="683"/>
                </a:cubicBezTo>
                <a:cubicBezTo>
                  <a:pt x="278" y="694"/>
                  <a:pt x="278" y="694"/>
                  <a:pt x="278" y="694"/>
                </a:cubicBezTo>
                <a:cubicBezTo>
                  <a:pt x="278" y="694"/>
                  <a:pt x="285" y="692"/>
                  <a:pt x="292" y="697"/>
                </a:cubicBezTo>
                <a:cubicBezTo>
                  <a:pt x="300" y="702"/>
                  <a:pt x="300" y="692"/>
                  <a:pt x="300" y="702"/>
                </a:cubicBezTo>
                <a:cubicBezTo>
                  <a:pt x="300" y="711"/>
                  <a:pt x="300" y="702"/>
                  <a:pt x="300" y="702"/>
                </a:cubicBezTo>
                <a:cubicBezTo>
                  <a:pt x="300" y="702"/>
                  <a:pt x="307" y="723"/>
                  <a:pt x="301" y="723"/>
                </a:cubicBezTo>
                <a:cubicBezTo>
                  <a:pt x="295" y="723"/>
                  <a:pt x="301" y="720"/>
                  <a:pt x="295" y="723"/>
                </a:cubicBezTo>
                <a:cubicBezTo>
                  <a:pt x="289" y="726"/>
                  <a:pt x="292" y="729"/>
                  <a:pt x="292" y="729"/>
                </a:cubicBezTo>
                <a:cubicBezTo>
                  <a:pt x="280" y="739"/>
                  <a:pt x="280" y="739"/>
                  <a:pt x="280" y="739"/>
                </a:cubicBezTo>
                <a:cubicBezTo>
                  <a:pt x="278" y="748"/>
                  <a:pt x="278" y="748"/>
                  <a:pt x="278" y="748"/>
                </a:cubicBezTo>
                <a:cubicBezTo>
                  <a:pt x="278" y="748"/>
                  <a:pt x="268" y="747"/>
                  <a:pt x="271" y="754"/>
                </a:cubicBezTo>
                <a:cubicBezTo>
                  <a:pt x="274" y="762"/>
                  <a:pt x="263" y="770"/>
                  <a:pt x="257" y="767"/>
                </a:cubicBezTo>
                <a:cubicBezTo>
                  <a:pt x="251" y="764"/>
                  <a:pt x="244" y="757"/>
                  <a:pt x="247" y="768"/>
                </a:cubicBezTo>
                <a:cubicBezTo>
                  <a:pt x="250" y="779"/>
                  <a:pt x="262" y="785"/>
                  <a:pt x="254" y="789"/>
                </a:cubicBezTo>
                <a:cubicBezTo>
                  <a:pt x="247" y="794"/>
                  <a:pt x="241" y="786"/>
                  <a:pt x="238" y="792"/>
                </a:cubicBezTo>
                <a:cubicBezTo>
                  <a:pt x="235" y="798"/>
                  <a:pt x="224" y="795"/>
                  <a:pt x="224" y="795"/>
                </a:cubicBezTo>
                <a:cubicBezTo>
                  <a:pt x="220" y="777"/>
                  <a:pt x="220" y="777"/>
                  <a:pt x="220" y="777"/>
                </a:cubicBezTo>
                <a:cubicBezTo>
                  <a:pt x="220" y="777"/>
                  <a:pt x="221" y="762"/>
                  <a:pt x="213" y="767"/>
                </a:cubicBezTo>
                <a:cubicBezTo>
                  <a:pt x="213" y="767"/>
                  <a:pt x="218" y="745"/>
                  <a:pt x="210" y="745"/>
                </a:cubicBezTo>
                <a:cubicBezTo>
                  <a:pt x="203" y="745"/>
                  <a:pt x="195" y="744"/>
                  <a:pt x="198" y="738"/>
                </a:cubicBezTo>
                <a:cubicBezTo>
                  <a:pt x="201" y="732"/>
                  <a:pt x="201" y="721"/>
                  <a:pt x="201" y="721"/>
                </a:cubicBezTo>
                <a:cubicBezTo>
                  <a:pt x="201" y="721"/>
                  <a:pt x="194" y="715"/>
                  <a:pt x="192" y="711"/>
                </a:cubicBezTo>
                <a:cubicBezTo>
                  <a:pt x="191" y="706"/>
                  <a:pt x="192" y="692"/>
                  <a:pt x="192" y="692"/>
                </a:cubicBezTo>
                <a:cubicBezTo>
                  <a:pt x="185" y="674"/>
                  <a:pt x="185" y="674"/>
                  <a:pt x="185" y="674"/>
                </a:cubicBezTo>
                <a:cubicBezTo>
                  <a:pt x="185" y="674"/>
                  <a:pt x="176" y="676"/>
                  <a:pt x="168" y="664"/>
                </a:cubicBezTo>
                <a:cubicBezTo>
                  <a:pt x="161" y="652"/>
                  <a:pt x="161" y="650"/>
                  <a:pt x="165" y="649"/>
                </a:cubicBezTo>
                <a:cubicBezTo>
                  <a:pt x="168" y="635"/>
                  <a:pt x="168" y="635"/>
                  <a:pt x="168" y="635"/>
                </a:cubicBezTo>
                <a:cubicBezTo>
                  <a:pt x="159" y="624"/>
                  <a:pt x="159" y="624"/>
                  <a:pt x="159" y="624"/>
                </a:cubicBezTo>
                <a:cubicBezTo>
                  <a:pt x="159" y="624"/>
                  <a:pt x="148" y="618"/>
                  <a:pt x="153" y="615"/>
                </a:cubicBezTo>
                <a:cubicBezTo>
                  <a:pt x="158" y="612"/>
                  <a:pt x="155" y="606"/>
                  <a:pt x="148" y="602"/>
                </a:cubicBezTo>
                <a:cubicBezTo>
                  <a:pt x="142" y="597"/>
                  <a:pt x="135" y="575"/>
                  <a:pt x="135" y="575"/>
                </a:cubicBezTo>
                <a:cubicBezTo>
                  <a:pt x="135" y="575"/>
                  <a:pt x="136" y="553"/>
                  <a:pt x="129" y="538"/>
                </a:cubicBezTo>
                <a:cubicBezTo>
                  <a:pt x="121" y="523"/>
                  <a:pt x="114" y="519"/>
                  <a:pt x="114" y="507"/>
                </a:cubicBezTo>
                <a:cubicBezTo>
                  <a:pt x="114" y="494"/>
                  <a:pt x="114" y="483"/>
                  <a:pt x="117" y="471"/>
                </a:cubicBezTo>
                <a:cubicBezTo>
                  <a:pt x="120" y="458"/>
                  <a:pt x="117" y="476"/>
                  <a:pt x="120" y="445"/>
                </a:cubicBezTo>
                <a:cubicBezTo>
                  <a:pt x="123" y="413"/>
                  <a:pt x="132" y="404"/>
                  <a:pt x="117" y="401"/>
                </a:cubicBezTo>
                <a:cubicBezTo>
                  <a:pt x="102" y="398"/>
                  <a:pt x="94" y="392"/>
                  <a:pt x="97" y="402"/>
                </a:cubicBezTo>
                <a:cubicBezTo>
                  <a:pt x="100" y="413"/>
                  <a:pt x="99" y="422"/>
                  <a:pt x="99" y="422"/>
                </a:cubicBezTo>
                <a:cubicBezTo>
                  <a:pt x="99" y="422"/>
                  <a:pt x="100" y="437"/>
                  <a:pt x="93" y="442"/>
                </a:cubicBezTo>
                <a:cubicBezTo>
                  <a:pt x="85" y="446"/>
                  <a:pt x="79" y="458"/>
                  <a:pt x="70" y="451"/>
                </a:cubicBezTo>
                <a:cubicBezTo>
                  <a:pt x="61" y="443"/>
                  <a:pt x="64" y="429"/>
                  <a:pt x="56" y="437"/>
                </a:cubicBezTo>
                <a:cubicBezTo>
                  <a:pt x="49" y="445"/>
                  <a:pt x="41" y="449"/>
                  <a:pt x="37" y="437"/>
                </a:cubicBezTo>
                <a:cubicBezTo>
                  <a:pt x="32" y="425"/>
                  <a:pt x="9" y="419"/>
                  <a:pt x="20" y="410"/>
                </a:cubicBezTo>
                <a:cubicBezTo>
                  <a:pt x="31" y="401"/>
                  <a:pt x="35" y="402"/>
                  <a:pt x="46" y="396"/>
                </a:cubicBezTo>
                <a:cubicBezTo>
                  <a:pt x="56" y="390"/>
                  <a:pt x="61" y="378"/>
                  <a:pt x="61" y="378"/>
                </a:cubicBezTo>
                <a:cubicBezTo>
                  <a:pt x="61" y="378"/>
                  <a:pt x="59" y="381"/>
                  <a:pt x="49" y="381"/>
                </a:cubicBezTo>
                <a:cubicBezTo>
                  <a:pt x="38" y="381"/>
                  <a:pt x="29" y="381"/>
                  <a:pt x="25" y="387"/>
                </a:cubicBezTo>
                <a:cubicBezTo>
                  <a:pt x="20" y="393"/>
                  <a:pt x="5" y="395"/>
                  <a:pt x="5" y="387"/>
                </a:cubicBezTo>
                <a:cubicBezTo>
                  <a:pt x="5" y="380"/>
                  <a:pt x="0" y="372"/>
                  <a:pt x="0" y="37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97" name="Freeform 633"/>
          <p:cNvSpPr>
            <a:spLocks/>
          </p:cNvSpPr>
          <p:nvPr userDrawn="1"/>
        </p:nvSpPr>
        <p:spPr bwMode="auto">
          <a:xfrm>
            <a:off x="8145679" y="4833787"/>
            <a:ext cx="244564" cy="164159"/>
          </a:xfrm>
          <a:custGeom>
            <a:avLst/>
            <a:gdLst>
              <a:gd name="T0" fmla="*/ 2147483646 w 262"/>
              <a:gd name="T1" fmla="*/ 2147483646 h 176"/>
              <a:gd name="T2" fmla="*/ 2147483646 w 262"/>
              <a:gd name="T3" fmla="*/ 2147483646 h 176"/>
              <a:gd name="T4" fmla="*/ 2147483646 w 262"/>
              <a:gd name="T5" fmla="*/ 2147483646 h 176"/>
              <a:gd name="T6" fmla="*/ 2147483646 w 262"/>
              <a:gd name="T7" fmla="*/ 2147483646 h 176"/>
              <a:gd name="T8" fmla="*/ 2147483646 w 262"/>
              <a:gd name="T9" fmla="*/ 2147483646 h 176"/>
              <a:gd name="T10" fmla="*/ 2147483646 w 262"/>
              <a:gd name="T11" fmla="*/ 2147483646 h 176"/>
              <a:gd name="T12" fmla="*/ 2147483646 w 262"/>
              <a:gd name="T13" fmla="*/ 2147483646 h 176"/>
              <a:gd name="T14" fmla="*/ 2147483646 w 262"/>
              <a:gd name="T15" fmla="*/ 2147483646 h 176"/>
              <a:gd name="T16" fmla="*/ 2147483646 w 262"/>
              <a:gd name="T17" fmla="*/ 2147483646 h 176"/>
              <a:gd name="T18" fmla="*/ 2147483646 w 262"/>
              <a:gd name="T19" fmla="*/ 2147483646 h 176"/>
              <a:gd name="T20" fmla="*/ 0 w 262"/>
              <a:gd name="T21" fmla="*/ 2147483646 h 176"/>
              <a:gd name="T22" fmla="*/ 2147483646 w 262"/>
              <a:gd name="T23" fmla="*/ 2147483646 h 176"/>
              <a:gd name="T24" fmla="*/ 2147483646 w 262"/>
              <a:gd name="T25" fmla="*/ 2147483646 h 176"/>
              <a:gd name="T26" fmla="*/ 2147483646 w 262"/>
              <a:gd name="T27" fmla="*/ 2147483646 h 176"/>
              <a:gd name="T28" fmla="*/ 2147483646 w 262"/>
              <a:gd name="T29" fmla="*/ 2147483646 h 176"/>
              <a:gd name="T30" fmla="*/ 2147483646 w 262"/>
              <a:gd name="T31" fmla="*/ 2147483646 h 176"/>
              <a:gd name="T32" fmla="*/ 2147483646 w 262"/>
              <a:gd name="T33" fmla="*/ 2147483646 h 176"/>
              <a:gd name="T34" fmla="*/ 2147483646 w 262"/>
              <a:gd name="T35" fmla="*/ 2147483646 h 176"/>
              <a:gd name="T36" fmla="*/ 2147483646 w 262"/>
              <a:gd name="T37" fmla="*/ 2147483646 h 176"/>
              <a:gd name="T38" fmla="*/ 2147483646 w 262"/>
              <a:gd name="T39" fmla="*/ 2147483646 h 176"/>
              <a:gd name="T40" fmla="*/ 2147483646 w 262"/>
              <a:gd name="T41" fmla="*/ 2147483646 h 176"/>
              <a:gd name="T42" fmla="*/ 2147483646 w 262"/>
              <a:gd name="T43" fmla="*/ 2147483646 h 176"/>
              <a:gd name="T44" fmla="*/ 2147483646 w 262"/>
              <a:gd name="T45" fmla="*/ 2147483646 h 176"/>
              <a:gd name="T46" fmla="*/ 2147483646 w 262"/>
              <a:gd name="T47" fmla="*/ 2147483646 h 176"/>
              <a:gd name="T48" fmla="*/ 2147483646 w 262"/>
              <a:gd name="T49" fmla="*/ 2147483646 h 176"/>
              <a:gd name="T50" fmla="*/ 2147483646 w 262"/>
              <a:gd name="T51" fmla="*/ 2147483646 h 176"/>
              <a:gd name="T52" fmla="*/ 2147483646 w 262"/>
              <a:gd name="T53" fmla="*/ 2147483646 h 176"/>
              <a:gd name="T54" fmla="*/ 2147483646 w 262"/>
              <a:gd name="T55" fmla="*/ 2147483646 h 176"/>
              <a:gd name="T56" fmla="*/ 2147483646 w 262"/>
              <a:gd name="T57" fmla="*/ 2147483646 h 176"/>
              <a:gd name="T58" fmla="*/ 2147483646 w 262"/>
              <a:gd name="T59" fmla="*/ 2147483646 h 176"/>
              <a:gd name="T60" fmla="*/ 2147483646 w 262"/>
              <a:gd name="T61" fmla="*/ 2147483646 h 176"/>
              <a:gd name="T62" fmla="*/ 2147483646 w 262"/>
              <a:gd name="T63" fmla="*/ 2147483646 h 176"/>
              <a:gd name="T64" fmla="*/ 2147483646 w 262"/>
              <a:gd name="T65" fmla="*/ 2147483646 h 176"/>
              <a:gd name="T66" fmla="*/ 2147483646 w 262"/>
              <a:gd name="T67" fmla="*/ 2147483646 h 17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62"/>
              <a:gd name="T103" fmla="*/ 0 h 176"/>
              <a:gd name="T104" fmla="*/ 262 w 262"/>
              <a:gd name="T105" fmla="*/ 176 h 17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62" h="176">
                <a:moveTo>
                  <a:pt x="212" y="10"/>
                </a:moveTo>
                <a:cubicBezTo>
                  <a:pt x="205" y="5"/>
                  <a:pt x="194" y="0"/>
                  <a:pt x="189" y="8"/>
                </a:cubicBezTo>
                <a:cubicBezTo>
                  <a:pt x="183" y="17"/>
                  <a:pt x="173" y="24"/>
                  <a:pt x="168" y="33"/>
                </a:cubicBezTo>
                <a:cubicBezTo>
                  <a:pt x="163" y="42"/>
                  <a:pt x="146" y="45"/>
                  <a:pt x="146" y="57"/>
                </a:cubicBezTo>
                <a:cubicBezTo>
                  <a:pt x="145" y="68"/>
                  <a:pt x="144" y="68"/>
                  <a:pt x="130" y="75"/>
                </a:cubicBezTo>
                <a:cubicBezTo>
                  <a:pt x="115" y="82"/>
                  <a:pt x="103" y="106"/>
                  <a:pt x="96" y="111"/>
                </a:cubicBezTo>
                <a:cubicBezTo>
                  <a:pt x="90" y="117"/>
                  <a:pt x="63" y="144"/>
                  <a:pt x="63" y="148"/>
                </a:cubicBezTo>
                <a:cubicBezTo>
                  <a:pt x="62" y="152"/>
                  <a:pt x="56" y="158"/>
                  <a:pt x="50" y="156"/>
                </a:cubicBezTo>
                <a:cubicBezTo>
                  <a:pt x="43" y="155"/>
                  <a:pt x="45" y="151"/>
                  <a:pt x="34" y="146"/>
                </a:cubicBezTo>
                <a:cubicBezTo>
                  <a:pt x="23" y="142"/>
                  <a:pt x="14" y="133"/>
                  <a:pt x="10" y="135"/>
                </a:cubicBezTo>
                <a:cubicBezTo>
                  <a:pt x="5" y="137"/>
                  <a:pt x="0" y="137"/>
                  <a:pt x="0" y="137"/>
                </a:cubicBezTo>
                <a:cubicBezTo>
                  <a:pt x="0" y="137"/>
                  <a:pt x="14" y="149"/>
                  <a:pt x="20" y="151"/>
                </a:cubicBezTo>
                <a:cubicBezTo>
                  <a:pt x="27" y="153"/>
                  <a:pt x="26" y="160"/>
                  <a:pt x="33" y="165"/>
                </a:cubicBezTo>
                <a:cubicBezTo>
                  <a:pt x="41" y="170"/>
                  <a:pt x="46" y="176"/>
                  <a:pt x="57" y="174"/>
                </a:cubicBezTo>
                <a:cubicBezTo>
                  <a:pt x="69" y="173"/>
                  <a:pt x="62" y="163"/>
                  <a:pt x="76" y="163"/>
                </a:cubicBezTo>
                <a:cubicBezTo>
                  <a:pt x="91" y="162"/>
                  <a:pt x="83" y="152"/>
                  <a:pt x="96" y="153"/>
                </a:cubicBezTo>
                <a:cubicBezTo>
                  <a:pt x="110" y="155"/>
                  <a:pt x="106" y="153"/>
                  <a:pt x="123" y="151"/>
                </a:cubicBezTo>
                <a:cubicBezTo>
                  <a:pt x="140" y="150"/>
                  <a:pt x="146" y="140"/>
                  <a:pt x="147" y="130"/>
                </a:cubicBezTo>
                <a:cubicBezTo>
                  <a:pt x="148" y="121"/>
                  <a:pt x="140" y="117"/>
                  <a:pt x="149" y="107"/>
                </a:cubicBezTo>
                <a:cubicBezTo>
                  <a:pt x="157" y="98"/>
                  <a:pt x="176" y="69"/>
                  <a:pt x="183" y="72"/>
                </a:cubicBezTo>
                <a:cubicBezTo>
                  <a:pt x="191" y="75"/>
                  <a:pt x="193" y="83"/>
                  <a:pt x="203" y="83"/>
                </a:cubicBezTo>
                <a:cubicBezTo>
                  <a:pt x="214" y="84"/>
                  <a:pt x="209" y="73"/>
                  <a:pt x="219" y="70"/>
                </a:cubicBezTo>
                <a:cubicBezTo>
                  <a:pt x="229" y="67"/>
                  <a:pt x="224" y="66"/>
                  <a:pt x="235" y="68"/>
                </a:cubicBezTo>
                <a:cubicBezTo>
                  <a:pt x="246" y="70"/>
                  <a:pt x="240" y="59"/>
                  <a:pt x="249" y="57"/>
                </a:cubicBezTo>
                <a:cubicBezTo>
                  <a:pt x="259" y="56"/>
                  <a:pt x="247" y="53"/>
                  <a:pt x="240" y="54"/>
                </a:cubicBezTo>
                <a:cubicBezTo>
                  <a:pt x="233" y="54"/>
                  <a:pt x="232" y="47"/>
                  <a:pt x="238" y="46"/>
                </a:cubicBezTo>
                <a:cubicBezTo>
                  <a:pt x="244" y="45"/>
                  <a:pt x="242" y="37"/>
                  <a:pt x="249" y="44"/>
                </a:cubicBezTo>
                <a:cubicBezTo>
                  <a:pt x="256" y="50"/>
                  <a:pt x="252" y="50"/>
                  <a:pt x="257" y="47"/>
                </a:cubicBezTo>
                <a:cubicBezTo>
                  <a:pt x="262" y="44"/>
                  <a:pt x="259" y="34"/>
                  <a:pt x="256" y="33"/>
                </a:cubicBezTo>
                <a:cubicBezTo>
                  <a:pt x="252" y="32"/>
                  <a:pt x="249" y="27"/>
                  <a:pt x="246" y="30"/>
                </a:cubicBezTo>
                <a:cubicBezTo>
                  <a:pt x="242" y="34"/>
                  <a:pt x="236" y="33"/>
                  <a:pt x="232" y="35"/>
                </a:cubicBezTo>
                <a:cubicBezTo>
                  <a:pt x="229" y="37"/>
                  <a:pt x="220" y="33"/>
                  <a:pt x="218" y="31"/>
                </a:cubicBezTo>
                <a:cubicBezTo>
                  <a:pt x="216" y="30"/>
                  <a:pt x="213" y="25"/>
                  <a:pt x="212" y="22"/>
                </a:cubicBezTo>
                <a:cubicBezTo>
                  <a:pt x="210" y="19"/>
                  <a:pt x="212" y="10"/>
                  <a:pt x="212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98" name="Freeform 634"/>
          <p:cNvSpPr>
            <a:spLocks/>
          </p:cNvSpPr>
          <p:nvPr userDrawn="1"/>
        </p:nvSpPr>
        <p:spPr bwMode="auto">
          <a:xfrm>
            <a:off x="8137303" y="4897442"/>
            <a:ext cx="252940" cy="219436"/>
          </a:xfrm>
          <a:custGeom>
            <a:avLst/>
            <a:gdLst>
              <a:gd name="T0" fmla="*/ 2147483646 w 270"/>
              <a:gd name="T1" fmla="*/ 2147483646 h 234"/>
              <a:gd name="T2" fmla="*/ 2147483646 w 270"/>
              <a:gd name="T3" fmla="*/ 2147483646 h 234"/>
              <a:gd name="T4" fmla="*/ 2147483646 w 270"/>
              <a:gd name="T5" fmla="*/ 2147483646 h 234"/>
              <a:gd name="T6" fmla="*/ 2147483646 w 270"/>
              <a:gd name="T7" fmla="*/ 2147483646 h 234"/>
              <a:gd name="T8" fmla="*/ 2147483646 w 270"/>
              <a:gd name="T9" fmla="*/ 2147483646 h 234"/>
              <a:gd name="T10" fmla="*/ 2147483646 w 270"/>
              <a:gd name="T11" fmla="*/ 2147483646 h 234"/>
              <a:gd name="T12" fmla="*/ 2147483646 w 270"/>
              <a:gd name="T13" fmla="*/ 2147483646 h 234"/>
              <a:gd name="T14" fmla="*/ 2147483646 w 270"/>
              <a:gd name="T15" fmla="*/ 2147483646 h 234"/>
              <a:gd name="T16" fmla="*/ 2147483646 w 270"/>
              <a:gd name="T17" fmla="*/ 2147483646 h 234"/>
              <a:gd name="T18" fmla="*/ 2147483646 w 270"/>
              <a:gd name="T19" fmla="*/ 2147483646 h 234"/>
              <a:gd name="T20" fmla="*/ 2147483646 w 270"/>
              <a:gd name="T21" fmla="*/ 2147483646 h 234"/>
              <a:gd name="T22" fmla="*/ 2147483646 w 270"/>
              <a:gd name="T23" fmla="*/ 2147483646 h 234"/>
              <a:gd name="T24" fmla="*/ 2147483646 w 270"/>
              <a:gd name="T25" fmla="*/ 2147483646 h 234"/>
              <a:gd name="T26" fmla="*/ 2147483646 w 270"/>
              <a:gd name="T27" fmla="*/ 2147483646 h 234"/>
              <a:gd name="T28" fmla="*/ 2147483646 w 270"/>
              <a:gd name="T29" fmla="*/ 2147483646 h 234"/>
              <a:gd name="T30" fmla="*/ 2147483646 w 270"/>
              <a:gd name="T31" fmla="*/ 2147483646 h 234"/>
              <a:gd name="T32" fmla="*/ 2147483646 w 270"/>
              <a:gd name="T33" fmla="*/ 2147483646 h 234"/>
              <a:gd name="T34" fmla="*/ 2147483646 w 270"/>
              <a:gd name="T35" fmla="*/ 2147483646 h 234"/>
              <a:gd name="T36" fmla="*/ 2147483646 w 270"/>
              <a:gd name="T37" fmla="*/ 2147483646 h 234"/>
              <a:gd name="T38" fmla="*/ 2147483646 w 270"/>
              <a:gd name="T39" fmla="*/ 2147483646 h 234"/>
              <a:gd name="T40" fmla="*/ 2147483646 w 270"/>
              <a:gd name="T41" fmla="*/ 2147483646 h 234"/>
              <a:gd name="T42" fmla="*/ 2147483646 w 270"/>
              <a:gd name="T43" fmla="*/ 2147483646 h 234"/>
              <a:gd name="T44" fmla="*/ 2147483646 w 270"/>
              <a:gd name="T45" fmla="*/ 2147483646 h 234"/>
              <a:gd name="T46" fmla="*/ 2147483646 w 270"/>
              <a:gd name="T47" fmla="*/ 2147483646 h 234"/>
              <a:gd name="T48" fmla="*/ 2147483646 w 270"/>
              <a:gd name="T49" fmla="*/ 2147483646 h 234"/>
              <a:gd name="T50" fmla="*/ 2147483646 w 270"/>
              <a:gd name="T51" fmla="*/ 2147483646 h 234"/>
              <a:gd name="T52" fmla="*/ 2147483646 w 270"/>
              <a:gd name="T53" fmla="*/ 2147483646 h 234"/>
              <a:gd name="T54" fmla="*/ 2147483646 w 270"/>
              <a:gd name="T55" fmla="*/ 2147483646 h 234"/>
              <a:gd name="T56" fmla="*/ 2147483646 w 270"/>
              <a:gd name="T57" fmla="*/ 2147483646 h 234"/>
              <a:gd name="T58" fmla="*/ 2147483646 w 270"/>
              <a:gd name="T59" fmla="*/ 2147483646 h 234"/>
              <a:gd name="T60" fmla="*/ 2147483646 w 270"/>
              <a:gd name="T61" fmla="*/ 2147483646 h 234"/>
              <a:gd name="T62" fmla="*/ 2147483646 w 270"/>
              <a:gd name="T63" fmla="*/ 2147483646 h 234"/>
              <a:gd name="T64" fmla="*/ 2147483646 w 270"/>
              <a:gd name="T65" fmla="*/ 2147483646 h 234"/>
              <a:gd name="T66" fmla="*/ 2147483646 w 270"/>
              <a:gd name="T67" fmla="*/ 2147483646 h 234"/>
              <a:gd name="T68" fmla="*/ 2147483646 w 270"/>
              <a:gd name="T69" fmla="*/ 2147483646 h 234"/>
              <a:gd name="T70" fmla="*/ 2147483646 w 270"/>
              <a:gd name="T71" fmla="*/ 2147483646 h 234"/>
              <a:gd name="T72" fmla="*/ 2147483646 w 270"/>
              <a:gd name="T73" fmla="*/ 2147483646 h 234"/>
              <a:gd name="T74" fmla="*/ 2147483646 w 270"/>
              <a:gd name="T75" fmla="*/ 2147483646 h 234"/>
              <a:gd name="T76" fmla="*/ 2147483646 w 270"/>
              <a:gd name="T77" fmla="*/ 2147483646 h 234"/>
              <a:gd name="T78" fmla="*/ 2147483646 w 270"/>
              <a:gd name="T79" fmla="*/ 2147483646 h 234"/>
              <a:gd name="T80" fmla="*/ 2147483646 w 270"/>
              <a:gd name="T81" fmla="*/ 2147483646 h 234"/>
              <a:gd name="T82" fmla="*/ 2147483646 w 270"/>
              <a:gd name="T83" fmla="*/ 2147483646 h 234"/>
              <a:gd name="T84" fmla="*/ 2147483646 w 270"/>
              <a:gd name="T85" fmla="*/ 2147483646 h 234"/>
              <a:gd name="T86" fmla="*/ 2147483646 w 270"/>
              <a:gd name="T87" fmla="*/ 2147483646 h 234"/>
              <a:gd name="T88" fmla="*/ 2147483646 w 270"/>
              <a:gd name="T89" fmla="*/ 2147483646 h 234"/>
              <a:gd name="T90" fmla="*/ 2147483646 w 270"/>
              <a:gd name="T91" fmla="*/ 2147483646 h 234"/>
              <a:gd name="T92" fmla="*/ 2147483646 w 270"/>
              <a:gd name="T93" fmla="*/ 2147483646 h 234"/>
              <a:gd name="T94" fmla="*/ 2147483646 w 270"/>
              <a:gd name="T95" fmla="*/ 2147483646 h 234"/>
              <a:gd name="T96" fmla="*/ 2147483646 w 270"/>
              <a:gd name="T97" fmla="*/ 2147483646 h 234"/>
              <a:gd name="T98" fmla="*/ 2147483646 w 270"/>
              <a:gd name="T99" fmla="*/ 2147483646 h 234"/>
              <a:gd name="T100" fmla="*/ 2147483646 w 270"/>
              <a:gd name="T101" fmla="*/ 2147483646 h 234"/>
              <a:gd name="T102" fmla="*/ 2147483646 w 270"/>
              <a:gd name="T103" fmla="*/ 2147483646 h 234"/>
              <a:gd name="T104" fmla="*/ 2147483646 w 270"/>
              <a:gd name="T105" fmla="*/ 2147483646 h 23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70"/>
              <a:gd name="T160" fmla="*/ 0 h 234"/>
              <a:gd name="T161" fmla="*/ 270 w 270"/>
              <a:gd name="T162" fmla="*/ 234 h 23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70" h="234">
                <a:moveTo>
                  <a:pt x="211" y="14"/>
                </a:moveTo>
                <a:cubicBezTo>
                  <a:pt x="201" y="14"/>
                  <a:pt x="199" y="6"/>
                  <a:pt x="191" y="3"/>
                </a:cubicBezTo>
                <a:cubicBezTo>
                  <a:pt x="184" y="0"/>
                  <a:pt x="165" y="29"/>
                  <a:pt x="157" y="38"/>
                </a:cubicBezTo>
                <a:cubicBezTo>
                  <a:pt x="148" y="48"/>
                  <a:pt x="156" y="52"/>
                  <a:pt x="155" y="61"/>
                </a:cubicBezTo>
                <a:cubicBezTo>
                  <a:pt x="154" y="71"/>
                  <a:pt x="148" y="81"/>
                  <a:pt x="131" y="82"/>
                </a:cubicBezTo>
                <a:cubicBezTo>
                  <a:pt x="114" y="84"/>
                  <a:pt x="118" y="86"/>
                  <a:pt x="104" y="84"/>
                </a:cubicBezTo>
                <a:cubicBezTo>
                  <a:pt x="91" y="83"/>
                  <a:pt x="99" y="93"/>
                  <a:pt x="84" y="94"/>
                </a:cubicBezTo>
                <a:cubicBezTo>
                  <a:pt x="70" y="94"/>
                  <a:pt x="77" y="104"/>
                  <a:pt x="65" y="105"/>
                </a:cubicBezTo>
                <a:cubicBezTo>
                  <a:pt x="54" y="107"/>
                  <a:pt x="49" y="101"/>
                  <a:pt x="41" y="96"/>
                </a:cubicBezTo>
                <a:cubicBezTo>
                  <a:pt x="34" y="91"/>
                  <a:pt x="35" y="84"/>
                  <a:pt x="28" y="82"/>
                </a:cubicBezTo>
                <a:cubicBezTo>
                  <a:pt x="22" y="80"/>
                  <a:pt x="8" y="68"/>
                  <a:pt x="8" y="68"/>
                </a:cubicBezTo>
                <a:cubicBezTo>
                  <a:pt x="8" y="68"/>
                  <a:pt x="11" y="83"/>
                  <a:pt x="8" y="86"/>
                </a:cubicBezTo>
                <a:cubicBezTo>
                  <a:pt x="5" y="89"/>
                  <a:pt x="0" y="98"/>
                  <a:pt x="5" y="107"/>
                </a:cubicBezTo>
                <a:cubicBezTo>
                  <a:pt x="11" y="115"/>
                  <a:pt x="15" y="128"/>
                  <a:pt x="16" y="131"/>
                </a:cubicBezTo>
                <a:cubicBezTo>
                  <a:pt x="18" y="134"/>
                  <a:pt x="15" y="141"/>
                  <a:pt x="18" y="145"/>
                </a:cubicBezTo>
                <a:cubicBezTo>
                  <a:pt x="20" y="150"/>
                  <a:pt x="28" y="154"/>
                  <a:pt x="31" y="155"/>
                </a:cubicBezTo>
                <a:cubicBezTo>
                  <a:pt x="34" y="156"/>
                  <a:pt x="38" y="158"/>
                  <a:pt x="38" y="162"/>
                </a:cubicBezTo>
                <a:cubicBezTo>
                  <a:pt x="38" y="166"/>
                  <a:pt x="39" y="177"/>
                  <a:pt x="39" y="184"/>
                </a:cubicBezTo>
                <a:cubicBezTo>
                  <a:pt x="39" y="190"/>
                  <a:pt x="38" y="188"/>
                  <a:pt x="39" y="194"/>
                </a:cubicBezTo>
                <a:cubicBezTo>
                  <a:pt x="40" y="200"/>
                  <a:pt x="45" y="202"/>
                  <a:pt x="49" y="200"/>
                </a:cubicBezTo>
                <a:cubicBezTo>
                  <a:pt x="54" y="197"/>
                  <a:pt x="57" y="191"/>
                  <a:pt x="58" y="197"/>
                </a:cubicBezTo>
                <a:cubicBezTo>
                  <a:pt x="60" y="204"/>
                  <a:pt x="55" y="213"/>
                  <a:pt x="61" y="210"/>
                </a:cubicBezTo>
                <a:cubicBezTo>
                  <a:pt x="67" y="208"/>
                  <a:pt x="62" y="201"/>
                  <a:pt x="70" y="203"/>
                </a:cubicBezTo>
                <a:cubicBezTo>
                  <a:pt x="78" y="204"/>
                  <a:pt x="75" y="203"/>
                  <a:pt x="78" y="204"/>
                </a:cubicBezTo>
                <a:cubicBezTo>
                  <a:pt x="81" y="206"/>
                  <a:pt x="84" y="198"/>
                  <a:pt x="84" y="205"/>
                </a:cubicBezTo>
                <a:cubicBezTo>
                  <a:pt x="84" y="212"/>
                  <a:pt x="74" y="209"/>
                  <a:pt x="78" y="215"/>
                </a:cubicBezTo>
                <a:cubicBezTo>
                  <a:pt x="83" y="221"/>
                  <a:pt x="88" y="215"/>
                  <a:pt x="91" y="214"/>
                </a:cubicBezTo>
                <a:cubicBezTo>
                  <a:pt x="94" y="212"/>
                  <a:pt x="89" y="200"/>
                  <a:pt x="98" y="206"/>
                </a:cubicBezTo>
                <a:cubicBezTo>
                  <a:pt x="108" y="211"/>
                  <a:pt x="106" y="196"/>
                  <a:pt x="112" y="197"/>
                </a:cubicBezTo>
                <a:cubicBezTo>
                  <a:pt x="118" y="199"/>
                  <a:pt x="118" y="197"/>
                  <a:pt x="122" y="204"/>
                </a:cubicBezTo>
                <a:cubicBezTo>
                  <a:pt x="126" y="212"/>
                  <a:pt x="125" y="202"/>
                  <a:pt x="134" y="207"/>
                </a:cubicBezTo>
                <a:cubicBezTo>
                  <a:pt x="142" y="211"/>
                  <a:pt x="138" y="213"/>
                  <a:pt x="139" y="218"/>
                </a:cubicBezTo>
                <a:cubicBezTo>
                  <a:pt x="140" y="223"/>
                  <a:pt x="136" y="220"/>
                  <a:pt x="143" y="227"/>
                </a:cubicBezTo>
                <a:cubicBezTo>
                  <a:pt x="150" y="234"/>
                  <a:pt x="156" y="229"/>
                  <a:pt x="156" y="229"/>
                </a:cubicBezTo>
                <a:cubicBezTo>
                  <a:pt x="156" y="229"/>
                  <a:pt x="153" y="214"/>
                  <a:pt x="160" y="216"/>
                </a:cubicBezTo>
                <a:cubicBezTo>
                  <a:pt x="167" y="218"/>
                  <a:pt x="169" y="219"/>
                  <a:pt x="169" y="219"/>
                </a:cubicBezTo>
                <a:cubicBezTo>
                  <a:pt x="169" y="219"/>
                  <a:pt x="187" y="228"/>
                  <a:pt x="191" y="221"/>
                </a:cubicBezTo>
                <a:cubicBezTo>
                  <a:pt x="194" y="214"/>
                  <a:pt x="195" y="204"/>
                  <a:pt x="191" y="200"/>
                </a:cubicBezTo>
                <a:cubicBezTo>
                  <a:pt x="186" y="197"/>
                  <a:pt x="180" y="189"/>
                  <a:pt x="186" y="184"/>
                </a:cubicBezTo>
                <a:cubicBezTo>
                  <a:pt x="192" y="180"/>
                  <a:pt x="191" y="167"/>
                  <a:pt x="192" y="163"/>
                </a:cubicBezTo>
                <a:cubicBezTo>
                  <a:pt x="194" y="158"/>
                  <a:pt x="187" y="143"/>
                  <a:pt x="197" y="147"/>
                </a:cubicBezTo>
                <a:cubicBezTo>
                  <a:pt x="206" y="151"/>
                  <a:pt x="204" y="146"/>
                  <a:pt x="214" y="150"/>
                </a:cubicBezTo>
                <a:cubicBezTo>
                  <a:pt x="224" y="154"/>
                  <a:pt x="217" y="154"/>
                  <a:pt x="224" y="131"/>
                </a:cubicBezTo>
                <a:cubicBezTo>
                  <a:pt x="231" y="108"/>
                  <a:pt x="226" y="94"/>
                  <a:pt x="234" y="94"/>
                </a:cubicBezTo>
                <a:cubicBezTo>
                  <a:pt x="243" y="94"/>
                  <a:pt x="238" y="87"/>
                  <a:pt x="248" y="93"/>
                </a:cubicBezTo>
                <a:cubicBezTo>
                  <a:pt x="258" y="98"/>
                  <a:pt x="267" y="101"/>
                  <a:pt x="269" y="97"/>
                </a:cubicBezTo>
                <a:cubicBezTo>
                  <a:pt x="270" y="94"/>
                  <a:pt x="257" y="83"/>
                  <a:pt x="254" y="83"/>
                </a:cubicBezTo>
                <a:cubicBezTo>
                  <a:pt x="250" y="83"/>
                  <a:pt x="240" y="79"/>
                  <a:pt x="236" y="76"/>
                </a:cubicBezTo>
                <a:cubicBezTo>
                  <a:pt x="232" y="73"/>
                  <a:pt x="227" y="69"/>
                  <a:pt x="225" y="68"/>
                </a:cubicBezTo>
                <a:cubicBezTo>
                  <a:pt x="223" y="66"/>
                  <a:pt x="218" y="61"/>
                  <a:pt x="224" y="54"/>
                </a:cubicBezTo>
                <a:cubicBezTo>
                  <a:pt x="229" y="47"/>
                  <a:pt x="227" y="38"/>
                  <a:pt x="225" y="33"/>
                </a:cubicBezTo>
                <a:cubicBezTo>
                  <a:pt x="223" y="28"/>
                  <a:pt x="221" y="23"/>
                  <a:pt x="224" y="21"/>
                </a:cubicBezTo>
                <a:cubicBezTo>
                  <a:pt x="227" y="18"/>
                  <a:pt x="211" y="14"/>
                  <a:pt x="211" y="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299" name="Freeform 635"/>
          <p:cNvSpPr>
            <a:spLocks/>
          </p:cNvSpPr>
          <p:nvPr userDrawn="1"/>
        </p:nvSpPr>
        <p:spPr bwMode="auto">
          <a:xfrm>
            <a:off x="8376842" y="4956068"/>
            <a:ext cx="165833" cy="197661"/>
          </a:xfrm>
          <a:custGeom>
            <a:avLst/>
            <a:gdLst>
              <a:gd name="T0" fmla="*/ 2147483646 w 177"/>
              <a:gd name="T1" fmla="*/ 2147483646 h 213"/>
              <a:gd name="T2" fmla="*/ 2147483646 w 177"/>
              <a:gd name="T3" fmla="*/ 2147483646 h 213"/>
              <a:gd name="T4" fmla="*/ 2147483646 w 177"/>
              <a:gd name="T5" fmla="*/ 2147483646 h 213"/>
              <a:gd name="T6" fmla="*/ 2147483646 w 177"/>
              <a:gd name="T7" fmla="*/ 2147483646 h 213"/>
              <a:gd name="T8" fmla="*/ 2147483646 w 177"/>
              <a:gd name="T9" fmla="*/ 2147483646 h 213"/>
              <a:gd name="T10" fmla="*/ 2147483646 w 177"/>
              <a:gd name="T11" fmla="*/ 2147483646 h 213"/>
              <a:gd name="T12" fmla="*/ 2147483646 w 177"/>
              <a:gd name="T13" fmla="*/ 2147483646 h 213"/>
              <a:gd name="T14" fmla="*/ 2147483646 w 177"/>
              <a:gd name="T15" fmla="*/ 2147483646 h 213"/>
              <a:gd name="T16" fmla="*/ 2147483646 w 177"/>
              <a:gd name="T17" fmla="*/ 2147483646 h 213"/>
              <a:gd name="T18" fmla="*/ 2147483646 w 177"/>
              <a:gd name="T19" fmla="*/ 2147483646 h 213"/>
              <a:gd name="T20" fmla="*/ 2147483646 w 177"/>
              <a:gd name="T21" fmla="*/ 2147483646 h 213"/>
              <a:gd name="T22" fmla="*/ 2147483646 w 177"/>
              <a:gd name="T23" fmla="*/ 2147483646 h 213"/>
              <a:gd name="T24" fmla="*/ 2147483646 w 177"/>
              <a:gd name="T25" fmla="*/ 2147483646 h 213"/>
              <a:gd name="T26" fmla="*/ 2147483646 w 177"/>
              <a:gd name="T27" fmla="*/ 2147483646 h 213"/>
              <a:gd name="T28" fmla="*/ 2147483646 w 177"/>
              <a:gd name="T29" fmla="*/ 2147483646 h 213"/>
              <a:gd name="T30" fmla="*/ 2147483646 w 177"/>
              <a:gd name="T31" fmla="*/ 2147483646 h 213"/>
              <a:gd name="T32" fmla="*/ 2147483646 w 177"/>
              <a:gd name="T33" fmla="*/ 2147483646 h 213"/>
              <a:gd name="T34" fmla="*/ 2147483646 w 177"/>
              <a:gd name="T35" fmla="*/ 2147483646 h 213"/>
              <a:gd name="T36" fmla="*/ 2147483646 w 177"/>
              <a:gd name="T37" fmla="*/ 2147483646 h 213"/>
              <a:gd name="T38" fmla="*/ 2147483646 w 177"/>
              <a:gd name="T39" fmla="*/ 2147483646 h 213"/>
              <a:gd name="T40" fmla="*/ 2147483646 w 177"/>
              <a:gd name="T41" fmla="*/ 2147483646 h 213"/>
              <a:gd name="T42" fmla="*/ 2147483646 w 177"/>
              <a:gd name="T43" fmla="*/ 2147483646 h 213"/>
              <a:gd name="T44" fmla="*/ 2147483646 w 177"/>
              <a:gd name="T45" fmla="*/ 2147483646 h 213"/>
              <a:gd name="T46" fmla="*/ 2147483646 w 177"/>
              <a:gd name="T47" fmla="*/ 2147483646 h 213"/>
              <a:gd name="T48" fmla="*/ 2147483646 w 177"/>
              <a:gd name="T49" fmla="*/ 2147483646 h 213"/>
              <a:gd name="T50" fmla="*/ 2147483646 w 177"/>
              <a:gd name="T51" fmla="*/ 2147483646 h 213"/>
              <a:gd name="T52" fmla="*/ 2147483646 w 177"/>
              <a:gd name="T53" fmla="*/ 2147483646 h 213"/>
              <a:gd name="T54" fmla="*/ 2147483646 w 177"/>
              <a:gd name="T55" fmla="*/ 2147483646 h 213"/>
              <a:gd name="T56" fmla="*/ 2147483646 w 177"/>
              <a:gd name="T57" fmla="*/ 2147483646 h 213"/>
              <a:gd name="T58" fmla="*/ 2147483646 w 177"/>
              <a:gd name="T59" fmla="*/ 2147483646 h 213"/>
              <a:gd name="T60" fmla="*/ 2147483646 w 177"/>
              <a:gd name="T61" fmla="*/ 2147483646 h 213"/>
              <a:gd name="T62" fmla="*/ 2147483646 w 177"/>
              <a:gd name="T63" fmla="*/ 2147483646 h 213"/>
              <a:gd name="T64" fmla="*/ 2147483646 w 177"/>
              <a:gd name="T65" fmla="*/ 2147483646 h 213"/>
              <a:gd name="T66" fmla="*/ 2147483646 w 177"/>
              <a:gd name="T67" fmla="*/ 2147483646 h 213"/>
              <a:gd name="T68" fmla="*/ 2147483646 w 177"/>
              <a:gd name="T69" fmla="*/ 2147483646 h 213"/>
              <a:gd name="T70" fmla="*/ 2147483646 w 177"/>
              <a:gd name="T71" fmla="*/ 2147483646 h 213"/>
              <a:gd name="T72" fmla="*/ 2147483646 w 177"/>
              <a:gd name="T73" fmla="*/ 2147483646 h 213"/>
              <a:gd name="T74" fmla="*/ 2147483646 w 177"/>
              <a:gd name="T75" fmla="*/ 2147483646 h 213"/>
              <a:gd name="T76" fmla="*/ 2147483646 w 177"/>
              <a:gd name="T77" fmla="*/ 2147483646 h 213"/>
              <a:gd name="T78" fmla="*/ 2147483646 w 177"/>
              <a:gd name="T79" fmla="*/ 2147483646 h 213"/>
              <a:gd name="T80" fmla="*/ 2147483646 w 177"/>
              <a:gd name="T81" fmla="*/ 2147483646 h 213"/>
              <a:gd name="T82" fmla="*/ 2147483646 w 177"/>
              <a:gd name="T83" fmla="*/ 2147483646 h 213"/>
              <a:gd name="T84" fmla="*/ 2147483646 w 177"/>
              <a:gd name="T85" fmla="*/ 2147483646 h 213"/>
              <a:gd name="T86" fmla="*/ 2147483646 w 177"/>
              <a:gd name="T87" fmla="*/ 2147483646 h 213"/>
              <a:gd name="T88" fmla="*/ 2147483646 w 177"/>
              <a:gd name="T89" fmla="*/ 2147483646 h 213"/>
              <a:gd name="T90" fmla="*/ 2147483646 w 177"/>
              <a:gd name="T91" fmla="*/ 2147483646 h 213"/>
              <a:gd name="T92" fmla="*/ 2147483646 w 177"/>
              <a:gd name="T93" fmla="*/ 2147483646 h 213"/>
              <a:gd name="T94" fmla="*/ 2147483646 w 177"/>
              <a:gd name="T95" fmla="*/ 2147483646 h 213"/>
              <a:gd name="T96" fmla="*/ 2147483646 w 177"/>
              <a:gd name="T97" fmla="*/ 2147483646 h 213"/>
              <a:gd name="T98" fmla="*/ 2147483646 w 177"/>
              <a:gd name="T99" fmla="*/ 2147483646 h 213"/>
              <a:gd name="T100" fmla="*/ 2147483646 w 177"/>
              <a:gd name="T101" fmla="*/ 2147483646 h 213"/>
              <a:gd name="T102" fmla="*/ 2147483646 w 177"/>
              <a:gd name="T103" fmla="*/ 2147483646 h 213"/>
              <a:gd name="T104" fmla="*/ 2147483646 w 177"/>
              <a:gd name="T105" fmla="*/ 2147483646 h 213"/>
              <a:gd name="T106" fmla="*/ 2147483646 w 177"/>
              <a:gd name="T107" fmla="*/ 2147483646 h 21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77"/>
              <a:gd name="T163" fmla="*/ 0 h 213"/>
              <a:gd name="T164" fmla="*/ 177 w 177"/>
              <a:gd name="T165" fmla="*/ 213 h 21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77" h="213">
                <a:moveTo>
                  <a:pt x="164" y="5"/>
                </a:moveTo>
                <a:cubicBezTo>
                  <a:pt x="157" y="0"/>
                  <a:pt x="155" y="4"/>
                  <a:pt x="151" y="11"/>
                </a:cubicBezTo>
                <a:cubicBezTo>
                  <a:pt x="148" y="18"/>
                  <a:pt x="136" y="28"/>
                  <a:pt x="133" y="32"/>
                </a:cubicBezTo>
                <a:cubicBezTo>
                  <a:pt x="129" y="35"/>
                  <a:pt x="111" y="45"/>
                  <a:pt x="100" y="38"/>
                </a:cubicBezTo>
                <a:cubicBezTo>
                  <a:pt x="88" y="31"/>
                  <a:pt x="75" y="22"/>
                  <a:pt x="63" y="27"/>
                </a:cubicBezTo>
                <a:cubicBezTo>
                  <a:pt x="52" y="32"/>
                  <a:pt x="35" y="40"/>
                  <a:pt x="30" y="51"/>
                </a:cubicBezTo>
                <a:cubicBezTo>
                  <a:pt x="26" y="61"/>
                  <a:pt x="16" y="68"/>
                  <a:pt x="14" y="76"/>
                </a:cubicBezTo>
                <a:cubicBezTo>
                  <a:pt x="12" y="85"/>
                  <a:pt x="6" y="105"/>
                  <a:pt x="9" y="112"/>
                </a:cubicBezTo>
                <a:cubicBezTo>
                  <a:pt x="13" y="119"/>
                  <a:pt x="18" y="125"/>
                  <a:pt x="10" y="133"/>
                </a:cubicBezTo>
                <a:cubicBezTo>
                  <a:pt x="3" y="141"/>
                  <a:pt x="0" y="152"/>
                  <a:pt x="7" y="155"/>
                </a:cubicBezTo>
                <a:cubicBezTo>
                  <a:pt x="14" y="159"/>
                  <a:pt x="14" y="156"/>
                  <a:pt x="20" y="160"/>
                </a:cubicBezTo>
                <a:cubicBezTo>
                  <a:pt x="26" y="163"/>
                  <a:pt x="19" y="187"/>
                  <a:pt x="19" y="187"/>
                </a:cubicBezTo>
                <a:cubicBezTo>
                  <a:pt x="23" y="201"/>
                  <a:pt x="25" y="197"/>
                  <a:pt x="30" y="204"/>
                </a:cubicBezTo>
                <a:cubicBezTo>
                  <a:pt x="36" y="211"/>
                  <a:pt x="42" y="213"/>
                  <a:pt x="48" y="207"/>
                </a:cubicBezTo>
                <a:cubicBezTo>
                  <a:pt x="54" y="201"/>
                  <a:pt x="55" y="199"/>
                  <a:pt x="48" y="194"/>
                </a:cubicBezTo>
                <a:cubicBezTo>
                  <a:pt x="41" y="189"/>
                  <a:pt x="35" y="187"/>
                  <a:pt x="40" y="180"/>
                </a:cubicBezTo>
                <a:cubicBezTo>
                  <a:pt x="44" y="173"/>
                  <a:pt x="47" y="168"/>
                  <a:pt x="43" y="161"/>
                </a:cubicBezTo>
                <a:cubicBezTo>
                  <a:pt x="40" y="154"/>
                  <a:pt x="37" y="146"/>
                  <a:pt x="39" y="140"/>
                </a:cubicBezTo>
                <a:cubicBezTo>
                  <a:pt x="40" y="134"/>
                  <a:pt x="35" y="126"/>
                  <a:pt x="42" y="127"/>
                </a:cubicBezTo>
                <a:cubicBezTo>
                  <a:pt x="49" y="128"/>
                  <a:pt x="61" y="132"/>
                  <a:pt x="57" y="140"/>
                </a:cubicBezTo>
                <a:cubicBezTo>
                  <a:pt x="54" y="148"/>
                  <a:pt x="47" y="155"/>
                  <a:pt x="57" y="157"/>
                </a:cubicBezTo>
                <a:cubicBezTo>
                  <a:pt x="68" y="160"/>
                  <a:pt x="73" y="157"/>
                  <a:pt x="76" y="161"/>
                </a:cubicBezTo>
                <a:cubicBezTo>
                  <a:pt x="80" y="164"/>
                  <a:pt x="71" y="167"/>
                  <a:pt x="71" y="173"/>
                </a:cubicBezTo>
                <a:cubicBezTo>
                  <a:pt x="71" y="179"/>
                  <a:pt x="76" y="186"/>
                  <a:pt x="76" y="186"/>
                </a:cubicBezTo>
                <a:cubicBezTo>
                  <a:pt x="76" y="186"/>
                  <a:pt x="55" y="190"/>
                  <a:pt x="69" y="194"/>
                </a:cubicBezTo>
                <a:cubicBezTo>
                  <a:pt x="83" y="197"/>
                  <a:pt x="82" y="189"/>
                  <a:pt x="86" y="183"/>
                </a:cubicBezTo>
                <a:cubicBezTo>
                  <a:pt x="89" y="177"/>
                  <a:pt x="97" y="189"/>
                  <a:pt x="102" y="195"/>
                </a:cubicBezTo>
                <a:cubicBezTo>
                  <a:pt x="107" y="201"/>
                  <a:pt x="107" y="204"/>
                  <a:pt x="114" y="200"/>
                </a:cubicBezTo>
                <a:cubicBezTo>
                  <a:pt x="121" y="195"/>
                  <a:pt x="124" y="182"/>
                  <a:pt x="117" y="180"/>
                </a:cubicBezTo>
                <a:cubicBezTo>
                  <a:pt x="110" y="177"/>
                  <a:pt x="97" y="169"/>
                  <a:pt x="97" y="169"/>
                </a:cubicBezTo>
                <a:cubicBezTo>
                  <a:pt x="97" y="169"/>
                  <a:pt x="89" y="172"/>
                  <a:pt x="89" y="163"/>
                </a:cubicBezTo>
                <a:cubicBezTo>
                  <a:pt x="89" y="155"/>
                  <a:pt x="87" y="153"/>
                  <a:pt x="89" y="148"/>
                </a:cubicBezTo>
                <a:cubicBezTo>
                  <a:pt x="91" y="143"/>
                  <a:pt x="88" y="128"/>
                  <a:pt x="83" y="129"/>
                </a:cubicBezTo>
                <a:cubicBezTo>
                  <a:pt x="79" y="130"/>
                  <a:pt x="76" y="123"/>
                  <a:pt x="73" y="121"/>
                </a:cubicBezTo>
                <a:cubicBezTo>
                  <a:pt x="69" y="119"/>
                  <a:pt x="62" y="113"/>
                  <a:pt x="62" y="113"/>
                </a:cubicBezTo>
                <a:cubicBezTo>
                  <a:pt x="62" y="113"/>
                  <a:pt x="71" y="100"/>
                  <a:pt x="82" y="103"/>
                </a:cubicBezTo>
                <a:cubicBezTo>
                  <a:pt x="93" y="107"/>
                  <a:pt x="88" y="96"/>
                  <a:pt x="96" y="96"/>
                </a:cubicBezTo>
                <a:cubicBezTo>
                  <a:pt x="104" y="96"/>
                  <a:pt x="106" y="98"/>
                  <a:pt x="110" y="100"/>
                </a:cubicBezTo>
                <a:cubicBezTo>
                  <a:pt x="115" y="102"/>
                  <a:pt x="111" y="91"/>
                  <a:pt x="118" y="92"/>
                </a:cubicBezTo>
                <a:cubicBezTo>
                  <a:pt x="125" y="93"/>
                  <a:pt x="107" y="67"/>
                  <a:pt x="106" y="78"/>
                </a:cubicBezTo>
                <a:cubicBezTo>
                  <a:pt x="104" y="88"/>
                  <a:pt x="100" y="85"/>
                  <a:pt x="95" y="85"/>
                </a:cubicBezTo>
                <a:cubicBezTo>
                  <a:pt x="90" y="85"/>
                  <a:pt x="87" y="78"/>
                  <a:pt x="84" y="82"/>
                </a:cubicBezTo>
                <a:cubicBezTo>
                  <a:pt x="82" y="87"/>
                  <a:pt x="80" y="86"/>
                  <a:pt x="75" y="86"/>
                </a:cubicBezTo>
                <a:cubicBezTo>
                  <a:pt x="70" y="86"/>
                  <a:pt x="67" y="83"/>
                  <a:pt x="64" y="87"/>
                </a:cubicBezTo>
                <a:cubicBezTo>
                  <a:pt x="62" y="91"/>
                  <a:pt x="54" y="91"/>
                  <a:pt x="54" y="91"/>
                </a:cubicBezTo>
                <a:cubicBezTo>
                  <a:pt x="54" y="91"/>
                  <a:pt x="39" y="95"/>
                  <a:pt x="37" y="91"/>
                </a:cubicBezTo>
                <a:cubicBezTo>
                  <a:pt x="36" y="86"/>
                  <a:pt x="28" y="80"/>
                  <a:pt x="33" y="74"/>
                </a:cubicBezTo>
                <a:cubicBezTo>
                  <a:pt x="37" y="68"/>
                  <a:pt x="40" y="62"/>
                  <a:pt x="43" y="58"/>
                </a:cubicBezTo>
                <a:cubicBezTo>
                  <a:pt x="47" y="53"/>
                  <a:pt x="43" y="48"/>
                  <a:pt x="54" y="46"/>
                </a:cubicBezTo>
                <a:cubicBezTo>
                  <a:pt x="64" y="44"/>
                  <a:pt x="73" y="35"/>
                  <a:pt x="81" y="44"/>
                </a:cubicBezTo>
                <a:cubicBezTo>
                  <a:pt x="89" y="52"/>
                  <a:pt x="91" y="58"/>
                  <a:pt x="110" y="58"/>
                </a:cubicBezTo>
                <a:cubicBezTo>
                  <a:pt x="129" y="58"/>
                  <a:pt x="140" y="61"/>
                  <a:pt x="143" y="51"/>
                </a:cubicBezTo>
                <a:cubicBezTo>
                  <a:pt x="147" y="40"/>
                  <a:pt x="147" y="35"/>
                  <a:pt x="155" y="33"/>
                </a:cubicBezTo>
                <a:cubicBezTo>
                  <a:pt x="163" y="31"/>
                  <a:pt x="177" y="25"/>
                  <a:pt x="165" y="8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00" name="Freeform 636"/>
          <p:cNvSpPr>
            <a:spLocks/>
          </p:cNvSpPr>
          <p:nvPr userDrawn="1"/>
        </p:nvSpPr>
        <p:spPr bwMode="auto">
          <a:xfrm>
            <a:off x="8376842" y="4956068"/>
            <a:ext cx="165833" cy="197661"/>
          </a:xfrm>
          <a:custGeom>
            <a:avLst/>
            <a:gdLst>
              <a:gd name="T0" fmla="*/ 2147483646 w 177"/>
              <a:gd name="T1" fmla="*/ 2147483646 h 213"/>
              <a:gd name="T2" fmla="*/ 2147483646 w 177"/>
              <a:gd name="T3" fmla="*/ 2147483646 h 213"/>
              <a:gd name="T4" fmla="*/ 2147483646 w 177"/>
              <a:gd name="T5" fmla="*/ 2147483646 h 213"/>
              <a:gd name="T6" fmla="*/ 2147483646 w 177"/>
              <a:gd name="T7" fmla="*/ 2147483646 h 213"/>
              <a:gd name="T8" fmla="*/ 2147483646 w 177"/>
              <a:gd name="T9" fmla="*/ 2147483646 h 213"/>
              <a:gd name="T10" fmla="*/ 2147483646 w 177"/>
              <a:gd name="T11" fmla="*/ 2147483646 h 213"/>
              <a:gd name="T12" fmla="*/ 2147483646 w 177"/>
              <a:gd name="T13" fmla="*/ 2147483646 h 213"/>
              <a:gd name="T14" fmla="*/ 2147483646 w 177"/>
              <a:gd name="T15" fmla="*/ 2147483646 h 213"/>
              <a:gd name="T16" fmla="*/ 2147483646 w 177"/>
              <a:gd name="T17" fmla="*/ 2147483646 h 213"/>
              <a:gd name="T18" fmla="*/ 2147483646 w 177"/>
              <a:gd name="T19" fmla="*/ 2147483646 h 213"/>
              <a:gd name="T20" fmla="*/ 2147483646 w 177"/>
              <a:gd name="T21" fmla="*/ 2147483646 h 213"/>
              <a:gd name="T22" fmla="*/ 2147483646 w 177"/>
              <a:gd name="T23" fmla="*/ 2147483646 h 213"/>
              <a:gd name="T24" fmla="*/ 2147483646 w 177"/>
              <a:gd name="T25" fmla="*/ 2147483646 h 213"/>
              <a:gd name="T26" fmla="*/ 2147483646 w 177"/>
              <a:gd name="T27" fmla="*/ 2147483646 h 213"/>
              <a:gd name="T28" fmla="*/ 2147483646 w 177"/>
              <a:gd name="T29" fmla="*/ 2147483646 h 213"/>
              <a:gd name="T30" fmla="*/ 2147483646 w 177"/>
              <a:gd name="T31" fmla="*/ 2147483646 h 213"/>
              <a:gd name="T32" fmla="*/ 2147483646 w 177"/>
              <a:gd name="T33" fmla="*/ 2147483646 h 213"/>
              <a:gd name="T34" fmla="*/ 2147483646 w 177"/>
              <a:gd name="T35" fmla="*/ 2147483646 h 213"/>
              <a:gd name="T36" fmla="*/ 2147483646 w 177"/>
              <a:gd name="T37" fmla="*/ 2147483646 h 213"/>
              <a:gd name="T38" fmla="*/ 2147483646 w 177"/>
              <a:gd name="T39" fmla="*/ 2147483646 h 213"/>
              <a:gd name="T40" fmla="*/ 2147483646 w 177"/>
              <a:gd name="T41" fmla="*/ 2147483646 h 213"/>
              <a:gd name="T42" fmla="*/ 2147483646 w 177"/>
              <a:gd name="T43" fmla="*/ 2147483646 h 213"/>
              <a:gd name="T44" fmla="*/ 2147483646 w 177"/>
              <a:gd name="T45" fmla="*/ 2147483646 h 213"/>
              <a:gd name="T46" fmla="*/ 2147483646 w 177"/>
              <a:gd name="T47" fmla="*/ 2147483646 h 213"/>
              <a:gd name="T48" fmla="*/ 2147483646 w 177"/>
              <a:gd name="T49" fmla="*/ 2147483646 h 213"/>
              <a:gd name="T50" fmla="*/ 2147483646 w 177"/>
              <a:gd name="T51" fmla="*/ 2147483646 h 213"/>
              <a:gd name="T52" fmla="*/ 2147483646 w 177"/>
              <a:gd name="T53" fmla="*/ 2147483646 h 213"/>
              <a:gd name="T54" fmla="*/ 2147483646 w 177"/>
              <a:gd name="T55" fmla="*/ 2147483646 h 213"/>
              <a:gd name="T56" fmla="*/ 2147483646 w 177"/>
              <a:gd name="T57" fmla="*/ 2147483646 h 213"/>
              <a:gd name="T58" fmla="*/ 2147483646 w 177"/>
              <a:gd name="T59" fmla="*/ 2147483646 h 213"/>
              <a:gd name="T60" fmla="*/ 2147483646 w 177"/>
              <a:gd name="T61" fmla="*/ 2147483646 h 213"/>
              <a:gd name="T62" fmla="*/ 2147483646 w 177"/>
              <a:gd name="T63" fmla="*/ 2147483646 h 213"/>
              <a:gd name="T64" fmla="*/ 2147483646 w 177"/>
              <a:gd name="T65" fmla="*/ 2147483646 h 213"/>
              <a:gd name="T66" fmla="*/ 2147483646 w 177"/>
              <a:gd name="T67" fmla="*/ 2147483646 h 213"/>
              <a:gd name="T68" fmla="*/ 2147483646 w 177"/>
              <a:gd name="T69" fmla="*/ 2147483646 h 213"/>
              <a:gd name="T70" fmla="*/ 2147483646 w 177"/>
              <a:gd name="T71" fmla="*/ 2147483646 h 213"/>
              <a:gd name="T72" fmla="*/ 2147483646 w 177"/>
              <a:gd name="T73" fmla="*/ 2147483646 h 213"/>
              <a:gd name="T74" fmla="*/ 2147483646 w 177"/>
              <a:gd name="T75" fmla="*/ 2147483646 h 213"/>
              <a:gd name="T76" fmla="*/ 2147483646 w 177"/>
              <a:gd name="T77" fmla="*/ 2147483646 h 213"/>
              <a:gd name="T78" fmla="*/ 2147483646 w 177"/>
              <a:gd name="T79" fmla="*/ 2147483646 h 213"/>
              <a:gd name="T80" fmla="*/ 2147483646 w 177"/>
              <a:gd name="T81" fmla="*/ 2147483646 h 213"/>
              <a:gd name="T82" fmla="*/ 2147483646 w 177"/>
              <a:gd name="T83" fmla="*/ 2147483646 h 213"/>
              <a:gd name="T84" fmla="*/ 2147483646 w 177"/>
              <a:gd name="T85" fmla="*/ 2147483646 h 213"/>
              <a:gd name="T86" fmla="*/ 2147483646 w 177"/>
              <a:gd name="T87" fmla="*/ 2147483646 h 213"/>
              <a:gd name="T88" fmla="*/ 2147483646 w 177"/>
              <a:gd name="T89" fmla="*/ 2147483646 h 213"/>
              <a:gd name="T90" fmla="*/ 2147483646 w 177"/>
              <a:gd name="T91" fmla="*/ 2147483646 h 213"/>
              <a:gd name="T92" fmla="*/ 2147483646 w 177"/>
              <a:gd name="T93" fmla="*/ 2147483646 h 213"/>
              <a:gd name="T94" fmla="*/ 2147483646 w 177"/>
              <a:gd name="T95" fmla="*/ 2147483646 h 213"/>
              <a:gd name="T96" fmla="*/ 2147483646 w 177"/>
              <a:gd name="T97" fmla="*/ 2147483646 h 213"/>
              <a:gd name="T98" fmla="*/ 2147483646 w 177"/>
              <a:gd name="T99" fmla="*/ 2147483646 h 213"/>
              <a:gd name="T100" fmla="*/ 2147483646 w 177"/>
              <a:gd name="T101" fmla="*/ 2147483646 h 213"/>
              <a:gd name="T102" fmla="*/ 2147483646 w 177"/>
              <a:gd name="T103" fmla="*/ 2147483646 h 213"/>
              <a:gd name="T104" fmla="*/ 2147483646 w 177"/>
              <a:gd name="T105" fmla="*/ 2147483646 h 213"/>
              <a:gd name="T106" fmla="*/ 2147483646 w 177"/>
              <a:gd name="T107" fmla="*/ 2147483646 h 21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77"/>
              <a:gd name="T163" fmla="*/ 0 h 213"/>
              <a:gd name="T164" fmla="*/ 177 w 177"/>
              <a:gd name="T165" fmla="*/ 213 h 21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77" h="213">
                <a:moveTo>
                  <a:pt x="164" y="5"/>
                </a:moveTo>
                <a:cubicBezTo>
                  <a:pt x="157" y="0"/>
                  <a:pt x="155" y="4"/>
                  <a:pt x="151" y="11"/>
                </a:cubicBezTo>
                <a:cubicBezTo>
                  <a:pt x="148" y="18"/>
                  <a:pt x="136" y="28"/>
                  <a:pt x="133" y="32"/>
                </a:cubicBezTo>
                <a:cubicBezTo>
                  <a:pt x="129" y="35"/>
                  <a:pt x="111" y="45"/>
                  <a:pt x="100" y="38"/>
                </a:cubicBezTo>
                <a:cubicBezTo>
                  <a:pt x="88" y="31"/>
                  <a:pt x="75" y="22"/>
                  <a:pt x="63" y="27"/>
                </a:cubicBezTo>
                <a:cubicBezTo>
                  <a:pt x="52" y="32"/>
                  <a:pt x="35" y="40"/>
                  <a:pt x="30" y="51"/>
                </a:cubicBezTo>
                <a:cubicBezTo>
                  <a:pt x="26" y="61"/>
                  <a:pt x="16" y="68"/>
                  <a:pt x="14" y="76"/>
                </a:cubicBezTo>
                <a:cubicBezTo>
                  <a:pt x="12" y="85"/>
                  <a:pt x="6" y="105"/>
                  <a:pt x="9" y="112"/>
                </a:cubicBezTo>
                <a:cubicBezTo>
                  <a:pt x="13" y="119"/>
                  <a:pt x="18" y="125"/>
                  <a:pt x="10" y="133"/>
                </a:cubicBezTo>
                <a:cubicBezTo>
                  <a:pt x="3" y="141"/>
                  <a:pt x="0" y="152"/>
                  <a:pt x="7" y="155"/>
                </a:cubicBezTo>
                <a:cubicBezTo>
                  <a:pt x="14" y="159"/>
                  <a:pt x="14" y="156"/>
                  <a:pt x="20" y="160"/>
                </a:cubicBezTo>
                <a:cubicBezTo>
                  <a:pt x="26" y="163"/>
                  <a:pt x="19" y="187"/>
                  <a:pt x="19" y="187"/>
                </a:cubicBezTo>
                <a:cubicBezTo>
                  <a:pt x="23" y="201"/>
                  <a:pt x="25" y="197"/>
                  <a:pt x="30" y="204"/>
                </a:cubicBezTo>
                <a:cubicBezTo>
                  <a:pt x="36" y="211"/>
                  <a:pt x="42" y="213"/>
                  <a:pt x="48" y="207"/>
                </a:cubicBezTo>
                <a:cubicBezTo>
                  <a:pt x="54" y="201"/>
                  <a:pt x="55" y="199"/>
                  <a:pt x="48" y="194"/>
                </a:cubicBezTo>
                <a:cubicBezTo>
                  <a:pt x="41" y="189"/>
                  <a:pt x="35" y="187"/>
                  <a:pt x="40" y="180"/>
                </a:cubicBezTo>
                <a:cubicBezTo>
                  <a:pt x="44" y="173"/>
                  <a:pt x="47" y="168"/>
                  <a:pt x="43" y="161"/>
                </a:cubicBezTo>
                <a:cubicBezTo>
                  <a:pt x="40" y="154"/>
                  <a:pt x="37" y="146"/>
                  <a:pt x="39" y="140"/>
                </a:cubicBezTo>
                <a:cubicBezTo>
                  <a:pt x="40" y="134"/>
                  <a:pt x="35" y="126"/>
                  <a:pt x="42" y="127"/>
                </a:cubicBezTo>
                <a:cubicBezTo>
                  <a:pt x="49" y="128"/>
                  <a:pt x="61" y="132"/>
                  <a:pt x="57" y="140"/>
                </a:cubicBezTo>
                <a:cubicBezTo>
                  <a:pt x="54" y="148"/>
                  <a:pt x="47" y="155"/>
                  <a:pt x="57" y="157"/>
                </a:cubicBezTo>
                <a:cubicBezTo>
                  <a:pt x="68" y="160"/>
                  <a:pt x="73" y="157"/>
                  <a:pt x="76" y="161"/>
                </a:cubicBezTo>
                <a:cubicBezTo>
                  <a:pt x="80" y="164"/>
                  <a:pt x="71" y="167"/>
                  <a:pt x="71" y="173"/>
                </a:cubicBezTo>
                <a:cubicBezTo>
                  <a:pt x="71" y="179"/>
                  <a:pt x="76" y="186"/>
                  <a:pt x="76" y="186"/>
                </a:cubicBezTo>
                <a:cubicBezTo>
                  <a:pt x="76" y="186"/>
                  <a:pt x="55" y="190"/>
                  <a:pt x="69" y="194"/>
                </a:cubicBezTo>
                <a:cubicBezTo>
                  <a:pt x="83" y="197"/>
                  <a:pt x="82" y="189"/>
                  <a:pt x="86" y="183"/>
                </a:cubicBezTo>
                <a:cubicBezTo>
                  <a:pt x="89" y="177"/>
                  <a:pt x="97" y="189"/>
                  <a:pt x="102" y="195"/>
                </a:cubicBezTo>
                <a:cubicBezTo>
                  <a:pt x="107" y="201"/>
                  <a:pt x="107" y="204"/>
                  <a:pt x="114" y="200"/>
                </a:cubicBezTo>
                <a:cubicBezTo>
                  <a:pt x="121" y="195"/>
                  <a:pt x="124" y="182"/>
                  <a:pt x="117" y="180"/>
                </a:cubicBezTo>
                <a:cubicBezTo>
                  <a:pt x="110" y="177"/>
                  <a:pt x="97" y="169"/>
                  <a:pt x="97" y="169"/>
                </a:cubicBezTo>
                <a:cubicBezTo>
                  <a:pt x="97" y="169"/>
                  <a:pt x="89" y="172"/>
                  <a:pt x="89" y="163"/>
                </a:cubicBezTo>
                <a:cubicBezTo>
                  <a:pt x="89" y="155"/>
                  <a:pt x="87" y="153"/>
                  <a:pt x="89" y="148"/>
                </a:cubicBezTo>
                <a:cubicBezTo>
                  <a:pt x="91" y="143"/>
                  <a:pt x="88" y="128"/>
                  <a:pt x="83" y="129"/>
                </a:cubicBezTo>
                <a:cubicBezTo>
                  <a:pt x="79" y="130"/>
                  <a:pt x="76" y="123"/>
                  <a:pt x="73" y="121"/>
                </a:cubicBezTo>
                <a:cubicBezTo>
                  <a:pt x="69" y="119"/>
                  <a:pt x="62" y="113"/>
                  <a:pt x="62" y="113"/>
                </a:cubicBezTo>
                <a:cubicBezTo>
                  <a:pt x="62" y="113"/>
                  <a:pt x="71" y="100"/>
                  <a:pt x="82" y="103"/>
                </a:cubicBezTo>
                <a:cubicBezTo>
                  <a:pt x="93" y="107"/>
                  <a:pt x="88" y="96"/>
                  <a:pt x="96" y="96"/>
                </a:cubicBezTo>
                <a:cubicBezTo>
                  <a:pt x="104" y="96"/>
                  <a:pt x="106" y="98"/>
                  <a:pt x="110" y="100"/>
                </a:cubicBezTo>
                <a:cubicBezTo>
                  <a:pt x="115" y="102"/>
                  <a:pt x="111" y="91"/>
                  <a:pt x="118" y="92"/>
                </a:cubicBezTo>
                <a:cubicBezTo>
                  <a:pt x="125" y="93"/>
                  <a:pt x="107" y="67"/>
                  <a:pt x="106" y="78"/>
                </a:cubicBezTo>
                <a:cubicBezTo>
                  <a:pt x="104" y="88"/>
                  <a:pt x="100" y="85"/>
                  <a:pt x="95" y="85"/>
                </a:cubicBezTo>
                <a:cubicBezTo>
                  <a:pt x="90" y="85"/>
                  <a:pt x="87" y="78"/>
                  <a:pt x="84" y="82"/>
                </a:cubicBezTo>
                <a:cubicBezTo>
                  <a:pt x="82" y="87"/>
                  <a:pt x="80" y="86"/>
                  <a:pt x="75" y="86"/>
                </a:cubicBezTo>
                <a:cubicBezTo>
                  <a:pt x="70" y="86"/>
                  <a:pt x="67" y="83"/>
                  <a:pt x="64" y="87"/>
                </a:cubicBezTo>
                <a:cubicBezTo>
                  <a:pt x="62" y="91"/>
                  <a:pt x="54" y="91"/>
                  <a:pt x="54" y="91"/>
                </a:cubicBezTo>
                <a:cubicBezTo>
                  <a:pt x="54" y="91"/>
                  <a:pt x="39" y="95"/>
                  <a:pt x="37" y="91"/>
                </a:cubicBezTo>
                <a:cubicBezTo>
                  <a:pt x="36" y="86"/>
                  <a:pt x="28" y="80"/>
                  <a:pt x="33" y="74"/>
                </a:cubicBezTo>
                <a:cubicBezTo>
                  <a:pt x="37" y="68"/>
                  <a:pt x="40" y="62"/>
                  <a:pt x="43" y="58"/>
                </a:cubicBezTo>
                <a:cubicBezTo>
                  <a:pt x="47" y="53"/>
                  <a:pt x="43" y="48"/>
                  <a:pt x="54" y="46"/>
                </a:cubicBezTo>
                <a:cubicBezTo>
                  <a:pt x="64" y="44"/>
                  <a:pt x="73" y="35"/>
                  <a:pt x="81" y="44"/>
                </a:cubicBezTo>
                <a:cubicBezTo>
                  <a:pt x="89" y="52"/>
                  <a:pt x="91" y="58"/>
                  <a:pt x="110" y="58"/>
                </a:cubicBezTo>
                <a:cubicBezTo>
                  <a:pt x="129" y="58"/>
                  <a:pt x="140" y="61"/>
                  <a:pt x="143" y="51"/>
                </a:cubicBezTo>
                <a:cubicBezTo>
                  <a:pt x="147" y="40"/>
                  <a:pt x="147" y="35"/>
                  <a:pt x="155" y="33"/>
                </a:cubicBezTo>
                <a:cubicBezTo>
                  <a:pt x="163" y="31"/>
                  <a:pt x="177" y="25"/>
                  <a:pt x="165" y="8"/>
                </a:cubicBezTo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01" name="Freeform 637"/>
          <p:cNvSpPr>
            <a:spLocks/>
          </p:cNvSpPr>
          <p:nvPr userDrawn="1"/>
        </p:nvSpPr>
        <p:spPr bwMode="auto">
          <a:xfrm>
            <a:off x="8579527" y="4946018"/>
            <a:ext cx="43552" cy="87105"/>
          </a:xfrm>
          <a:custGeom>
            <a:avLst/>
            <a:gdLst>
              <a:gd name="T0" fmla="*/ 2147483646 w 47"/>
              <a:gd name="T1" fmla="*/ 0 h 93"/>
              <a:gd name="T2" fmla="*/ 2147483646 w 47"/>
              <a:gd name="T3" fmla="*/ 2147483646 h 93"/>
              <a:gd name="T4" fmla="*/ 2147483646 w 47"/>
              <a:gd name="T5" fmla="*/ 2147483646 h 93"/>
              <a:gd name="T6" fmla="*/ 2147483646 w 47"/>
              <a:gd name="T7" fmla="*/ 2147483646 h 93"/>
              <a:gd name="T8" fmla="*/ 2147483646 w 47"/>
              <a:gd name="T9" fmla="*/ 2147483646 h 93"/>
              <a:gd name="T10" fmla="*/ 2147483646 w 47"/>
              <a:gd name="T11" fmla="*/ 2147483646 h 93"/>
              <a:gd name="T12" fmla="*/ 2147483646 w 47"/>
              <a:gd name="T13" fmla="*/ 2147483646 h 93"/>
              <a:gd name="T14" fmla="*/ 2147483646 w 47"/>
              <a:gd name="T15" fmla="*/ 2147483646 h 93"/>
              <a:gd name="T16" fmla="*/ 2147483646 w 47"/>
              <a:gd name="T17" fmla="*/ 2147483646 h 93"/>
              <a:gd name="T18" fmla="*/ 2147483646 w 47"/>
              <a:gd name="T19" fmla="*/ 2147483646 h 93"/>
              <a:gd name="T20" fmla="*/ 2147483646 w 47"/>
              <a:gd name="T21" fmla="*/ 2147483646 h 93"/>
              <a:gd name="T22" fmla="*/ 2147483646 w 47"/>
              <a:gd name="T23" fmla="*/ 2147483646 h 93"/>
              <a:gd name="T24" fmla="*/ 2147483646 w 47"/>
              <a:gd name="T25" fmla="*/ 2147483646 h 93"/>
              <a:gd name="T26" fmla="*/ 2147483646 w 47"/>
              <a:gd name="T27" fmla="*/ 2147483646 h 93"/>
              <a:gd name="T28" fmla="*/ 2147483646 w 47"/>
              <a:gd name="T29" fmla="*/ 2147483646 h 93"/>
              <a:gd name="T30" fmla="*/ 2147483646 w 47"/>
              <a:gd name="T31" fmla="*/ 0 h 9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7"/>
              <a:gd name="T49" fmla="*/ 0 h 93"/>
              <a:gd name="T50" fmla="*/ 47 w 47"/>
              <a:gd name="T51" fmla="*/ 93 h 9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7" h="93">
                <a:moveTo>
                  <a:pt x="26" y="0"/>
                </a:moveTo>
                <a:cubicBezTo>
                  <a:pt x="21" y="0"/>
                  <a:pt x="15" y="4"/>
                  <a:pt x="9" y="16"/>
                </a:cubicBezTo>
                <a:cubicBezTo>
                  <a:pt x="3" y="28"/>
                  <a:pt x="0" y="29"/>
                  <a:pt x="7" y="32"/>
                </a:cubicBezTo>
                <a:cubicBezTo>
                  <a:pt x="14" y="36"/>
                  <a:pt x="14" y="43"/>
                  <a:pt x="12" y="48"/>
                </a:cubicBezTo>
                <a:cubicBezTo>
                  <a:pt x="9" y="52"/>
                  <a:pt x="8" y="52"/>
                  <a:pt x="9" y="57"/>
                </a:cubicBezTo>
                <a:cubicBezTo>
                  <a:pt x="10" y="62"/>
                  <a:pt x="1" y="65"/>
                  <a:pt x="5" y="72"/>
                </a:cubicBezTo>
                <a:cubicBezTo>
                  <a:pt x="8" y="79"/>
                  <a:pt x="13" y="82"/>
                  <a:pt x="21" y="88"/>
                </a:cubicBezTo>
                <a:cubicBezTo>
                  <a:pt x="29" y="93"/>
                  <a:pt x="5" y="65"/>
                  <a:pt x="20" y="66"/>
                </a:cubicBezTo>
                <a:cubicBezTo>
                  <a:pt x="35" y="68"/>
                  <a:pt x="35" y="65"/>
                  <a:pt x="40" y="64"/>
                </a:cubicBezTo>
                <a:cubicBezTo>
                  <a:pt x="44" y="63"/>
                  <a:pt x="47" y="44"/>
                  <a:pt x="40" y="48"/>
                </a:cubicBezTo>
                <a:cubicBezTo>
                  <a:pt x="33" y="51"/>
                  <a:pt x="26" y="54"/>
                  <a:pt x="23" y="50"/>
                </a:cubicBezTo>
                <a:cubicBezTo>
                  <a:pt x="21" y="47"/>
                  <a:pt x="20" y="36"/>
                  <a:pt x="26" y="36"/>
                </a:cubicBezTo>
                <a:cubicBezTo>
                  <a:pt x="32" y="36"/>
                  <a:pt x="34" y="35"/>
                  <a:pt x="35" y="30"/>
                </a:cubicBezTo>
                <a:cubicBezTo>
                  <a:pt x="36" y="25"/>
                  <a:pt x="29" y="5"/>
                  <a:pt x="26" y="17"/>
                </a:cubicBezTo>
                <a:cubicBezTo>
                  <a:pt x="22" y="29"/>
                  <a:pt x="13" y="29"/>
                  <a:pt x="16" y="22"/>
                </a:cubicBezTo>
                <a:cubicBezTo>
                  <a:pt x="20" y="15"/>
                  <a:pt x="26" y="0"/>
                  <a:pt x="2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02" name="Freeform 638"/>
          <p:cNvSpPr>
            <a:spLocks/>
          </p:cNvSpPr>
          <p:nvPr userDrawn="1"/>
        </p:nvSpPr>
        <p:spPr bwMode="auto">
          <a:xfrm>
            <a:off x="8537649" y="5038148"/>
            <a:ext cx="21776" cy="35176"/>
          </a:xfrm>
          <a:custGeom>
            <a:avLst/>
            <a:gdLst>
              <a:gd name="T0" fmla="*/ 2147483646 w 24"/>
              <a:gd name="T1" fmla="*/ 2147483646 h 38"/>
              <a:gd name="T2" fmla="*/ 0 w 24"/>
              <a:gd name="T3" fmla="*/ 2147483646 h 38"/>
              <a:gd name="T4" fmla="*/ 2147483646 w 24"/>
              <a:gd name="T5" fmla="*/ 2147483646 h 38"/>
              <a:gd name="T6" fmla="*/ 2147483646 w 24"/>
              <a:gd name="T7" fmla="*/ 2147483646 h 38"/>
              <a:gd name="T8" fmla="*/ 2147483646 w 24"/>
              <a:gd name="T9" fmla="*/ 2147483646 h 38"/>
              <a:gd name="T10" fmla="*/ 2147483646 w 24"/>
              <a:gd name="T11" fmla="*/ 2147483646 h 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4"/>
              <a:gd name="T19" fmla="*/ 0 h 38"/>
              <a:gd name="T20" fmla="*/ 24 w 24"/>
              <a:gd name="T21" fmla="*/ 38 h 3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4" h="38">
                <a:moveTo>
                  <a:pt x="20" y="15"/>
                </a:moveTo>
                <a:cubicBezTo>
                  <a:pt x="16" y="17"/>
                  <a:pt x="0" y="0"/>
                  <a:pt x="0" y="15"/>
                </a:cubicBezTo>
                <a:cubicBezTo>
                  <a:pt x="0" y="31"/>
                  <a:pt x="6" y="38"/>
                  <a:pt x="11" y="34"/>
                </a:cubicBezTo>
                <a:cubicBezTo>
                  <a:pt x="16" y="31"/>
                  <a:pt x="7" y="30"/>
                  <a:pt x="16" y="31"/>
                </a:cubicBezTo>
                <a:cubicBezTo>
                  <a:pt x="24" y="32"/>
                  <a:pt x="22" y="27"/>
                  <a:pt x="22" y="24"/>
                </a:cubicBezTo>
                <a:cubicBezTo>
                  <a:pt x="22" y="20"/>
                  <a:pt x="20" y="15"/>
                  <a:pt x="20" y="1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03" name="Freeform 639"/>
          <p:cNvSpPr>
            <a:spLocks/>
          </p:cNvSpPr>
          <p:nvPr userDrawn="1"/>
        </p:nvSpPr>
        <p:spPr bwMode="auto">
          <a:xfrm>
            <a:off x="8656582" y="5007998"/>
            <a:ext cx="87105" cy="48577"/>
          </a:xfrm>
          <a:custGeom>
            <a:avLst/>
            <a:gdLst>
              <a:gd name="T0" fmla="*/ 2147483646 w 93"/>
              <a:gd name="T1" fmla="*/ 2147483646 h 52"/>
              <a:gd name="T2" fmla="*/ 2147483646 w 93"/>
              <a:gd name="T3" fmla="*/ 2147483646 h 52"/>
              <a:gd name="T4" fmla="*/ 2147483646 w 93"/>
              <a:gd name="T5" fmla="*/ 2147483646 h 52"/>
              <a:gd name="T6" fmla="*/ 2147483646 w 93"/>
              <a:gd name="T7" fmla="*/ 2147483646 h 52"/>
              <a:gd name="T8" fmla="*/ 2147483646 w 93"/>
              <a:gd name="T9" fmla="*/ 2147483646 h 52"/>
              <a:gd name="T10" fmla="*/ 2147483646 w 93"/>
              <a:gd name="T11" fmla="*/ 2147483646 h 52"/>
              <a:gd name="T12" fmla="*/ 2147483646 w 93"/>
              <a:gd name="T13" fmla="*/ 2147483646 h 52"/>
              <a:gd name="T14" fmla="*/ 2147483646 w 93"/>
              <a:gd name="T15" fmla="*/ 2147483646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93"/>
              <a:gd name="T25" fmla="*/ 0 h 52"/>
              <a:gd name="T26" fmla="*/ 93 w 93"/>
              <a:gd name="T27" fmla="*/ 52 h 5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93" h="52">
                <a:moveTo>
                  <a:pt x="55" y="16"/>
                </a:moveTo>
                <a:cubicBezTo>
                  <a:pt x="44" y="18"/>
                  <a:pt x="42" y="0"/>
                  <a:pt x="31" y="12"/>
                </a:cubicBezTo>
                <a:cubicBezTo>
                  <a:pt x="19" y="24"/>
                  <a:pt x="0" y="40"/>
                  <a:pt x="18" y="44"/>
                </a:cubicBezTo>
                <a:cubicBezTo>
                  <a:pt x="35" y="47"/>
                  <a:pt x="33" y="45"/>
                  <a:pt x="47" y="49"/>
                </a:cubicBezTo>
                <a:cubicBezTo>
                  <a:pt x="61" y="52"/>
                  <a:pt x="61" y="43"/>
                  <a:pt x="75" y="44"/>
                </a:cubicBezTo>
                <a:cubicBezTo>
                  <a:pt x="89" y="45"/>
                  <a:pt x="91" y="37"/>
                  <a:pt x="92" y="33"/>
                </a:cubicBezTo>
                <a:cubicBezTo>
                  <a:pt x="93" y="30"/>
                  <a:pt x="85" y="16"/>
                  <a:pt x="85" y="16"/>
                </a:cubicBezTo>
                <a:lnTo>
                  <a:pt x="55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04" name="Freeform 640"/>
          <p:cNvSpPr>
            <a:spLocks/>
          </p:cNvSpPr>
          <p:nvPr userDrawn="1"/>
        </p:nvSpPr>
        <p:spPr bwMode="auto">
          <a:xfrm>
            <a:off x="8705159" y="5056574"/>
            <a:ext cx="41877" cy="56953"/>
          </a:xfrm>
          <a:custGeom>
            <a:avLst/>
            <a:gdLst>
              <a:gd name="T0" fmla="*/ 2147483646 w 44"/>
              <a:gd name="T1" fmla="*/ 2147483646 h 62"/>
              <a:gd name="T2" fmla="*/ 2147483646 w 44"/>
              <a:gd name="T3" fmla="*/ 2147483646 h 62"/>
              <a:gd name="T4" fmla="*/ 2147483646 w 44"/>
              <a:gd name="T5" fmla="*/ 2147483646 h 62"/>
              <a:gd name="T6" fmla="*/ 2147483646 w 44"/>
              <a:gd name="T7" fmla="*/ 2147483646 h 62"/>
              <a:gd name="T8" fmla="*/ 2147483646 w 44"/>
              <a:gd name="T9" fmla="*/ 2147483646 h 62"/>
              <a:gd name="T10" fmla="*/ 2147483646 w 44"/>
              <a:gd name="T11" fmla="*/ 2147483646 h 62"/>
              <a:gd name="T12" fmla="*/ 2147483646 w 44"/>
              <a:gd name="T13" fmla="*/ 2147483646 h 6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4"/>
              <a:gd name="T22" fmla="*/ 0 h 62"/>
              <a:gd name="T23" fmla="*/ 44 w 44"/>
              <a:gd name="T24" fmla="*/ 62 h 6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4" h="62">
                <a:moveTo>
                  <a:pt x="25" y="13"/>
                </a:moveTo>
                <a:cubicBezTo>
                  <a:pt x="17" y="15"/>
                  <a:pt x="0" y="0"/>
                  <a:pt x="5" y="22"/>
                </a:cubicBezTo>
                <a:cubicBezTo>
                  <a:pt x="10" y="44"/>
                  <a:pt x="18" y="35"/>
                  <a:pt x="18" y="45"/>
                </a:cubicBezTo>
                <a:cubicBezTo>
                  <a:pt x="18" y="55"/>
                  <a:pt x="12" y="62"/>
                  <a:pt x="21" y="60"/>
                </a:cubicBezTo>
                <a:cubicBezTo>
                  <a:pt x="29" y="58"/>
                  <a:pt x="36" y="47"/>
                  <a:pt x="39" y="44"/>
                </a:cubicBezTo>
                <a:cubicBezTo>
                  <a:pt x="42" y="40"/>
                  <a:pt x="44" y="32"/>
                  <a:pt x="42" y="28"/>
                </a:cubicBezTo>
                <a:cubicBezTo>
                  <a:pt x="39" y="25"/>
                  <a:pt x="25" y="13"/>
                  <a:pt x="25" y="1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05" name="Freeform 641"/>
          <p:cNvSpPr>
            <a:spLocks/>
          </p:cNvSpPr>
          <p:nvPr userDrawn="1"/>
        </p:nvSpPr>
        <p:spPr bwMode="auto">
          <a:xfrm>
            <a:off x="8475671" y="5219059"/>
            <a:ext cx="83755" cy="45227"/>
          </a:xfrm>
          <a:custGeom>
            <a:avLst/>
            <a:gdLst>
              <a:gd name="T0" fmla="*/ 2147483646 w 89"/>
              <a:gd name="T1" fmla="*/ 0 h 47"/>
              <a:gd name="T2" fmla="*/ 2147483646 w 89"/>
              <a:gd name="T3" fmla="*/ 2147483646 h 47"/>
              <a:gd name="T4" fmla="*/ 2147483646 w 89"/>
              <a:gd name="T5" fmla="*/ 2147483646 h 47"/>
              <a:gd name="T6" fmla="*/ 2147483646 w 89"/>
              <a:gd name="T7" fmla="*/ 2147483646 h 47"/>
              <a:gd name="T8" fmla="*/ 2147483646 w 89"/>
              <a:gd name="T9" fmla="*/ 2147483646 h 47"/>
              <a:gd name="T10" fmla="*/ 2147483646 w 89"/>
              <a:gd name="T11" fmla="*/ 2147483646 h 47"/>
              <a:gd name="T12" fmla="*/ 2147483646 w 89"/>
              <a:gd name="T13" fmla="*/ 0 h 4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9"/>
              <a:gd name="T22" fmla="*/ 0 h 47"/>
              <a:gd name="T23" fmla="*/ 89 w 89"/>
              <a:gd name="T24" fmla="*/ 47 h 4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9" h="47">
                <a:moveTo>
                  <a:pt x="89" y="0"/>
                </a:moveTo>
                <a:cubicBezTo>
                  <a:pt x="73" y="2"/>
                  <a:pt x="51" y="0"/>
                  <a:pt x="48" y="7"/>
                </a:cubicBezTo>
                <a:cubicBezTo>
                  <a:pt x="45" y="13"/>
                  <a:pt x="34" y="19"/>
                  <a:pt x="28" y="22"/>
                </a:cubicBezTo>
                <a:cubicBezTo>
                  <a:pt x="21" y="25"/>
                  <a:pt x="0" y="16"/>
                  <a:pt x="14" y="32"/>
                </a:cubicBezTo>
                <a:cubicBezTo>
                  <a:pt x="28" y="47"/>
                  <a:pt x="34" y="33"/>
                  <a:pt x="42" y="29"/>
                </a:cubicBezTo>
                <a:cubicBezTo>
                  <a:pt x="50" y="24"/>
                  <a:pt x="67" y="16"/>
                  <a:pt x="67" y="16"/>
                </a:cubicBezTo>
                <a:lnTo>
                  <a:pt x="8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06" name="Freeform 642"/>
          <p:cNvSpPr>
            <a:spLocks/>
          </p:cNvSpPr>
          <p:nvPr userDrawn="1"/>
        </p:nvSpPr>
        <p:spPr bwMode="auto">
          <a:xfrm>
            <a:off x="8390242" y="5209008"/>
            <a:ext cx="77055" cy="21776"/>
          </a:xfrm>
          <a:custGeom>
            <a:avLst/>
            <a:gdLst>
              <a:gd name="T0" fmla="*/ 2147483646 w 83"/>
              <a:gd name="T1" fmla="*/ 2147483646 h 23"/>
              <a:gd name="T2" fmla="*/ 2147483646 w 83"/>
              <a:gd name="T3" fmla="*/ 2147483646 h 23"/>
              <a:gd name="T4" fmla="*/ 2147483646 w 83"/>
              <a:gd name="T5" fmla="*/ 2147483646 h 23"/>
              <a:gd name="T6" fmla="*/ 2147483646 w 83"/>
              <a:gd name="T7" fmla="*/ 2147483646 h 23"/>
              <a:gd name="T8" fmla="*/ 2147483646 w 83"/>
              <a:gd name="T9" fmla="*/ 2147483646 h 23"/>
              <a:gd name="T10" fmla="*/ 2147483646 w 83"/>
              <a:gd name="T11" fmla="*/ 2147483646 h 23"/>
              <a:gd name="T12" fmla="*/ 2147483646 w 83"/>
              <a:gd name="T13" fmla="*/ 2147483646 h 2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3"/>
              <a:gd name="T22" fmla="*/ 0 h 23"/>
              <a:gd name="T23" fmla="*/ 83 w 83"/>
              <a:gd name="T24" fmla="*/ 23 h 2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3" h="23">
                <a:moveTo>
                  <a:pt x="82" y="1"/>
                </a:moveTo>
                <a:cubicBezTo>
                  <a:pt x="71" y="8"/>
                  <a:pt x="52" y="11"/>
                  <a:pt x="46" y="11"/>
                </a:cubicBezTo>
                <a:cubicBezTo>
                  <a:pt x="39" y="11"/>
                  <a:pt x="30" y="8"/>
                  <a:pt x="25" y="8"/>
                </a:cubicBezTo>
                <a:cubicBezTo>
                  <a:pt x="21" y="8"/>
                  <a:pt x="0" y="0"/>
                  <a:pt x="10" y="11"/>
                </a:cubicBezTo>
                <a:cubicBezTo>
                  <a:pt x="19" y="22"/>
                  <a:pt x="49" y="23"/>
                  <a:pt x="55" y="23"/>
                </a:cubicBezTo>
                <a:cubicBezTo>
                  <a:pt x="61" y="23"/>
                  <a:pt x="74" y="23"/>
                  <a:pt x="78" y="19"/>
                </a:cubicBezTo>
                <a:cubicBezTo>
                  <a:pt x="83" y="14"/>
                  <a:pt x="82" y="1"/>
                  <a:pt x="82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07" name="Freeform 643"/>
          <p:cNvSpPr>
            <a:spLocks/>
          </p:cNvSpPr>
          <p:nvPr userDrawn="1"/>
        </p:nvSpPr>
        <p:spPr bwMode="auto">
          <a:xfrm>
            <a:off x="8388567" y="5229109"/>
            <a:ext cx="40203" cy="43552"/>
          </a:xfrm>
          <a:custGeom>
            <a:avLst/>
            <a:gdLst>
              <a:gd name="T0" fmla="*/ 2147483646 w 43"/>
              <a:gd name="T1" fmla="*/ 2147483646 h 47"/>
              <a:gd name="T2" fmla="*/ 2147483646 w 43"/>
              <a:gd name="T3" fmla="*/ 2147483646 h 47"/>
              <a:gd name="T4" fmla="*/ 2147483646 w 43"/>
              <a:gd name="T5" fmla="*/ 2147483646 h 47"/>
              <a:gd name="T6" fmla="*/ 2147483646 w 43"/>
              <a:gd name="T7" fmla="*/ 2147483646 h 47"/>
              <a:gd name="T8" fmla="*/ 2147483646 w 43"/>
              <a:gd name="T9" fmla="*/ 2147483646 h 47"/>
              <a:gd name="T10" fmla="*/ 2147483646 w 43"/>
              <a:gd name="T11" fmla="*/ 2147483646 h 4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3"/>
              <a:gd name="T19" fmla="*/ 0 h 47"/>
              <a:gd name="T20" fmla="*/ 43 w 43"/>
              <a:gd name="T21" fmla="*/ 47 h 4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3" h="47">
                <a:moveTo>
                  <a:pt x="18" y="8"/>
                </a:moveTo>
                <a:cubicBezTo>
                  <a:pt x="14" y="8"/>
                  <a:pt x="11" y="0"/>
                  <a:pt x="6" y="8"/>
                </a:cubicBezTo>
                <a:cubicBezTo>
                  <a:pt x="1" y="15"/>
                  <a:pt x="0" y="20"/>
                  <a:pt x="9" y="26"/>
                </a:cubicBezTo>
                <a:cubicBezTo>
                  <a:pt x="18" y="33"/>
                  <a:pt x="18" y="28"/>
                  <a:pt x="29" y="37"/>
                </a:cubicBezTo>
                <a:cubicBezTo>
                  <a:pt x="40" y="47"/>
                  <a:pt x="40" y="42"/>
                  <a:pt x="42" y="37"/>
                </a:cubicBezTo>
                <a:cubicBezTo>
                  <a:pt x="43" y="33"/>
                  <a:pt x="18" y="8"/>
                  <a:pt x="18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08" name="Freeform 644"/>
          <p:cNvSpPr>
            <a:spLocks/>
          </p:cNvSpPr>
          <p:nvPr userDrawn="1"/>
        </p:nvSpPr>
        <p:spPr bwMode="auto">
          <a:xfrm>
            <a:off x="8351715" y="5207332"/>
            <a:ext cx="30152" cy="20101"/>
          </a:xfrm>
          <a:custGeom>
            <a:avLst/>
            <a:gdLst>
              <a:gd name="T0" fmla="*/ 2147483646 w 32"/>
              <a:gd name="T1" fmla="*/ 0 h 22"/>
              <a:gd name="T2" fmla="*/ 2147483646 w 32"/>
              <a:gd name="T3" fmla="*/ 2147483646 h 22"/>
              <a:gd name="T4" fmla="*/ 2147483646 w 32"/>
              <a:gd name="T5" fmla="*/ 2147483646 h 22"/>
              <a:gd name="T6" fmla="*/ 2147483646 w 32"/>
              <a:gd name="T7" fmla="*/ 2147483646 h 22"/>
              <a:gd name="T8" fmla="*/ 2147483646 w 32"/>
              <a:gd name="T9" fmla="*/ 0 h 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"/>
              <a:gd name="T16" fmla="*/ 0 h 22"/>
              <a:gd name="T17" fmla="*/ 32 w 32"/>
              <a:gd name="T18" fmla="*/ 22 h 2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" h="22">
                <a:moveTo>
                  <a:pt x="17" y="0"/>
                </a:moveTo>
                <a:cubicBezTo>
                  <a:pt x="9" y="7"/>
                  <a:pt x="0" y="8"/>
                  <a:pt x="3" y="14"/>
                </a:cubicBezTo>
                <a:cubicBezTo>
                  <a:pt x="6" y="21"/>
                  <a:pt x="10" y="22"/>
                  <a:pt x="18" y="21"/>
                </a:cubicBezTo>
                <a:cubicBezTo>
                  <a:pt x="26" y="19"/>
                  <a:pt x="32" y="14"/>
                  <a:pt x="32" y="14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09" name="Freeform 645"/>
          <p:cNvSpPr>
            <a:spLocks/>
          </p:cNvSpPr>
          <p:nvPr userDrawn="1"/>
        </p:nvSpPr>
        <p:spPr bwMode="auto">
          <a:xfrm>
            <a:off x="8304812" y="5209009"/>
            <a:ext cx="23451" cy="18425"/>
          </a:xfrm>
          <a:custGeom>
            <a:avLst/>
            <a:gdLst>
              <a:gd name="T0" fmla="*/ 2147483646 w 25"/>
              <a:gd name="T1" fmla="*/ 0 h 19"/>
              <a:gd name="T2" fmla="*/ 2147483646 w 25"/>
              <a:gd name="T3" fmla="*/ 2147483646 h 19"/>
              <a:gd name="T4" fmla="*/ 2147483646 w 25"/>
              <a:gd name="T5" fmla="*/ 2147483646 h 19"/>
              <a:gd name="T6" fmla="*/ 2147483646 w 25"/>
              <a:gd name="T7" fmla="*/ 0 h 19"/>
              <a:gd name="T8" fmla="*/ 0 60000 65536"/>
              <a:gd name="T9" fmla="*/ 0 60000 65536"/>
              <a:gd name="T10" fmla="*/ 0 60000 65536"/>
              <a:gd name="T11" fmla="*/ 0 60000 65536"/>
              <a:gd name="T12" fmla="*/ 0 w 25"/>
              <a:gd name="T13" fmla="*/ 0 h 19"/>
              <a:gd name="T14" fmla="*/ 25 w 25"/>
              <a:gd name="T15" fmla="*/ 19 h 1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5" h="19">
                <a:moveTo>
                  <a:pt x="15" y="0"/>
                </a:moveTo>
                <a:cubicBezTo>
                  <a:pt x="10" y="0"/>
                  <a:pt x="0" y="7"/>
                  <a:pt x="8" y="13"/>
                </a:cubicBezTo>
                <a:cubicBezTo>
                  <a:pt x="16" y="19"/>
                  <a:pt x="25" y="16"/>
                  <a:pt x="25" y="16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10" name="Freeform 646"/>
          <p:cNvSpPr>
            <a:spLocks/>
          </p:cNvSpPr>
          <p:nvPr userDrawn="1"/>
        </p:nvSpPr>
        <p:spPr bwMode="auto">
          <a:xfrm>
            <a:off x="8050197" y="5147030"/>
            <a:ext cx="239539" cy="75380"/>
          </a:xfrm>
          <a:custGeom>
            <a:avLst/>
            <a:gdLst>
              <a:gd name="T0" fmla="*/ 2147483646 w 257"/>
              <a:gd name="T1" fmla="*/ 2147483646 h 80"/>
              <a:gd name="T2" fmla="*/ 2147483646 w 257"/>
              <a:gd name="T3" fmla="*/ 2147483646 h 80"/>
              <a:gd name="T4" fmla="*/ 2147483646 w 257"/>
              <a:gd name="T5" fmla="*/ 2147483646 h 80"/>
              <a:gd name="T6" fmla="*/ 2147483646 w 257"/>
              <a:gd name="T7" fmla="*/ 2147483646 h 80"/>
              <a:gd name="T8" fmla="*/ 2147483646 w 257"/>
              <a:gd name="T9" fmla="*/ 2147483646 h 80"/>
              <a:gd name="T10" fmla="*/ 2147483646 w 257"/>
              <a:gd name="T11" fmla="*/ 2147483646 h 80"/>
              <a:gd name="T12" fmla="*/ 2147483646 w 257"/>
              <a:gd name="T13" fmla="*/ 2147483646 h 80"/>
              <a:gd name="T14" fmla="*/ 2147483646 w 257"/>
              <a:gd name="T15" fmla="*/ 2147483646 h 80"/>
              <a:gd name="T16" fmla="*/ 2147483646 w 257"/>
              <a:gd name="T17" fmla="*/ 2147483646 h 80"/>
              <a:gd name="T18" fmla="*/ 2147483646 w 257"/>
              <a:gd name="T19" fmla="*/ 2147483646 h 80"/>
              <a:gd name="T20" fmla="*/ 2147483646 w 257"/>
              <a:gd name="T21" fmla="*/ 2147483646 h 80"/>
              <a:gd name="T22" fmla="*/ 2147483646 w 257"/>
              <a:gd name="T23" fmla="*/ 2147483646 h 80"/>
              <a:gd name="T24" fmla="*/ 2147483646 w 257"/>
              <a:gd name="T25" fmla="*/ 2147483646 h 80"/>
              <a:gd name="T26" fmla="*/ 2147483646 w 257"/>
              <a:gd name="T27" fmla="*/ 2147483646 h 80"/>
              <a:gd name="T28" fmla="*/ 0 w 257"/>
              <a:gd name="T29" fmla="*/ 2147483646 h 80"/>
              <a:gd name="T30" fmla="*/ 2147483646 w 257"/>
              <a:gd name="T31" fmla="*/ 2147483646 h 80"/>
              <a:gd name="T32" fmla="*/ 2147483646 w 257"/>
              <a:gd name="T33" fmla="*/ 2147483646 h 80"/>
              <a:gd name="T34" fmla="*/ 2147483646 w 257"/>
              <a:gd name="T35" fmla="*/ 2147483646 h 80"/>
              <a:gd name="T36" fmla="*/ 2147483646 w 257"/>
              <a:gd name="T37" fmla="*/ 2147483646 h 80"/>
              <a:gd name="T38" fmla="*/ 2147483646 w 257"/>
              <a:gd name="T39" fmla="*/ 2147483646 h 80"/>
              <a:gd name="T40" fmla="*/ 2147483646 w 257"/>
              <a:gd name="T41" fmla="*/ 2147483646 h 80"/>
              <a:gd name="T42" fmla="*/ 2147483646 w 257"/>
              <a:gd name="T43" fmla="*/ 2147483646 h 80"/>
              <a:gd name="T44" fmla="*/ 2147483646 w 257"/>
              <a:gd name="T45" fmla="*/ 2147483646 h 80"/>
              <a:gd name="T46" fmla="*/ 2147483646 w 257"/>
              <a:gd name="T47" fmla="*/ 2147483646 h 80"/>
              <a:gd name="T48" fmla="*/ 2147483646 w 257"/>
              <a:gd name="T49" fmla="*/ 2147483646 h 8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57"/>
              <a:gd name="T76" fmla="*/ 0 h 80"/>
              <a:gd name="T77" fmla="*/ 257 w 257"/>
              <a:gd name="T78" fmla="*/ 80 h 8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57" h="80">
                <a:moveTo>
                  <a:pt x="257" y="69"/>
                </a:moveTo>
                <a:cubicBezTo>
                  <a:pt x="254" y="63"/>
                  <a:pt x="235" y="60"/>
                  <a:pt x="235" y="60"/>
                </a:cubicBezTo>
                <a:cubicBezTo>
                  <a:pt x="235" y="60"/>
                  <a:pt x="225" y="58"/>
                  <a:pt x="222" y="53"/>
                </a:cubicBezTo>
                <a:cubicBezTo>
                  <a:pt x="219" y="49"/>
                  <a:pt x="205" y="50"/>
                  <a:pt x="205" y="50"/>
                </a:cubicBezTo>
                <a:cubicBezTo>
                  <a:pt x="190" y="35"/>
                  <a:pt x="190" y="35"/>
                  <a:pt x="190" y="35"/>
                </a:cubicBezTo>
                <a:cubicBezTo>
                  <a:pt x="190" y="35"/>
                  <a:pt x="177" y="17"/>
                  <a:pt x="172" y="19"/>
                </a:cubicBezTo>
                <a:cubicBezTo>
                  <a:pt x="168" y="20"/>
                  <a:pt x="158" y="20"/>
                  <a:pt x="158" y="20"/>
                </a:cubicBezTo>
                <a:cubicBezTo>
                  <a:pt x="158" y="20"/>
                  <a:pt x="147" y="10"/>
                  <a:pt x="144" y="14"/>
                </a:cubicBezTo>
                <a:cubicBezTo>
                  <a:pt x="135" y="28"/>
                  <a:pt x="128" y="44"/>
                  <a:pt x="122" y="42"/>
                </a:cubicBezTo>
                <a:cubicBezTo>
                  <a:pt x="116" y="41"/>
                  <a:pt x="107" y="27"/>
                  <a:pt x="99" y="28"/>
                </a:cubicBezTo>
                <a:cubicBezTo>
                  <a:pt x="91" y="30"/>
                  <a:pt x="83" y="35"/>
                  <a:pt x="80" y="25"/>
                </a:cubicBezTo>
                <a:cubicBezTo>
                  <a:pt x="77" y="16"/>
                  <a:pt x="86" y="0"/>
                  <a:pt x="66" y="6"/>
                </a:cubicBezTo>
                <a:cubicBezTo>
                  <a:pt x="46" y="13"/>
                  <a:pt x="36" y="2"/>
                  <a:pt x="28" y="10"/>
                </a:cubicBezTo>
                <a:cubicBezTo>
                  <a:pt x="20" y="17"/>
                  <a:pt x="14" y="6"/>
                  <a:pt x="10" y="14"/>
                </a:cubicBezTo>
                <a:cubicBezTo>
                  <a:pt x="5" y="22"/>
                  <a:pt x="0" y="33"/>
                  <a:pt x="0" y="33"/>
                </a:cubicBezTo>
                <a:cubicBezTo>
                  <a:pt x="0" y="33"/>
                  <a:pt x="19" y="27"/>
                  <a:pt x="31" y="30"/>
                </a:cubicBezTo>
                <a:cubicBezTo>
                  <a:pt x="44" y="33"/>
                  <a:pt x="47" y="27"/>
                  <a:pt x="55" y="41"/>
                </a:cubicBezTo>
                <a:cubicBezTo>
                  <a:pt x="63" y="55"/>
                  <a:pt x="74" y="58"/>
                  <a:pt x="78" y="55"/>
                </a:cubicBezTo>
                <a:cubicBezTo>
                  <a:pt x="83" y="52"/>
                  <a:pt x="86" y="24"/>
                  <a:pt x="96" y="46"/>
                </a:cubicBezTo>
                <a:cubicBezTo>
                  <a:pt x="105" y="67"/>
                  <a:pt x="108" y="64"/>
                  <a:pt x="121" y="67"/>
                </a:cubicBezTo>
                <a:cubicBezTo>
                  <a:pt x="133" y="71"/>
                  <a:pt x="130" y="55"/>
                  <a:pt x="146" y="63"/>
                </a:cubicBezTo>
                <a:cubicBezTo>
                  <a:pt x="161" y="71"/>
                  <a:pt x="168" y="58"/>
                  <a:pt x="174" y="63"/>
                </a:cubicBezTo>
                <a:cubicBezTo>
                  <a:pt x="180" y="67"/>
                  <a:pt x="191" y="56"/>
                  <a:pt x="196" y="63"/>
                </a:cubicBezTo>
                <a:cubicBezTo>
                  <a:pt x="200" y="69"/>
                  <a:pt x="205" y="64"/>
                  <a:pt x="213" y="72"/>
                </a:cubicBezTo>
                <a:cubicBezTo>
                  <a:pt x="221" y="80"/>
                  <a:pt x="257" y="69"/>
                  <a:pt x="257" y="6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11" name="Freeform 647"/>
          <p:cNvSpPr>
            <a:spLocks/>
          </p:cNvSpPr>
          <p:nvPr userDrawn="1"/>
        </p:nvSpPr>
        <p:spPr bwMode="auto">
          <a:xfrm>
            <a:off x="7787208" y="4860590"/>
            <a:ext cx="283091" cy="301516"/>
          </a:xfrm>
          <a:custGeom>
            <a:avLst/>
            <a:gdLst>
              <a:gd name="T0" fmla="*/ 2147483646 w 302"/>
              <a:gd name="T1" fmla="*/ 2147483646 h 324"/>
              <a:gd name="T2" fmla="*/ 2147483646 w 302"/>
              <a:gd name="T3" fmla="*/ 2147483646 h 324"/>
              <a:gd name="T4" fmla="*/ 2147483646 w 302"/>
              <a:gd name="T5" fmla="*/ 2147483646 h 324"/>
              <a:gd name="T6" fmla="*/ 2147483646 w 302"/>
              <a:gd name="T7" fmla="*/ 2147483646 h 324"/>
              <a:gd name="T8" fmla="*/ 2147483646 w 302"/>
              <a:gd name="T9" fmla="*/ 2147483646 h 324"/>
              <a:gd name="T10" fmla="*/ 2147483646 w 302"/>
              <a:gd name="T11" fmla="*/ 2147483646 h 324"/>
              <a:gd name="T12" fmla="*/ 2147483646 w 302"/>
              <a:gd name="T13" fmla="*/ 2147483646 h 324"/>
              <a:gd name="T14" fmla="*/ 2147483646 w 302"/>
              <a:gd name="T15" fmla="*/ 2147483646 h 324"/>
              <a:gd name="T16" fmla="*/ 2147483646 w 302"/>
              <a:gd name="T17" fmla="*/ 2147483646 h 324"/>
              <a:gd name="T18" fmla="*/ 2147483646 w 302"/>
              <a:gd name="T19" fmla="*/ 2147483646 h 324"/>
              <a:gd name="T20" fmla="*/ 2147483646 w 302"/>
              <a:gd name="T21" fmla="*/ 2147483646 h 324"/>
              <a:gd name="T22" fmla="*/ 2147483646 w 302"/>
              <a:gd name="T23" fmla="*/ 2147483646 h 324"/>
              <a:gd name="T24" fmla="*/ 2147483646 w 302"/>
              <a:gd name="T25" fmla="*/ 2147483646 h 324"/>
              <a:gd name="T26" fmla="*/ 2147483646 w 302"/>
              <a:gd name="T27" fmla="*/ 2147483646 h 324"/>
              <a:gd name="T28" fmla="*/ 2147483646 w 302"/>
              <a:gd name="T29" fmla="*/ 2147483646 h 324"/>
              <a:gd name="T30" fmla="*/ 2147483646 w 302"/>
              <a:gd name="T31" fmla="*/ 2147483646 h 324"/>
              <a:gd name="T32" fmla="*/ 2147483646 w 302"/>
              <a:gd name="T33" fmla="*/ 2147483646 h 324"/>
              <a:gd name="T34" fmla="*/ 2147483646 w 302"/>
              <a:gd name="T35" fmla="*/ 2147483646 h 324"/>
              <a:gd name="T36" fmla="*/ 2147483646 w 302"/>
              <a:gd name="T37" fmla="*/ 2147483646 h 324"/>
              <a:gd name="T38" fmla="*/ 2147483646 w 302"/>
              <a:gd name="T39" fmla="*/ 2147483646 h 324"/>
              <a:gd name="T40" fmla="*/ 2147483646 w 302"/>
              <a:gd name="T41" fmla="*/ 2147483646 h 324"/>
              <a:gd name="T42" fmla="*/ 2147483646 w 302"/>
              <a:gd name="T43" fmla="*/ 2147483646 h 324"/>
              <a:gd name="T44" fmla="*/ 2147483646 w 302"/>
              <a:gd name="T45" fmla="*/ 2147483646 h 324"/>
              <a:gd name="T46" fmla="*/ 2147483646 w 302"/>
              <a:gd name="T47" fmla="*/ 2147483646 h 324"/>
              <a:gd name="T48" fmla="*/ 2147483646 w 302"/>
              <a:gd name="T49" fmla="*/ 2147483646 h 324"/>
              <a:gd name="T50" fmla="*/ 2147483646 w 302"/>
              <a:gd name="T51" fmla="*/ 2147483646 h 324"/>
              <a:gd name="T52" fmla="*/ 2147483646 w 302"/>
              <a:gd name="T53" fmla="*/ 2147483646 h 324"/>
              <a:gd name="T54" fmla="*/ 2147483646 w 302"/>
              <a:gd name="T55" fmla="*/ 2147483646 h 324"/>
              <a:gd name="T56" fmla="*/ 2147483646 w 302"/>
              <a:gd name="T57" fmla="*/ 2147483646 h 324"/>
              <a:gd name="T58" fmla="*/ 2147483646 w 302"/>
              <a:gd name="T59" fmla="*/ 2147483646 h 324"/>
              <a:gd name="T60" fmla="*/ 2147483646 w 302"/>
              <a:gd name="T61" fmla="*/ 2147483646 h 324"/>
              <a:gd name="T62" fmla="*/ 2147483646 w 302"/>
              <a:gd name="T63" fmla="*/ 2147483646 h 324"/>
              <a:gd name="T64" fmla="*/ 2147483646 w 302"/>
              <a:gd name="T65" fmla="*/ 2147483646 h 324"/>
              <a:gd name="T66" fmla="*/ 2147483646 w 302"/>
              <a:gd name="T67" fmla="*/ 2147483646 h 324"/>
              <a:gd name="T68" fmla="*/ 2147483646 w 302"/>
              <a:gd name="T69" fmla="*/ 2147483646 h 32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02"/>
              <a:gd name="T106" fmla="*/ 0 h 324"/>
              <a:gd name="T107" fmla="*/ 302 w 302"/>
              <a:gd name="T108" fmla="*/ 324 h 32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02" h="324">
                <a:moveTo>
                  <a:pt x="65" y="21"/>
                </a:moveTo>
                <a:cubicBezTo>
                  <a:pt x="54" y="19"/>
                  <a:pt x="40" y="22"/>
                  <a:pt x="30" y="18"/>
                </a:cubicBezTo>
                <a:cubicBezTo>
                  <a:pt x="21" y="13"/>
                  <a:pt x="24" y="0"/>
                  <a:pt x="16" y="13"/>
                </a:cubicBezTo>
                <a:cubicBezTo>
                  <a:pt x="8" y="25"/>
                  <a:pt x="0" y="35"/>
                  <a:pt x="15" y="40"/>
                </a:cubicBezTo>
                <a:cubicBezTo>
                  <a:pt x="29" y="44"/>
                  <a:pt x="41" y="44"/>
                  <a:pt x="46" y="60"/>
                </a:cubicBezTo>
                <a:cubicBezTo>
                  <a:pt x="51" y="76"/>
                  <a:pt x="57" y="77"/>
                  <a:pt x="61" y="79"/>
                </a:cubicBezTo>
                <a:cubicBezTo>
                  <a:pt x="66" y="80"/>
                  <a:pt x="71" y="77"/>
                  <a:pt x="77" y="85"/>
                </a:cubicBezTo>
                <a:cubicBezTo>
                  <a:pt x="83" y="93"/>
                  <a:pt x="82" y="91"/>
                  <a:pt x="87" y="99"/>
                </a:cubicBezTo>
                <a:cubicBezTo>
                  <a:pt x="91" y="107"/>
                  <a:pt x="101" y="107"/>
                  <a:pt x="105" y="108"/>
                </a:cubicBezTo>
                <a:cubicBezTo>
                  <a:pt x="110" y="110"/>
                  <a:pt x="110" y="99"/>
                  <a:pt x="116" y="110"/>
                </a:cubicBezTo>
                <a:cubicBezTo>
                  <a:pt x="123" y="121"/>
                  <a:pt x="121" y="126"/>
                  <a:pt x="123" y="138"/>
                </a:cubicBezTo>
                <a:cubicBezTo>
                  <a:pt x="124" y="151"/>
                  <a:pt x="123" y="158"/>
                  <a:pt x="132" y="163"/>
                </a:cubicBezTo>
                <a:cubicBezTo>
                  <a:pt x="141" y="168"/>
                  <a:pt x="154" y="176"/>
                  <a:pt x="157" y="180"/>
                </a:cubicBezTo>
                <a:cubicBezTo>
                  <a:pt x="160" y="185"/>
                  <a:pt x="165" y="194"/>
                  <a:pt x="169" y="207"/>
                </a:cubicBezTo>
                <a:cubicBezTo>
                  <a:pt x="174" y="220"/>
                  <a:pt x="177" y="232"/>
                  <a:pt x="180" y="238"/>
                </a:cubicBezTo>
                <a:cubicBezTo>
                  <a:pt x="184" y="245"/>
                  <a:pt x="185" y="249"/>
                  <a:pt x="191" y="257"/>
                </a:cubicBezTo>
                <a:cubicBezTo>
                  <a:pt x="198" y="265"/>
                  <a:pt x="202" y="263"/>
                  <a:pt x="215" y="274"/>
                </a:cubicBezTo>
                <a:cubicBezTo>
                  <a:pt x="227" y="285"/>
                  <a:pt x="259" y="324"/>
                  <a:pt x="270" y="317"/>
                </a:cubicBezTo>
                <a:cubicBezTo>
                  <a:pt x="281" y="309"/>
                  <a:pt x="274" y="299"/>
                  <a:pt x="284" y="296"/>
                </a:cubicBezTo>
                <a:cubicBezTo>
                  <a:pt x="293" y="293"/>
                  <a:pt x="302" y="292"/>
                  <a:pt x="302" y="282"/>
                </a:cubicBezTo>
                <a:cubicBezTo>
                  <a:pt x="302" y="273"/>
                  <a:pt x="288" y="268"/>
                  <a:pt x="292" y="260"/>
                </a:cubicBezTo>
                <a:cubicBezTo>
                  <a:pt x="295" y="252"/>
                  <a:pt x="301" y="248"/>
                  <a:pt x="301" y="248"/>
                </a:cubicBezTo>
                <a:cubicBezTo>
                  <a:pt x="301" y="248"/>
                  <a:pt x="292" y="229"/>
                  <a:pt x="288" y="234"/>
                </a:cubicBezTo>
                <a:cubicBezTo>
                  <a:pt x="285" y="238"/>
                  <a:pt x="271" y="229"/>
                  <a:pt x="270" y="224"/>
                </a:cubicBezTo>
                <a:cubicBezTo>
                  <a:pt x="268" y="220"/>
                  <a:pt x="273" y="204"/>
                  <a:pt x="259" y="204"/>
                </a:cubicBezTo>
                <a:cubicBezTo>
                  <a:pt x="245" y="204"/>
                  <a:pt x="237" y="184"/>
                  <a:pt x="237" y="184"/>
                </a:cubicBezTo>
                <a:cubicBezTo>
                  <a:pt x="237" y="184"/>
                  <a:pt x="216" y="179"/>
                  <a:pt x="224" y="173"/>
                </a:cubicBezTo>
                <a:cubicBezTo>
                  <a:pt x="232" y="166"/>
                  <a:pt x="234" y="151"/>
                  <a:pt x="234" y="151"/>
                </a:cubicBezTo>
                <a:cubicBezTo>
                  <a:pt x="234" y="151"/>
                  <a:pt x="229" y="137"/>
                  <a:pt x="224" y="144"/>
                </a:cubicBezTo>
                <a:cubicBezTo>
                  <a:pt x="220" y="152"/>
                  <a:pt x="207" y="143"/>
                  <a:pt x="207" y="143"/>
                </a:cubicBezTo>
                <a:cubicBezTo>
                  <a:pt x="207" y="143"/>
                  <a:pt x="199" y="137"/>
                  <a:pt x="198" y="129"/>
                </a:cubicBezTo>
                <a:cubicBezTo>
                  <a:pt x="196" y="121"/>
                  <a:pt x="190" y="105"/>
                  <a:pt x="182" y="104"/>
                </a:cubicBezTo>
                <a:cubicBezTo>
                  <a:pt x="174" y="102"/>
                  <a:pt x="166" y="102"/>
                  <a:pt x="154" y="91"/>
                </a:cubicBezTo>
                <a:cubicBezTo>
                  <a:pt x="141" y="80"/>
                  <a:pt x="104" y="35"/>
                  <a:pt x="104" y="35"/>
                </a:cubicBezTo>
                <a:cubicBezTo>
                  <a:pt x="104" y="35"/>
                  <a:pt x="80" y="24"/>
                  <a:pt x="65" y="2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12" name="Freeform 648"/>
          <p:cNvSpPr>
            <a:spLocks/>
          </p:cNvSpPr>
          <p:nvPr userDrawn="1"/>
        </p:nvSpPr>
        <p:spPr bwMode="auto">
          <a:xfrm>
            <a:off x="7438790" y="4778508"/>
            <a:ext cx="58628" cy="93805"/>
          </a:xfrm>
          <a:custGeom>
            <a:avLst/>
            <a:gdLst>
              <a:gd name="T0" fmla="*/ 2147483646 w 62"/>
              <a:gd name="T1" fmla="*/ 0 h 100"/>
              <a:gd name="T2" fmla="*/ 2147483646 w 62"/>
              <a:gd name="T3" fmla="*/ 2147483646 h 100"/>
              <a:gd name="T4" fmla="*/ 2147483646 w 62"/>
              <a:gd name="T5" fmla="*/ 2147483646 h 100"/>
              <a:gd name="T6" fmla="*/ 2147483646 w 62"/>
              <a:gd name="T7" fmla="*/ 2147483646 h 100"/>
              <a:gd name="T8" fmla="*/ 2147483646 w 62"/>
              <a:gd name="T9" fmla="*/ 2147483646 h 100"/>
              <a:gd name="T10" fmla="*/ 2147483646 w 62"/>
              <a:gd name="T11" fmla="*/ 2147483646 h 100"/>
              <a:gd name="T12" fmla="*/ 2147483646 w 62"/>
              <a:gd name="T13" fmla="*/ 2147483646 h 100"/>
              <a:gd name="T14" fmla="*/ 2147483646 w 62"/>
              <a:gd name="T15" fmla="*/ 2147483646 h 100"/>
              <a:gd name="T16" fmla="*/ 2147483646 w 62"/>
              <a:gd name="T17" fmla="*/ 2147483646 h 100"/>
              <a:gd name="T18" fmla="*/ 2147483646 w 62"/>
              <a:gd name="T19" fmla="*/ 0 h 1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2"/>
              <a:gd name="T31" fmla="*/ 0 h 100"/>
              <a:gd name="T32" fmla="*/ 62 w 62"/>
              <a:gd name="T33" fmla="*/ 100 h 10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2" h="100">
                <a:moveTo>
                  <a:pt x="20" y="0"/>
                </a:moveTo>
                <a:cubicBezTo>
                  <a:pt x="12" y="3"/>
                  <a:pt x="13" y="0"/>
                  <a:pt x="13" y="9"/>
                </a:cubicBezTo>
                <a:cubicBezTo>
                  <a:pt x="14" y="18"/>
                  <a:pt x="6" y="11"/>
                  <a:pt x="3" y="22"/>
                </a:cubicBezTo>
                <a:cubicBezTo>
                  <a:pt x="0" y="33"/>
                  <a:pt x="12" y="52"/>
                  <a:pt x="9" y="58"/>
                </a:cubicBezTo>
                <a:cubicBezTo>
                  <a:pt x="7" y="65"/>
                  <a:pt x="7" y="91"/>
                  <a:pt x="14" y="96"/>
                </a:cubicBezTo>
                <a:cubicBezTo>
                  <a:pt x="21" y="100"/>
                  <a:pt x="26" y="98"/>
                  <a:pt x="35" y="95"/>
                </a:cubicBezTo>
                <a:cubicBezTo>
                  <a:pt x="44" y="92"/>
                  <a:pt x="39" y="80"/>
                  <a:pt x="51" y="80"/>
                </a:cubicBezTo>
                <a:cubicBezTo>
                  <a:pt x="62" y="80"/>
                  <a:pt x="56" y="47"/>
                  <a:pt x="53" y="47"/>
                </a:cubicBezTo>
                <a:cubicBezTo>
                  <a:pt x="49" y="46"/>
                  <a:pt x="40" y="29"/>
                  <a:pt x="40" y="26"/>
                </a:cubicBezTo>
                <a:cubicBezTo>
                  <a:pt x="39" y="23"/>
                  <a:pt x="20" y="0"/>
                  <a:pt x="2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13" name="Freeform 649"/>
          <p:cNvSpPr>
            <a:spLocks/>
          </p:cNvSpPr>
          <p:nvPr userDrawn="1"/>
        </p:nvSpPr>
        <p:spPr bwMode="auto">
          <a:xfrm>
            <a:off x="8028421" y="5007998"/>
            <a:ext cx="15075" cy="18425"/>
          </a:xfrm>
          <a:custGeom>
            <a:avLst/>
            <a:gdLst>
              <a:gd name="T0" fmla="*/ 2147483646 w 16"/>
              <a:gd name="T1" fmla="*/ 2147483646 h 20"/>
              <a:gd name="T2" fmla="*/ 2147483646 w 16"/>
              <a:gd name="T3" fmla="*/ 2147483646 h 20"/>
              <a:gd name="T4" fmla="*/ 2147483646 w 16"/>
              <a:gd name="T5" fmla="*/ 2147483646 h 20"/>
              <a:gd name="T6" fmla="*/ 2147483646 w 16"/>
              <a:gd name="T7" fmla="*/ 2147483646 h 20"/>
              <a:gd name="T8" fmla="*/ 0 60000 65536"/>
              <a:gd name="T9" fmla="*/ 0 60000 65536"/>
              <a:gd name="T10" fmla="*/ 0 60000 65536"/>
              <a:gd name="T11" fmla="*/ 0 60000 65536"/>
              <a:gd name="T12" fmla="*/ 0 w 16"/>
              <a:gd name="T13" fmla="*/ 0 h 20"/>
              <a:gd name="T14" fmla="*/ 16 w 16"/>
              <a:gd name="T15" fmla="*/ 20 h 2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" h="20">
                <a:moveTo>
                  <a:pt x="14" y="4"/>
                </a:moveTo>
                <a:cubicBezTo>
                  <a:pt x="8" y="5"/>
                  <a:pt x="0" y="0"/>
                  <a:pt x="3" y="10"/>
                </a:cubicBezTo>
                <a:cubicBezTo>
                  <a:pt x="5" y="20"/>
                  <a:pt x="11" y="17"/>
                  <a:pt x="13" y="14"/>
                </a:cubicBezTo>
                <a:cubicBezTo>
                  <a:pt x="16" y="11"/>
                  <a:pt x="14" y="4"/>
                  <a:pt x="14" y="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14" name="Freeform 650"/>
          <p:cNvSpPr>
            <a:spLocks/>
          </p:cNvSpPr>
          <p:nvPr userDrawn="1"/>
        </p:nvSpPr>
        <p:spPr bwMode="auto">
          <a:xfrm>
            <a:off x="8058574" y="5059924"/>
            <a:ext cx="25125" cy="18427"/>
          </a:xfrm>
          <a:custGeom>
            <a:avLst/>
            <a:gdLst>
              <a:gd name="T0" fmla="*/ 2147483646 w 28"/>
              <a:gd name="T1" fmla="*/ 0 h 20"/>
              <a:gd name="T2" fmla="*/ 2147483646 w 28"/>
              <a:gd name="T3" fmla="*/ 2147483646 h 20"/>
              <a:gd name="T4" fmla="*/ 2147483646 w 28"/>
              <a:gd name="T5" fmla="*/ 2147483646 h 20"/>
              <a:gd name="T6" fmla="*/ 2147483646 w 28"/>
              <a:gd name="T7" fmla="*/ 2147483646 h 20"/>
              <a:gd name="T8" fmla="*/ 2147483646 w 28"/>
              <a:gd name="T9" fmla="*/ 0 h 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"/>
              <a:gd name="T16" fmla="*/ 0 h 20"/>
              <a:gd name="T17" fmla="*/ 28 w 28"/>
              <a:gd name="T18" fmla="*/ 20 h 2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" h="20">
                <a:moveTo>
                  <a:pt x="12" y="0"/>
                </a:moveTo>
                <a:cubicBezTo>
                  <a:pt x="8" y="0"/>
                  <a:pt x="0" y="5"/>
                  <a:pt x="9" y="12"/>
                </a:cubicBezTo>
                <a:cubicBezTo>
                  <a:pt x="18" y="20"/>
                  <a:pt x="21" y="19"/>
                  <a:pt x="23" y="17"/>
                </a:cubicBezTo>
                <a:cubicBezTo>
                  <a:pt x="26" y="16"/>
                  <a:pt x="28" y="11"/>
                  <a:pt x="26" y="6"/>
                </a:cubicBezTo>
                <a:cubicBezTo>
                  <a:pt x="24" y="2"/>
                  <a:pt x="12" y="0"/>
                  <a:pt x="1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15" name="Freeform 651"/>
          <p:cNvSpPr>
            <a:spLocks/>
          </p:cNvSpPr>
          <p:nvPr userDrawn="1"/>
        </p:nvSpPr>
        <p:spPr bwMode="auto">
          <a:xfrm>
            <a:off x="8095426" y="5076675"/>
            <a:ext cx="33501" cy="23451"/>
          </a:xfrm>
          <a:custGeom>
            <a:avLst/>
            <a:gdLst>
              <a:gd name="T0" fmla="*/ 2147483646 w 35"/>
              <a:gd name="T1" fmla="*/ 0 h 25"/>
              <a:gd name="T2" fmla="*/ 2147483646 w 35"/>
              <a:gd name="T3" fmla="*/ 2147483646 h 25"/>
              <a:gd name="T4" fmla="*/ 2147483646 w 35"/>
              <a:gd name="T5" fmla="*/ 2147483646 h 25"/>
              <a:gd name="T6" fmla="*/ 2147483646 w 35"/>
              <a:gd name="T7" fmla="*/ 2147483646 h 25"/>
              <a:gd name="T8" fmla="*/ 2147483646 w 35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5"/>
              <a:gd name="T16" fmla="*/ 0 h 25"/>
              <a:gd name="T17" fmla="*/ 35 w 35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5" h="25">
                <a:moveTo>
                  <a:pt x="19" y="0"/>
                </a:moveTo>
                <a:cubicBezTo>
                  <a:pt x="14" y="3"/>
                  <a:pt x="0" y="8"/>
                  <a:pt x="10" y="16"/>
                </a:cubicBezTo>
                <a:cubicBezTo>
                  <a:pt x="21" y="25"/>
                  <a:pt x="22" y="22"/>
                  <a:pt x="27" y="19"/>
                </a:cubicBezTo>
                <a:cubicBezTo>
                  <a:pt x="31" y="15"/>
                  <a:pt x="35" y="14"/>
                  <a:pt x="33" y="9"/>
                </a:cubicBezTo>
                <a:cubicBezTo>
                  <a:pt x="32" y="4"/>
                  <a:pt x="19" y="0"/>
                  <a:pt x="1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16" name="Freeform 652"/>
          <p:cNvSpPr>
            <a:spLocks/>
          </p:cNvSpPr>
          <p:nvPr userDrawn="1"/>
        </p:nvSpPr>
        <p:spPr bwMode="auto">
          <a:xfrm>
            <a:off x="8752061" y="5046524"/>
            <a:ext cx="400347" cy="303192"/>
          </a:xfrm>
          <a:custGeom>
            <a:avLst/>
            <a:gdLst>
              <a:gd name="T0" fmla="*/ 2147483646 w 428"/>
              <a:gd name="T1" fmla="*/ 0 h 325"/>
              <a:gd name="T2" fmla="*/ 2147483646 w 428"/>
              <a:gd name="T3" fmla="*/ 2147483646 h 325"/>
              <a:gd name="T4" fmla="*/ 2147483646 w 428"/>
              <a:gd name="T5" fmla="*/ 2147483646 h 325"/>
              <a:gd name="T6" fmla="*/ 2147483646 w 428"/>
              <a:gd name="T7" fmla="*/ 2147483646 h 325"/>
              <a:gd name="T8" fmla="*/ 2147483646 w 428"/>
              <a:gd name="T9" fmla="*/ 2147483646 h 325"/>
              <a:gd name="T10" fmla="*/ 2147483646 w 428"/>
              <a:gd name="T11" fmla="*/ 2147483646 h 325"/>
              <a:gd name="T12" fmla="*/ 2147483646 w 428"/>
              <a:gd name="T13" fmla="*/ 2147483646 h 325"/>
              <a:gd name="T14" fmla="*/ 2147483646 w 428"/>
              <a:gd name="T15" fmla="*/ 2147483646 h 325"/>
              <a:gd name="T16" fmla="*/ 2147483646 w 428"/>
              <a:gd name="T17" fmla="*/ 2147483646 h 325"/>
              <a:gd name="T18" fmla="*/ 2147483646 w 428"/>
              <a:gd name="T19" fmla="*/ 2147483646 h 325"/>
              <a:gd name="T20" fmla="*/ 2147483646 w 428"/>
              <a:gd name="T21" fmla="*/ 2147483646 h 325"/>
              <a:gd name="T22" fmla="*/ 2147483646 w 428"/>
              <a:gd name="T23" fmla="*/ 2147483646 h 325"/>
              <a:gd name="T24" fmla="*/ 2147483646 w 428"/>
              <a:gd name="T25" fmla="*/ 2147483646 h 325"/>
              <a:gd name="T26" fmla="*/ 2147483646 w 428"/>
              <a:gd name="T27" fmla="*/ 2147483646 h 325"/>
              <a:gd name="T28" fmla="*/ 2147483646 w 428"/>
              <a:gd name="T29" fmla="*/ 2147483646 h 325"/>
              <a:gd name="T30" fmla="*/ 2147483646 w 428"/>
              <a:gd name="T31" fmla="*/ 2147483646 h 325"/>
              <a:gd name="T32" fmla="*/ 2147483646 w 428"/>
              <a:gd name="T33" fmla="*/ 2147483646 h 325"/>
              <a:gd name="T34" fmla="*/ 2147483646 w 428"/>
              <a:gd name="T35" fmla="*/ 2147483646 h 325"/>
              <a:gd name="T36" fmla="*/ 2147483646 w 428"/>
              <a:gd name="T37" fmla="*/ 2147483646 h 325"/>
              <a:gd name="T38" fmla="*/ 2147483646 w 428"/>
              <a:gd name="T39" fmla="*/ 2147483646 h 325"/>
              <a:gd name="T40" fmla="*/ 2147483646 w 428"/>
              <a:gd name="T41" fmla="*/ 2147483646 h 325"/>
              <a:gd name="T42" fmla="*/ 2147483646 w 428"/>
              <a:gd name="T43" fmla="*/ 2147483646 h 325"/>
              <a:gd name="T44" fmla="*/ 2147483646 w 428"/>
              <a:gd name="T45" fmla="*/ 2147483646 h 325"/>
              <a:gd name="T46" fmla="*/ 2147483646 w 428"/>
              <a:gd name="T47" fmla="*/ 2147483646 h 325"/>
              <a:gd name="T48" fmla="*/ 2147483646 w 428"/>
              <a:gd name="T49" fmla="*/ 2147483646 h 325"/>
              <a:gd name="T50" fmla="*/ 2147483646 w 428"/>
              <a:gd name="T51" fmla="*/ 2147483646 h 325"/>
              <a:gd name="T52" fmla="*/ 2147483646 w 428"/>
              <a:gd name="T53" fmla="*/ 2147483646 h 325"/>
              <a:gd name="T54" fmla="*/ 2147483646 w 428"/>
              <a:gd name="T55" fmla="*/ 2147483646 h 325"/>
              <a:gd name="T56" fmla="*/ 2147483646 w 428"/>
              <a:gd name="T57" fmla="*/ 0 h 32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428"/>
              <a:gd name="T88" fmla="*/ 0 h 325"/>
              <a:gd name="T89" fmla="*/ 428 w 428"/>
              <a:gd name="T90" fmla="*/ 325 h 32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428" h="325">
                <a:moveTo>
                  <a:pt x="86" y="0"/>
                </a:moveTo>
                <a:cubicBezTo>
                  <a:pt x="62" y="16"/>
                  <a:pt x="60" y="31"/>
                  <a:pt x="44" y="38"/>
                </a:cubicBezTo>
                <a:cubicBezTo>
                  <a:pt x="29" y="45"/>
                  <a:pt x="32" y="52"/>
                  <a:pt x="24" y="43"/>
                </a:cubicBezTo>
                <a:cubicBezTo>
                  <a:pt x="15" y="35"/>
                  <a:pt x="10" y="14"/>
                  <a:pt x="8" y="22"/>
                </a:cubicBezTo>
                <a:cubicBezTo>
                  <a:pt x="7" y="31"/>
                  <a:pt x="0" y="50"/>
                  <a:pt x="10" y="60"/>
                </a:cubicBezTo>
                <a:cubicBezTo>
                  <a:pt x="20" y="71"/>
                  <a:pt x="22" y="71"/>
                  <a:pt x="39" y="71"/>
                </a:cubicBezTo>
                <a:cubicBezTo>
                  <a:pt x="57" y="71"/>
                  <a:pt x="65" y="103"/>
                  <a:pt x="74" y="107"/>
                </a:cubicBezTo>
                <a:cubicBezTo>
                  <a:pt x="82" y="110"/>
                  <a:pt x="100" y="107"/>
                  <a:pt x="108" y="121"/>
                </a:cubicBezTo>
                <a:cubicBezTo>
                  <a:pt x="117" y="134"/>
                  <a:pt x="103" y="136"/>
                  <a:pt x="112" y="157"/>
                </a:cubicBezTo>
                <a:cubicBezTo>
                  <a:pt x="120" y="177"/>
                  <a:pt x="122" y="157"/>
                  <a:pt x="148" y="172"/>
                </a:cubicBezTo>
                <a:cubicBezTo>
                  <a:pt x="174" y="188"/>
                  <a:pt x="182" y="182"/>
                  <a:pt x="191" y="201"/>
                </a:cubicBezTo>
                <a:cubicBezTo>
                  <a:pt x="199" y="220"/>
                  <a:pt x="179" y="203"/>
                  <a:pt x="196" y="239"/>
                </a:cubicBezTo>
                <a:cubicBezTo>
                  <a:pt x="213" y="275"/>
                  <a:pt x="222" y="265"/>
                  <a:pt x="242" y="275"/>
                </a:cubicBezTo>
                <a:cubicBezTo>
                  <a:pt x="263" y="286"/>
                  <a:pt x="261" y="267"/>
                  <a:pt x="284" y="296"/>
                </a:cubicBezTo>
                <a:cubicBezTo>
                  <a:pt x="306" y="325"/>
                  <a:pt x="340" y="299"/>
                  <a:pt x="356" y="293"/>
                </a:cubicBezTo>
                <a:cubicBezTo>
                  <a:pt x="371" y="286"/>
                  <a:pt x="371" y="269"/>
                  <a:pt x="389" y="272"/>
                </a:cubicBezTo>
                <a:cubicBezTo>
                  <a:pt x="406" y="275"/>
                  <a:pt x="428" y="220"/>
                  <a:pt x="409" y="212"/>
                </a:cubicBezTo>
                <a:cubicBezTo>
                  <a:pt x="390" y="203"/>
                  <a:pt x="356" y="181"/>
                  <a:pt x="356" y="181"/>
                </a:cubicBezTo>
                <a:cubicBezTo>
                  <a:pt x="356" y="181"/>
                  <a:pt x="339" y="146"/>
                  <a:pt x="347" y="133"/>
                </a:cubicBezTo>
                <a:cubicBezTo>
                  <a:pt x="356" y="119"/>
                  <a:pt x="351" y="96"/>
                  <a:pt x="356" y="88"/>
                </a:cubicBezTo>
                <a:cubicBezTo>
                  <a:pt x="361" y="79"/>
                  <a:pt x="366" y="67"/>
                  <a:pt x="358" y="64"/>
                </a:cubicBezTo>
                <a:cubicBezTo>
                  <a:pt x="349" y="60"/>
                  <a:pt x="330" y="48"/>
                  <a:pt x="330" y="48"/>
                </a:cubicBezTo>
                <a:cubicBezTo>
                  <a:pt x="330" y="48"/>
                  <a:pt x="299" y="45"/>
                  <a:pt x="282" y="47"/>
                </a:cubicBezTo>
                <a:cubicBezTo>
                  <a:pt x="265" y="48"/>
                  <a:pt x="232" y="47"/>
                  <a:pt x="223" y="47"/>
                </a:cubicBezTo>
                <a:cubicBezTo>
                  <a:pt x="215" y="47"/>
                  <a:pt x="201" y="33"/>
                  <a:pt x="191" y="40"/>
                </a:cubicBezTo>
                <a:cubicBezTo>
                  <a:pt x="180" y="47"/>
                  <a:pt x="167" y="59"/>
                  <a:pt x="163" y="43"/>
                </a:cubicBezTo>
                <a:cubicBezTo>
                  <a:pt x="160" y="28"/>
                  <a:pt x="161" y="17"/>
                  <a:pt x="151" y="19"/>
                </a:cubicBezTo>
                <a:cubicBezTo>
                  <a:pt x="141" y="21"/>
                  <a:pt x="125" y="17"/>
                  <a:pt x="125" y="17"/>
                </a:cubicBezTo>
                <a:lnTo>
                  <a:pt x="8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17" name="Freeform 653"/>
          <p:cNvSpPr>
            <a:spLocks/>
          </p:cNvSpPr>
          <p:nvPr userDrawn="1"/>
        </p:nvSpPr>
        <p:spPr bwMode="auto">
          <a:xfrm>
            <a:off x="5195841" y="4066595"/>
            <a:ext cx="296492" cy="219436"/>
          </a:xfrm>
          <a:custGeom>
            <a:avLst/>
            <a:gdLst>
              <a:gd name="T0" fmla="*/ 2147483646 w 318"/>
              <a:gd name="T1" fmla="*/ 2147483646 h 234"/>
              <a:gd name="T2" fmla="*/ 2147483646 w 318"/>
              <a:gd name="T3" fmla="*/ 2147483646 h 234"/>
              <a:gd name="T4" fmla="*/ 2147483646 w 318"/>
              <a:gd name="T5" fmla="*/ 2147483646 h 234"/>
              <a:gd name="T6" fmla="*/ 2147483646 w 318"/>
              <a:gd name="T7" fmla="*/ 2147483646 h 234"/>
              <a:gd name="T8" fmla="*/ 2147483646 w 318"/>
              <a:gd name="T9" fmla="*/ 2147483646 h 234"/>
              <a:gd name="T10" fmla="*/ 2147483646 w 318"/>
              <a:gd name="T11" fmla="*/ 2147483646 h 234"/>
              <a:gd name="T12" fmla="*/ 2147483646 w 318"/>
              <a:gd name="T13" fmla="*/ 2147483646 h 234"/>
              <a:gd name="T14" fmla="*/ 2147483646 w 318"/>
              <a:gd name="T15" fmla="*/ 2147483646 h 234"/>
              <a:gd name="T16" fmla="*/ 2147483646 w 318"/>
              <a:gd name="T17" fmla="*/ 2147483646 h 234"/>
              <a:gd name="T18" fmla="*/ 2147483646 w 318"/>
              <a:gd name="T19" fmla="*/ 2147483646 h 234"/>
              <a:gd name="T20" fmla="*/ 2147483646 w 318"/>
              <a:gd name="T21" fmla="*/ 2147483646 h 234"/>
              <a:gd name="T22" fmla="*/ 2147483646 w 318"/>
              <a:gd name="T23" fmla="*/ 2147483646 h 234"/>
              <a:gd name="T24" fmla="*/ 2147483646 w 318"/>
              <a:gd name="T25" fmla="*/ 2147483646 h 234"/>
              <a:gd name="T26" fmla="*/ 2147483646 w 318"/>
              <a:gd name="T27" fmla="*/ 2147483646 h 234"/>
              <a:gd name="T28" fmla="*/ 2147483646 w 318"/>
              <a:gd name="T29" fmla="*/ 2147483646 h 234"/>
              <a:gd name="T30" fmla="*/ 2147483646 w 318"/>
              <a:gd name="T31" fmla="*/ 2147483646 h 234"/>
              <a:gd name="T32" fmla="*/ 2147483646 w 318"/>
              <a:gd name="T33" fmla="*/ 2147483646 h 234"/>
              <a:gd name="T34" fmla="*/ 2147483646 w 318"/>
              <a:gd name="T35" fmla="*/ 2147483646 h 234"/>
              <a:gd name="T36" fmla="*/ 2147483646 w 318"/>
              <a:gd name="T37" fmla="*/ 2147483646 h 234"/>
              <a:gd name="T38" fmla="*/ 2147483646 w 318"/>
              <a:gd name="T39" fmla="*/ 2147483646 h 234"/>
              <a:gd name="T40" fmla="*/ 2147483646 w 318"/>
              <a:gd name="T41" fmla="*/ 2147483646 h 234"/>
              <a:gd name="T42" fmla="*/ 0 w 318"/>
              <a:gd name="T43" fmla="*/ 2147483646 h 234"/>
              <a:gd name="T44" fmla="*/ 2147483646 w 318"/>
              <a:gd name="T45" fmla="*/ 2147483646 h 234"/>
              <a:gd name="T46" fmla="*/ 2147483646 w 318"/>
              <a:gd name="T47" fmla="*/ 2147483646 h 234"/>
              <a:gd name="T48" fmla="*/ 2147483646 w 318"/>
              <a:gd name="T49" fmla="*/ 2147483646 h 234"/>
              <a:gd name="T50" fmla="*/ 2147483646 w 318"/>
              <a:gd name="T51" fmla="*/ 2147483646 h 234"/>
              <a:gd name="T52" fmla="*/ 2147483646 w 318"/>
              <a:gd name="T53" fmla="*/ 2147483646 h 234"/>
              <a:gd name="T54" fmla="*/ 2147483646 w 318"/>
              <a:gd name="T55" fmla="*/ 2147483646 h 234"/>
              <a:gd name="T56" fmla="*/ 2147483646 w 318"/>
              <a:gd name="T57" fmla="*/ 2147483646 h 234"/>
              <a:gd name="T58" fmla="*/ 2147483646 w 318"/>
              <a:gd name="T59" fmla="*/ 2147483646 h 234"/>
              <a:gd name="T60" fmla="*/ 2147483646 w 318"/>
              <a:gd name="T61" fmla="*/ 2147483646 h 234"/>
              <a:gd name="T62" fmla="*/ 2147483646 w 318"/>
              <a:gd name="T63" fmla="*/ 2147483646 h 234"/>
              <a:gd name="T64" fmla="*/ 2147483646 w 318"/>
              <a:gd name="T65" fmla="*/ 2147483646 h 234"/>
              <a:gd name="T66" fmla="*/ 2147483646 w 318"/>
              <a:gd name="T67" fmla="*/ 2147483646 h 234"/>
              <a:gd name="T68" fmla="*/ 2147483646 w 318"/>
              <a:gd name="T69" fmla="*/ 2147483646 h 234"/>
              <a:gd name="T70" fmla="*/ 2147483646 w 318"/>
              <a:gd name="T71" fmla="*/ 2147483646 h 234"/>
              <a:gd name="T72" fmla="*/ 2147483646 w 318"/>
              <a:gd name="T73" fmla="*/ 2147483646 h 234"/>
              <a:gd name="T74" fmla="*/ 2147483646 w 318"/>
              <a:gd name="T75" fmla="*/ 2147483646 h 234"/>
              <a:gd name="T76" fmla="*/ 2147483646 w 318"/>
              <a:gd name="T77" fmla="*/ 2147483646 h 234"/>
              <a:gd name="T78" fmla="*/ 2147483646 w 318"/>
              <a:gd name="T79" fmla="*/ 2147483646 h 234"/>
              <a:gd name="T80" fmla="*/ 2147483646 w 318"/>
              <a:gd name="T81" fmla="*/ 2147483646 h 23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18"/>
              <a:gd name="T124" fmla="*/ 0 h 234"/>
              <a:gd name="T125" fmla="*/ 318 w 318"/>
              <a:gd name="T126" fmla="*/ 234 h 234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18" h="234">
                <a:moveTo>
                  <a:pt x="309" y="46"/>
                </a:moveTo>
                <a:cubicBezTo>
                  <a:pt x="309" y="46"/>
                  <a:pt x="301" y="43"/>
                  <a:pt x="299" y="44"/>
                </a:cubicBezTo>
                <a:cubicBezTo>
                  <a:pt x="296" y="45"/>
                  <a:pt x="287" y="40"/>
                  <a:pt x="287" y="40"/>
                </a:cubicBezTo>
                <a:cubicBezTo>
                  <a:pt x="275" y="38"/>
                  <a:pt x="275" y="38"/>
                  <a:pt x="275" y="38"/>
                </a:cubicBezTo>
                <a:cubicBezTo>
                  <a:pt x="275" y="38"/>
                  <a:pt x="220" y="43"/>
                  <a:pt x="211" y="25"/>
                </a:cubicBezTo>
                <a:cubicBezTo>
                  <a:pt x="205" y="12"/>
                  <a:pt x="204" y="8"/>
                  <a:pt x="201" y="3"/>
                </a:cubicBezTo>
                <a:cubicBezTo>
                  <a:pt x="201" y="3"/>
                  <a:pt x="191" y="0"/>
                  <a:pt x="190" y="3"/>
                </a:cubicBezTo>
                <a:cubicBezTo>
                  <a:pt x="189" y="6"/>
                  <a:pt x="181" y="16"/>
                  <a:pt x="179" y="21"/>
                </a:cubicBezTo>
                <a:cubicBezTo>
                  <a:pt x="177" y="25"/>
                  <a:pt x="172" y="38"/>
                  <a:pt x="164" y="44"/>
                </a:cubicBezTo>
                <a:cubicBezTo>
                  <a:pt x="157" y="49"/>
                  <a:pt x="165" y="65"/>
                  <a:pt x="162" y="72"/>
                </a:cubicBezTo>
                <a:cubicBezTo>
                  <a:pt x="159" y="79"/>
                  <a:pt x="154" y="82"/>
                  <a:pt x="150" y="82"/>
                </a:cubicBezTo>
                <a:cubicBezTo>
                  <a:pt x="147" y="82"/>
                  <a:pt x="141" y="75"/>
                  <a:pt x="139" y="81"/>
                </a:cubicBezTo>
                <a:cubicBezTo>
                  <a:pt x="137" y="86"/>
                  <a:pt x="133" y="87"/>
                  <a:pt x="130" y="90"/>
                </a:cubicBezTo>
                <a:cubicBezTo>
                  <a:pt x="128" y="93"/>
                  <a:pt x="119" y="94"/>
                  <a:pt x="120" y="100"/>
                </a:cubicBezTo>
                <a:cubicBezTo>
                  <a:pt x="121" y="106"/>
                  <a:pt x="125" y="107"/>
                  <a:pt x="117" y="112"/>
                </a:cubicBezTo>
                <a:cubicBezTo>
                  <a:pt x="109" y="116"/>
                  <a:pt x="118" y="107"/>
                  <a:pt x="109" y="126"/>
                </a:cubicBezTo>
                <a:cubicBezTo>
                  <a:pt x="100" y="145"/>
                  <a:pt x="93" y="151"/>
                  <a:pt x="99" y="156"/>
                </a:cubicBezTo>
                <a:cubicBezTo>
                  <a:pt x="106" y="161"/>
                  <a:pt x="104" y="164"/>
                  <a:pt x="97" y="171"/>
                </a:cubicBezTo>
                <a:cubicBezTo>
                  <a:pt x="90" y="179"/>
                  <a:pt x="80" y="184"/>
                  <a:pt x="75" y="191"/>
                </a:cubicBezTo>
                <a:cubicBezTo>
                  <a:pt x="71" y="199"/>
                  <a:pt x="62" y="190"/>
                  <a:pt x="53" y="203"/>
                </a:cubicBezTo>
                <a:cubicBezTo>
                  <a:pt x="44" y="216"/>
                  <a:pt x="32" y="219"/>
                  <a:pt x="22" y="218"/>
                </a:cubicBezTo>
                <a:cubicBezTo>
                  <a:pt x="12" y="218"/>
                  <a:pt x="0" y="228"/>
                  <a:pt x="0" y="228"/>
                </a:cubicBezTo>
                <a:cubicBezTo>
                  <a:pt x="111" y="234"/>
                  <a:pt x="111" y="234"/>
                  <a:pt x="111" y="234"/>
                </a:cubicBezTo>
                <a:cubicBezTo>
                  <a:pt x="115" y="207"/>
                  <a:pt x="115" y="207"/>
                  <a:pt x="115" y="207"/>
                </a:cubicBezTo>
                <a:cubicBezTo>
                  <a:pt x="115" y="207"/>
                  <a:pt x="125" y="203"/>
                  <a:pt x="131" y="200"/>
                </a:cubicBezTo>
                <a:cubicBezTo>
                  <a:pt x="137" y="198"/>
                  <a:pt x="149" y="191"/>
                  <a:pt x="153" y="189"/>
                </a:cubicBezTo>
                <a:cubicBezTo>
                  <a:pt x="156" y="186"/>
                  <a:pt x="175" y="180"/>
                  <a:pt x="180" y="183"/>
                </a:cubicBezTo>
                <a:cubicBezTo>
                  <a:pt x="185" y="187"/>
                  <a:pt x="193" y="178"/>
                  <a:pt x="193" y="178"/>
                </a:cubicBezTo>
                <a:cubicBezTo>
                  <a:pt x="193" y="178"/>
                  <a:pt x="195" y="172"/>
                  <a:pt x="204" y="176"/>
                </a:cubicBezTo>
                <a:cubicBezTo>
                  <a:pt x="213" y="180"/>
                  <a:pt x="215" y="173"/>
                  <a:pt x="218" y="169"/>
                </a:cubicBezTo>
                <a:cubicBezTo>
                  <a:pt x="221" y="164"/>
                  <a:pt x="218" y="167"/>
                  <a:pt x="221" y="164"/>
                </a:cubicBezTo>
                <a:cubicBezTo>
                  <a:pt x="223" y="161"/>
                  <a:pt x="235" y="156"/>
                  <a:pt x="241" y="155"/>
                </a:cubicBezTo>
                <a:cubicBezTo>
                  <a:pt x="246" y="154"/>
                  <a:pt x="252" y="154"/>
                  <a:pt x="252" y="151"/>
                </a:cubicBezTo>
                <a:cubicBezTo>
                  <a:pt x="251" y="147"/>
                  <a:pt x="246" y="145"/>
                  <a:pt x="245" y="142"/>
                </a:cubicBezTo>
                <a:cubicBezTo>
                  <a:pt x="244" y="138"/>
                  <a:pt x="233" y="129"/>
                  <a:pt x="246" y="128"/>
                </a:cubicBezTo>
                <a:cubicBezTo>
                  <a:pt x="259" y="127"/>
                  <a:pt x="266" y="126"/>
                  <a:pt x="271" y="127"/>
                </a:cubicBezTo>
                <a:cubicBezTo>
                  <a:pt x="277" y="128"/>
                  <a:pt x="304" y="128"/>
                  <a:pt x="310" y="126"/>
                </a:cubicBezTo>
                <a:cubicBezTo>
                  <a:pt x="317" y="124"/>
                  <a:pt x="318" y="115"/>
                  <a:pt x="316" y="112"/>
                </a:cubicBezTo>
                <a:cubicBezTo>
                  <a:pt x="313" y="108"/>
                  <a:pt x="306" y="97"/>
                  <a:pt x="308" y="91"/>
                </a:cubicBezTo>
                <a:cubicBezTo>
                  <a:pt x="309" y="84"/>
                  <a:pt x="309" y="81"/>
                  <a:pt x="309" y="74"/>
                </a:cubicBezTo>
                <a:cubicBezTo>
                  <a:pt x="309" y="66"/>
                  <a:pt x="309" y="46"/>
                  <a:pt x="309" y="4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18" name="Freeform 654"/>
          <p:cNvSpPr>
            <a:spLocks/>
          </p:cNvSpPr>
          <p:nvPr userDrawn="1"/>
        </p:nvSpPr>
        <p:spPr bwMode="auto">
          <a:xfrm>
            <a:off x="5299696" y="4061570"/>
            <a:ext cx="480752" cy="469025"/>
          </a:xfrm>
          <a:custGeom>
            <a:avLst/>
            <a:gdLst>
              <a:gd name="T0" fmla="*/ 2147483646 w 516"/>
              <a:gd name="T1" fmla="*/ 2147483646 h 502"/>
              <a:gd name="T2" fmla="*/ 2147483646 w 516"/>
              <a:gd name="T3" fmla="*/ 2147483646 h 502"/>
              <a:gd name="T4" fmla="*/ 2147483646 w 516"/>
              <a:gd name="T5" fmla="*/ 2147483646 h 502"/>
              <a:gd name="T6" fmla="*/ 2147483646 w 516"/>
              <a:gd name="T7" fmla="*/ 2147483646 h 502"/>
              <a:gd name="T8" fmla="*/ 2147483646 w 516"/>
              <a:gd name="T9" fmla="*/ 2147483646 h 502"/>
              <a:gd name="T10" fmla="*/ 2147483646 w 516"/>
              <a:gd name="T11" fmla="*/ 2147483646 h 502"/>
              <a:gd name="T12" fmla="*/ 2147483646 w 516"/>
              <a:gd name="T13" fmla="*/ 2147483646 h 502"/>
              <a:gd name="T14" fmla="*/ 2147483646 w 516"/>
              <a:gd name="T15" fmla="*/ 2147483646 h 502"/>
              <a:gd name="T16" fmla="*/ 2147483646 w 516"/>
              <a:gd name="T17" fmla="*/ 2147483646 h 502"/>
              <a:gd name="T18" fmla="*/ 2147483646 w 516"/>
              <a:gd name="T19" fmla="*/ 2147483646 h 502"/>
              <a:gd name="T20" fmla="*/ 2147483646 w 516"/>
              <a:gd name="T21" fmla="*/ 2147483646 h 502"/>
              <a:gd name="T22" fmla="*/ 2147483646 w 516"/>
              <a:gd name="T23" fmla="*/ 2147483646 h 502"/>
              <a:gd name="T24" fmla="*/ 2147483646 w 516"/>
              <a:gd name="T25" fmla="*/ 2147483646 h 502"/>
              <a:gd name="T26" fmla="*/ 2147483646 w 516"/>
              <a:gd name="T27" fmla="*/ 2147483646 h 502"/>
              <a:gd name="T28" fmla="*/ 2147483646 w 516"/>
              <a:gd name="T29" fmla="*/ 2147483646 h 502"/>
              <a:gd name="T30" fmla="*/ 2147483646 w 516"/>
              <a:gd name="T31" fmla="*/ 2147483646 h 502"/>
              <a:gd name="T32" fmla="*/ 2147483646 w 516"/>
              <a:gd name="T33" fmla="*/ 2147483646 h 502"/>
              <a:gd name="T34" fmla="*/ 2147483646 w 516"/>
              <a:gd name="T35" fmla="*/ 2147483646 h 502"/>
              <a:gd name="T36" fmla="*/ 2147483646 w 516"/>
              <a:gd name="T37" fmla="*/ 2147483646 h 502"/>
              <a:gd name="T38" fmla="*/ 2147483646 w 516"/>
              <a:gd name="T39" fmla="*/ 2147483646 h 502"/>
              <a:gd name="T40" fmla="*/ 2147483646 w 516"/>
              <a:gd name="T41" fmla="*/ 2147483646 h 502"/>
              <a:gd name="T42" fmla="*/ 2147483646 w 516"/>
              <a:gd name="T43" fmla="*/ 2147483646 h 502"/>
              <a:gd name="T44" fmla="*/ 2147483646 w 516"/>
              <a:gd name="T45" fmla="*/ 2147483646 h 502"/>
              <a:gd name="T46" fmla="*/ 2147483646 w 516"/>
              <a:gd name="T47" fmla="*/ 2147483646 h 502"/>
              <a:gd name="T48" fmla="*/ 2147483646 w 516"/>
              <a:gd name="T49" fmla="*/ 2147483646 h 502"/>
              <a:gd name="T50" fmla="*/ 2147483646 w 516"/>
              <a:gd name="T51" fmla="*/ 2147483646 h 502"/>
              <a:gd name="T52" fmla="*/ 2147483646 w 516"/>
              <a:gd name="T53" fmla="*/ 2147483646 h 502"/>
              <a:gd name="T54" fmla="*/ 2147483646 w 516"/>
              <a:gd name="T55" fmla="*/ 2147483646 h 502"/>
              <a:gd name="T56" fmla="*/ 2147483646 w 516"/>
              <a:gd name="T57" fmla="*/ 2147483646 h 502"/>
              <a:gd name="T58" fmla="*/ 2147483646 w 516"/>
              <a:gd name="T59" fmla="*/ 2147483646 h 502"/>
              <a:gd name="T60" fmla="*/ 2147483646 w 516"/>
              <a:gd name="T61" fmla="*/ 2147483646 h 502"/>
              <a:gd name="T62" fmla="*/ 2147483646 w 516"/>
              <a:gd name="T63" fmla="*/ 2147483646 h 502"/>
              <a:gd name="T64" fmla="*/ 2147483646 w 516"/>
              <a:gd name="T65" fmla="*/ 2147483646 h 502"/>
              <a:gd name="T66" fmla="*/ 2147483646 w 516"/>
              <a:gd name="T67" fmla="*/ 2147483646 h 502"/>
              <a:gd name="T68" fmla="*/ 2147483646 w 516"/>
              <a:gd name="T69" fmla="*/ 2147483646 h 502"/>
              <a:gd name="T70" fmla="*/ 2147483646 w 516"/>
              <a:gd name="T71" fmla="*/ 2147483646 h 502"/>
              <a:gd name="T72" fmla="*/ 2147483646 w 516"/>
              <a:gd name="T73" fmla="*/ 2147483646 h 50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516"/>
              <a:gd name="T112" fmla="*/ 0 h 502"/>
              <a:gd name="T113" fmla="*/ 516 w 516"/>
              <a:gd name="T114" fmla="*/ 502 h 50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516" h="502">
                <a:moveTo>
                  <a:pt x="198" y="52"/>
                </a:moveTo>
                <a:cubicBezTo>
                  <a:pt x="198" y="52"/>
                  <a:pt x="198" y="72"/>
                  <a:pt x="198" y="80"/>
                </a:cubicBezTo>
                <a:cubicBezTo>
                  <a:pt x="198" y="87"/>
                  <a:pt x="198" y="90"/>
                  <a:pt x="197" y="97"/>
                </a:cubicBezTo>
                <a:cubicBezTo>
                  <a:pt x="195" y="103"/>
                  <a:pt x="202" y="114"/>
                  <a:pt x="205" y="118"/>
                </a:cubicBezTo>
                <a:cubicBezTo>
                  <a:pt x="207" y="121"/>
                  <a:pt x="206" y="130"/>
                  <a:pt x="199" y="132"/>
                </a:cubicBezTo>
                <a:cubicBezTo>
                  <a:pt x="193" y="134"/>
                  <a:pt x="166" y="134"/>
                  <a:pt x="160" y="133"/>
                </a:cubicBezTo>
                <a:cubicBezTo>
                  <a:pt x="155" y="132"/>
                  <a:pt x="148" y="133"/>
                  <a:pt x="135" y="134"/>
                </a:cubicBezTo>
                <a:cubicBezTo>
                  <a:pt x="122" y="135"/>
                  <a:pt x="133" y="144"/>
                  <a:pt x="134" y="148"/>
                </a:cubicBezTo>
                <a:cubicBezTo>
                  <a:pt x="135" y="151"/>
                  <a:pt x="140" y="153"/>
                  <a:pt x="141" y="157"/>
                </a:cubicBezTo>
                <a:cubicBezTo>
                  <a:pt x="141" y="160"/>
                  <a:pt x="135" y="160"/>
                  <a:pt x="130" y="161"/>
                </a:cubicBezTo>
                <a:cubicBezTo>
                  <a:pt x="124" y="162"/>
                  <a:pt x="112" y="167"/>
                  <a:pt x="110" y="170"/>
                </a:cubicBezTo>
                <a:cubicBezTo>
                  <a:pt x="107" y="173"/>
                  <a:pt x="110" y="170"/>
                  <a:pt x="107" y="175"/>
                </a:cubicBezTo>
                <a:cubicBezTo>
                  <a:pt x="104" y="179"/>
                  <a:pt x="102" y="186"/>
                  <a:pt x="93" y="182"/>
                </a:cubicBezTo>
                <a:cubicBezTo>
                  <a:pt x="84" y="178"/>
                  <a:pt x="82" y="184"/>
                  <a:pt x="82" y="184"/>
                </a:cubicBezTo>
                <a:cubicBezTo>
                  <a:pt x="82" y="184"/>
                  <a:pt x="74" y="193"/>
                  <a:pt x="69" y="189"/>
                </a:cubicBezTo>
                <a:cubicBezTo>
                  <a:pt x="64" y="186"/>
                  <a:pt x="45" y="192"/>
                  <a:pt x="42" y="195"/>
                </a:cubicBezTo>
                <a:cubicBezTo>
                  <a:pt x="38" y="197"/>
                  <a:pt x="26" y="204"/>
                  <a:pt x="20" y="206"/>
                </a:cubicBezTo>
                <a:cubicBezTo>
                  <a:pt x="14" y="209"/>
                  <a:pt x="4" y="213"/>
                  <a:pt x="4" y="213"/>
                </a:cubicBezTo>
                <a:cubicBezTo>
                  <a:pt x="0" y="240"/>
                  <a:pt x="0" y="240"/>
                  <a:pt x="0" y="240"/>
                </a:cubicBezTo>
                <a:cubicBezTo>
                  <a:pt x="1" y="255"/>
                  <a:pt x="1" y="255"/>
                  <a:pt x="1" y="255"/>
                </a:cubicBezTo>
                <a:cubicBezTo>
                  <a:pt x="223" y="438"/>
                  <a:pt x="223" y="438"/>
                  <a:pt x="223" y="438"/>
                </a:cubicBezTo>
                <a:cubicBezTo>
                  <a:pt x="223" y="438"/>
                  <a:pt x="228" y="445"/>
                  <a:pt x="227" y="449"/>
                </a:cubicBezTo>
                <a:cubicBezTo>
                  <a:pt x="226" y="452"/>
                  <a:pt x="229" y="460"/>
                  <a:pt x="234" y="460"/>
                </a:cubicBezTo>
                <a:cubicBezTo>
                  <a:pt x="238" y="460"/>
                  <a:pt x="242" y="457"/>
                  <a:pt x="246" y="461"/>
                </a:cubicBezTo>
                <a:cubicBezTo>
                  <a:pt x="250" y="464"/>
                  <a:pt x="254" y="467"/>
                  <a:pt x="257" y="471"/>
                </a:cubicBezTo>
                <a:cubicBezTo>
                  <a:pt x="260" y="474"/>
                  <a:pt x="269" y="468"/>
                  <a:pt x="271" y="472"/>
                </a:cubicBezTo>
                <a:cubicBezTo>
                  <a:pt x="273" y="475"/>
                  <a:pt x="282" y="488"/>
                  <a:pt x="280" y="491"/>
                </a:cubicBezTo>
                <a:cubicBezTo>
                  <a:pt x="278" y="495"/>
                  <a:pt x="276" y="501"/>
                  <a:pt x="276" y="501"/>
                </a:cubicBezTo>
                <a:cubicBezTo>
                  <a:pt x="276" y="501"/>
                  <a:pt x="290" y="502"/>
                  <a:pt x="300" y="502"/>
                </a:cubicBezTo>
                <a:cubicBezTo>
                  <a:pt x="310" y="502"/>
                  <a:pt x="347" y="495"/>
                  <a:pt x="355" y="488"/>
                </a:cubicBezTo>
                <a:cubicBezTo>
                  <a:pt x="362" y="481"/>
                  <a:pt x="482" y="390"/>
                  <a:pt x="516" y="384"/>
                </a:cubicBezTo>
                <a:cubicBezTo>
                  <a:pt x="516" y="384"/>
                  <a:pt x="504" y="361"/>
                  <a:pt x="499" y="358"/>
                </a:cubicBezTo>
                <a:cubicBezTo>
                  <a:pt x="493" y="356"/>
                  <a:pt x="476" y="356"/>
                  <a:pt x="471" y="351"/>
                </a:cubicBezTo>
                <a:cubicBezTo>
                  <a:pt x="467" y="345"/>
                  <a:pt x="466" y="347"/>
                  <a:pt x="466" y="338"/>
                </a:cubicBezTo>
                <a:cubicBezTo>
                  <a:pt x="466" y="328"/>
                  <a:pt x="462" y="319"/>
                  <a:pt x="458" y="316"/>
                </a:cubicBezTo>
                <a:cubicBezTo>
                  <a:pt x="454" y="312"/>
                  <a:pt x="452" y="301"/>
                  <a:pt x="461" y="299"/>
                </a:cubicBezTo>
                <a:cubicBezTo>
                  <a:pt x="470" y="297"/>
                  <a:pt x="468" y="289"/>
                  <a:pt x="465" y="283"/>
                </a:cubicBezTo>
                <a:cubicBezTo>
                  <a:pt x="461" y="276"/>
                  <a:pt x="465" y="271"/>
                  <a:pt x="469" y="264"/>
                </a:cubicBezTo>
                <a:cubicBezTo>
                  <a:pt x="473" y="257"/>
                  <a:pt x="469" y="249"/>
                  <a:pt x="466" y="239"/>
                </a:cubicBezTo>
                <a:cubicBezTo>
                  <a:pt x="462" y="229"/>
                  <a:pt x="462" y="227"/>
                  <a:pt x="466" y="222"/>
                </a:cubicBezTo>
                <a:cubicBezTo>
                  <a:pt x="469" y="218"/>
                  <a:pt x="469" y="208"/>
                  <a:pt x="466" y="208"/>
                </a:cubicBezTo>
                <a:cubicBezTo>
                  <a:pt x="462" y="208"/>
                  <a:pt x="457" y="199"/>
                  <a:pt x="457" y="199"/>
                </a:cubicBezTo>
                <a:cubicBezTo>
                  <a:pt x="455" y="189"/>
                  <a:pt x="459" y="187"/>
                  <a:pt x="457" y="179"/>
                </a:cubicBezTo>
                <a:cubicBezTo>
                  <a:pt x="455" y="172"/>
                  <a:pt x="457" y="167"/>
                  <a:pt x="452" y="161"/>
                </a:cubicBezTo>
                <a:cubicBezTo>
                  <a:pt x="448" y="154"/>
                  <a:pt x="446" y="144"/>
                  <a:pt x="447" y="138"/>
                </a:cubicBezTo>
                <a:cubicBezTo>
                  <a:pt x="448" y="131"/>
                  <a:pt x="448" y="128"/>
                  <a:pt x="441" y="127"/>
                </a:cubicBezTo>
                <a:cubicBezTo>
                  <a:pt x="435" y="126"/>
                  <a:pt x="430" y="129"/>
                  <a:pt x="429" y="123"/>
                </a:cubicBezTo>
                <a:cubicBezTo>
                  <a:pt x="428" y="118"/>
                  <a:pt x="428" y="109"/>
                  <a:pt x="428" y="109"/>
                </a:cubicBezTo>
                <a:cubicBezTo>
                  <a:pt x="428" y="109"/>
                  <a:pt x="417" y="105"/>
                  <a:pt x="415" y="100"/>
                </a:cubicBezTo>
                <a:cubicBezTo>
                  <a:pt x="413" y="96"/>
                  <a:pt x="411" y="90"/>
                  <a:pt x="415" y="85"/>
                </a:cubicBezTo>
                <a:cubicBezTo>
                  <a:pt x="420" y="79"/>
                  <a:pt x="416" y="77"/>
                  <a:pt x="423" y="76"/>
                </a:cubicBezTo>
                <a:cubicBezTo>
                  <a:pt x="429" y="75"/>
                  <a:pt x="437" y="71"/>
                  <a:pt x="438" y="65"/>
                </a:cubicBezTo>
                <a:cubicBezTo>
                  <a:pt x="439" y="60"/>
                  <a:pt x="443" y="48"/>
                  <a:pt x="443" y="42"/>
                </a:cubicBezTo>
                <a:cubicBezTo>
                  <a:pt x="443" y="37"/>
                  <a:pt x="442" y="26"/>
                  <a:pt x="443" y="23"/>
                </a:cubicBezTo>
                <a:cubicBezTo>
                  <a:pt x="445" y="20"/>
                  <a:pt x="451" y="15"/>
                  <a:pt x="451" y="15"/>
                </a:cubicBezTo>
                <a:cubicBezTo>
                  <a:pt x="451" y="15"/>
                  <a:pt x="443" y="14"/>
                  <a:pt x="439" y="16"/>
                </a:cubicBezTo>
                <a:cubicBezTo>
                  <a:pt x="435" y="18"/>
                  <a:pt x="429" y="17"/>
                  <a:pt x="427" y="13"/>
                </a:cubicBezTo>
                <a:cubicBezTo>
                  <a:pt x="426" y="9"/>
                  <a:pt x="425" y="10"/>
                  <a:pt x="422" y="8"/>
                </a:cubicBezTo>
                <a:cubicBezTo>
                  <a:pt x="419" y="7"/>
                  <a:pt x="417" y="3"/>
                  <a:pt x="416" y="8"/>
                </a:cubicBezTo>
                <a:cubicBezTo>
                  <a:pt x="415" y="13"/>
                  <a:pt x="414" y="20"/>
                  <a:pt x="409" y="16"/>
                </a:cubicBezTo>
                <a:cubicBezTo>
                  <a:pt x="404" y="11"/>
                  <a:pt x="402" y="9"/>
                  <a:pt x="402" y="8"/>
                </a:cubicBezTo>
                <a:cubicBezTo>
                  <a:pt x="401" y="6"/>
                  <a:pt x="406" y="0"/>
                  <a:pt x="399" y="3"/>
                </a:cubicBezTo>
                <a:cubicBezTo>
                  <a:pt x="393" y="6"/>
                  <a:pt x="389" y="7"/>
                  <a:pt x="387" y="10"/>
                </a:cubicBezTo>
                <a:cubicBezTo>
                  <a:pt x="386" y="13"/>
                  <a:pt x="382" y="15"/>
                  <a:pt x="379" y="15"/>
                </a:cubicBezTo>
                <a:cubicBezTo>
                  <a:pt x="376" y="16"/>
                  <a:pt x="373" y="19"/>
                  <a:pt x="371" y="19"/>
                </a:cubicBezTo>
                <a:cubicBezTo>
                  <a:pt x="371" y="19"/>
                  <a:pt x="367" y="15"/>
                  <a:pt x="366" y="14"/>
                </a:cubicBezTo>
                <a:cubicBezTo>
                  <a:pt x="364" y="13"/>
                  <a:pt x="358" y="9"/>
                  <a:pt x="352" y="10"/>
                </a:cubicBezTo>
                <a:cubicBezTo>
                  <a:pt x="346" y="12"/>
                  <a:pt x="336" y="2"/>
                  <a:pt x="333" y="8"/>
                </a:cubicBezTo>
                <a:cubicBezTo>
                  <a:pt x="330" y="14"/>
                  <a:pt x="313" y="7"/>
                  <a:pt x="309" y="12"/>
                </a:cubicBezTo>
                <a:cubicBezTo>
                  <a:pt x="305" y="16"/>
                  <a:pt x="295" y="17"/>
                  <a:pt x="291" y="16"/>
                </a:cubicBezTo>
                <a:cubicBezTo>
                  <a:pt x="288" y="15"/>
                  <a:pt x="285" y="12"/>
                  <a:pt x="285" y="12"/>
                </a:cubicBezTo>
                <a:cubicBezTo>
                  <a:pt x="285" y="12"/>
                  <a:pt x="265" y="17"/>
                  <a:pt x="258" y="23"/>
                </a:cubicBezTo>
                <a:cubicBezTo>
                  <a:pt x="252" y="29"/>
                  <a:pt x="245" y="36"/>
                  <a:pt x="239" y="34"/>
                </a:cubicBezTo>
                <a:cubicBezTo>
                  <a:pt x="233" y="31"/>
                  <a:pt x="228" y="29"/>
                  <a:pt x="220" y="37"/>
                </a:cubicBezTo>
                <a:cubicBezTo>
                  <a:pt x="212" y="44"/>
                  <a:pt x="198" y="52"/>
                  <a:pt x="198" y="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19" name="Freeform 655"/>
          <p:cNvSpPr>
            <a:spLocks/>
          </p:cNvSpPr>
          <p:nvPr userDrawn="1"/>
        </p:nvSpPr>
        <p:spPr bwMode="auto">
          <a:xfrm>
            <a:off x="5683292" y="4059895"/>
            <a:ext cx="95480" cy="187611"/>
          </a:xfrm>
          <a:custGeom>
            <a:avLst/>
            <a:gdLst>
              <a:gd name="T0" fmla="*/ 2147483646 w 102"/>
              <a:gd name="T1" fmla="*/ 2147483646 h 200"/>
              <a:gd name="T2" fmla="*/ 2147483646 w 102"/>
              <a:gd name="T3" fmla="*/ 2147483646 h 200"/>
              <a:gd name="T4" fmla="*/ 2147483646 w 102"/>
              <a:gd name="T5" fmla="*/ 2147483646 h 200"/>
              <a:gd name="T6" fmla="*/ 2147483646 w 102"/>
              <a:gd name="T7" fmla="*/ 2147483646 h 200"/>
              <a:gd name="T8" fmla="*/ 2147483646 w 102"/>
              <a:gd name="T9" fmla="*/ 2147483646 h 200"/>
              <a:gd name="T10" fmla="*/ 2147483646 w 102"/>
              <a:gd name="T11" fmla="*/ 2147483646 h 200"/>
              <a:gd name="T12" fmla="*/ 2147483646 w 102"/>
              <a:gd name="T13" fmla="*/ 2147483646 h 200"/>
              <a:gd name="T14" fmla="*/ 2147483646 w 102"/>
              <a:gd name="T15" fmla="*/ 2147483646 h 200"/>
              <a:gd name="T16" fmla="*/ 2147483646 w 102"/>
              <a:gd name="T17" fmla="*/ 2147483646 h 200"/>
              <a:gd name="T18" fmla="*/ 2147483646 w 102"/>
              <a:gd name="T19" fmla="*/ 2147483646 h 200"/>
              <a:gd name="T20" fmla="*/ 2147483646 w 102"/>
              <a:gd name="T21" fmla="*/ 2147483646 h 200"/>
              <a:gd name="T22" fmla="*/ 2147483646 w 102"/>
              <a:gd name="T23" fmla="*/ 2147483646 h 200"/>
              <a:gd name="T24" fmla="*/ 2147483646 w 102"/>
              <a:gd name="T25" fmla="*/ 2147483646 h 200"/>
              <a:gd name="T26" fmla="*/ 2147483646 w 102"/>
              <a:gd name="T27" fmla="*/ 2147483646 h 200"/>
              <a:gd name="T28" fmla="*/ 2147483646 w 102"/>
              <a:gd name="T29" fmla="*/ 2147483646 h 200"/>
              <a:gd name="T30" fmla="*/ 2147483646 w 102"/>
              <a:gd name="T31" fmla="*/ 2147483646 h 200"/>
              <a:gd name="T32" fmla="*/ 2147483646 w 102"/>
              <a:gd name="T33" fmla="*/ 2147483646 h 200"/>
              <a:gd name="T34" fmla="*/ 2147483646 w 102"/>
              <a:gd name="T35" fmla="*/ 2147483646 h 200"/>
              <a:gd name="T36" fmla="*/ 2147483646 w 102"/>
              <a:gd name="T37" fmla="*/ 2147483646 h 200"/>
              <a:gd name="T38" fmla="*/ 2147483646 w 102"/>
              <a:gd name="T39" fmla="*/ 2147483646 h 200"/>
              <a:gd name="T40" fmla="*/ 2147483646 w 102"/>
              <a:gd name="T41" fmla="*/ 2147483646 h 200"/>
              <a:gd name="T42" fmla="*/ 2147483646 w 102"/>
              <a:gd name="T43" fmla="*/ 2147483646 h 200"/>
              <a:gd name="T44" fmla="*/ 2147483646 w 102"/>
              <a:gd name="T45" fmla="*/ 2147483646 h 200"/>
              <a:gd name="T46" fmla="*/ 2147483646 w 102"/>
              <a:gd name="T47" fmla="*/ 2147483646 h 200"/>
              <a:gd name="T48" fmla="*/ 2147483646 w 102"/>
              <a:gd name="T49" fmla="*/ 2147483646 h 200"/>
              <a:gd name="T50" fmla="*/ 2147483646 w 102"/>
              <a:gd name="T51" fmla="*/ 2147483646 h 200"/>
              <a:gd name="T52" fmla="*/ 2147483646 w 102"/>
              <a:gd name="T53" fmla="*/ 2147483646 h 200"/>
              <a:gd name="T54" fmla="*/ 2147483646 w 102"/>
              <a:gd name="T55" fmla="*/ 2147483646 h 200"/>
              <a:gd name="T56" fmla="*/ 2147483646 w 102"/>
              <a:gd name="T57" fmla="*/ 2147483646 h 200"/>
              <a:gd name="T58" fmla="*/ 2147483646 w 102"/>
              <a:gd name="T59" fmla="*/ 2147483646 h 200"/>
              <a:gd name="T60" fmla="*/ 2147483646 w 102"/>
              <a:gd name="T61" fmla="*/ 2147483646 h 200"/>
              <a:gd name="T62" fmla="*/ 2147483646 w 102"/>
              <a:gd name="T63" fmla="*/ 2147483646 h 200"/>
              <a:gd name="T64" fmla="*/ 2147483646 w 102"/>
              <a:gd name="T65" fmla="*/ 2147483646 h 200"/>
              <a:gd name="T66" fmla="*/ 2147483646 w 102"/>
              <a:gd name="T67" fmla="*/ 2147483646 h 200"/>
              <a:gd name="T68" fmla="*/ 2147483646 w 102"/>
              <a:gd name="T69" fmla="*/ 2147483646 h 200"/>
              <a:gd name="T70" fmla="*/ 2147483646 w 102"/>
              <a:gd name="T71" fmla="*/ 2147483646 h 200"/>
              <a:gd name="T72" fmla="*/ 2147483646 w 102"/>
              <a:gd name="T73" fmla="*/ 2147483646 h 200"/>
              <a:gd name="T74" fmla="*/ 2147483646 w 102"/>
              <a:gd name="T75" fmla="*/ 2147483646 h 200"/>
              <a:gd name="T76" fmla="*/ 2147483646 w 102"/>
              <a:gd name="T77" fmla="*/ 2147483646 h 200"/>
              <a:gd name="T78" fmla="*/ 2147483646 w 102"/>
              <a:gd name="T79" fmla="*/ 2147483646 h 200"/>
              <a:gd name="T80" fmla="*/ 2147483646 w 102"/>
              <a:gd name="T81" fmla="*/ 2147483646 h 200"/>
              <a:gd name="T82" fmla="*/ 2147483646 w 102"/>
              <a:gd name="T83" fmla="*/ 2147483646 h 200"/>
              <a:gd name="T84" fmla="*/ 2147483646 w 102"/>
              <a:gd name="T85" fmla="*/ 2147483646 h 20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2"/>
              <a:gd name="T130" fmla="*/ 0 h 200"/>
              <a:gd name="T131" fmla="*/ 102 w 102"/>
              <a:gd name="T132" fmla="*/ 200 h 20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2" h="200">
                <a:moveTo>
                  <a:pt x="40" y="16"/>
                </a:moveTo>
                <a:cubicBezTo>
                  <a:pt x="40" y="16"/>
                  <a:pt x="40" y="16"/>
                  <a:pt x="40" y="16"/>
                </a:cubicBezTo>
                <a:cubicBezTo>
                  <a:pt x="39" y="17"/>
                  <a:pt x="34" y="21"/>
                  <a:pt x="32" y="24"/>
                </a:cubicBezTo>
                <a:cubicBezTo>
                  <a:pt x="31" y="27"/>
                  <a:pt x="32" y="38"/>
                  <a:pt x="32" y="43"/>
                </a:cubicBezTo>
                <a:cubicBezTo>
                  <a:pt x="32" y="49"/>
                  <a:pt x="28" y="61"/>
                  <a:pt x="27" y="66"/>
                </a:cubicBezTo>
                <a:cubicBezTo>
                  <a:pt x="26" y="72"/>
                  <a:pt x="18" y="76"/>
                  <a:pt x="12" y="77"/>
                </a:cubicBezTo>
                <a:cubicBezTo>
                  <a:pt x="5" y="78"/>
                  <a:pt x="9" y="80"/>
                  <a:pt x="4" y="86"/>
                </a:cubicBezTo>
                <a:cubicBezTo>
                  <a:pt x="0" y="91"/>
                  <a:pt x="2" y="97"/>
                  <a:pt x="4" y="101"/>
                </a:cubicBezTo>
                <a:cubicBezTo>
                  <a:pt x="6" y="106"/>
                  <a:pt x="17" y="110"/>
                  <a:pt x="17" y="110"/>
                </a:cubicBezTo>
                <a:cubicBezTo>
                  <a:pt x="17" y="110"/>
                  <a:pt x="17" y="119"/>
                  <a:pt x="18" y="124"/>
                </a:cubicBezTo>
                <a:cubicBezTo>
                  <a:pt x="19" y="130"/>
                  <a:pt x="24" y="127"/>
                  <a:pt x="30" y="128"/>
                </a:cubicBezTo>
                <a:cubicBezTo>
                  <a:pt x="37" y="129"/>
                  <a:pt x="37" y="132"/>
                  <a:pt x="36" y="139"/>
                </a:cubicBezTo>
                <a:cubicBezTo>
                  <a:pt x="35" y="145"/>
                  <a:pt x="37" y="155"/>
                  <a:pt x="41" y="162"/>
                </a:cubicBezTo>
                <a:cubicBezTo>
                  <a:pt x="46" y="168"/>
                  <a:pt x="44" y="173"/>
                  <a:pt x="46" y="180"/>
                </a:cubicBezTo>
                <a:cubicBezTo>
                  <a:pt x="48" y="188"/>
                  <a:pt x="44" y="190"/>
                  <a:pt x="46" y="200"/>
                </a:cubicBezTo>
                <a:cubicBezTo>
                  <a:pt x="46" y="200"/>
                  <a:pt x="51" y="197"/>
                  <a:pt x="54" y="196"/>
                </a:cubicBezTo>
                <a:cubicBezTo>
                  <a:pt x="56" y="196"/>
                  <a:pt x="61" y="192"/>
                  <a:pt x="65" y="188"/>
                </a:cubicBezTo>
                <a:cubicBezTo>
                  <a:pt x="68" y="184"/>
                  <a:pt x="73" y="177"/>
                  <a:pt x="71" y="174"/>
                </a:cubicBezTo>
                <a:cubicBezTo>
                  <a:pt x="69" y="170"/>
                  <a:pt x="66" y="165"/>
                  <a:pt x="69" y="162"/>
                </a:cubicBezTo>
                <a:cubicBezTo>
                  <a:pt x="72" y="160"/>
                  <a:pt x="71" y="155"/>
                  <a:pt x="77" y="154"/>
                </a:cubicBezTo>
                <a:cubicBezTo>
                  <a:pt x="83" y="152"/>
                  <a:pt x="84" y="147"/>
                  <a:pt x="89" y="146"/>
                </a:cubicBezTo>
                <a:cubicBezTo>
                  <a:pt x="94" y="145"/>
                  <a:pt x="97" y="138"/>
                  <a:pt x="98" y="135"/>
                </a:cubicBezTo>
                <a:cubicBezTo>
                  <a:pt x="99" y="132"/>
                  <a:pt x="101" y="129"/>
                  <a:pt x="101" y="126"/>
                </a:cubicBezTo>
                <a:cubicBezTo>
                  <a:pt x="101" y="122"/>
                  <a:pt x="102" y="116"/>
                  <a:pt x="102" y="116"/>
                </a:cubicBezTo>
                <a:cubicBezTo>
                  <a:pt x="102" y="116"/>
                  <a:pt x="92" y="115"/>
                  <a:pt x="92" y="110"/>
                </a:cubicBezTo>
                <a:cubicBezTo>
                  <a:pt x="92" y="106"/>
                  <a:pt x="91" y="102"/>
                  <a:pt x="91" y="102"/>
                </a:cubicBezTo>
                <a:cubicBezTo>
                  <a:pt x="91" y="102"/>
                  <a:pt x="90" y="98"/>
                  <a:pt x="88" y="99"/>
                </a:cubicBezTo>
                <a:cubicBezTo>
                  <a:pt x="87" y="99"/>
                  <a:pt x="84" y="101"/>
                  <a:pt x="82" y="102"/>
                </a:cubicBezTo>
                <a:cubicBezTo>
                  <a:pt x="80" y="104"/>
                  <a:pt x="76" y="103"/>
                  <a:pt x="74" y="99"/>
                </a:cubicBezTo>
                <a:cubicBezTo>
                  <a:pt x="73" y="96"/>
                  <a:pt x="70" y="95"/>
                  <a:pt x="71" y="93"/>
                </a:cubicBezTo>
                <a:cubicBezTo>
                  <a:pt x="73" y="90"/>
                  <a:pt x="73" y="85"/>
                  <a:pt x="77" y="83"/>
                </a:cubicBezTo>
                <a:cubicBezTo>
                  <a:pt x="80" y="82"/>
                  <a:pt x="82" y="78"/>
                  <a:pt x="88" y="76"/>
                </a:cubicBezTo>
                <a:cubicBezTo>
                  <a:pt x="93" y="73"/>
                  <a:pt x="96" y="65"/>
                  <a:pt x="97" y="64"/>
                </a:cubicBezTo>
                <a:cubicBezTo>
                  <a:pt x="97" y="62"/>
                  <a:pt x="93" y="54"/>
                  <a:pt x="92" y="52"/>
                </a:cubicBezTo>
                <a:cubicBezTo>
                  <a:pt x="91" y="51"/>
                  <a:pt x="90" y="52"/>
                  <a:pt x="86" y="48"/>
                </a:cubicBezTo>
                <a:cubicBezTo>
                  <a:pt x="83" y="45"/>
                  <a:pt x="81" y="41"/>
                  <a:pt x="82" y="38"/>
                </a:cubicBezTo>
                <a:cubicBezTo>
                  <a:pt x="84" y="35"/>
                  <a:pt x="82" y="34"/>
                  <a:pt x="88" y="31"/>
                </a:cubicBezTo>
                <a:cubicBezTo>
                  <a:pt x="93" y="27"/>
                  <a:pt x="95" y="26"/>
                  <a:pt x="96" y="19"/>
                </a:cubicBezTo>
                <a:cubicBezTo>
                  <a:pt x="98" y="13"/>
                  <a:pt x="98" y="9"/>
                  <a:pt x="96" y="9"/>
                </a:cubicBezTo>
                <a:cubicBezTo>
                  <a:pt x="93" y="9"/>
                  <a:pt x="89" y="13"/>
                  <a:pt x="84" y="13"/>
                </a:cubicBezTo>
                <a:cubicBezTo>
                  <a:pt x="78" y="14"/>
                  <a:pt x="76" y="14"/>
                  <a:pt x="75" y="10"/>
                </a:cubicBezTo>
                <a:cubicBezTo>
                  <a:pt x="74" y="5"/>
                  <a:pt x="77" y="0"/>
                  <a:pt x="68" y="3"/>
                </a:cubicBezTo>
                <a:cubicBezTo>
                  <a:pt x="58" y="6"/>
                  <a:pt x="40" y="16"/>
                  <a:pt x="40" y="1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20" name="Freeform 656"/>
          <p:cNvSpPr>
            <a:spLocks/>
          </p:cNvSpPr>
          <p:nvPr userDrawn="1"/>
        </p:nvSpPr>
        <p:spPr bwMode="auto">
          <a:xfrm>
            <a:off x="5721819" y="4168775"/>
            <a:ext cx="383597" cy="353445"/>
          </a:xfrm>
          <a:custGeom>
            <a:avLst/>
            <a:gdLst>
              <a:gd name="T0" fmla="*/ 2147483646 w 411"/>
              <a:gd name="T1" fmla="*/ 2147483646 h 379"/>
              <a:gd name="T2" fmla="*/ 2147483646 w 411"/>
              <a:gd name="T3" fmla="*/ 2147483646 h 379"/>
              <a:gd name="T4" fmla="*/ 2147483646 w 411"/>
              <a:gd name="T5" fmla="*/ 2147483646 h 379"/>
              <a:gd name="T6" fmla="*/ 2147483646 w 411"/>
              <a:gd name="T7" fmla="*/ 2147483646 h 379"/>
              <a:gd name="T8" fmla="*/ 2147483646 w 411"/>
              <a:gd name="T9" fmla="*/ 2147483646 h 379"/>
              <a:gd name="T10" fmla="*/ 2147483646 w 411"/>
              <a:gd name="T11" fmla="*/ 2147483646 h 379"/>
              <a:gd name="T12" fmla="*/ 2147483646 w 411"/>
              <a:gd name="T13" fmla="*/ 2147483646 h 379"/>
              <a:gd name="T14" fmla="*/ 2147483646 w 411"/>
              <a:gd name="T15" fmla="*/ 2147483646 h 379"/>
              <a:gd name="T16" fmla="*/ 2147483646 w 411"/>
              <a:gd name="T17" fmla="*/ 2147483646 h 379"/>
              <a:gd name="T18" fmla="*/ 2147483646 w 411"/>
              <a:gd name="T19" fmla="*/ 2147483646 h 379"/>
              <a:gd name="T20" fmla="*/ 2147483646 w 411"/>
              <a:gd name="T21" fmla="*/ 2147483646 h 379"/>
              <a:gd name="T22" fmla="*/ 2147483646 w 411"/>
              <a:gd name="T23" fmla="*/ 2147483646 h 379"/>
              <a:gd name="T24" fmla="*/ 2147483646 w 411"/>
              <a:gd name="T25" fmla="*/ 2147483646 h 379"/>
              <a:gd name="T26" fmla="*/ 2147483646 w 411"/>
              <a:gd name="T27" fmla="*/ 2147483646 h 379"/>
              <a:gd name="T28" fmla="*/ 2147483646 w 411"/>
              <a:gd name="T29" fmla="*/ 2147483646 h 379"/>
              <a:gd name="T30" fmla="*/ 2147483646 w 411"/>
              <a:gd name="T31" fmla="*/ 2147483646 h 379"/>
              <a:gd name="T32" fmla="*/ 2147483646 w 411"/>
              <a:gd name="T33" fmla="*/ 2147483646 h 379"/>
              <a:gd name="T34" fmla="*/ 2147483646 w 411"/>
              <a:gd name="T35" fmla="*/ 2147483646 h 379"/>
              <a:gd name="T36" fmla="*/ 2147483646 w 411"/>
              <a:gd name="T37" fmla="*/ 2147483646 h 379"/>
              <a:gd name="T38" fmla="*/ 2147483646 w 411"/>
              <a:gd name="T39" fmla="*/ 2147483646 h 379"/>
              <a:gd name="T40" fmla="*/ 2147483646 w 411"/>
              <a:gd name="T41" fmla="*/ 0 h 379"/>
              <a:gd name="T42" fmla="*/ 2147483646 w 411"/>
              <a:gd name="T43" fmla="*/ 2147483646 h 379"/>
              <a:gd name="T44" fmla="*/ 2147483646 w 411"/>
              <a:gd name="T45" fmla="*/ 2147483646 h 379"/>
              <a:gd name="T46" fmla="*/ 2147483646 w 411"/>
              <a:gd name="T47" fmla="*/ 2147483646 h 379"/>
              <a:gd name="T48" fmla="*/ 2147483646 w 411"/>
              <a:gd name="T49" fmla="*/ 2147483646 h 379"/>
              <a:gd name="T50" fmla="*/ 2147483646 w 411"/>
              <a:gd name="T51" fmla="*/ 2147483646 h 379"/>
              <a:gd name="T52" fmla="*/ 2147483646 w 411"/>
              <a:gd name="T53" fmla="*/ 2147483646 h 379"/>
              <a:gd name="T54" fmla="*/ 2147483646 w 411"/>
              <a:gd name="T55" fmla="*/ 2147483646 h 379"/>
              <a:gd name="T56" fmla="*/ 2147483646 w 411"/>
              <a:gd name="T57" fmla="*/ 2147483646 h 379"/>
              <a:gd name="T58" fmla="*/ 2147483646 w 411"/>
              <a:gd name="T59" fmla="*/ 2147483646 h 379"/>
              <a:gd name="T60" fmla="*/ 2147483646 w 411"/>
              <a:gd name="T61" fmla="*/ 2147483646 h 379"/>
              <a:gd name="T62" fmla="*/ 2147483646 w 411"/>
              <a:gd name="T63" fmla="*/ 2147483646 h 379"/>
              <a:gd name="T64" fmla="*/ 2147483646 w 411"/>
              <a:gd name="T65" fmla="*/ 2147483646 h 379"/>
              <a:gd name="T66" fmla="*/ 2147483646 w 411"/>
              <a:gd name="T67" fmla="*/ 2147483646 h 379"/>
              <a:gd name="T68" fmla="*/ 2147483646 w 411"/>
              <a:gd name="T69" fmla="*/ 2147483646 h 379"/>
              <a:gd name="T70" fmla="*/ 2147483646 w 411"/>
              <a:gd name="T71" fmla="*/ 2147483646 h 379"/>
              <a:gd name="T72" fmla="*/ 2147483646 w 411"/>
              <a:gd name="T73" fmla="*/ 2147483646 h 379"/>
              <a:gd name="T74" fmla="*/ 2147483646 w 411"/>
              <a:gd name="T75" fmla="*/ 2147483646 h 379"/>
              <a:gd name="T76" fmla="*/ 2147483646 w 411"/>
              <a:gd name="T77" fmla="*/ 2147483646 h 379"/>
              <a:gd name="T78" fmla="*/ 2147483646 w 411"/>
              <a:gd name="T79" fmla="*/ 2147483646 h 379"/>
              <a:gd name="T80" fmla="*/ 2147483646 w 411"/>
              <a:gd name="T81" fmla="*/ 2147483646 h 379"/>
              <a:gd name="T82" fmla="*/ 2147483646 w 411"/>
              <a:gd name="T83" fmla="*/ 2147483646 h 379"/>
              <a:gd name="T84" fmla="*/ 2147483646 w 411"/>
              <a:gd name="T85" fmla="*/ 2147483646 h 379"/>
              <a:gd name="T86" fmla="*/ 2147483646 w 411"/>
              <a:gd name="T87" fmla="*/ 2147483646 h 379"/>
              <a:gd name="T88" fmla="*/ 2147483646 w 411"/>
              <a:gd name="T89" fmla="*/ 2147483646 h 379"/>
              <a:gd name="T90" fmla="*/ 2147483646 w 411"/>
              <a:gd name="T91" fmla="*/ 2147483646 h 379"/>
              <a:gd name="T92" fmla="*/ 2147483646 w 411"/>
              <a:gd name="T93" fmla="*/ 2147483646 h 37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11"/>
              <a:gd name="T142" fmla="*/ 0 h 379"/>
              <a:gd name="T143" fmla="*/ 411 w 411"/>
              <a:gd name="T144" fmla="*/ 379 h 379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11" h="379">
                <a:moveTo>
                  <a:pt x="64" y="269"/>
                </a:moveTo>
                <a:cubicBezTo>
                  <a:pt x="64" y="269"/>
                  <a:pt x="52" y="246"/>
                  <a:pt x="47" y="243"/>
                </a:cubicBezTo>
                <a:cubicBezTo>
                  <a:pt x="41" y="241"/>
                  <a:pt x="24" y="241"/>
                  <a:pt x="19" y="236"/>
                </a:cubicBezTo>
                <a:cubicBezTo>
                  <a:pt x="15" y="230"/>
                  <a:pt x="14" y="232"/>
                  <a:pt x="14" y="223"/>
                </a:cubicBezTo>
                <a:cubicBezTo>
                  <a:pt x="14" y="213"/>
                  <a:pt x="10" y="204"/>
                  <a:pt x="6" y="201"/>
                </a:cubicBezTo>
                <a:cubicBezTo>
                  <a:pt x="2" y="197"/>
                  <a:pt x="0" y="186"/>
                  <a:pt x="9" y="184"/>
                </a:cubicBezTo>
                <a:cubicBezTo>
                  <a:pt x="18" y="182"/>
                  <a:pt x="16" y="174"/>
                  <a:pt x="13" y="168"/>
                </a:cubicBezTo>
                <a:cubicBezTo>
                  <a:pt x="9" y="161"/>
                  <a:pt x="13" y="156"/>
                  <a:pt x="17" y="149"/>
                </a:cubicBezTo>
                <a:cubicBezTo>
                  <a:pt x="21" y="142"/>
                  <a:pt x="17" y="134"/>
                  <a:pt x="14" y="124"/>
                </a:cubicBezTo>
                <a:cubicBezTo>
                  <a:pt x="10" y="114"/>
                  <a:pt x="10" y="112"/>
                  <a:pt x="14" y="107"/>
                </a:cubicBezTo>
                <a:cubicBezTo>
                  <a:pt x="17" y="103"/>
                  <a:pt x="17" y="93"/>
                  <a:pt x="14" y="93"/>
                </a:cubicBezTo>
                <a:cubicBezTo>
                  <a:pt x="10" y="93"/>
                  <a:pt x="5" y="84"/>
                  <a:pt x="5" y="84"/>
                </a:cubicBezTo>
                <a:cubicBezTo>
                  <a:pt x="5" y="84"/>
                  <a:pt x="10" y="81"/>
                  <a:pt x="13" y="80"/>
                </a:cubicBezTo>
                <a:cubicBezTo>
                  <a:pt x="15" y="80"/>
                  <a:pt x="20" y="76"/>
                  <a:pt x="24" y="72"/>
                </a:cubicBezTo>
                <a:cubicBezTo>
                  <a:pt x="27" y="68"/>
                  <a:pt x="32" y="61"/>
                  <a:pt x="30" y="58"/>
                </a:cubicBezTo>
                <a:cubicBezTo>
                  <a:pt x="28" y="54"/>
                  <a:pt x="25" y="49"/>
                  <a:pt x="28" y="46"/>
                </a:cubicBezTo>
                <a:cubicBezTo>
                  <a:pt x="31" y="44"/>
                  <a:pt x="30" y="39"/>
                  <a:pt x="36" y="38"/>
                </a:cubicBezTo>
                <a:cubicBezTo>
                  <a:pt x="42" y="36"/>
                  <a:pt x="43" y="31"/>
                  <a:pt x="48" y="30"/>
                </a:cubicBezTo>
                <a:cubicBezTo>
                  <a:pt x="53" y="29"/>
                  <a:pt x="56" y="22"/>
                  <a:pt x="57" y="19"/>
                </a:cubicBezTo>
                <a:cubicBezTo>
                  <a:pt x="58" y="16"/>
                  <a:pt x="60" y="13"/>
                  <a:pt x="60" y="10"/>
                </a:cubicBezTo>
                <a:cubicBezTo>
                  <a:pt x="60" y="6"/>
                  <a:pt x="61" y="0"/>
                  <a:pt x="61" y="0"/>
                </a:cubicBezTo>
                <a:cubicBezTo>
                  <a:pt x="61" y="0"/>
                  <a:pt x="66" y="3"/>
                  <a:pt x="69" y="6"/>
                </a:cubicBezTo>
                <a:cubicBezTo>
                  <a:pt x="72" y="8"/>
                  <a:pt x="76" y="13"/>
                  <a:pt x="86" y="12"/>
                </a:cubicBezTo>
                <a:cubicBezTo>
                  <a:pt x="95" y="11"/>
                  <a:pt x="108" y="13"/>
                  <a:pt x="111" y="12"/>
                </a:cubicBezTo>
                <a:cubicBezTo>
                  <a:pt x="115" y="12"/>
                  <a:pt x="132" y="17"/>
                  <a:pt x="136" y="21"/>
                </a:cubicBezTo>
                <a:cubicBezTo>
                  <a:pt x="139" y="25"/>
                  <a:pt x="153" y="12"/>
                  <a:pt x="155" y="27"/>
                </a:cubicBezTo>
                <a:cubicBezTo>
                  <a:pt x="158" y="42"/>
                  <a:pt x="153" y="54"/>
                  <a:pt x="173" y="54"/>
                </a:cubicBezTo>
                <a:cubicBezTo>
                  <a:pt x="193" y="54"/>
                  <a:pt x="218" y="61"/>
                  <a:pt x="232" y="73"/>
                </a:cubicBezTo>
                <a:cubicBezTo>
                  <a:pt x="246" y="86"/>
                  <a:pt x="253" y="86"/>
                  <a:pt x="266" y="76"/>
                </a:cubicBezTo>
                <a:cubicBezTo>
                  <a:pt x="278" y="66"/>
                  <a:pt x="277" y="55"/>
                  <a:pt x="271" y="50"/>
                </a:cubicBezTo>
                <a:cubicBezTo>
                  <a:pt x="265" y="45"/>
                  <a:pt x="270" y="33"/>
                  <a:pt x="278" y="26"/>
                </a:cubicBezTo>
                <a:cubicBezTo>
                  <a:pt x="287" y="19"/>
                  <a:pt x="296" y="5"/>
                  <a:pt x="315" y="7"/>
                </a:cubicBezTo>
                <a:cubicBezTo>
                  <a:pt x="333" y="9"/>
                  <a:pt x="349" y="7"/>
                  <a:pt x="347" y="16"/>
                </a:cubicBezTo>
                <a:cubicBezTo>
                  <a:pt x="345" y="25"/>
                  <a:pt x="335" y="29"/>
                  <a:pt x="354" y="29"/>
                </a:cubicBezTo>
                <a:cubicBezTo>
                  <a:pt x="373" y="29"/>
                  <a:pt x="380" y="36"/>
                  <a:pt x="387" y="35"/>
                </a:cubicBezTo>
                <a:cubicBezTo>
                  <a:pt x="393" y="33"/>
                  <a:pt x="402" y="39"/>
                  <a:pt x="396" y="46"/>
                </a:cubicBezTo>
                <a:cubicBezTo>
                  <a:pt x="391" y="53"/>
                  <a:pt x="391" y="57"/>
                  <a:pt x="393" y="62"/>
                </a:cubicBezTo>
                <a:cubicBezTo>
                  <a:pt x="395" y="68"/>
                  <a:pt x="393" y="72"/>
                  <a:pt x="390" y="78"/>
                </a:cubicBezTo>
                <a:cubicBezTo>
                  <a:pt x="388" y="85"/>
                  <a:pt x="389" y="90"/>
                  <a:pt x="394" y="98"/>
                </a:cubicBezTo>
                <a:cubicBezTo>
                  <a:pt x="399" y="107"/>
                  <a:pt x="402" y="108"/>
                  <a:pt x="399" y="117"/>
                </a:cubicBezTo>
                <a:cubicBezTo>
                  <a:pt x="396" y="125"/>
                  <a:pt x="399" y="132"/>
                  <a:pt x="400" y="135"/>
                </a:cubicBezTo>
                <a:cubicBezTo>
                  <a:pt x="400" y="139"/>
                  <a:pt x="411" y="364"/>
                  <a:pt x="411" y="364"/>
                </a:cubicBezTo>
                <a:cubicBezTo>
                  <a:pt x="386" y="365"/>
                  <a:pt x="386" y="365"/>
                  <a:pt x="386" y="365"/>
                </a:cubicBezTo>
                <a:cubicBezTo>
                  <a:pt x="382" y="379"/>
                  <a:pt x="382" y="379"/>
                  <a:pt x="382" y="379"/>
                </a:cubicBezTo>
                <a:cubicBezTo>
                  <a:pt x="173" y="268"/>
                  <a:pt x="173" y="268"/>
                  <a:pt x="173" y="268"/>
                </a:cubicBezTo>
                <a:cubicBezTo>
                  <a:pt x="121" y="296"/>
                  <a:pt x="121" y="296"/>
                  <a:pt x="121" y="296"/>
                </a:cubicBezTo>
                <a:cubicBezTo>
                  <a:pt x="121" y="296"/>
                  <a:pt x="98" y="261"/>
                  <a:pt x="64" y="26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21" name="Freeform 657"/>
          <p:cNvSpPr>
            <a:spLocks/>
          </p:cNvSpPr>
          <p:nvPr userDrawn="1"/>
        </p:nvSpPr>
        <p:spPr bwMode="auto">
          <a:xfrm>
            <a:off x="6083639" y="4195576"/>
            <a:ext cx="284765" cy="264664"/>
          </a:xfrm>
          <a:custGeom>
            <a:avLst/>
            <a:gdLst>
              <a:gd name="T0" fmla="*/ 2147483646 w 306"/>
              <a:gd name="T1" fmla="*/ 2147483646 h 284"/>
              <a:gd name="T2" fmla="*/ 2147483646 w 306"/>
              <a:gd name="T3" fmla="*/ 2147483646 h 284"/>
              <a:gd name="T4" fmla="*/ 2147483646 w 306"/>
              <a:gd name="T5" fmla="*/ 2147483646 h 284"/>
              <a:gd name="T6" fmla="*/ 2147483646 w 306"/>
              <a:gd name="T7" fmla="*/ 2147483646 h 284"/>
              <a:gd name="T8" fmla="*/ 2147483646 w 306"/>
              <a:gd name="T9" fmla="*/ 2147483646 h 284"/>
              <a:gd name="T10" fmla="*/ 2147483646 w 306"/>
              <a:gd name="T11" fmla="*/ 2147483646 h 284"/>
              <a:gd name="T12" fmla="*/ 2147483646 w 306"/>
              <a:gd name="T13" fmla="*/ 2147483646 h 284"/>
              <a:gd name="T14" fmla="*/ 2147483646 w 306"/>
              <a:gd name="T15" fmla="*/ 2147483646 h 284"/>
              <a:gd name="T16" fmla="*/ 2147483646 w 306"/>
              <a:gd name="T17" fmla="*/ 2147483646 h 284"/>
              <a:gd name="T18" fmla="*/ 2147483646 w 306"/>
              <a:gd name="T19" fmla="*/ 2147483646 h 284"/>
              <a:gd name="T20" fmla="*/ 2147483646 w 306"/>
              <a:gd name="T21" fmla="*/ 2147483646 h 284"/>
              <a:gd name="T22" fmla="*/ 2147483646 w 306"/>
              <a:gd name="T23" fmla="*/ 2147483646 h 284"/>
              <a:gd name="T24" fmla="*/ 2147483646 w 306"/>
              <a:gd name="T25" fmla="*/ 2147483646 h 284"/>
              <a:gd name="T26" fmla="*/ 2147483646 w 306"/>
              <a:gd name="T27" fmla="*/ 2147483646 h 284"/>
              <a:gd name="T28" fmla="*/ 2147483646 w 306"/>
              <a:gd name="T29" fmla="*/ 2147483646 h 284"/>
              <a:gd name="T30" fmla="*/ 2147483646 w 306"/>
              <a:gd name="T31" fmla="*/ 2147483646 h 284"/>
              <a:gd name="T32" fmla="*/ 2147483646 w 306"/>
              <a:gd name="T33" fmla="*/ 2147483646 h 284"/>
              <a:gd name="T34" fmla="*/ 2147483646 w 306"/>
              <a:gd name="T35" fmla="*/ 2147483646 h 284"/>
              <a:gd name="T36" fmla="*/ 2147483646 w 306"/>
              <a:gd name="T37" fmla="*/ 2147483646 h 284"/>
              <a:gd name="T38" fmla="*/ 2147483646 w 306"/>
              <a:gd name="T39" fmla="*/ 2147483646 h 284"/>
              <a:gd name="T40" fmla="*/ 2147483646 w 306"/>
              <a:gd name="T41" fmla="*/ 2147483646 h 284"/>
              <a:gd name="T42" fmla="*/ 2147483646 w 306"/>
              <a:gd name="T43" fmla="*/ 2147483646 h 284"/>
              <a:gd name="T44" fmla="*/ 2147483646 w 306"/>
              <a:gd name="T45" fmla="*/ 2147483646 h 284"/>
              <a:gd name="T46" fmla="*/ 2147483646 w 306"/>
              <a:gd name="T47" fmla="*/ 2147483646 h 284"/>
              <a:gd name="T48" fmla="*/ 2147483646 w 306"/>
              <a:gd name="T49" fmla="*/ 2147483646 h 284"/>
              <a:gd name="T50" fmla="*/ 2147483646 w 306"/>
              <a:gd name="T51" fmla="*/ 2147483646 h 284"/>
              <a:gd name="T52" fmla="*/ 2147483646 w 306"/>
              <a:gd name="T53" fmla="*/ 2147483646 h 284"/>
              <a:gd name="T54" fmla="*/ 2147483646 w 306"/>
              <a:gd name="T55" fmla="*/ 2147483646 h 284"/>
              <a:gd name="T56" fmla="*/ 2147483646 w 306"/>
              <a:gd name="T57" fmla="*/ 2147483646 h 284"/>
              <a:gd name="T58" fmla="*/ 2147483646 w 306"/>
              <a:gd name="T59" fmla="*/ 2147483646 h 284"/>
              <a:gd name="T60" fmla="*/ 2147483646 w 306"/>
              <a:gd name="T61" fmla="*/ 2147483646 h 284"/>
              <a:gd name="T62" fmla="*/ 2147483646 w 306"/>
              <a:gd name="T63" fmla="*/ 2147483646 h 284"/>
              <a:gd name="T64" fmla="*/ 2147483646 w 306"/>
              <a:gd name="T65" fmla="*/ 2147483646 h 284"/>
              <a:gd name="T66" fmla="*/ 2147483646 w 306"/>
              <a:gd name="T67" fmla="*/ 2147483646 h 284"/>
              <a:gd name="T68" fmla="*/ 2147483646 w 306"/>
              <a:gd name="T69" fmla="*/ 2147483646 h 284"/>
              <a:gd name="T70" fmla="*/ 2147483646 w 306"/>
              <a:gd name="T71" fmla="*/ 2147483646 h 284"/>
              <a:gd name="T72" fmla="*/ 2147483646 w 306"/>
              <a:gd name="T73" fmla="*/ 2147483646 h 284"/>
              <a:gd name="T74" fmla="*/ 2147483646 w 306"/>
              <a:gd name="T75" fmla="*/ 2147483646 h 284"/>
              <a:gd name="T76" fmla="*/ 2147483646 w 306"/>
              <a:gd name="T77" fmla="*/ 2147483646 h 284"/>
              <a:gd name="T78" fmla="*/ 2147483646 w 306"/>
              <a:gd name="T79" fmla="*/ 2147483646 h 284"/>
              <a:gd name="T80" fmla="*/ 2147483646 w 306"/>
              <a:gd name="T81" fmla="*/ 2147483646 h 284"/>
              <a:gd name="T82" fmla="*/ 2147483646 w 306"/>
              <a:gd name="T83" fmla="*/ 2147483646 h 284"/>
              <a:gd name="T84" fmla="*/ 2147483646 w 306"/>
              <a:gd name="T85" fmla="*/ 2147483646 h 284"/>
              <a:gd name="T86" fmla="*/ 2147483646 w 306"/>
              <a:gd name="T87" fmla="*/ 2147483646 h 284"/>
              <a:gd name="T88" fmla="*/ 2147483646 w 306"/>
              <a:gd name="T89" fmla="*/ 2147483646 h 284"/>
              <a:gd name="T90" fmla="*/ 2147483646 w 306"/>
              <a:gd name="T91" fmla="*/ 2147483646 h 284"/>
              <a:gd name="T92" fmla="*/ 2147483646 w 306"/>
              <a:gd name="T93" fmla="*/ 2147483646 h 284"/>
              <a:gd name="T94" fmla="*/ 2147483646 w 306"/>
              <a:gd name="T95" fmla="*/ 2147483646 h 284"/>
              <a:gd name="T96" fmla="*/ 2147483646 w 306"/>
              <a:gd name="T97" fmla="*/ 2147483646 h 284"/>
              <a:gd name="T98" fmla="*/ 2147483646 w 306"/>
              <a:gd name="T99" fmla="*/ 2147483646 h 284"/>
              <a:gd name="T100" fmla="*/ 2147483646 w 306"/>
              <a:gd name="T101" fmla="*/ 2147483646 h 284"/>
              <a:gd name="T102" fmla="*/ 2147483646 w 306"/>
              <a:gd name="T103" fmla="*/ 2147483646 h 284"/>
              <a:gd name="T104" fmla="*/ 2147483646 w 306"/>
              <a:gd name="T105" fmla="*/ 2147483646 h 284"/>
              <a:gd name="T106" fmla="*/ 2147483646 w 306"/>
              <a:gd name="T107" fmla="*/ 2147483646 h 2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06"/>
              <a:gd name="T163" fmla="*/ 0 h 284"/>
              <a:gd name="T164" fmla="*/ 306 w 306"/>
              <a:gd name="T165" fmla="*/ 284 h 28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06" h="284">
                <a:moveTo>
                  <a:pt x="21" y="280"/>
                </a:moveTo>
                <a:cubicBezTo>
                  <a:pt x="17" y="213"/>
                  <a:pt x="12" y="109"/>
                  <a:pt x="12" y="107"/>
                </a:cubicBezTo>
                <a:cubicBezTo>
                  <a:pt x="11" y="104"/>
                  <a:pt x="8" y="97"/>
                  <a:pt x="11" y="89"/>
                </a:cubicBezTo>
                <a:cubicBezTo>
                  <a:pt x="14" y="80"/>
                  <a:pt x="11" y="79"/>
                  <a:pt x="6" y="70"/>
                </a:cubicBezTo>
                <a:cubicBezTo>
                  <a:pt x="1" y="62"/>
                  <a:pt x="0" y="57"/>
                  <a:pt x="2" y="50"/>
                </a:cubicBezTo>
                <a:cubicBezTo>
                  <a:pt x="5" y="44"/>
                  <a:pt x="7" y="40"/>
                  <a:pt x="5" y="34"/>
                </a:cubicBezTo>
                <a:cubicBezTo>
                  <a:pt x="3" y="29"/>
                  <a:pt x="3" y="25"/>
                  <a:pt x="8" y="18"/>
                </a:cubicBezTo>
                <a:cubicBezTo>
                  <a:pt x="10" y="17"/>
                  <a:pt x="10" y="15"/>
                  <a:pt x="10" y="14"/>
                </a:cubicBezTo>
                <a:cubicBezTo>
                  <a:pt x="10" y="14"/>
                  <a:pt x="14" y="18"/>
                  <a:pt x="18" y="19"/>
                </a:cubicBezTo>
                <a:cubicBezTo>
                  <a:pt x="22" y="19"/>
                  <a:pt x="31" y="19"/>
                  <a:pt x="33" y="19"/>
                </a:cubicBezTo>
                <a:cubicBezTo>
                  <a:pt x="36" y="19"/>
                  <a:pt x="38" y="17"/>
                  <a:pt x="44" y="20"/>
                </a:cubicBezTo>
                <a:cubicBezTo>
                  <a:pt x="50" y="22"/>
                  <a:pt x="60" y="16"/>
                  <a:pt x="65" y="22"/>
                </a:cubicBezTo>
                <a:cubicBezTo>
                  <a:pt x="69" y="27"/>
                  <a:pt x="72" y="20"/>
                  <a:pt x="81" y="24"/>
                </a:cubicBezTo>
                <a:cubicBezTo>
                  <a:pt x="91" y="27"/>
                  <a:pt x="99" y="26"/>
                  <a:pt x="104" y="30"/>
                </a:cubicBezTo>
                <a:cubicBezTo>
                  <a:pt x="109" y="34"/>
                  <a:pt x="100" y="47"/>
                  <a:pt x="114" y="35"/>
                </a:cubicBezTo>
                <a:cubicBezTo>
                  <a:pt x="128" y="22"/>
                  <a:pt x="128" y="18"/>
                  <a:pt x="138" y="16"/>
                </a:cubicBezTo>
                <a:cubicBezTo>
                  <a:pt x="147" y="13"/>
                  <a:pt x="189" y="0"/>
                  <a:pt x="195" y="3"/>
                </a:cubicBezTo>
                <a:cubicBezTo>
                  <a:pt x="202" y="6"/>
                  <a:pt x="222" y="13"/>
                  <a:pt x="227" y="13"/>
                </a:cubicBezTo>
                <a:cubicBezTo>
                  <a:pt x="233" y="14"/>
                  <a:pt x="242" y="13"/>
                  <a:pt x="245" y="12"/>
                </a:cubicBezTo>
                <a:cubicBezTo>
                  <a:pt x="248" y="10"/>
                  <a:pt x="258" y="7"/>
                  <a:pt x="258" y="7"/>
                </a:cubicBezTo>
                <a:cubicBezTo>
                  <a:pt x="272" y="4"/>
                  <a:pt x="272" y="4"/>
                  <a:pt x="272" y="4"/>
                </a:cubicBezTo>
                <a:cubicBezTo>
                  <a:pt x="272" y="4"/>
                  <a:pt x="269" y="40"/>
                  <a:pt x="293" y="72"/>
                </a:cubicBezTo>
                <a:cubicBezTo>
                  <a:pt x="291" y="80"/>
                  <a:pt x="290" y="94"/>
                  <a:pt x="289" y="101"/>
                </a:cubicBezTo>
                <a:cubicBezTo>
                  <a:pt x="289" y="107"/>
                  <a:pt x="291" y="120"/>
                  <a:pt x="282" y="119"/>
                </a:cubicBezTo>
                <a:cubicBezTo>
                  <a:pt x="272" y="117"/>
                  <a:pt x="267" y="114"/>
                  <a:pt x="262" y="104"/>
                </a:cubicBezTo>
                <a:cubicBezTo>
                  <a:pt x="256" y="93"/>
                  <a:pt x="243" y="82"/>
                  <a:pt x="238" y="80"/>
                </a:cubicBezTo>
                <a:cubicBezTo>
                  <a:pt x="233" y="78"/>
                  <a:pt x="230" y="72"/>
                  <a:pt x="231" y="67"/>
                </a:cubicBezTo>
                <a:cubicBezTo>
                  <a:pt x="232" y="62"/>
                  <a:pt x="228" y="61"/>
                  <a:pt x="227" y="65"/>
                </a:cubicBezTo>
                <a:cubicBezTo>
                  <a:pt x="225" y="70"/>
                  <a:pt x="221" y="77"/>
                  <a:pt x="227" y="81"/>
                </a:cubicBezTo>
                <a:cubicBezTo>
                  <a:pt x="233" y="85"/>
                  <a:pt x="236" y="83"/>
                  <a:pt x="234" y="89"/>
                </a:cubicBezTo>
                <a:cubicBezTo>
                  <a:pt x="232" y="94"/>
                  <a:pt x="234" y="98"/>
                  <a:pt x="239" y="100"/>
                </a:cubicBezTo>
                <a:cubicBezTo>
                  <a:pt x="243" y="103"/>
                  <a:pt x="242" y="104"/>
                  <a:pt x="248" y="109"/>
                </a:cubicBezTo>
                <a:cubicBezTo>
                  <a:pt x="253" y="114"/>
                  <a:pt x="263" y="121"/>
                  <a:pt x="262" y="129"/>
                </a:cubicBezTo>
                <a:cubicBezTo>
                  <a:pt x="260" y="136"/>
                  <a:pt x="262" y="131"/>
                  <a:pt x="269" y="140"/>
                </a:cubicBezTo>
                <a:cubicBezTo>
                  <a:pt x="277" y="148"/>
                  <a:pt x="280" y="153"/>
                  <a:pt x="280" y="159"/>
                </a:cubicBezTo>
                <a:cubicBezTo>
                  <a:pt x="279" y="164"/>
                  <a:pt x="288" y="180"/>
                  <a:pt x="297" y="191"/>
                </a:cubicBezTo>
                <a:cubicBezTo>
                  <a:pt x="306" y="202"/>
                  <a:pt x="288" y="215"/>
                  <a:pt x="293" y="217"/>
                </a:cubicBezTo>
                <a:cubicBezTo>
                  <a:pt x="297" y="219"/>
                  <a:pt x="295" y="220"/>
                  <a:pt x="292" y="222"/>
                </a:cubicBezTo>
                <a:cubicBezTo>
                  <a:pt x="288" y="224"/>
                  <a:pt x="289" y="227"/>
                  <a:pt x="292" y="232"/>
                </a:cubicBezTo>
                <a:cubicBezTo>
                  <a:pt x="294" y="236"/>
                  <a:pt x="295" y="241"/>
                  <a:pt x="295" y="241"/>
                </a:cubicBezTo>
                <a:cubicBezTo>
                  <a:pt x="295" y="241"/>
                  <a:pt x="289" y="252"/>
                  <a:pt x="284" y="250"/>
                </a:cubicBezTo>
                <a:cubicBezTo>
                  <a:pt x="278" y="248"/>
                  <a:pt x="274" y="247"/>
                  <a:pt x="272" y="253"/>
                </a:cubicBezTo>
                <a:cubicBezTo>
                  <a:pt x="270" y="259"/>
                  <a:pt x="274" y="263"/>
                  <a:pt x="270" y="263"/>
                </a:cubicBezTo>
                <a:cubicBezTo>
                  <a:pt x="265" y="263"/>
                  <a:pt x="262" y="263"/>
                  <a:pt x="264" y="266"/>
                </a:cubicBezTo>
                <a:cubicBezTo>
                  <a:pt x="265" y="269"/>
                  <a:pt x="265" y="273"/>
                  <a:pt x="263" y="274"/>
                </a:cubicBezTo>
                <a:cubicBezTo>
                  <a:pt x="262" y="274"/>
                  <a:pt x="261" y="275"/>
                  <a:pt x="259" y="274"/>
                </a:cubicBezTo>
                <a:cubicBezTo>
                  <a:pt x="258" y="273"/>
                  <a:pt x="258" y="268"/>
                  <a:pt x="255" y="269"/>
                </a:cubicBezTo>
                <a:cubicBezTo>
                  <a:pt x="253" y="270"/>
                  <a:pt x="251" y="273"/>
                  <a:pt x="252" y="275"/>
                </a:cubicBezTo>
                <a:cubicBezTo>
                  <a:pt x="254" y="277"/>
                  <a:pt x="256" y="280"/>
                  <a:pt x="255" y="281"/>
                </a:cubicBezTo>
                <a:cubicBezTo>
                  <a:pt x="254" y="282"/>
                  <a:pt x="250" y="283"/>
                  <a:pt x="248" y="284"/>
                </a:cubicBezTo>
                <a:cubicBezTo>
                  <a:pt x="247" y="284"/>
                  <a:pt x="241" y="283"/>
                  <a:pt x="241" y="283"/>
                </a:cubicBezTo>
                <a:cubicBezTo>
                  <a:pt x="236" y="279"/>
                  <a:pt x="236" y="279"/>
                  <a:pt x="236" y="279"/>
                </a:cubicBezTo>
                <a:cubicBezTo>
                  <a:pt x="236" y="279"/>
                  <a:pt x="225" y="276"/>
                  <a:pt x="221" y="276"/>
                </a:cubicBezTo>
                <a:cubicBezTo>
                  <a:pt x="217" y="276"/>
                  <a:pt x="21" y="280"/>
                  <a:pt x="21" y="28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22" name="Freeform 658"/>
          <p:cNvSpPr>
            <a:spLocks/>
          </p:cNvSpPr>
          <p:nvPr userDrawn="1"/>
        </p:nvSpPr>
        <p:spPr bwMode="auto">
          <a:xfrm>
            <a:off x="5078585" y="4279331"/>
            <a:ext cx="222788" cy="165835"/>
          </a:xfrm>
          <a:custGeom>
            <a:avLst/>
            <a:gdLst>
              <a:gd name="T0" fmla="*/ 2147483646 w 238"/>
              <a:gd name="T1" fmla="*/ 0 h 178"/>
              <a:gd name="T2" fmla="*/ 2147483646 w 238"/>
              <a:gd name="T3" fmla="*/ 2147483646 h 178"/>
              <a:gd name="T4" fmla="*/ 2147483646 w 238"/>
              <a:gd name="T5" fmla="*/ 2147483646 h 178"/>
              <a:gd name="T6" fmla="*/ 2147483646 w 238"/>
              <a:gd name="T7" fmla="*/ 2147483646 h 178"/>
              <a:gd name="T8" fmla="*/ 2147483646 w 238"/>
              <a:gd name="T9" fmla="*/ 2147483646 h 178"/>
              <a:gd name="T10" fmla="*/ 2147483646 w 238"/>
              <a:gd name="T11" fmla="*/ 2147483646 h 178"/>
              <a:gd name="T12" fmla="*/ 2147483646 w 238"/>
              <a:gd name="T13" fmla="*/ 2147483646 h 178"/>
              <a:gd name="T14" fmla="*/ 2147483646 w 238"/>
              <a:gd name="T15" fmla="*/ 2147483646 h 178"/>
              <a:gd name="T16" fmla="*/ 0 w 238"/>
              <a:gd name="T17" fmla="*/ 2147483646 h 178"/>
              <a:gd name="T18" fmla="*/ 2147483646 w 238"/>
              <a:gd name="T19" fmla="*/ 2147483646 h 178"/>
              <a:gd name="T20" fmla="*/ 2147483646 w 238"/>
              <a:gd name="T21" fmla="*/ 2147483646 h 178"/>
              <a:gd name="T22" fmla="*/ 2147483646 w 238"/>
              <a:gd name="T23" fmla="*/ 2147483646 h 178"/>
              <a:gd name="T24" fmla="*/ 2147483646 w 238"/>
              <a:gd name="T25" fmla="*/ 2147483646 h 178"/>
              <a:gd name="T26" fmla="*/ 2147483646 w 238"/>
              <a:gd name="T27" fmla="*/ 2147483646 h 178"/>
              <a:gd name="T28" fmla="*/ 2147483646 w 238"/>
              <a:gd name="T29" fmla="*/ 2147483646 h 178"/>
              <a:gd name="T30" fmla="*/ 2147483646 w 238"/>
              <a:gd name="T31" fmla="*/ 2147483646 h 178"/>
              <a:gd name="T32" fmla="*/ 2147483646 w 238"/>
              <a:gd name="T33" fmla="*/ 0 h 17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38"/>
              <a:gd name="T52" fmla="*/ 0 h 178"/>
              <a:gd name="T53" fmla="*/ 238 w 238"/>
              <a:gd name="T54" fmla="*/ 178 h 17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38" h="178">
                <a:moveTo>
                  <a:pt x="126" y="0"/>
                </a:moveTo>
                <a:cubicBezTo>
                  <a:pt x="237" y="6"/>
                  <a:pt x="237" y="6"/>
                  <a:pt x="237" y="6"/>
                </a:cubicBezTo>
                <a:cubicBezTo>
                  <a:pt x="238" y="21"/>
                  <a:pt x="238" y="21"/>
                  <a:pt x="238" y="21"/>
                </a:cubicBezTo>
                <a:cubicBezTo>
                  <a:pt x="231" y="56"/>
                  <a:pt x="231" y="56"/>
                  <a:pt x="231" y="56"/>
                </a:cubicBezTo>
                <a:cubicBezTo>
                  <a:pt x="148" y="48"/>
                  <a:pt x="148" y="48"/>
                  <a:pt x="148" y="48"/>
                </a:cubicBezTo>
                <a:cubicBezTo>
                  <a:pt x="135" y="120"/>
                  <a:pt x="135" y="120"/>
                  <a:pt x="135" y="120"/>
                </a:cubicBezTo>
                <a:cubicBezTo>
                  <a:pt x="135" y="120"/>
                  <a:pt x="104" y="128"/>
                  <a:pt x="102" y="139"/>
                </a:cubicBezTo>
                <a:cubicBezTo>
                  <a:pt x="101" y="151"/>
                  <a:pt x="100" y="178"/>
                  <a:pt x="100" y="178"/>
                </a:cubicBezTo>
                <a:cubicBezTo>
                  <a:pt x="0" y="169"/>
                  <a:pt x="0" y="169"/>
                  <a:pt x="0" y="169"/>
                </a:cubicBezTo>
                <a:cubicBezTo>
                  <a:pt x="0" y="169"/>
                  <a:pt x="5" y="146"/>
                  <a:pt x="13" y="143"/>
                </a:cubicBezTo>
                <a:cubicBezTo>
                  <a:pt x="21" y="140"/>
                  <a:pt x="25" y="134"/>
                  <a:pt x="27" y="130"/>
                </a:cubicBezTo>
                <a:cubicBezTo>
                  <a:pt x="29" y="125"/>
                  <a:pt x="33" y="108"/>
                  <a:pt x="39" y="101"/>
                </a:cubicBezTo>
                <a:cubicBezTo>
                  <a:pt x="46" y="94"/>
                  <a:pt x="54" y="87"/>
                  <a:pt x="58" y="83"/>
                </a:cubicBezTo>
                <a:cubicBezTo>
                  <a:pt x="62" y="78"/>
                  <a:pt x="72" y="66"/>
                  <a:pt x="76" y="58"/>
                </a:cubicBezTo>
                <a:cubicBezTo>
                  <a:pt x="79" y="50"/>
                  <a:pt x="82" y="35"/>
                  <a:pt x="90" y="33"/>
                </a:cubicBezTo>
                <a:cubicBezTo>
                  <a:pt x="98" y="30"/>
                  <a:pt x="114" y="25"/>
                  <a:pt x="117" y="18"/>
                </a:cubicBezTo>
                <a:cubicBezTo>
                  <a:pt x="120" y="12"/>
                  <a:pt x="126" y="0"/>
                  <a:pt x="12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23" name="Freeform 659"/>
          <p:cNvSpPr>
            <a:spLocks/>
          </p:cNvSpPr>
          <p:nvPr userDrawn="1"/>
        </p:nvSpPr>
        <p:spPr bwMode="auto">
          <a:xfrm>
            <a:off x="5162340" y="4361411"/>
            <a:ext cx="420449" cy="405372"/>
          </a:xfrm>
          <a:custGeom>
            <a:avLst/>
            <a:gdLst>
              <a:gd name="T0" fmla="*/ 2147483646 w 451"/>
              <a:gd name="T1" fmla="*/ 2147483646 h 434"/>
              <a:gd name="T2" fmla="*/ 2147483646 w 451"/>
              <a:gd name="T3" fmla="*/ 2147483646 h 434"/>
              <a:gd name="T4" fmla="*/ 2147483646 w 451"/>
              <a:gd name="T5" fmla="*/ 2147483646 h 434"/>
              <a:gd name="T6" fmla="*/ 2147483646 w 451"/>
              <a:gd name="T7" fmla="*/ 2147483646 h 434"/>
              <a:gd name="T8" fmla="*/ 2147483646 w 451"/>
              <a:gd name="T9" fmla="*/ 2147483646 h 434"/>
              <a:gd name="T10" fmla="*/ 2147483646 w 451"/>
              <a:gd name="T11" fmla="*/ 2147483646 h 434"/>
              <a:gd name="T12" fmla="*/ 2147483646 w 451"/>
              <a:gd name="T13" fmla="*/ 2147483646 h 434"/>
              <a:gd name="T14" fmla="*/ 2147483646 w 451"/>
              <a:gd name="T15" fmla="*/ 2147483646 h 434"/>
              <a:gd name="T16" fmla="*/ 2147483646 w 451"/>
              <a:gd name="T17" fmla="*/ 2147483646 h 434"/>
              <a:gd name="T18" fmla="*/ 2147483646 w 451"/>
              <a:gd name="T19" fmla="*/ 2147483646 h 434"/>
              <a:gd name="T20" fmla="*/ 2147483646 w 451"/>
              <a:gd name="T21" fmla="*/ 2147483646 h 434"/>
              <a:gd name="T22" fmla="*/ 2147483646 w 451"/>
              <a:gd name="T23" fmla="*/ 2147483646 h 434"/>
              <a:gd name="T24" fmla="*/ 2147483646 w 451"/>
              <a:gd name="T25" fmla="*/ 2147483646 h 434"/>
              <a:gd name="T26" fmla="*/ 2147483646 w 451"/>
              <a:gd name="T27" fmla="*/ 2147483646 h 434"/>
              <a:gd name="T28" fmla="*/ 2147483646 w 451"/>
              <a:gd name="T29" fmla="*/ 2147483646 h 434"/>
              <a:gd name="T30" fmla="*/ 2147483646 w 451"/>
              <a:gd name="T31" fmla="*/ 2147483646 h 434"/>
              <a:gd name="T32" fmla="*/ 2147483646 w 451"/>
              <a:gd name="T33" fmla="*/ 2147483646 h 434"/>
              <a:gd name="T34" fmla="*/ 2147483646 w 451"/>
              <a:gd name="T35" fmla="*/ 2147483646 h 434"/>
              <a:gd name="T36" fmla="*/ 2147483646 w 451"/>
              <a:gd name="T37" fmla="*/ 2147483646 h 434"/>
              <a:gd name="T38" fmla="*/ 2147483646 w 451"/>
              <a:gd name="T39" fmla="*/ 2147483646 h 434"/>
              <a:gd name="T40" fmla="*/ 2147483646 w 451"/>
              <a:gd name="T41" fmla="*/ 2147483646 h 434"/>
              <a:gd name="T42" fmla="*/ 2147483646 w 451"/>
              <a:gd name="T43" fmla="*/ 2147483646 h 434"/>
              <a:gd name="T44" fmla="*/ 2147483646 w 451"/>
              <a:gd name="T45" fmla="*/ 2147483646 h 434"/>
              <a:gd name="T46" fmla="*/ 2147483646 w 451"/>
              <a:gd name="T47" fmla="*/ 2147483646 h 434"/>
              <a:gd name="T48" fmla="*/ 2147483646 w 451"/>
              <a:gd name="T49" fmla="*/ 2147483646 h 434"/>
              <a:gd name="T50" fmla="*/ 2147483646 w 451"/>
              <a:gd name="T51" fmla="*/ 2147483646 h 434"/>
              <a:gd name="T52" fmla="*/ 2147483646 w 451"/>
              <a:gd name="T53" fmla="*/ 2147483646 h 434"/>
              <a:gd name="T54" fmla="*/ 2147483646 w 451"/>
              <a:gd name="T55" fmla="*/ 2147483646 h 434"/>
              <a:gd name="T56" fmla="*/ 2147483646 w 451"/>
              <a:gd name="T57" fmla="*/ 2147483646 h 434"/>
              <a:gd name="T58" fmla="*/ 2147483646 w 451"/>
              <a:gd name="T59" fmla="*/ 2147483646 h 434"/>
              <a:gd name="T60" fmla="*/ 2147483646 w 451"/>
              <a:gd name="T61" fmla="*/ 2147483646 h 434"/>
              <a:gd name="T62" fmla="*/ 2147483646 w 451"/>
              <a:gd name="T63" fmla="*/ 2147483646 h 434"/>
              <a:gd name="T64" fmla="*/ 2147483646 w 451"/>
              <a:gd name="T65" fmla="*/ 2147483646 h 434"/>
              <a:gd name="T66" fmla="*/ 2147483646 w 451"/>
              <a:gd name="T67" fmla="*/ 2147483646 h 434"/>
              <a:gd name="T68" fmla="*/ 2147483646 w 451"/>
              <a:gd name="T69" fmla="*/ 2147483646 h 434"/>
              <a:gd name="T70" fmla="*/ 2147483646 w 451"/>
              <a:gd name="T71" fmla="*/ 2147483646 h 434"/>
              <a:gd name="T72" fmla="*/ 2147483646 w 451"/>
              <a:gd name="T73" fmla="*/ 2147483646 h 434"/>
              <a:gd name="T74" fmla="*/ 2147483646 w 451"/>
              <a:gd name="T75" fmla="*/ 2147483646 h 434"/>
              <a:gd name="T76" fmla="*/ 2147483646 w 451"/>
              <a:gd name="T77" fmla="*/ 2147483646 h 43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451"/>
              <a:gd name="T118" fmla="*/ 0 h 434"/>
              <a:gd name="T119" fmla="*/ 451 w 451"/>
              <a:gd name="T120" fmla="*/ 434 h 434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451" h="434">
                <a:moveTo>
                  <a:pt x="6" y="284"/>
                </a:moveTo>
                <a:cubicBezTo>
                  <a:pt x="15" y="289"/>
                  <a:pt x="14" y="263"/>
                  <a:pt x="21" y="260"/>
                </a:cubicBezTo>
                <a:cubicBezTo>
                  <a:pt x="28" y="257"/>
                  <a:pt x="31" y="261"/>
                  <a:pt x="36" y="269"/>
                </a:cubicBezTo>
                <a:cubicBezTo>
                  <a:pt x="41" y="277"/>
                  <a:pt x="42" y="271"/>
                  <a:pt x="46" y="266"/>
                </a:cubicBezTo>
                <a:cubicBezTo>
                  <a:pt x="49" y="261"/>
                  <a:pt x="63" y="269"/>
                  <a:pt x="63" y="269"/>
                </a:cubicBezTo>
                <a:cubicBezTo>
                  <a:pt x="63" y="269"/>
                  <a:pt x="81" y="269"/>
                  <a:pt x="81" y="263"/>
                </a:cubicBezTo>
                <a:cubicBezTo>
                  <a:pt x="81" y="257"/>
                  <a:pt x="90" y="268"/>
                  <a:pt x="90" y="268"/>
                </a:cubicBezTo>
                <a:cubicBezTo>
                  <a:pt x="186" y="271"/>
                  <a:pt x="186" y="271"/>
                  <a:pt x="186" y="271"/>
                </a:cubicBezTo>
                <a:cubicBezTo>
                  <a:pt x="186" y="266"/>
                  <a:pt x="192" y="248"/>
                  <a:pt x="189" y="248"/>
                </a:cubicBezTo>
                <a:cubicBezTo>
                  <a:pt x="187" y="248"/>
                  <a:pt x="185" y="242"/>
                  <a:pt x="185" y="242"/>
                </a:cubicBezTo>
                <a:cubicBezTo>
                  <a:pt x="189" y="0"/>
                  <a:pt x="189" y="0"/>
                  <a:pt x="189" y="0"/>
                </a:cubicBezTo>
                <a:cubicBezTo>
                  <a:pt x="230" y="2"/>
                  <a:pt x="230" y="2"/>
                  <a:pt x="230" y="2"/>
                </a:cubicBezTo>
                <a:cubicBezTo>
                  <a:pt x="231" y="2"/>
                  <a:pt x="231" y="2"/>
                  <a:pt x="231" y="2"/>
                </a:cubicBezTo>
                <a:cubicBezTo>
                  <a:pt x="370" y="117"/>
                  <a:pt x="370" y="117"/>
                  <a:pt x="370" y="117"/>
                </a:cubicBezTo>
                <a:cubicBezTo>
                  <a:pt x="370" y="117"/>
                  <a:pt x="375" y="124"/>
                  <a:pt x="374" y="128"/>
                </a:cubicBezTo>
                <a:cubicBezTo>
                  <a:pt x="373" y="131"/>
                  <a:pt x="376" y="139"/>
                  <a:pt x="381" y="139"/>
                </a:cubicBezTo>
                <a:cubicBezTo>
                  <a:pt x="385" y="139"/>
                  <a:pt x="389" y="136"/>
                  <a:pt x="393" y="140"/>
                </a:cubicBezTo>
                <a:cubicBezTo>
                  <a:pt x="397" y="143"/>
                  <a:pt x="401" y="146"/>
                  <a:pt x="404" y="150"/>
                </a:cubicBezTo>
                <a:cubicBezTo>
                  <a:pt x="407" y="153"/>
                  <a:pt x="416" y="147"/>
                  <a:pt x="418" y="151"/>
                </a:cubicBezTo>
                <a:cubicBezTo>
                  <a:pt x="420" y="154"/>
                  <a:pt x="429" y="167"/>
                  <a:pt x="427" y="170"/>
                </a:cubicBezTo>
                <a:cubicBezTo>
                  <a:pt x="425" y="174"/>
                  <a:pt x="423" y="180"/>
                  <a:pt x="423" y="180"/>
                </a:cubicBezTo>
                <a:cubicBezTo>
                  <a:pt x="423" y="180"/>
                  <a:pt x="437" y="181"/>
                  <a:pt x="447" y="181"/>
                </a:cubicBezTo>
                <a:cubicBezTo>
                  <a:pt x="447" y="181"/>
                  <a:pt x="451" y="227"/>
                  <a:pt x="449" y="243"/>
                </a:cubicBezTo>
                <a:cubicBezTo>
                  <a:pt x="447" y="258"/>
                  <a:pt x="439" y="258"/>
                  <a:pt x="440" y="265"/>
                </a:cubicBezTo>
                <a:cubicBezTo>
                  <a:pt x="441" y="271"/>
                  <a:pt x="434" y="285"/>
                  <a:pt x="428" y="288"/>
                </a:cubicBezTo>
                <a:cubicBezTo>
                  <a:pt x="423" y="291"/>
                  <a:pt x="408" y="288"/>
                  <a:pt x="403" y="288"/>
                </a:cubicBezTo>
                <a:cubicBezTo>
                  <a:pt x="397" y="288"/>
                  <a:pt x="387" y="286"/>
                  <a:pt x="383" y="287"/>
                </a:cubicBezTo>
                <a:cubicBezTo>
                  <a:pt x="379" y="288"/>
                  <a:pt x="365" y="287"/>
                  <a:pt x="365" y="287"/>
                </a:cubicBezTo>
                <a:cubicBezTo>
                  <a:pt x="365" y="287"/>
                  <a:pt x="365" y="298"/>
                  <a:pt x="352" y="296"/>
                </a:cubicBezTo>
                <a:cubicBezTo>
                  <a:pt x="339" y="293"/>
                  <a:pt x="318" y="278"/>
                  <a:pt x="311" y="289"/>
                </a:cubicBezTo>
                <a:cubicBezTo>
                  <a:pt x="303" y="300"/>
                  <a:pt x="298" y="303"/>
                  <a:pt x="292" y="303"/>
                </a:cubicBezTo>
                <a:cubicBezTo>
                  <a:pt x="285" y="303"/>
                  <a:pt x="280" y="302"/>
                  <a:pt x="280" y="305"/>
                </a:cubicBezTo>
                <a:cubicBezTo>
                  <a:pt x="280" y="309"/>
                  <a:pt x="275" y="314"/>
                  <a:pt x="271" y="315"/>
                </a:cubicBezTo>
                <a:cubicBezTo>
                  <a:pt x="267" y="316"/>
                  <a:pt x="256" y="319"/>
                  <a:pt x="256" y="319"/>
                </a:cubicBezTo>
                <a:cubicBezTo>
                  <a:pt x="256" y="319"/>
                  <a:pt x="248" y="320"/>
                  <a:pt x="247" y="323"/>
                </a:cubicBezTo>
                <a:cubicBezTo>
                  <a:pt x="246" y="326"/>
                  <a:pt x="245" y="338"/>
                  <a:pt x="245" y="338"/>
                </a:cubicBezTo>
                <a:cubicBezTo>
                  <a:pt x="245" y="338"/>
                  <a:pt x="239" y="344"/>
                  <a:pt x="236" y="340"/>
                </a:cubicBezTo>
                <a:cubicBezTo>
                  <a:pt x="233" y="335"/>
                  <a:pt x="230" y="336"/>
                  <a:pt x="227" y="334"/>
                </a:cubicBezTo>
                <a:cubicBezTo>
                  <a:pt x="224" y="332"/>
                  <a:pt x="226" y="323"/>
                  <a:pt x="220" y="326"/>
                </a:cubicBezTo>
                <a:cubicBezTo>
                  <a:pt x="215" y="330"/>
                  <a:pt x="212" y="333"/>
                  <a:pt x="213" y="336"/>
                </a:cubicBezTo>
                <a:cubicBezTo>
                  <a:pt x="214" y="340"/>
                  <a:pt x="220" y="341"/>
                  <a:pt x="217" y="347"/>
                </a:cubicBezTo>
                <a:cubicBezTo>
                  <a:pt x="214" y="354"/>
                  <a:pt x="207" y="353"/>
                  <a:pt x="207" y="353"/>
                </a:cubicBezTo>
                <a:cubicBezTo>
                  <a:pt x="204" y="362"/>
                  <a:pt x="203" y="372"/>
                  <a:pt x="197" y="372"/>
                </a:cubicBezTo>
                <a:cubicBezTo>
                  <a:pt x="192" y="372"/>
                  <a:pt x="185" y="367"/>
                  <a:pt x="182" y="374"/>
                </a:cubicBezTo>
                <a:cubicBezTo>
                  <a:pt x="179" y="380"/>
                  <a:pt x="182" y="386"/>
                  <a:pt x="182" y="391"/>
                </a:cubicBezTo>
                <a:cubicBezTo>
                  <a:pt x="182" y="397"/>
                  <a:pt x="181" y="396"/>
                  <a:pt x="177" y="401"/>
                </a:cubicBezTo>
                <a:cubicBezTo>
                  <a:pt x="172" y="407"/>
                  <a:pt x="170" y="409"/>
                  <a:pt x="173" y="412"/>
                </a:cubicBezTo>
                <a:cubicBezTo>
                  <a:pt x="177" y="415"/>
                  <a:pt x="181" y="423"/>
                  <a:pt x="175" y="423"/>
                </a:cubicBezTo>
                <a:cubicBezTo>
                  <a:pt x="170" y="423"/>
                  <a:pt x="161" y="418"/>
                  <a:pt x="159" y="422"/>
                </a:cubicBezTo>
                <a:cubicBezTo>
                  <a:pt x="157" y="426"/>
                  <a:pt x="150" y="434"/>
                  <a:pt x="151" y="425"/>
                </a:cubicBezTo>
                <a:cubicBezTo>
                  <a:pt x="152" y="416"/>
                  <a:pt x="155" y="410"/>
                  <a:pt x="155" y="410"/>
                </a:cubicBezTo>
                <a:cubicBezTo>
                  <a:pt x="155" y="410"/>
                  <a:pt x="149" y="402"/>
                  <a:pt x="147" y="407"/>
                </a:cubicBezTo>
                <a:cubicBezTo>
                  <a:pt x="141" y="418"/>
                  <a:pt x="140" y="418"/>
                  <a:pt x="136" y="416"/>
                </a:cubicBezTo>
                <a:cubicBezTo>
                  <a:pt x="132" y="415"/>
                  <a:pt x="126" y="410"/>
                  <a:pt x="127" y="416"/>
                </a:cubicBezTo>
                <a:cubicBezTo>
                  <a:pt x="128" y="423"/>
                  <a:pt x="121" y="422"/>
                  <a:pt x="121" y="422"/>
                </a:cubicBezTo>
                <a:cubicBezTo>
                  <a:pt x="121" y="422"/>
                  <a:pt x="121" y="409"/>
                  <a:pt x="117" y="411"/>
                </a:cubicBezTo>
                <a:cubicBezTo>
                  <a:pt x="114" y="413"/>
                  <a:pt x="111" y="413"/>
                  <a:pt x="110" y="418"/>
                </a:cubicBezTo>
                <a:cubicBezTo>
                  <a:pt x="108" y="422"/>
                  <a:pt x="103" y="420"/>
                  <a:pt x="103" y="420"/>
                </a:cubicBezTo>
                <a:cubicBezTo>
                  <a:pt x="94" y="408"/>
                  <a:pt x="94" y="408"/>
                  <a:pt x="94" y="408"/>
                </a:cubicBezTo>
                <a:cubicBezTo>
                  <a:pt x="94" y="408"/>
                  <a:pt x="108" y="410"/>
                  <a:pt x="101" y="403"/>
                </a:cubicBezTo>
                <a:cubicBezTo>
                  <a:pt x="93" y="397"/>
                  <a:pt x="89" y="396"/>
                  <a:pt x="89" y="392"/>
                </a:cubicBezTo>
                <a:cubicBezTo>
                  <a:pt x="89" y="389"/>
                  <a:pt x="97" y="388"/>
                  <a:pt x="97" y="388"/>
                </a:cubicBezTo>
                <a:cubicBezTo>
                  <a:pt x="97" y="388"/>
                  <a:pt x="94" y="371"/>
                  <a:pt x="92" y="376"/>
                </a:cubicBezTo>
                <a:cubicBezTo>
                  <a:pt x="90" y="380"/>
                  <a:pt x="82" y="375"/>
                  <a:pt x="82" y="375"/>
                </a:cubicBezTo>
                <a:cubicBezTo>
                  <a:pt x="82" y="363"/>
                  <a:pt x="82" y="363"/>
                  <a:pt x="82" y="363"/>
                </a:cubicBezTo>
                <a:cubicBezTo>
                  <a:pt x="73" y="352"/>
                  <a:pt x="73" y="352"/>
                  <a:pt x="73" y="352"/>
                </a:cubicBezTo>
                <a:cubicBezTo>
                  <a:pt x="73" y="352"/>
                  <a:pt x="62" y="346"/>
                  <a:pt x="63" y="355"/>
                </a:cubicBezTo>
                <a:cubicBezTo>
                  <a:pt x="65" y="364"/>
                  <a:pt x="60" y="368"/>
                  <a:pt x="57" y="367"/>
                </a:cubicBezTo>
                <a:cubicBezTo>
                  <a:pt x="54" y="366"/>
                  <a:pt x="52" y="349"/>
                  <a:pt x="47" y="355"/>
                </a:cubicBezTo>
                <a:cubicBezTo>
                  <a:pt x="41" y="360"/>
                  <a:pt x="40" y="366"/>
                  <a:pt x="37" y="367"/>
                </a:cubicBezTo>
                <a:cubicBezTo>
                  <a:pt x="34" y="368"/>
                  <a:pt x="33" y="356"/>
                  <a:pt x="27" y="359"/>
                </a:cubicBezTo>
                <a:cubicBezTo>
                  <a:pt x="22" y="363"/>
                  <a:pt x="17" y="369"/>
                  <a:pt x="15" y="362"/>
                </a:cubicBezTo>
                <a:cubicBezTo>
                  <a:pt x="13" y="354"/>
                  <a:pt x="12" y="352"/>
                  <a:pt x="16" y="349"/>
                </a:cubicBezTo>
                <a:cubicBezTo>
                  <a:pt x="21" y="347"/>
                  <a:pt x="21" y="344"/>
                  <a:pt x="21" y="340"/>
                </a:cubicBezTo>
                <a:cubicBezTo>
                  <a:pt x="21" y="335"/>
                  <a:pt x="14" y="313"/>
                  <a:pt x="10" y="315"/>
                </a:cubicBezTo>
                <a:cubicBezTo>
                  <a:pt x="5" y="318"/>
                  <a:pt x="0" y="320"/>
                  <a:pt x="2" y="313"/>
                </a:cubicBezTo>
                <a:cubicBezTo>
                  <a:pt x="4" y="307"/>
                  <a:pt x="5" y="303"/>
                  <a:pt x="5" y="303"/>
                </a:cubicBezTo>
                <a:cubicBezTo>
                  <a:pt x="5" y="292"/>
                  <a:pt x="5" y="292"/>
                  <a:pt x="5" y="292"/>
                </a:cubicBezTo>
                <a:lnTo>
                  <a:pt x="6" y="2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24" name="Line 660"/>
          <p:cNvSpPr>
            <a:spLocks noChangeShapeType="1"/>
          </p:cNvSpPr>
          <p:nvPr userDrawn="1"/>
        </p:nvSpPr>
        <p:spPr bwMode="auto">
          <a:xfrm>
            <a:off x="5388476" y="4404964"/>
            <a:ext cx="1675" cy="167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325" name="Line 661"/>
          <p:cNvSpPr>
            <a:spLocks noChangeShapeType="1"/>
          </p:cNvSpPr>
          <p:nvPr userDrawn="1"/>
        </p:nvSpPr>
        <p:spPr bwMode="auto">
          <a:xfrm>
            <a:off x="5388476" y="4404964"/>
            <a:ext cx="1675" cy="1675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326" name="Freeform 662"/>
          <p:cNvSpPr>
            <a:spLocks/>
          </p:cNvSpPr>
          <p:nvPr userDrawn="1"/>
        </p:nvSpPr>
        <p:spPr bwMode="auto">
          <a:xfrm>
            <a:off x="5071883" y="4299433"/>
            <a:ext cx="304867" cy="331668"/>
          </a:xfrm>
          <a:custGeom>
            <a:avLst/>
            <a:gdLst>
              <a:gd name="T0" fmla="*/ 2147483646 w 328"/>
              <a:gd name="T1" fmla="*/ 2147483646 h 355"/>
              <a:gd name="T2" fmla="*/ 2147483646 w 328"/>
              <a:gd name="T3" fmla="*/ 2147483646 h 355"/>
              <a:gd name="T4" fmla="*/ 2147483646 w 328"/>
              <a:gd name="T5" fmla="*/ 2147483646 h 355"/>
              <a:gd name="T6" fmla="*/ 2147483646 w 328"/>
              <a:gd name="T7" fmla="*/ 2147483646 h 355"/>
              <a:gd name="T8" fmla="*/ 2147483646 w 328"/>
              <a:gd name="T9" fmla="*/ 2147483646 h 355"/>
              <a:gd name="T10" fmla="*/ 2147483646 w 328"/>
              <a:gd name="T11" fmla="*/ 2147483646 h 355"/>
              <a:gd name="T12" fmla="*/ 2147483646 w 328"/>
              <a:gd name="T13" fmla="*/ 2147483646 h 355"/>
              <a:gd name="T14" fmla="*/ 2147483646 w 328"/>
              <a:gd name="T15" fmla="*/ 2147483646 h 355"/>
              <a:gd name="T16" fmla="*/ 2147483646 w 328"/>
              <a:gd name="T17" fmla="*/ 2147483646 h 355"/>
              <a:gd name="T18" fmla="*/ 2147483646 w 328"/>
              <a:gd name="T19" fmla="*/ 2147483646 h 355"/>
              <a:gd name="T20" fmla="*/ 2147483646 w 328"/>
              <a:gd name="T21" fmla="*/ 2147483646 h 355"/>
              <a:gd name="T22" fmla="*/ 2147483646 w 328"/>
              <a:gd name="T23" fmla="*/ 2147483646 h 355"/>
              <a:gd name="T24" fmla="*/ 2147483646 w 328"/>
              <a:gd name="T25" fmla="*/ 2147483646 h 355"/>
              <a:gd name="T26" fmla="*/ 2147483646 w 328"/>
              <a:gd name="T27" fmla="*/ 0 h 355"/>
              <a:gd name="T28" fmla="*/ 2147483646 w 328"/>
              <a:gd name="T29" fmla="*/ 2147483646 h 355"/>
              <a:gd name="T30" fmla="*/ 2147483646 w 328"/>
              <a:gd name="T31" fmla="*/ 2147483646 h 355"/>
              <a:gd name="T32" fmla="*/ 2147483646 w 328"/>
              <a:gd name="T33" fmla="*/ 2147483646 h 355"/>
              <a:gd name="T34" fmla="*/ 2147483646 w 328"/>
              <a:gd name="T35" fmla="*/ 2147483646 h 355"/>
              <a:gd name="T36" fmla="*/ 2147483646 w 328"/>
              <a:gd name="T37" fmla="*/ 2147483646 h 355"/>
              <a:gd name="T38" fmla="*/ 2147483646 w 328"/>
              <a:gd name="T39" fmla="*/ 2147483646 h 355"/>
              <a:gd name="T40" fmla="*/ 2147483646 w 328"/>
              <a:gd name="T41" fmla="*/ 2147483646 h 355"/>
              <a:gd name="T42" fmla="*/ 2147483646 w 328"/>
              <a:gd name="T43" fmla="*/ 2147483646 h 355"/>
              <a:gd name="T44" fmla="*/ 2147483646 w 328"/>
              <a:gd name="T45" fmla="*/ 2147483646 h 355"/>
              <a:gd name="T46" fmla="*/ 2147483646 w 328"/>
              <a:gd name="T47" fmla="*/ 2147483646 h 355"/>
              <a:gd name="T48" fmla="*/ 2147483646 w 328"/>
              <a:gd name="T49" fmla="*/ 2147483646 h 355"/>
              <a:gd name="T50" fmla="*/ 2147483646 w 328"/>
              <a:gd name="T51" fmla="*/ 2147483646 h 355"/>
              <a:gd name="T52" fmla="*/ 2147483646 w 328"/>
              <a:gd name="T53" fmla="*/ 2147483646 h 355"/>
              <a:gd name="T54" fmla="*/ 2147483646 w 328"/>
              <a:gd name="T55" fmla="*/ 2147483646 h 355"/>
              <a:gd name="T56" fmla="*/ 2147483646 w 328"/>
              <a:gd name="T57" fmla="*/ 2147483646 h 355"/>
              <a:gd name="T58" fmla="*/ 2147483646 w 328"/>
              <a:gd name="T59" fmla="*/ 2147483646 h 355"/>
              <a:gd name="T60" fmla="*/ 2147483646 w 328"/>
              <a:gd name="T61" fmla="*/ 2147483646 h 355"/>
              <a:gd name="T62" fmla="*/ 2147483646 w 328"/>
              <a:gd name="T63" fmla="*/ 2147483646 h 355"/>
              <a:gd name="T64" fmla="*/ 2147483646 w 328"/>
              <a:gd name="T65" fmla="*/ 2147483646 h 355"/>
              <a:gd name="T66" fmla="*/ 2147483646 w 328"/>
              <a:gd name="T67" fmla="*/ 2147483646 h 355"/>
              <a:gd name="T68" fmla="*/ 2147483646 w 328"/>
              <a:gd name="T69" fmla="*/ 2147483646 h 355"/>
              <a:gd name="T70" fmla="*/ 2147483646 w 328"/>
              <a:gd name="T71" fmla="*/ 2147483646 h 355"/>
              <a:gd name="T72" fmla="*/ 2147483646 w 328"/>
              <a:gd name="T73" fmla="*/ 2147483646 h 355"/>
              <a:gd name="T74" fmla="*/ 2147483646 w 328"/>
              <a:gd name="T75" fmla="*/ 2147483646 h 355"/>
              <a:gd name="T76" fmla="*/ 2147483646 w 328"/>
              <a:gd name="T77" fmla="*/ 2147483646 h 355"/>
              <a:gd name="T78" fmla="*/ 2147483646 w 328"/>
              <a:gd name="T79" fmla="*/ 2147483646 h 35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28"/>
              <a:gd name="T121" fmla="*/ 0 h 355"/>
              <a:gd name="T122" fmla="*/ 328 w 328"/>
              <a:gd name="T123" fmla="*/ 355 h 35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28" h="355">
                <a:moveTo>
                  <a:pt x="104" y="350"/>
                </a:moveTo>
                <a:cubicBezTo>
                  <a:pt x="113" y="355"/>
                  <a:pt x="112" y="329"/>
                  <a:pt x="119" y="326"/>
                </a:cubicBezTo>
                <a:cubicBezTo>
                  <a:pt x="126" y="323"/>
                  <a:pt x="129" y="327"/>
                  <a:pt x="134" y="335"/>
                </a:cubicBezTo>
                <a:cubicBezTo>
                  <a:pt x="139" y="343"/>
                  <a:pt x="140" y="337"/>
                  <a:pt x="144" y="332"/>
                </a:cubicBezTo>
                <a:cubicBezTo>
                  <a:pt x="147" y="327"/>
                  <a:pt x="161" y="335"/>
                  <a:pt x="161" y="335"/>
                </a:cubicBezTo>
                <a:cubicBezTo>
                  <a:pt x="161" y="335"/>
                  <a:pt x="179" y="335"/>
                  <a:pt x="179" y="329"/>
                </a:cubicBezTo>
                <a:cubicBezTo>
                  <a:pt x="179" y="323"/>
                  <a:pt x="188" y="334"/>
                  <a:pt x="188" y="334"/>
                </a:cubicBezTo>
                <a:cubicBezTo>
                  <a:pt x="284" y="337"/>
                  <a:pt x="284" y="337"/>
                  <a:pt x="284" y="337"/>
                </a:cubicBezTo>
                <a:cubicBezTo>
                  <a:pt x="284" y="332"/>
                  <a:pt x="290" y="314"/>
                  <a:pt x="287" y="314"/>
                </a:cubicBezTo>
                <a:cubicBezTo>
                  <a:pt x="285" y="314"/>
                  <a:pt x="283" y="308"/>
                  <a:pt x="283" y="308"/>
                </a:cubicBezTo>
                <a:cubicBezTo>
                  <a:pt x="287" y="66"/>
                  <a:pt x="287" y="66"/>
                  <a:pt x="287" y="66"/>
                </a:cubicBezTo>
                <a:cubicBezTo>
                  <a:pt x="328" y="68"/>
                  <a:pt x="328" y="68"/>
                  <a:pt x="328" y="68"/>
                </a:cubicBezTo>
                <a:cubicBezTo>
                  <a:pt x="323" y="64"/>
                  <a:pt x="323" y="64"/>
                  <a:pt x="323" y="64"/>
                </a:cubicBezTo>
                <a:cubicBezTo>
                  <a:pt x="246" y="0"/>
                  <a:pt x="246" y="0"/>
                  <a:pt x="246" y="0"/>
                </a:cubicBezTo>
                <a:cubicBezTo>
                  <a:pt x="239" y="35"/>
                  <a:pt x="239" y="35"/>
                  <a:pt x="239" y="35"/>
                </a:cubicBezTo>
                <a:cubicBezTo>
                  <a:pt x="156" y="27"/>
                  <a:pt x="156" y="27"/>
                  <a:pt x="156" y="27"/>
                </a:cubicBezTo>
                <a:cubicBezTo>
                  <a:pt x="143" y="99"/>
                  <a:pt x="143" y="99"/>
                  <a:pt x="143" y="99"/>
                </a:cubicBezTo>
                <a:cubicBezTo>
                  <a:pt x="143" y="99"/>
                  <a:pt x="112" y="107"/>
                  <a:pt x="110" y="118"/>
                </a:cubicBezTo>
                <a:cubicBezTo>
                  <a:pt x="109" y="130"/>
                  <a:pt x="108" y="157"/>
                  <a:pt x="108" y="157"/>
                </a:cubicBezTo>
                <a:cubicBezTo>
                  <a:pt x="8" y="148"/>
                  <a:pt x="8" y="148"/>
                  <a:pt x="8" y="148"/>
                </a:cubicBezTo>
                <a:cubicBezTo>
                  <a:pt x="8" y="148"/>
                  <a:pt x="0" y="155"/>
                  <a:pt x="5" y="161"/>
                </a:cubicBezTo>
                <a:cubicBezTo>
                  <a:pt x="9" y="166"/>
                  <a:pt x="12" y="170"/>
                  <a:pt x="14" y="173"/>
                </a:cubicBezTo>
                <a:cubicBezTo>
                  <a:pt x="17" y="177"/>
                  <a:pt x="20" y="177"/>
                  <a:pt x="19" y="183"/>
                </a:cubicBezTo>
                <a:cubicBezTo>
                  <a:pt x="18" y="189"/>
                  <a:pt x="17" y="191"/>
                  <a:pt x="15" y="194"/>
                </a:cubicBezTo>
                <a:cubicBezTo>
                  <a:pt x="14" y="198"/>
                  <a:pt x="9" y="199"/>
                  <a:pt x="12" y="204"/>
                </a:cubicBezTo>
                <a:cubicBezTo>
                  <a:pt x="14" y="208"/>
                  <a:pt x="19" y="215"/>
                  <a:pt x="20" y="216"/>
                </a:cubicBezTo>
                <a:cubicBezTo>
                  <a:pt x="20" y="218"/>
                  <a:pt x="16" y="221"/>
                  <a:pt x="17" y="228"/>
                </a:cubicBezTo>
                <a:cubicBezTo>
                  <a:pt x="17" y="235"/>
                  <a:pt x="19" y="234"/>
                  <a:pt x="17" y="240"/>
                </a:cubicBezTo>
                <a:cubicBezTo>
                  <a:pt x="16" y="247"/>
                  <a:pt x="12" y="258"/>
                  <a:pt x="10" y="259"/>
                </a:cubicBezTo>
                <a:cubicBezTo>
                  <a:pt x="9" y="261"/>
                  <a:pt x="6" y="271"/>
                  <a:pt x="3" y="276"/>
                </a:cubicBezTo>
                <a:cubicBezTo>
                  <a:pt x="1" y="280"/>
                  <a:pt x="1" y="280"/>
                  <a:pt x="1" y="288"/>
                </a:cubicBezTo>
                <a:cubicBezTo>
                  <a:pt x="1" y="288"/>
                  <a:pt x="6" y="290"/>
                  <a:pt x="10" y="290"/>
                </a:cubicBezTo>
                <a:cubicBezTo>
                  <a:pt x="14" y="290"/>
                  <a:pt x="28" y="290"/>
                  <a:pt x="30" y="290"/>
                </a:cubicBezTo>
                <a:cubicBezTo>
                  <a:pt x="33" y="291"/>
                  <a:pt x="35" y="287"/>
                  <a:pt x="41" y="287"/>
                </a:cubicBezTo>
                <a:cubicBezTo>
                  <a:pt x="46" y="288"/>
                  <a:pt x="56" y="289"/>
                  <a:pt x="59" y="296"/>
                </a:cubicBezTo>
                <a:cubicBezTo>
                  <a:pt x="62" y="303"/>
                  <a:pt x="65" y="308"/>
                  <a:pt x="71" y="307"/>
                </a:cubicBezTo>
                <a:cubicBezTo>
                  <a:pt x="77" y="307"/>
                  <a:pt x="80" y="319"/>
                  <a:pt x="85" y="323"/>
                </a:cubicBezTo>
                <a:cubicBezTo>
                  <a:pt x="90" y="328"/>
                  <a:pt x="97" y="329"/>
                  <a:pt x="97" y="329"/>
                </a:cubicBezTo>
                <a:cubicBezTo>
                  <a:pt x="97" y="329"/>
                  <a:pt x="96" y="338"/>
                  <a:pt x="98" y="342"/>
                </a:cubicBezTo>
                <a:lnTo>
                  <a:pt x="104" y="3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27" name="Freeform 663"/>
          <p:cNvSpPr>
            <a:spLocks/>
          </p:cNvSpPr>
          <p:nvPr userDrawn="1"/>
        </p:nvSpPr>
        <p:spPr bwMode="auto">
          <a:xfrm>
            <a:off x="5041733" y="4567447"/>
            <a:ext cx="140708" cy="154108"/>
          </a:xfrm>
          <a:custGeom>
            <a:avLst/>
            <a:gdLst>
              <a:gd name="T0" fmla="*/ 2147483646 w 151"/>
              <a:gd name="T1" fmla="*/ 2147483646 h 166"/>
              <a:gd name="T2" fmla="*/ 2147483646 w 151"/>
              <a:gd name="T3" fmla="*/ 2147483646 h 166"/>
              <a:gd name="T4" fmla="*/ 2147483646 w 151"/>
              <a:gd name="T5" fmla="*/ 2147483646 h 166"/>
              <a:gd name="T6" fmla="*/ 2147483646 w 151"/>
              <a:gd name="T7" fmla="*/ 0 h 166"/>
              <a:gd name="T8" fmla="*/ 2147483646 w 151"/>
              <a:gd name="T9" fmla="*/ 2147483646 h 166"/>
              <a:gd name="T10" fmla="*/ 2147483646 w 151"/>
              <a:gd name="T11" fmla="*/ 2147483646 h 166"/>
              <a:gd name="T12" fmla="*/ 2147483646 w 151"/>
              <a:gd name="T13" fmla="*/ 2147483646 h 166"/>
              <a:gd name="T14" fmla="*/ 2147483646 w 151"/>
              <a:gd name="T15" fmla="*/ 2147483646 h 166"/>
              <a:gd name="T16" fmla="*/ 2147483646 w 151"/>
              <a:gd name="T17" fmla="*/ 2147483646 h 166"/>
              <a:gd name="T18" fmla="*/ 2147483646 w 151"/>
              <a:gd name="T19" fmla="*/ 2147483646 h 166"/>
              <a:gd name="T20" fmla="*/ 2147483646 w 151"/>
              <a:gd name="T21" fmla="*/ 2147483646 h 166"/>
              <a:gd name="T22" fmla="*/ 2147483646 w 151"/>
              <a:gd name="T23" fmla="*/ 2147483646 h 166"/>
              <a:gd name="T24" fmla="*/ 2147483646 w 151"/>
              <a:gd name="T25" fmla="*/ 2147483646 h 166"/>
              <a:gd name="T26" fmla="*/ 2147483646 w 151"/>
              <a:gd name="T27" fmla="*/ 2147483646 h 166"/>
              <a:gd name="T28" fmla="*/ 2147483646 w 151"/>
              <a:gd name="T29" fmla="*/ 2147483646 h 166"/>
              <a:gd name="T30" fmla="*/ 2147483646 w 151"/>
              <a:gd name="T31" fmla="*/ 2147483646 h 166"/>
              <a:gd name="T32" fmla="*/ 2147483646 w 151"/>
              <a:gd name="T33" fmla="*/ 2147483646 h 166"/>
              <a:gd name="T34" fmla="*/ 2147483646 w 151"/>
              <a:gd name="T35" fmla="*/ 2147483646 h 166"/>
              <a:gd name="T36" fmla="*/ 2147483646 w 151"/>
              <a:gd name="T37" fmla="*/ 2147483646 h 166"/>
              <a:gd name="T38" fmla="*/ 2147483646 w 151"/>
              <a:gd name="T39" fmla="*/ 2147483646 h 166"/>
              <a:gd name="T40" fmla="*/ 2147483646 w 151"/>
              <a:gd name="T41" fmla="*/ 2147483646 h 166"/>
              <a:gd name="T42" fmla="*/ 2147483646 w 151"/>
              <a:gd name="T43" fmla="*/ 2147483646 h 166"/>
              <a:gd name="T44" fmla="*/ 2147483646 w 151"/>
              <a:gd name="T45" fmla="*/ 2147483646 h 166"/>
              <a:gd name="T46" fmla="*/ 2147483646 w 151"/>
              <a:gd name="T47" fmla="*/ 2147483646 h 166"/>
              <a:gd name="T48" fmla="*/ 2147483646 w 151"/>
              <a:gd name="T49" fmla="*/ 2147483646 h 166"/>
              <a:gd name="T50" fmla="*/ 2147483646 w 151"/>
              <a:gd name="T51" fmla="*/ 2147483646 h 166"/>
              <a:gd name="T52" fmla="*/ 2147483646 w 151"/>
              <a:gd name="T53" fmla="*/ 2147483646 h 166"/>
              <a:gd name="T54" fmla="*/ 2147483646 w 151"/>
              <a:gd name="T55" fmla="*/ 2147483646 h 166"/>
              <a:gd name="T56" fmla="*/ 2147483646 w 151"/>
              <a:gd name="T57" fmla="*/ 2147483646 h 166"/>
              <a:gd name="T58" fmla="*/ 2147483646 w 151"/>
              <a:gd name="T59" fmla="*/ 2147483646 h 166"/>
              <a:gd name="T60" fmla="*/ 2147483646 w 151"/>
              <a:gd name="T61" fmla="*/ 2147483646 h 166"/>
              <a:gd name="T62" fmla="*/ 2147483646 w 151"/>
              <a:gd name="T63" fmla="*/ 2147483646 h 166"/>
              <a:gd name="T64" fmla="*/ 2147483646 w 151"/>
              <a:gd name="T65" fmla="*/ 2147483646 h 166"/>
              <a:gd name="T66" fmla="*/ 2147483646 w 151"/>
              <a:gd name="T67" fmla="*/ 2147483646 h 166"/>
              <a:gd name="T68" fmla="*/ 2147483646 w 151"/>
              <a:gd name="T69" fmla="*/ 2147483646 h 166"/>
              <a:gd name="T70" fmla="*/ 2147483646 w 151"/>
              <a:gd name="T71" fmla="*/ 2147483646 h 166"/>
              <a:gd name="T72" fmla="*/ 2147483646 w 151"/>
              <a:gd name="T73" fmla="*/ 2147483646 h 166"/>
              <a:gd name="T74" fmla="*/ 2147483646 w 151"/>
              <a:gd name="T75" fmla="*/ 2147483646 h 166"/>
              <a:gd name="T76" fmla="*/ 2147483646 w 151"/>
              <a:gd name="T77" fmla="*/ 2147483646 h 166"/>
              <a:gd name="T78" fmla="*/ 2147483646 w 151"/>
              <a:gd name="T79" fmla="*/ 2147483646 h 166"/>
              <a:gd name="T80" fmla="*/ 2147483646 w 151"/>
              <a:gd name="T81" fmla="*/ 2147483646 h 166"/>
              <a:gd name="T82" fmla="*/ 2147483646 w 151"/>
              <a:gd name="T83" fmla="*/ 2147483646 h 166"/>
              <a:gd name="T84" fmla="*/ 2147483646 w 151"/>
              <a:gd name="T85" fmla="*/ 2147483646 h 166"/>
              <a:gd name="T86" fmla="*/ 2147483646 w 151"/>
              <a:gd name="T87" fmla="*/ 2147483646 h 166"/>
              <a:gd name="T88" fmla="*/ 2147483646 w 151"/>
              <a:gd name="T89" fmla="*/ 2147483646 h 166"/>
              <a:gd name="T90" fmla="*/ 2147483646 w 151"/>
              <a:gd name="T91" fmla="*/ 2147483646 h 166"/>
              <a:gd name="T92" fmla="*/ 2147483646 w 151"/>
              <a:gd name="T93" fmla="*/ 2147483646 h 166"/>
              <a:gd name="T94" fmla="*/ 2147483646 w 151"/>
              <a:gd name="T95" fmla="*/ 2147483646 h 166"/>
              <a:gd name="T96" fmla="*/ 2147483646 w 151"/>
              <a:gd name="T97" fmla="*/ 2147483646 h 166"/>
              <a:gd name="T98" fmla="*/ 2147483646 w 151"/>
              <a:gd name="T99" fmla="*/ 2147483646 h 166"/>
              <a:gd name="T100" fmla="*/ 2147483646 w 151"/>
              <a:gd name="T101" fmla="*/ 2147483646 h 16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51"/>
              <a:gd name="T154" fmla="*/ 0 h 166"/>
              <a:gd name="T155" fmla="*/ 151 w 151"/>
              <a:gd name="T156" fmla="*/ 166 h 16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51" h="166">
                <a:moveTo>
                  <a:pt x="33" y="1"/>
                </a:moveTo>
                <a:cubicBezTo>
                  <a:pt x="33" y="1"/>
                  <a:pt x="38" y="3"/>
                  <a:pt x="42" y="3"/>
                </a:cubicBezTo>
                <a:cubicBezTo>
                  <a:pt x="46" y="3"/>
                  <a:pt x="60" y="3"/>
                  <a:pt x="62" y="3"/>
                </a:cubicBezTo>
                <a:cubicBezTo>
                  <a:pt x="65" y="4"/>
                  <a:pt x="67" y="0"/>
                  <a:pt x="73" y="0"/>
                </a:cubicBezTo>
                <a:cubicBezTo>
                  <a:pt x="78" y="1"/>
                  <a:pt x="88" y="2"/>
                  <a:pt x="91" y="9"/>
                </a:cubicBezTo>
                <a:cubicBezTo>
                  <a:pt x="94" y="16"/>
                  <a:pt x="97" y="21"/>
                  <a:pt x="103" y="20"/>
                </a:cubicBezTo>
                <a:cubicBezTo>
                  <a:pt x="109" y="20"/>
                  <a:pt x="112" y="32"/>
                  <a:pt x="117" y="36"/>
                </a:cubicBezTo>
                <a:cubicBezTo>
                  <a:pt x="122" y="41"/>
                  <a:pt x="129" y="42"/>
                  <a:pt x="129" y="42"/>
                </a:cubicBezTo>
                <a:cubicBezTo>
                  <a:pt x="129" y="42"/>
                  <a:pt x="128" y="51"/>
                  <a:pt x="130" y="55"/>
                </a:cubicBezTo>
                <a:cubicBezTo>
                  <a:pt x="136" y="63"/>
                  <a:pt x="136" y="63"/>
                  <a:pt x="136" y="63"/>
                </a:cubicBezTo>
                <a:cubicBezTo>
                  <a:pt x="135" y="71"/>
                  <a:pt x="135" y="71"/>
                  <a:pt x="135" y="71"/>
                </a:cubicBezTo>
                <a:cubicBezTo>
                  <a:pt x="135" y="82"/>
                  <a:pt x="135" y="82"/>
                  <a:pt x="135" y="82"/>
                </a:cubicBezTo>
                <a:cubicBezTo>
                  <a:pt x="135" y="82"/>
                  <a:pt x="134" y="86"/>
                  <a:pt x="132" y="92"/>
                </a:cubicBezTo>
                <a:cubicBezTo>
                  <a:pt x="130" y="99"/>
                  <a:pt x="135" y="97"/>
                  <a:pt x="140" y="94"/>
                </a:cubicBezTo>
                <a:cubicBezTo>
                  <a:pt x="144" y="92"/>
                  <a:pt x="151" y="114"/>
                  <a:pt x="151" y="119"/>
                </a:cubicBezTo>
                <a:cubicBezTo>
                  <a:pt x="151" y="123"/>
                  <a:pt x="151" y="126"/>
                  <a:pt x="146" y="128"/>
                </a:cubicBezTo>
                <a:cubicBezTo>
                  <a:pt x="146" y="128"/>
                  <a:pt x="137" y="132"/>
                  <a:pt x="134" y="132"/>
                </a:cubicBezTo>
                <a:cubicBezTo>
                  <a:pt x="130" y="131"/>
                  <a:pt x="122" y="136"/>
                  <a:pt x="118" y="132"/>
                </a:cubicBezTo>
                <a:cubicBezTo>
                  <a:pt x="114" y="128"/>
                  <a:pt x="109" y="122"/>
                  <a:pt x="102" y="121"/>
                </a:cubicBezTo>
                <a:cubicBezTo>
                  <a:pt x="95" y="120"/>
                  <a:pt x="88" y="117"/>
                  <a:pt x="87" y="120"/>
                </a:cubicBezTo>
                <a:cubicBezTo>
                  <a:pt x="87" y="123"/>
                  <a:pt x="91" y="128"/>
                  <a:pt x="90" y="130"/>
                </a:cubicBezTo>
                <a:cubicBezTo>
                  <a:pt x="89" y="131"/>
                  <a:pt x="84" y="133"/>
                  <a:pt x="83" y="132"/>
                </a:cubicBezTo>
                <a:cubicBezTo>
                  <a:pt x="82" y="131"/>
                  <a:pt x="78" y="128"/>
                  <a:pt x="80" y="131"/>
                </a:cubicBezTo>
                <a:cubicBezTo>
                  <a:pt x="81" y="135"/>
                  <a:pt x="87" y="139"/>
                  <a:pt x="88" y="141"/>
                </a:cubicBezTo>
                <a:cubicBezTo>
                  <a:pt x="88" y="142"/>
                  <a:pt x="87" y="146"/>
                  <a:pt x="83" y="148"/>
                </a:cubicBezTo>
                <a:cubicBezTo>
                  <a:pt x="80" y="150"/>
                  <a:pt x="77" y="148"/>
                  <a:pt x="74" y="149"/>
                </a:cubicBezTo>
                <a:cubicBezTo>
                  <a:pt x="70" y="150"/>
                  <a:pt x="58" y="148"/>
                  <a:pt x="51" y="166"/>
                </a:cubicBezTo>
                <a:cubicBezTo>
                  <a:pt x="51" y="166"/>
                  <a:pt x="46" y="157"/>
                  <a:pt x="44" y="155"/>
                </a:cubicBezTo>
                <a:cubicBezTo>
                  <a:pt x="41" y="153"/>
                  <a:pt x="42" y="147"/>
                  <a:pt x="44" y="145"/>
                </a:cubicBezTo>
                <a:cubicBezTo>
                  <a:pt x="46" y="143"/>
                  <a:pt x="48" y="141"/>
                  <a:pt x="51" y="139"/>
                </a:cubicBezTo>
                <a:cubicBezTo>
                  <a:pt x="54" y="137"/>
                  <a:pt x="52" y="134"/>
                  <a:pt x="45" y="136"/>
                </a:cubicBezTo>
                <a:cubicBezTo>
                  <a:pt x="39" y="139"/>
                  <a:pt x="32" y="139"/>
                  <a:pt x="29" y="141"/>
                </a:cubicBezTo>
                <a:cubicBezTo>
                  <a:pt x="27" y="143"/>
                  <a:pt x="22" y="140"/>
                  <a:pt x="20" y="136"/>
                </a:cubicBezTo>
                <a:cubicBezTo>
                  <a:pt x="18" y="132"/>
                  <a:pt x="18" y="128"/>
                  <a:pt x="14" y="127"/>
                </a:cubicBezTo>
                <a:cubicBezTo>
                  <a:pt x="11" y="125"/>
                  <a:pt x="10" y="124"/>
                  <a:pt x="9" y="122"/>
                </a:cubicBezTo>
                <a:cubicBezTo>
                  <a:pt x="9" y="120"/>
                  <a:pt x="15" y="122"/>
                  <a:pt x="16" y="123"/>
                </a:cubicBezTo>
                <a:cubicBezTo>
                  <a:pt x="18" y="123"/>
                  <a:pt x="25" y="125"/>
                  <a:pt x="33" y="124"/>
                </a:cubicBezTo>
                <a:cubicBezTo>
                  <a:pt x="41" y="122"/>
                  <a:pt x="42" y="120"/>
                  <a:pt x="45" y="117"/>
                </a:cubicBezTo>
                <a:cubicBezTo>
                  <a:pt x="45" y="117"/>
                  <a:pt x="25" y="127"/>
                  <a:pt x="12" y="116"/>
                </a:cubicBezTo>
                <a:cubicBezTo>
                  <a:pt x="0" y="106"/>
                  <a:pt x="9" y="108"/>
                  <a:pt x="10" y="103"/>
                </a:cubicBezTo>
                <a:cubicBezTo>
                  <a:pt x="11" y="98"/>
                  <a:pt x="14" y="88"/>
                  <a:pt x="15" y="84"/>
                </a:cubicBezTo>
                <a:cubicBezTo>
                  <a:pt x="17" y="81"/>
                  <a:pt x="19" y="77"/>
                  <a:pt x="21" y="73"/>
                </a:cubicBezTo>
                <a:cubicBezTo>
                  <a:pt x="22" y="70"/>
                  <a:pt x="18" y="77"/>
                  <a:pt x="15" y="78"/>
                </a:cubicBezTo>
                <a:cubicBezTo>
                  <a:pt x="13" y="79"/>
                  <a:pt x="11" y="70"/>
                  <a:pt x="11" y="69"/>
                </a:cubicBezTo>
                <a:cubicBezTo>
                  <a:pt x="10" y="67"/>
                  <a:pt x="8" y="62"/>
                  <a:pt x="6" y="61"/>
                </a:cubicBezTo>
                <a:cubicBezTo>
                  <a:pt x="5" y="60"/>
                  <a:pt x="2" y="61"/>
                  <a:pt x="2" y="57"/>
                </a:cubicBezTo>
                <a:cubicBezTo>
                  <a:pt x="2" y="52"/>
                  <a:pt x="4" y="47"/>
                  <a:pt x="7" y="46"/>
                </a:cubicBezTo>
                <a:cubicBezTo>
                  <a:pt x="10" y="45"/>
                  <a:pt x="10" y="40"/>
                  <a:pt x="13" y="40"/>
                </a:cubicBezTo>
                <a:cubicBezTo>
                  <a:pt x="16" y="39"/>
                  <a:pt x="18" y="32"/>
                  <a:pt x="21" y="29"/>
                </a:cubicBezTo>
                <a:cubicBezTo>
                  <a:pt x="24" y="25"/>
                  <a:pt x="25" y="21"/>
                  <a:pt x="26" y="18"/>
                </a:cubicBezTo>
                <a:cubicBezTo>
                  <a:pt x="28" y="15"/>
                  <a:pt x="33" y="1"/>
                  <a:pt x="33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28" name="Freeform 664"/>
          <p:cNvSpPr>
            <a:spLocks/>
          </p:cNvSpPr>
          <p:nvPr userDrawn="1"/>
        </p:nvSpPr>
        <p:spPr bwMode="auto">
          <a:xfrm>
            <a:off x="5088634" y="4676329"/>
            <a:ext cx="182585" cy="152433"/>
          </a:xfrm>
          <a:custGeom>
            <a:avLst/>
            <a:gdLst>
              <a:gd name="T0" fmla="*/ 0 w 196"/>
              <a:gd name="T1" fmla="*/ 2147483646 h 163"/>
              <a:gd name="T2" fmla="*/ 2147483646 w 196"/>
              <a:gd name="T3" fmla="*/ 2147483646 h 163"/>
              <a:gd name="T4" fmla="*/ 2147483646 w 196"/>
              <a:gd name="T5" fmla="*/ 2147483646 h 163"/>
              <a:gd name="T6" fmla="*/ 2147483646 w 196"/>
              <a:gd name="T7" fmla="*/ 2147483646 h 163"/>
              <a:gd name="T8" fmla="*/ 2147483646 w 196"/>
              <a:gd name="T9" fmla="*/ 2147483646 h 163"/>
              <a:gd name="T10" fmla="*/ 2147483646 w 196"/>
              <a:gd name="T11" fmla="*/ 2147483646 h 163"/>
              <a:gd name="T12" fmla="*/ 2147483646 w 196"/>
              <a:gd name="T13" fmla="*/ 2147483646 h 163"/>
              <a:gd name="T14" fmla="*/ 2147483646 w 196"/>
              <a:gd name="T15" fmla="*/ 2147483646 h 163"/>
              <a:gd name="T16" fmla="*/ 2147483646 w 196"/>
              <a:gd name="T17" fmla="*/ 2147483646 h 163"/>
              <a:gd name="T18" fmla="*/ 2147483646 w 196"/>
              <a:gd name="T19" fmla="*/ 2147483646 h 163"/>
              <a:gd name="T20" fmla="*/ 2147483646 w 196"/>
              <a:gd name="T21" fmla="*/ 2147483646 h 163"/>
              <a:gd name="T22" fmla="*/ 2147483646 w 196"/>
              <a:gd name="T23" fmla="*/ 2147483646 h 163"/>
              <a:gd name="T24" fmla="*/ 2147483646 w 196"/>
              <a:gd name="T25" fmla="*/ 2147483646 h 163"/>
              <a:gd name="T26" fmla="*/ 2147483646 w 196"/>
              <a:gd name="T27" fmla="*/ 2147483646 h 163"/>
              <a:gd name="T28" fmla="*/ 2147483646 w 196"/>
              <a:gd name="T29" fmla="*/ 2147483646 h 163"/>
              <a:gd name="T30" fmla="*/ 2147483646 w 196"/>
              <a:gd name="T31" fmla="*/ 2147483646 h 163"/>
              <a:gd name="T32" fmla="*/ 2147483646 w 196"/>
              <a:gd name="T33" fmla="*/ 2147483646 h 163"/>
              <a:gd name="T34" fmla="*/ 2147483646 w 196"/>
              <a:gd name="T35" fmla="*/ 2147483646 h 163"/>
              <a:gd name="T36" fmla="*/ 2147483646 w 196"/>
              <a:gd name="T37" fmla="*/ 2147483646 h 163"/>
              <a:gd name="T38" fmla="*/ 2147483646 w 196"/>
              <a:gd name="T39" fmla="*/ 2147483646 h 163"/>
              <a:gd name="T40" fmla="*/ 2147483646 w 196"/>
              <a:gd name="T41" fmla="*/ 2147483646 h 163"/>
              <a:gd name="T42" fmla="*/ 2147483646 w 196"/>
              <a:gd name="T43" fmla="*/ 2147483646 h 163"/>
              <a:gd name="T44" fmla="*/ 2147483646 w 196"/>
              <a:gd name="T45" fmla="*/ 2147483646 h 163"/>
              <a:gd name="T46" fmla="*/ 2147483646 w 196"/>
              <a:gd name="T47" fmla="*/ 2147483646 h 163"/>
              <a:gd name="T48" fmla="*/ 2147483646 w 196"/>
              <a:gd name="T49" fmla="*/ 2147483646 h 163"/>
              <a:gd name="T50" fmla="*/ 2147483646 w 196"/>
              <a:gd name="T51" fmla="*/ 2147483646 h 163"/>
              <a:gd name="T52" fmla="*/ 2147483646 w 196"/>
              <a:gd name="T53" fmla="*/ 2147483646 h 163"/>
              <a:gd name="T54" fmla="*/ 2147483646 w 196"/>
              <a:gd name="T55" fmla="*/ 2147483646 h 163"/>
              <a:gd name="T56" fmla="*/ 2147483646 w 196"/>
              <a:gd name="T57" fmla="*/ 2147483646 h 163"/>
              <a:gd name="T58" fmla="*/ 2147483646 w 196"/>
              <a:gd name="T59" fmla="*/ 2147483646 h 163"/>
              <a:gd name="T60" fmla="*/ 2147483646 w 196"/>
              <a:gd name="T61" fmla="*/ 2147483646 h 163"/>
              <a:gd name="T62" fmla="*/ 2147483646 w 196"/>
              <a:gd name="T63" fmla="*/ 2147483646 h 163"/>
              <a:gd name="T64" fmla="*/ 2147483646 w 196"/>
              <a:gd name="T65" fmla="*/ 2147483646 h 163"/>
              <a:gd name="T66" fmla="*/ 2147483646 w 196"/>
              <a:gd name="T67" fmla="*/ 2147483646 h 163"/>
              <a:gd name="T68" fmla="*/ 2147483646 w 196"/>
              <a:gd name="T69" fmla="*/ 2147483646 h 163"/>
              <a:gd name="T70" fmla="*/ 2147483646 w 196"/>
              <a:gd name="T71" fmla="*/ 2147483646 h 163"/>
              <a:gd name="T72" fmla="*/ 2147483646 w 196"/>
              <a:gd name="T73" fmla="*/ 2147483646 h 163"/>
              <a:gd name="T74" fmla="*/ 2147483646 w 196"/>
              <a:gd name="T75" fmla="*/ 2147483646 h 163"/>
              <a:gd name="T76" fmla="*/ 2147483646 w 196"/>
              <a:gd name="T77" fmla="*/ 2147483646 h 163"/>
              <a:gd name="T78" fmla="*/ 2147483646 w 196"/>
              <a:gd name="T79" fmla="*/ 2147483646 h 163"/>
              <a:gd name="T80" fmla="*/ 2147483646 w 196"/>
              <a:gd name="T81" fmla="*/ 2147483646 h 163"/>
              <a:gd name="T82" fmla="*/ 2147483646 w 196"/>
              <a:gd name="T83" fmla="*/ 2147483646 h 163"/>
              <a:gd name="T84" fmla="*/ 2147483646 w 196"/>
              <a:gd name="T85" fmla="*/ 2147483646 h 163"/>
              <a:gd name="T86" fmla="*/ 2147483646 w 196"/>
              <a:gd name="T87" fmla="*/ 2147483646 h 163"/>
              <a:gd name="T88" fmla="*/ 2147483646 w 196"/>
              <a:gd name="T89" fmla="*/ 2147483646 h 163"/>
              <a:gd name="T90" fmla="*/ 2147483646 w 196"/>
              <a:gd name="T91" fmla="*/ 2147483646 h 163"/>
              <a:gd name="T92" fmla="*/ 2147483646 w 196"/>
              <a:gd name="T93" fmla="*/ 2147483646 h 163"/>
              <a:gd name="T94" fmla="*/ 2147483646 w 196"/>
              <a:gd name="T95" fmla="*/ 2147483646 h 163"/>
              <a:gd name="T96" fmla="*/ 2147483646 w 196"/>
              <a:gd name="T97" fmla="*/ 2147483646 h 163"/>
              <a:gd name="T98" fmla="*/ 2147483646 w 196"/>
              <a:gd name="T99" fmla="*/ 2147483646 h 163"/>
              <a:gd name="T100" fmla="*/ 2147483646 w 196"/>
              <a:gd name="T101" fmla="*/ 2147483646 h 163"/>
              <a:gd name="T102" fmla="*/ 2147483646 w 196"/>
              <a:gd name="T103" fmla="*/ 2147483646 h 163"/>
              <a:gd name="T104" fmla="*/ 0 w 196"/>
              <a:gd name="T105" fmla="*/ 2147483646 h 163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96"/>
              <a:gd name="T160" fmla="*/ 0 h 163"/>
              <a:gd name="T161" fmla="*/ 196 w 196"/>
              <a:gd name="T162" fmla="*/ 163 h 163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96" h="163">
                <a:moveTo>
                  <a:pt x="0" y="49"/>
                </a:moveTo>
                <a:cubicBezTo>
                  <a:pt x="7" y="31"/>
                  <a:pt x="19" y="33"/>
                  <a:pt x="23" y="32"/>
                </a:cubicBezTo>
                <a:cubicBezTo>
                  <a:pt x="26" y="31"/>
                  <a:pt x="29" y="33"/>
                  <a:pt x="32" y="31"/>
                </a:cubicBezTo>
                <a:cubicBezTo>
                  <a:pt x="36" y="29"/>
                  <a:pt x="37" y="25"/>
                  <a:pt x="37" y="24"/>
                </a:cubicBezTo>
                <a:cubicBezTo>
                  <a:pt x="36" y="22"/>
                  <a:pt x="30" y="18"/>
                  <a:pt x="29" y="14"/>
                </a:cubicBezTo>
                <a:cubicBezTo>
                  <a:pt x="27" y="11"/>
                  <a:pt x="31" y="14"/>
                  <a:pt x="32" y="15"/>
                </a:cubicBezTo>
                <a:cubicBezTo>
                  <a:pt x="33" y="16"/>
                  <a:pt x="38" y="14"/>
                  <a:pt x="39" y="13"/>
                </a:cubicBezTo>
                <a:cubicBezTo>
                  <a:pt x="40" y="11"/>
                  <a:pt x="36" y="6"/>
                  <a:pt x="36" y="3"/>
                </a:cubicBezTo>
                <a:cubicBezTo>
                  <a:pt x="37" y="0"/>
                  <a:pt x="44" y="3"/>
                  <a:pt x="51" y="4"/>
                </a:cubicBezTo>
                <a:cubicBezTo>
                  <a:pt x="58" y="5"/>
                  <a:pt x="63" y="11"/>
                  <a:pt x="67" y="15"/>
                </a:cubicBezTo>
                <a:cubicBezTo>
                  <a:pt x="71" y="19"/>
                  <a:pt x="79" y="14"/>
                  <a:pt x="83" y="15"/>
                </a:cubicBezTo>
                <a:cubicBezTo>
                  <a:pt x="86" y="15"/>
                  <a:pt x="95" y="11"/>
                  <a:pt x="95" y="11"/>
                </a:cubicBezTo>
                <a:cubicBezTo>
                  <a:pt x="91" y="14"/>
                  <a:pt x="92" y="16"/>
                  <a:pt x="94" y="24"/>
                </a:cubicBezTo>
                <a:cubicBezTo>
                  <a:pt x="96" y="31"/>
                  <a:pt x="101" y="25"/>
                  <a:pt x="106" y="21"/>
                </a:cubicBezTo>
                <a:cubicBezTo>
                  <a:pt x="112" y="18"/>
                  <a:pt x="113" y="30"/>
                  <a:pt x="116" y="29"/>
                </a:cubicBezTo>
                <a:cubicBezTo>
                  <a:pt x="119" y="28"/>
                  <a:pt x="120" y="22"/>
                  <a:pt x="126" y="17"/>
                </a:cubicBezTo>
                <a:cubicBezTo>
                  <a:pt x="131" y="11"/>
                  <a:pt x="133" y="28"/>
                  <a:pt x="136" y="29"/>
                </a:cubicBezTo>
                <a:cubicBezTo>
                  <a:pt x="139" y="30"/>
                  <a:pt x="144" y="26"/>
                  <a:pt x="142" y="17"/>
                </a:cubicBezTo>
                <a:cubicBezTo>
                  <a:pt x="141" y="8"/>
                  <a:pt x="152" y="14"/>
                  <a:pt x="152" y="14"/>
                </a:cubicBezTo>
                <a:cubicBezTo>
                  <a:pt x="161" y="25"/>
                  <a:pt x="161" y="25"/>
                  <a:pt x="161" y="25"/>
                </a:cubicBezTo>
                <a:cubicBezTo>
                  <a:pt x="161" y="37"/>
                  <a:pt x="161" y="37"/>
                  <a:pt x="161" y="37"/>
                </a:cubicBezTo>
                <a:cubicBezTo>
                  <a:pt x="161" y="37"/>
                  <a:pt x="169" y="42"/>
                  <a:pt x="171" y="38"/>
                </a:cubicBezTo>
                <a:cubicBezTo>
                  <a:pt x="173" y="33"/>
                  <a:pt x="176" y="50"/>
                  <a:pt x="176" y="50"/>
                </a:cubicBezTo>
                <a:cubicBezTo>
                  <a:pt x="176" y="50"/>
                  <a:pt x="168" y="51"/>
                  <a:pt x="168" y="54"/>
                </a:cubicBezTo>
                <a:cubicBezTo>
                  <a:pt x="168" y="58"/>
                  <a:pt x="172" y="59"/>
                  <a:pt x="180" y="65"/>
                </a:cubicBezTo>
                <a:cubicBezTo>
                  <a:pt x="187" y="72"/>
                  <a:pt x="173" y="70"/>
                  <a:pt x="173" y="70"/>
                </a:cubicBezTo>
                <a:cubicBezTo>
                  <a:pt x="182" y="82"/>
                  <a:pt x="182" y="82"/>
                  <a:pt x="182" y="82"/>
                </a:cubicBezTo>
                <a:cubicBezTo>
                  <a:pt x="182" y="82"/>
                  <a:pt x="180" y="85"/>
                  <a:pt x="181" y="89"/>
                </a:cubicBezTo>
                <a:cubicBezTo>
                  <a:pt x="182" y="94"/>
                  <a:pt x="178" y="102"/>
                  <a:pt x="183" y="105"/>
                </a:cubicBezTo>
                <a:cubicBezTo>
                  <a:pt x="188" y="109"/>
                  <a:pt x="196" y="115"/>
                  <a:pt x="190" y="118"/>
                </a:cubicBezTo>
                <a:cubicBezTo>
                  <a:pt x="185" y="120"/>
                  <a:pt x="179" y="118"/>
                  <a:pt x="183" y="122"/>
                </a:cubicBezTo>
                <a:cubicBezTo>
                  <a:pt x="188" y="125"/>
                  <a:pt x="193" y="124"/>
                  <a:pt x="194" y="128"/>
                </a:cubicBezTo>
                <a:cubicBezTo>
                  <a:pt x="195" y="132"/>
                  <a:pt x="192" y="139"/>
                  <a:pt x="190" y="139"/>
                </a:cubicBezTo>
                <a:cubicBezTo>
                  <a:pt x="187" y="138"/>
                  <a:pt x="181" y="135"/>
                  <a:pt x="181" y="135"/>
                </a:cubicBezTo>
                <a:cubicBezTo>
                  <a:pt x="181" y="135"/>
                  <a:pt x="179" y="131"/>
                  <a:pt x="178" y="133"/>
                </a:cubicBezTo>
                <a:cubicBezTo>
                  <a:pt x="177" y="135"/>
                  <a:pt x="173" y="136"/>
                  <a:pt x="175" y="138"/>
                </a:cubicBezTo>
                <a:cubicBezTo>
                  <a:pt x="178" y="141"/>
                  <a:pt x="179" y="149"/>
                  <a:pt x="178" y="151"/>
                </a:cubicBezTo>
                <a:cubicBezTo>
                  <a:pt x="177" y="153"/>
                  <a:pt x="167" y="148"/>
                  <a:pt x="164" y="153"/>
                </a:cubicBezTo>
                <a:cubicBezTo>
                  <a:pt x="161" y="159"/>
                  <a:pt x="157" y="162"/>
                  <a:pt x="156" y="162"/>
                </a:cubicBezTo>
                <a:cubicBezTo>
                  <a:pt x="155" y="162"/>
                  <a:pt x="144" y="163"/>
                  <a:pt x="143" y="158"/>
                </a:cubicBezTo>
                <a:cubicBezTo>
                  <a:pt x="143" y="153"/>
                  <a:pt x="143" y="147"/>
                  <a:pt x="142" y="143"/>
                </a:cubicBezTo>
                <a:cubicBezTo>
                  <a:pt x="141" y="139"/>
                  <a:pt x="142" y="136"/>
                  <a:pt x="138" y="133"/>
                </a:cubicBezTo>
                <a:cubicBezTo>
                  <a:pt x="134" y="131"/>
                  <a:pt x="131" y="125"/>
                  <a:pt x="129" y="128"/>
                </a:cubicBezTo>
                <a:cubicBezTo>
                  <a:pt x="126" y="132"/>
                  <a:pt x="123" y="126"/>
                  <a:pt x="121" y="130"/>
                </a:cubicBezTo>
                <a:cubicBezTo>
                  <a:pt x="119" y="133"/>
                  <a:pt x="116" y="141"/>
                  <a:pt x="113" y="134"/>
                </a:cubicBezTo>
                <a:cubicBezTo>
                  <a:pt x="110" y="127"/>
                  <a:pt x="118" y="126"/>
                  <a:pt x="115" y="115"/>
                </a:cubicBezTo>
                <a:cubicBezTo>
                  <a:pt x="111" y="104"/>
                  <a:pt x="106" y="82"/>
                  <a:pt x="80" y="84"/>
                </a:cubicBezTo>
                <a:cubicBezTo>
                  <a:pt x="65" y="86"/>
                  <a:pt x="64" y="80"/>
                  <a:pt x="62" y="90"/>
                </a:cubicBezTo>
                <a:cubicBezTo>
                  <a:pt x="59" y="101"/>
                  <a:pt x="49" y="108"/>
                  <a:pt x="44" y="110"/>
                </a:cubicBezTo>
                <a:cubicBezTo>
                  <a:pt x="44" y="110"/>
                  <a:pt x="38" y="100"/>
                  <a:pt x="35" y="94"/>
                </a:cubicBezTo>
                <a:cubicBezTo>
                  <a:pt x="32" y="88"/>
                  <a:pt x="32" y="81"/>
                  <a:pt x="27" y="80"/>
                </a:cubicBezTo>
                <a:cubicBezTo>
                  <a:pt x="22" y="79"/>
                  <a:pt x="15" y="77"/>
                  <a:pt x="12" y="70"/>
                </a:cubicBezTo>
                <a:cubicBezTo>
                  <a:pt x="9" y="63"/>
                  <a:pt x="0" y="49"/>
                  <a:pt x="0" y="4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29" name="Freeform 665"/>
          <p:cNvSpPr>
            <a:spLocks/>
          </p:cNvSpPr>
          <p:nvPr userDrawn="1"/>
        </p:nvSpPr>
        <p:spPr bwMode="auto">
          <a:xfrm>
            <a:off x="5130513" y="4751708"/>
            <a:ext cx="68679" cy="87105"/>
          </a:xfrm>
          <a:custGeom>
            <a:avLst/>
            <a:gdLst>
              <a:gd name="T0" fmla="*/ 0 w 74"/>
              <a:gd name="T1" fmla="*/ 2147483646 h 94"/>
              <a:gd name="T2" fmla="*/ 2147483646 w 74"/>
              <a:gd name="T3" fmla="*/ 2147483646 h 94"/>
              <a:gd name="T4" fmla="*/ 2147483646 w 74"/>
              <a:gd name="T5" fmla="*/ 2147483646 h 94"/>
              <a:gd name="T6" fmla="*/ 2147483646 w 74"/>
              <a:gd name="T7" fmla="*/ 2147483646 h 94"/>
              <a:gd name="T8" fmla="*/ 2147483646 w 74"/>
              <a:gd name="T9" fmla="*/ 2147483646 h 94"/>
              <a:gd name="T10" fmla="*/ 2147483646 w 74"/>
              <a:gd name="T11" fmla="*/ 2147483646 h 94"/>
              <a:gd name="T12" fmla="*/ 2147483646 w 74"/>
              <a:gd name="T13" fmla="*/ 2147483646 h 94"/>
              <a:gd name="T14" fmla="*/ 2147483646 w 74"/>
              <a:gd name="T15" fmla="*/ 2147483646 h 94"/>
              <a:gd name="T16" fmla="*/ 2147483646 w 74"/>
              <a:gd name="T17" fmla="*/ 2147483646 h 94"/>
              <a:gd name="T18" fmla="*/ 2147483646 w 74"/>
              <a:gd name="T19" fmla="*/ 2147483646 h 94"/>
              <a:gd name="T20" fmla="*/ 0 w 74"/>
              <a:gd name="T21" fmla="*/ 2147483646 h 94"/>
              <a:gd name="T22" fmla="*/ 0 w 74"/>
              <a:gd name="T23" fmla="*/ 2147483646 h 9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4"/>
              <a:gd name="T37" fmla="*/ 0 h 94"/>
              <a:gd name="T38" fmla="*/ 74 w 74"/>
              <a:gd name="T39" fmla="*/ 94 h 9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4" h="94">
                <a:moveTo>
                  <a:pt x="0" y="30"/>
                </a:moveTo>
                <a:cubicBezTo>
                  <a:pt x="5" y="28"/>
                  <a:pt x="15" y="21"/>
                  <a:pt x="18" y="10"/>
                </a:cubicBezTo>
                <a:cubicBezTo>
                  <a:pt x="20" y="0"/>
                  <a:pt x="21" y="6"/>
                  <a:pt x="36" y="4"/>
                </a:cubicBezTo>
                <a:cubicBezTo>
                  <a:pt x="62" y="2"/>
                  <a:pt x="67" y="24"/>
                  <a:pt x="71" y="35"/>
                </a:cubicBezTo>
                <a:cubicBezTo>
                  <a:pt x="74" y="46"/>
                  <a:pt x="66" y="47"/>
                  <a:pt x="69" y="54"/>
                </a:cubicBezTo>
                <a:cubicBezTo>
                  <a:pt x="69" y="54"/>
                  <a:pt x="71" y="58"/>
                  <a:pt x="69" y="60"/>
                </a:cubicBezTo>
                <a:cubicBezTo>
                  <a:pt x="68" y="62"/>
                  <a:pt x="67" y="69"/>
                  <a:pt x="64" y="73"/>
                </a:cubicBezTo>
                <a:cubicBezTo>
                  <a:pt x="61" y="77"/>
                  <a:pt x="45" y="85"/>
                  <a:pt x="42" y="94"/>
                </a:cubicBezTo>
                <a:cubicBezTo>
                  <a:pt x="42" y="94"/>
                  <a:pt x="33" y="87"/>
                  <a:pt x="24" y="82"/>
                </a:cubicBezTo>
                <a:cubicBezTo>
                  <a:pt x="15" y="78"/>
                  <a:pt x="10" y="76"/>
                  <a:pt x="6" y="67"/>
                </a:cubicBezTo>
                <a:cubicBezTo>
                  <a:pt x="1" y="57"/>
                  <a:pt x="1" y="55"/>
                  <a:pt x="0" y="49"/>
                </a:cubicBezTo>
                <a:cubicBezTo>
                  <a:pt x="0" y="42"/>
                  <a:pt x="0" y="30"/>
                  <a:pt x="0" y="3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30" name="Freeform 666"/>
          <p:cNvSpPr>
            <a:spLocks/>
          </p:cNvSpPr>
          <p:nvPr userDrawn="1"/>
        </p:nvSpPr>
        <p:spPr bwMode="auto">
          <a:xfrm>
            <a:off x="5169039" y="4793585"/>
            <a:ext cx="102181" cy="117256"/>
          </a:xfrm>
          <a:custGeom>
            <a:avLst/>
            <a:gdLst>
              <a:gd name="T0" fmla="*/ 0 w 110"/>
              <a:gd name="T1" fmla="*/ 2147483646 h 127"/>
              <a:gd name="T2" fmla="*/ 2147483646 w 110"/>
              <a:gd name="T3" fmla="*/ 2147483646 h 127"/>
              <a:gd name="T4" fmla="*/ 2147483646 w 110"/>
              <a:gd name="T5" fmla="*/ 2147483646 h 127"/>
              <a:gd name="T6" fmla="*/ 2147483646 w 110"/>
              <a:gd name="T7" fmla="*/ 2147483646 h 127"/>
              <a:gd name="T8" fmla="*/ 2147483646 w 110"/>
              <a:gd name="T9" fmla="*/ 2147483646 h 127"/>
              <a:gd name="T10" fmla="*/ 2147483646 w 110"/>
              <a:gd name="T11" fmla="*/ 2147483646 h 127"/>
              <a:gd name="T12" fmla="*/ 2147483646 w 110"/>
              <a:gd name="T13" fmla="*/ 2147483646 h 127"/>
              <a:gd name="T14" fmla="*/ 2147483646 w 110"/>
              <a:gd name="T15" fmla="*/ 2147483646 h 127"/>
              <a:gd name="T16" fmla="*/ 2147483646 w 110"/>
              <a:gd name="T17" fmla="*/ 2147483646 h 127"/>
              <a:gd name="T18" fmla="*/ 2147483646 w 110"/>
              <a:gd name="T19" fmla="*/ 2147483646 h 127"/>
              <a:gd name="T20" fmla="*/ 2147483646 w 110"/>
              <a:gd name="T21" fmla="*/ 2147483646 h 127"/>
              <a:gd name="T22" fmla="*/ 2147483646 w 110"/>
              <a:gd name="T23" fmla="*/ 2147483646 h 127"/>
              <a:gd name="T24" fmla="*/ 2147483646 w 110"/>
              <a:gd name="T25" fmla="*/ 2147483646 h 127"/>
              <a:gd name="T26" fmla="*/ 2147483646 w 110"/>
              <a:gd name="T27" fmla="*/ 2147483646 h 127"/>
              <a:gd name="T28" fmla="*/ 2147483646 w 110"/>
              <a:gd name="T29" fmla="*/ 2147483646 h 127"/>
              <a:gd name="T30" fmla="*/ 2147483646 w 110"/>
              <a:gd name="T31" fmla="*/ 2147483646 h 127"/>
              <a:gd name="T32" fmla="*/ 2147483646 w 110"/>
              <a:gd name="T33" fmla="*/ 2147483646 h 127"/>
              <a:gd name="T34" fmla="*/ 2147483646 w 110"/>
              <a:gd name="T35" fmla="*/ 2147483646 h 127"/>
              <a:gd name="T36" fmla="*/ 2147483646 w 110"/>
              <a:gd name="T37" fmla="*/ 2147483646 h 127"/>
              <a:gd name="T38" fmla="*/ 2147483646 w 110"/>
              <a:gd name="T39" fmla="*/ 2147483646 h 127"/>
              <a:gd name="T40" fmla="*/ 2147483646 w 110"/>
              <a:gd name="T41" fmla="*/ 2147483646 h 127"/>
              <a:gd name="T42" fmla="*/ 2147483646 w 110"/>
              <a:gd name="T43" fmla="*/ 2147483646 h 127"/>
              <a:gd name="T44" fmla="*/ 2147483646 w 110"/>
              <a:gd name="T45" fmla="*/ 2147483646 h 127"/>
              <a:gd name="T46" fmla="*/ 0 w 110"/>
              <a:gd name="T47" fmla="*/ 2147483646 h 127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10"/>
              <a:gd name="T73" fmla="*/ 0 h 127"/>
              <a:gd name="T74" fmla="*/ 110 w 110"/>
              <a:gd name="T75" fmla="*/ 127 h 127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10" h="127">
                <a:moveTo>
                  <a:pt x="0" y="49"/>
                </a:moveTo>
                <a:cubicBezTo>
                  <a:pt x="3" y="40"/>
                  <a:pt x="19" y="32"/>
                  <a:pt x="22" y="28"/>
                </a:cubicBezTo>
                <a:cubicBezTo>
                  <a:pt x="25" y="24"/>
                  <a:pt x="26" y="17"/>
                  <a:pt x="27" y="15"/>
                </a:cubicBezTo>
                <a:cubicBezTo>
                  <a:pt x="29" y="13"/>
                  <a:pt x="27" y="9"/>
                  <a:pt x="27" y="9"/>
                </a:cubicBezTo>
                <a:cubicBezTo>
                  <a:pt x="30" y="16"/>
                  <a:pt x="33" y="8"/>
                  <a:pt x="35" y="5"/>
                </a:cubicBezTo>
                <a:cubicBezTo>
                  <a:pt x="37" y="1"/>
                  <a:pt x="40" y="7"/>
                  <a:pt x="43" y="3"/>
                </a:cubicBezTo>
                <a:cubicBezTo>
                  <a:pt x="45" y="0"/>
                  <a:pt x="48" y="6"/>
                  <a:pt x="52" y="8"/>
                </a:cubicBezTo>
                <a:cubicBezTo>
                  <a:pt x="56" y="11"/>
                  <a:pt x="55" y="14"/>
                  <a:pt x="56" y="18"/>
                </a:cubicBezTo>
                <a:cubicBezTo>
                  <a:pt x="57" y="22"/>
                  <a:pt x="57" y="28"/>
                  <a:pt x="57" y="33"/>
                </a:cubicBezTo>
                <a:cubicBezTo>
                  <a:pt x="58" y="38"/>
                  <a:pt x="69" y="37"/>
                  <a:pt x="70" y="37"/>
                </a:cubicBezTo>
                <a:cubicBezTo>
                  <a:pt x="71" y="37"/>
                  <a:pt x="75" y="34"/>
                  <a:pt x="78" y="28"/>
                </a:cubicBezTo>
                <a:cubicBezTo>
                  <a:pt x="78" y="28"/>
                  <a:pt x="84" y="34"/>
                  <a:pt x="86" y="40"/>
                </a:cubicBezTo>
                <a:cubicBezTo>
                  <a:pt x="88" y="45"/>
                  <a:pt x="90" y="53"/>
                  <a:pt x="86" y="56"/>
                </a:cubicBezTo>
                <a:cubicBezTo>
                  <a:pt x="81" y="59"/>
                  <a:pt x="69" y="55"/>
                  <a:pt x="78" y="62"/>
                </a:cubicBezTo>
                <a:cubicBezTo>
                  <a:pt x="88" y="69"/>
                  <a:pt x="92" y="67"/>
                  <a:pt x="97" y="70"/>
                </a:cubicBezTo>
                <a:cubicBezTo>
                  <a:pt x="101" y="74"/>
                  <a:pt x="103" y="73"/>
                  <a:pt x="102" y="79"/>
                </a:cubicBezTo>
                <a:cubicBezTo>
                  <a:pt x="101" y="84"/>
                  <a:pt x="97" y="85"/>
                  <a:pt x="102" y="86"/>
                </a:cubicBezTo>
                <a:cubicBezTo>
                  <a:pt x="106" y="87"/>
                  <a:pt x="110" y="82"/>
                  <a:pt x="110" y="88"/>
                </a:cubicBezTo>
                <a:cubicBezTo>
                  <a:pt x="110" y="94"/>
                  <a:pt x="107" y="97"/>
                  <a:pt x="104" y="102"/>
                </a:cubicBezTo>
                <a:cubicBezTo>
                  <a:pt x="102" y="107"/>
                  <a:pt x="104" y="127"/>
                  <a:pt x="104" y="127"/>
                </a:cubicBezTo>
                <a:cubicBezTo>
                  <a:pt x="104" y="127"/>
                  <a:pt x="83" y="123"/>
                  <a:pt x="75" y="115"/>
                </a:cubicBezTo>
                <a:cubicBezTo>
                  <a:pt x="68" y="107"/>
                  <a:pt x="56" y="95"/>
                  <a:pt x="51" y="93"/>
                </a:cubicBezTo>
                <a:cubicBezTo>
                  <a:pt x="46" y="91"/>
                  <a:pt x="39" y="74"/>
                  <a:pt x="31" y="71"/>
                </a:cubicBezTo>
                <a:cubicBezTo>
                  <a:pt x="23" y="67"/>
                  <a:pt x="10" y="61"/>
                  <a:pt x="0" y="4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31" name="Freeform 667"/>
          <p:cNvSpPr>
            <a:spLocks/>
          </p:cNvSpPr>
          <p:nvPr userDrawn="1"/>
        </p:nvSpPr>
        <p:spPr bwMode="auto">
          <a:xfrm>
            <a:off x="5234368" y="4736632"/>
            <a:ext cx="169184" cy="177560"/>
          </a:xfrm>
          <a:custGeom>
            <a:avLst/>
            <a:gdLst>
              <a:gd name="T0" fmla="*/ 2147483646 w 183"/>
              <a:gd name="T1" fmla="*/ 2147483646 h 190"/>
              <a:gd name="T2" fmla="*/ 2147483646 w 183"/>
              <a:gd name="T3" fmla="*/ 2147483646 h 190"/>
              <a:gd name="T4" fmla="*/ 2147483646 w 183"/>
              <a:gd name="T5" fmla="*/ 2147483646 h 190"/>
              <a:gd name="T6" fmla="*/ 2147483646 w 183"/>
              <a:gd name="T7" fmla="*/ 2147483646 h 190"/>
              <a:gd name="T8" fmla="*/ 2147483646 w 183"/>
              <a:gd name="T9" fmla="*/ 2147483646 h 190"/>
              <a:gd name="T10" fmla="*/ 2147483646 w 183"/>
              <a:gd name="T11" fmla="*/ 2147483646 h 190"/>
              <a:gd name="T12" fmla="*/ 2147483646 w 183"/>
              <a:gd name="T13" fmla="*/ 2147483646 h 190"/>
              <a:gd name="T14" fmla="*/ 2147483646 w 183"/>
              <a:gd name="T15" fmla="*/ 2147483646 h 190"/>
              <a:gd name="T16" fmla="*/ 2147483646 w 183"/>
              <a:gd name="T17" fmla="*/ 2147483646 h 190"/>
              <a:gd name="T18" fmla="*/ 2147483646 w 183"/>
              <a:gd name="T19" fmla="*/ 2147483646 h 190"/>
              <a:gd name="T20" fmla="*/ 2147483646 w 183"/>
              <a:gd name="T21" fmla="*/ 2147483646 h 190"/>
              <a:gd name="T22" fmla="*/ 2147483646 w 183"/>
              <a:gd name="T23" fmla="*/ 2147483646 h 190"/>
              <a:gd name="T24" fmla="*/ 2147483646 w 183"/>
              <a:gd name="T25" fmla="*/ 2147483646 h 190"/>
              <a:gd name="T26" fmla="*/ 2147483646 w 183"/>
              <a:gd name="T27" fmla="*/ 2147483646 h 190"/>
              <a:gd name="T28" fmla="*/ 2147483646 w 183"/>
              <a:gd name="T29" fmla="*/ 2147483646 h 190"/>
              <a:gd name="T30" fmla="*/ 2147483646 w 183"/>
              <a:gd name="T31" fmla="*/ 2147483646 h 190"/>
              <a:gd name="T32" fmla="*/ 2147483646 w 183"/>
              <a:gd name="T33" fmla="*/ 2147483646 h 190"/>
              <a:gd name="T34" fmla="*/ 2147483646 w 183"/>
              <a:gd name="T35" fmla="*/ 2147483646 h 190"/>
              <a:gd name="T36" fmla="*/ 2147483646 w 183"/>
              <a:gd name="T37" fmla="*/ 2147483646 h 190"/>
              <a:gd name="T38" fmla="*/ 2147483646 w 183"/>
              <a:gd name="T39" fmla="*/ 2147483646 h 190"/>
              <a:gd name="T40" fmla="*/ 2147483646 w 183"/>
              <a:gd name="T41" fmla="*/ 2147483646 h 190"/>
              <a:gd name="T42" fmla="*/ 2147483646 w 183"/>
              <a:gd name="T43" fmla="*/ 2147483646 h 190"/>
              <a:gd name="T44" fmla="*/ 2147483646 w 183"/>
              <a:gd name="T45" fmla="*/ 2147483646 h 190"/>
              <a:gd name="T46" fmla="*/ 2147483646 w 183"/>
              <a:gd name="T47" fmla="*/ 2147483646 h 190"/>
              <a:gd name="T48" fmla="*/ 2147483646 w 183"/>
              <a:gd name="T49" fmla="*/ 2147483646 h 190"/>
              <a:gd name="T50" fmla="*/ 2147483646 w 183"/>
              <a:gd name="T51" fmla="*/ 2147483646 h 190"/>
              <a:gd name="T52" fmla="*/ 2147483646 w 183"/>
              <a:gd name="T53" fmla="*/ 2147483646 h 190"/>
              <a:gd name="T54" fmla="*/ 2147483646 w 183"/>
              <a:gd name="T55" fmla="*/ 2147483646 h 190"/>
              <a:gd name="T56" fmla="*/ 2147483646 w 183"/>
              <a:gd name="T57" fmla="*/ 2147483646 h 190"/>
              <a:gd name="T58" fmla="*/ 2147483646 w 183"/>
              <a:gd name="T59" fmla="*/ 2147483646 h 190"/>
              <a:gd name="T60" fmla="*/ 2147483646 w 183"/>
              <a:gd name="T61" fmla="*/ 2147483646 h 190"/>
              <a:gd name="T62" fmla="*/ 2147483646 w 183"/>
              <a:gd name="T63" fmla="*/ 2147483646 h 190"/>
              <a:gd name="T64" fmla="*/ 2147483646 w 183"/>
              <a:gd name="T65" fmla="*/ 2147483646 h 190"/>
              <a:gd name="T66" fmla="*/ 2147483646 w 183"/>
              <a:gd name="T67" fmla="*/ 2147483646 h 190"/>
              <a:gd name="T68" fmla="*/ 2147483646 w 183"/>
              <a:gd name="T69" fmla="*/ 2147483646 h 190"/>
              <a:gd name="T70" fmla="*/ 2147483646 w 183"/>
              <a:gd name="T71" fmla="*/ 2147483646 h 190"/>
              <a:gd name="T72" fmla="*/ 2147483646 w 183"/>
              <a:gd name="T73" fmla="*/ 2147483646 h 190"/>
              <a:gd name="T74" fmla="*/ 2147483646 w 183"/>
              <a:gd name="T75" fmla="*/ 2147483646 h 190"/>
              <a:gd name="T76" fmla="*/ 2147483646 w 183"/>
              <a:gd name="T77" fmla="*/ 2147483646 h 190"/>
              <a:gd name="T78" fmla="*/ 2147483646 w 183"/>
              <a:gd name="T79" fmla="*/ 2147483646 h 190"/>
              <a:gd name="T80" fmla="*/ 2147483646 w 183"/>
              <a:gd name="T81" fmla="*/ 2147483646 h 190"/>
              <a:gd name="T82" fmla="*/ 2147483646 w 183"/>
              <a:gd name="T83" fmla="*/ 2147483646 h 19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3"/>
              <a:gd name="T127" fmla="*/ 0 h 190"/>
              <a:gd name="T128" fmla="*/ 183 w 183"/>
              <a:gd name="T129" fmla="*/ 190 h 190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3" h="190">
                <a:moveTo>
                  <a:pt x="35" y="188"/>
                </a:moveTo>
                <a:cubicBezTo>
                  <a:pt x="35" y="188"/>
                  <a:pt x="33" y="168"/>
                  <a:pt x="35" y="163"/>
                </a:cubicBezTo>
                <a:cubicBezTo>
                  <a:pt x="38" y="158"/>
                  <a:pt x="41" y="155"/>
                  <a:pt x="41" y="149"/>
                </a:cubicBezTo>
                <a:cubicBezTo>
                  <a:pt x="41" y="143"/>
                  <a:pt x="37" y="148"/>
                  <a:pt x="33" y="147"/>
                </a:cubicBezTo>
                <a:cubicBezTo>
                  <a:pt x="28" y="146"/>
                  <a:pt x="32" y="145"/>
                  <a:pt x="33" y="140"/>
                </a:cubicBezTo>
                <a:cubicBezTo>
                  <a:pt x="34" y="134"/>
                  <a:pt x="32" y="135"/>
                  <a:pt x="28" y="131"/>
                </a:cubicBezTo>
                <a:cubicBezTo>
                  <a:pt x="23" y="128"/>
                  <a:pt x="19" y="130"/>
                  <a:pt x="9" y="123"/>
                </a:cubicBezTo>
                <a:cubicBezTo>
                  <a:pt x="0" y="116"/>
                  <a:pt x="12" y="120"/>
                  <a:pt x="17" y="117"/>
                </a:cubicBezTo>
                <a:cubicBezTo>
                  <a:pt x="21" y="114"/>
                  <a:pt x="19" y="106"/>
                  <a:pt x="17" y="101"/>
                </a:cubicBezTo>
                <a:cubicBezTo>
                  <a:pt x="15" y="95"/>
                  <a:pt x="9" y="89"/>
                  <a:pt x="9" y="89"/>
                </a:cubicBezTo>
                <a:cubicBezTo>
                  <a:pt x="12" y="84"/>
                  <a:pt x="22" y="89"/>
                  <a:pt x="23" y="87"/>
                </a:cubicBezTo>
                <a:cubicBezTo>
                  <a:pt x="24" y="85"/>
                  <a:pt x="23" y="77"/>
                  <a:pt x="20" y="74"/>
                </a:cubicBezTo>
                <a:cubicBezTo>
                  <a:pt x="18" y="72"/>
                  <a:pt x="22" y="71"/>
                  <a:pt x="23" y="69"/>
                </a:cubicBezTo>
                <a:cubicBezTo>
                  <a:pt x="24" y="67"/>
                  <a:pt x="26" y="71"/>
                  <a:pt x="26" y="71"/>
                </a:cubicBezTo>
                <a:cubicBezTo>
                  <a:pt x="26" y="71"/>
                  <a:pt x="32" y="74"/>
                  <a:pt x="35" y="75"/>
                </a:cubicBezTo>
                <a:cubicBezTo>
                  <a:pt x="37" y="75"/>
                  <a:pt x="40" y="68"/>
                  <a:pt x="39" y="64"/>
                </a:cubicBezTo>
                <a:cubicBezTo>
                  <a:pt x="38" y="60"/>
                  <a:pt x="33" y="61"/>
                  <a:pt x="28" y="58"/>
                </a:cubicBezTo>
                <a:cubicBezTo>
                  <a:pt x="24" y="54"/>
                  <a:pt x="30" y="56"/>
                  <a:pt x="35" y="54"/>
                </a:cubicBezTo>
                <a:cubicBezTo>
                  <a:pt x="41" y="51"/>
                  <a:pt x="33" y="45"/>
                  <a:pt x="28" y="41"/>
                </a:cubicBezTo>
                <a:cubicBezTo>
                  <a:pt x="23" y="38"/>
                  <a:pt x="27" y="30"/>
                  <a:pt x="26" y="25"/>
                </a:cubicBezTo>
                <a:cubicBezTo>
                  <a:pt x="25" y="21"/>
                  <a:pt x="27" y="18"/>
                  <a:pt x="27" y="18"/>
                </a:cubicBezTo>
                <a:cubicBezTo>
                  <a:pt x="27" y="18"/>
                  <a:pt x="32" y="20"/>
                  <a:pt x="34" y="16"/>
                </a:cubicBezTo>
                <a:cubicBezTo>
                  <a:pt x="35" y="11"/>
                  <a:pt x="38" y="11"/>
                  <a:pt x="41" y="9"/>
                </a:cubicBezTo>
                <a:cubicBezTo>
                  <a:pt x="45" y="7"/>
                  <a:pt x="45" y="20"/>
                  <a:pt x="45" y="20"/>
                </a:cubicBezTo>
                <a:cubicBezTo>
                  <a:pt x="45" y="20"/>
                  <a:pt x="52" y="21"/>
                  <a:pt x="51" y="14"/>
                </a:cubicBezTo>
                <a:cubicBezTo>
                  <a:pt x="50" y="8"/>
                  <a:pt x="56" y="13"/>
                  <a:pt x="60" y="14"/>
                </a:cubicBezTo>
                <a:cubicBezTo>
                  <a:pt x="64" y="16"/>
                  <a:pt x="65" y="16"/>
                  <a:pt x="71" y="5"/>
                </a:cubicBezTo>
                <a:cubicBezTo>
                  <a:pt x="73" y="0"/>
                  <a:pt x="79" y="8"/>
                  <a:pt x="79" y="8"/>
                </a:cubicBezTo>
                <a:cubicBezTo>
                  <a:pt x="79" y="8"/>
                  <a:pt x="76" y="14"/>
                  <a:pt x="75" y="23"/>
                </a:cubicBezTo>
                <a:cubicBezTo>
                  <a:pt x="74" y="32"/>
                  <a:pt x="81" y="24"/>
                  <a:pt x="83" y="20"/>
                </a:cubicBezTo>
                <a:cubicBezTo>
                  <a:pt x="85" y="16"/>
                  <a:pt x="94" y="21"/>
                  <a:pt x="99" y="21"/>
                </a:cubicBezTo>
                <a:cubicBezTo>
                  <a:pt x="99" y="21"/>
                  <a:pt x="111" y="20"/>
                  <a:pt x="114" y="29"/>
                </a:cubicBezTo>
                <a:cubicBezTo>
                  <a:pt x="118" y="39"/>
                  <a:pt x="121" y="46"/>
                  <a:pt x="131" y="39"/>
                </a:cubicBezTo>
                <a:cubicBezTo>
                  <a:pt x="140" y="32"/>
                  <a:pt x="153" y="27"/>
                  <a:pt x="164" y="36"/>
                </a:cubicBezTo>
                <a:cubicBezTo>
                  <a:pt x="175" y="46"/>
                  <a:pt x="174" y="53"/>
                  <a:pt x="173" y="58"/>
                </a:cubicBezTo>
                <a:cubicBezTo>
                  <a:pt x="173" y="63"/>
                  <a:pt x="183" y="68"/>
                  <a:pt x="176" y="80"/>
                </a:cubicBezTo>
                <a:cubicBezTo>
                  <a:pt x="169" y="93"/>
                  <a:pt x="162" y="92"/>
                  <a:pt x="164" y="101"/>
                </a:cubicBezTo>
                <a:cubicBezTo>
                  <a:pt x="165" y="110"/>
                  <a:pt x="156" y="105"/>
                  <a:pt x="157" y="121"/>
                </a:cubicBezTo>
                <a:cubicBezTo>
                  <a:pt x="158" y="137"/>
                  <a:pt x="153" y="137"/>
                  <a:pt x="160" y="147"/>
                </a:cubicBezTo>
                <a:cubicBezTo>
                  <a:pt x="167" y="157"/>
                  <a:pt x="172" y="170"/>
                  <a:pt x="166" y="171"/>
                </a:cubicBezTo>
                <a:cubicBezTo>
                  <a:pt x="166" y="171"/>
                  <a:pt x="110" y="157"/>
                  <a:pt x="76" y="173"/>
                </a:cubicBezTo>
                <a:cubicBezTo>
                  <a:pt x="41" y="190"/>
                  <a:pt x="35" y="188"/>
                  <a:pt x="35" y="18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32" name="Freeform 668"/>
          <p:cNvSpPr>
            <a:spLocks/>
          </p:cNvSpPr>
          <p:nvPr userDrawn="1"/>
        </p:nvSpPr>
        <p:spPr bwMode="auto">
          <a:xfrm>
            <a:off x="5321472" y="4624401"/>
            <a:ext cx="209387" cy="154108"/>
          </a:xfrm>
          <a:custGeom>
            <a:avLst/>
            <a:gdLst>
              <a:gd name="T0" fmla="*/ 2147483646 w 225"/>
              <a:gd name="T1" fmla="*/ 2147483646 h 166"/>
              <a:gd name="T2" fmla="*/ 2147483646 w 225"/>
              <a:gd name="T3" fmla="*/ 2147483646 h 166"/>
              <a:gd name="T4" fmla="*/ 2147483646 w 225"/>
              <a:gd name="T5" fmla="*/ 2147483646 h 166"/>
              <a:gd name="T6" fmla="*/ 2147483646 w 225"/>
              <a:gd name="T7" fmla="*/ 2147483646 h 166"/>
              <a:gd name="T8" fmla="*/ 2147483646 w 225"/>
              <a:gd name="T9" fmla="*/ 2147483646 h 166"/>
              <a:gd name="T10" fmla="*/ 2147483646 w 225"/>
              <a:gd name="T11" fmla="*/ 2147483646 h 166"/>
              <a:gd name="T12" fmla="*/ 2147483646 w 225"/>
              <a:gd name="T13" fmla="*/ 2147483646 h 166"/>
              <a:gd name="T14" fmla="*/ 2147483646 w 225"/>
              <a:gd name="T15" fmla="*/ 2147483646 h 166"/>
              <a:gd name="T16" fmla="*/ 2147483646 w 225"/>
              <a:gd name="T17" fmla="*/ 2147483646 h 166"/>
              <a:gd name="T18" fmla="*/ 2147483646 w 225"/>
              <a:gd name="T19" fmla="*/ 2147483646 h 166"/>
              <a:gd name="T20" fmla="*/ 2147483646 w 225"/>
              <a:gd name="T21" fmla="*/ 2147483646 h 166"/>
              <a:gd name="T22" fmla="*/ 2147483646 w 225"/>
              <a:gd name="T23" fmla="*/ 2147483646 h 166"/>
              <a:gd name="T24" fmla="*/ 2147483646 w 225"/>
              <a:gd name="T25" fmla="*/ 2147483646 h 166"/>
              <a:gd name="T26" fmla="*/ 2147483646 w 225"/>
              <a:gd name="T27" fmla="*/ 2147483646 h 166"/>
              <a:gd name="T28" fmla="*/ 2147483646 w 225"/>
              <a:gd name="T29" fmla="*/ 2147483646 h 166"/>
              <a:gd name="T30" fmla="*/ 2147483646 w 225"/>
              <a:gd name="T31" fmla="*/ 2147483646 h 166"/>
              <a:gd name="T32" fmla="*/ 2147483646 w 225"/>
              <a:gd name="T33" fmla="*/ 2147483646 h 166"/>
              <a:gd name="T34" fmla="*/ 2147483646 w 225"/>
              <a:gd name="T35" fmla="*/ 2147483646 h 166"/>
              <a:gd name="T36" fmla="*/ 2147483646 w 225"/>
              <a:gd name="T37" fmla="*/ 2147483646 h 166"/>
              <a:gd name="T38" fmla="*/ 2147483646 w 225"/>
              <a:gd name="T39" fmla="*/ 2147483646 h 166"/>
              <a:gd name="T40" fmla="*/ 2147483646 w 225"/>
              <a:gd name="T41" fmla="*/ 2147483646 h 166"/>
              <a:gd name="T42" fmla="*/ 2147483646 w 225"/>
              <a:gd name="T43" fmla="*/ 2147483646 h 166"/>
              <a:gd name="T44" fmla="*/ 2147483646 w 225"/>
              <a:gd name="T45" fmla="*/ 2147483646 h 166"/>
              <a:gd name="T46" fmla="*/ 2147483646 w 225"/>
              <a:gd name="T47" fmla="*/ 2147483646 h 166"/>
              <a:gd name="T48" fmla="*/ 2147483646 w 225"/>
              <a:gd name="T49" fmla="*/ 2147483646 h 166"/>
              <a:gd name="T50" fmla="*/ 2147483646 w 225"/>
              <a:gd name="T51" fmla="*/ 2147483646 h 166"/>
              <a:gd name="T52" fmla="*/ 2147483646 w 225"/>
              <a:gd name="T53" fmla="*/ 2147483646 h 166"/>
              <a:gd name="T54" fmla="*/ 2147483646 w 225"/>
              <a:gd name="T55" fmla="*/ 2147483646 h 166"/>
              <a:gd name="T56" fmla="*/ 2147483646 w 225"/>
              <a:gd name="T57" fmla="*/ 2147483646 h 166"/>
              <a:gd name="T58" fmla="*/ 2147483646 w 225"/>
              <a:gd name="T59" fmla="*/ 2147483646 h 166"/>
              <a:gd name="T60" fmla="*/ 2147483646 w 225"/>
              <a:gd name="T61" fmla="*/ 2147483646 h 166"/>
              <a:gd name="T62" fmla="*/ 2147483646 w 225"/>
              <a:gd name="T63" fmla="*/ 2147483646 h 166"/>
              <a:gd name="T64" fmla="*/ 2147483646 w 225"/>
              <a:gd name="T65" fmla="*/ 2147483646 h 166"/>
              <a:gd name="T66" fmla="*/ 2147483646 w 225"/>
              <a:gd name="T67" fmla="*/ 2147483646 h 166"/>
              <a:gd name="T68" fmla="*/ 2147483646 w 225"/>
              <a:gd name="T69" fmla="*/ 2147483646 h 166"/>
              <a:gd name="T70" fmla="*/ 2147483646 w 225"/>
              <a:gd name="T71" fmla="*/ 2147483646 h 166"/>
              <a:gd name="T72" fmla="*/ 2147483646 w 225"/>
              <a:gd name="T73" fmla="*/ 2147483646 h 166"/>
              <a:gd name="T74" fmla="*/ 2147483646 w 225"/>
              <a:gd name="T75" fmla="*/ 2147483646 h 166"/>
              <a:gd name="T76" fmla="*/ 2147483646 w 225"/>
              <a:gd name="T77" fmla="*/ 2147483646 h 166"/>
              <a:gd name="T78" fmla="*/ 2147483646 w 225"/>
              <a:gd name="T79" fmla="*/ 2147483646 h 166"/>
              <a:gd name="T80" fmla="*/ 2147483646 w 225"/>
              <a:gd name="T81" fmla="*/ 2147483646 h 166"/>
              <a:gd name="T82" fmla="*/ 2147483646 w 225"/>
              <a:gd name="T83" fmla="*/ 2147483646 h 166"/>
              <a:gd name="T84" fmla="*/ 2147483646 w 225"/>
              <a:gd name="T85" fmla="*/ 2147483646 h 166"/>
              <a:gd name="T86" fmla="*/ 2147483646 w 225"/>
              <a:gd name="T87" fmla="*/ 2147483646 h 166"/>
              <a:gd name="T88" fmla="*/ 2147483646 w 225"/>
              <a:gd name="T89" fmla="*/ 2147483646 h 166"/>
              <a:gd name="T90" fmla="*/ 2147483646 w 225"/>
              <a:gd name="T91" fmla="*/ 2147483646 h 16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25"/>
              <a:gd name="T139" fmla="*/ 0 h 166"/>
              <a:gd name="T140" fmla="*/ 225 w 225"/>
              <a:gd name="T141" fmla="*/ 166 h 16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25" h="166">
                <a:moveTo>
                  <a:pt x="168" y="9"/>
                </a:moveTo>
                <a:cubicBezTo>
                  <a:pt x="157" y="4"/>
                  <a:pt x="146" y="0"/>
                  <a:pt x="141" y="7"/>
                </a:cubicBezTo>
                <a:cubicBezTo>
                  <a:pt x="133" y="18"/>
                  <a:pt x="128" y="21"/>
                  <a:pt x="122" y="21"/>
                </a:cubicBezTo>
                <a:cubicBezTo>
                  <a:pt x="115" y="21"/>
                  <a:pt x="110" y="20"/>
                  <a:pt x="110" y="23"/>
                </a:cubicBezTo>
                <a:cubicBezTo>
                  <a:pt x="110" y="27"/>
                  <a:pt x="105" y="32"/>
                  <a:pt x="101" y="33"/>
                </a:cubicBezTo>
                <a:cubicBezTo>
                  <a:pt x="97" y="34"/>
                  <a:pt x="86" y="37"/>
                  <a:pt x="86" y="37"/>
                </a:cubicBezTo>
                <a:cubicBezTo>
                  <a:pt x="86" y="37"/>
                  <a:pt x="78" y="38"/>
                  <a:pt x="77" y="41"/>
                </a:cubicBezTo>
                <a:cubicBezTo>
                  <a:pt x="76" y="44"/>
                  <a:pt x="75" y="56"/>
                  <a:pt x="75" y="56"/>
                </a:cubicBezTo>
                <a:cubicBezTo>
                  <a:pt x="75" y="56"/>
                  <a:pt x="69" y="62"/>
                  <a:pt x="66" y="58"/>
                </a:cubicBezTo>
                <a:cubicBezTo>
                  <a:pt x="63" y="53"/>
                  <a:pt x="60" y="54"/>
                  <a:pt x="57" y="52"/>
                </a:cubicBezTo>
                <a:cubicBezTo>
                  <a:pt x="54" y="50"/>
                  <a:pt x="56" y="41"/>
                  <a:pt x="50" y="44"/>
                </a:cubicBezTo>
                <a:cubicBezTo>
                  <a:pt x="45" y="48"/>
                  <a:pt x="42" y="51"/>
                  <a:pt x="43" y="54"/>
                </a:cubicBezTo>
                <a:cubicBezTo>
                  <a:pt x="44" y="58"/>
                  <a:pt x="50" y="59"/>
                  <a:pt x="47" y="65"/>
                </a:cubicBezTo>
                <a:cubicBezTo>
                  <a:pt x="44" y="72"/>
                  <a:pt x="37" y="71"/>
                  <a:pt x="37" y="71"/>
                </a:cubicBezTo>
                <a:cubicBezTo>
                  <a:pt x="34" y="80"/>
                  <a:pt x="33" y="90"/>
                  <a:pt x="27" y="90"/>
                </a:cubicBezTo>
                <a:cubicBezTo>
                  <a:pt x="22" y="90"/>
                  <a:pt x="15" y="85"/>
                  <a:pt x="12" y="92"/>
                </a:cubicBezTo>
                <a:cubicBezTo>
                  <a:pt x="9" y="98"/>
                  <a:pt x="12" y="104"/>
                  <a:pt x="12" y="109"/>
                </a:cubicBezTo>
                <a:cubicBezTo>
                  <a:pt x="12" y="115"/>
                  <a:pt x="11" y="114"/>
                  <a:pt x="7" y="119"/>
                </a:cubicBezTo>
                <a:cubicBezTo>
                  <a:pt x="2" y="125"/>
                  <a:pt x="0" y="127"/>
                  <a:pt x="3" y="130"/>
                </a:cubicBezTo>
                <a:cubicBezTo>
                  <a:pt x="7" y="133"/>
                  <a:pt x="11" y="141"/>
                  <a:pt x="5" y="141"/>
                </a:cubicBezTo>
                <a:cubicBezTo>
                  <a:pt x="5" y="141"/>
                  <a:pt x="17" y="140"/>
                  <a:pt x="20" y="149"/>
                </a:cubicBezTo>
                <a:cubicBezTo>
                  <a:pt x="24" y="159"/>
                  <a:pt x="27" y="166"/>
                  <a:pt x="37" y="159"/>
                </a:cubicBezTo>
                <a:cubicBezTo>
                  <a:pt x="46" y="152"/>
                  <a:pt x="59" y="147"/>
                  <a:pt x="70" y="156"/>
                </a:cubicBezTo>
                <a:cubicBezTo>
                  <a:pt x="74" y="160"/>
                  <a:pt x="77" y="163"/>
                  <a:pt x="78" y="166"/>
                </a:cubicBezTo>
                <a:cubicBezTo>
                  <a:pt x="78" y="166"/>
                  <a:pt x="82" y="161"/>
                  <a:pt x="80" y="154"/>
                </a:cubicBezTo>
                <a:cubicBezTo>
                  <a:pt x="77" y="146"/>
                  <a:pt x="73" y="133"/>
                  <a:pt x="74" y="130"/>
                </a:cubicBezTo>
                <a:cubicBezTo>
                  <a:pt x="75" y="127"/>
                  <a:pt x="77" y="122"/>
                  <a:pt x="81" y="120"/>
                </a:cubicBezTo>
                <a:cubicBezTo>
                  <a:pt x="85" y="117"/>
                  <a:pt x="86" y="109"/>
                  <a:pt x="92" y="116"/>
                </a:cubicBezTo>
                <a:cubicBezTo>
                  <a:pt x="98" y="124"/>
                  <a:pt x="101" y="126"/>
                  <a:pt x="105" y="125"/>
                </a:cubicBezTo>
                <a:cubicBezTo>
                  <a:pt x="110" y="123"/>
                  <a:pt x="110" y="121"/>
                  <a:pt x="119" y="121"/>
                </a:cubicBezTo>
                <a:cubicBezTo>
                  <a:pt x="128" y="121"/>
                  <a:pt x="138" y="126"/>
                  <a:pt x="142" y="123"/>
                </a:cubicBezTo>
                <a:cubicBezTo>
                  <a:pt x="147" y="120"/>
                  <a:pt x="149" y="115"/>
                  <a:pt x="158" y="120"/>
                </a:cubicBezTo>
                <a:cubicBezTo>
                  <a:pt x="166" y="126"/>
                  <a:pt x="168" y="127"/>
                  <a:pt x="175" y="127"/>
                </a:cubicBezTo>
                <a:cubicBezTo>
                  <a:pt x="181" y="127"/>
                  <a:pt x="183" y="125"/>
                  <a:pt x="185" y="122"/>
                </a:cubicBezTo>
                <a:cubicBezTo>
                  <a:pt x="187" y="120"/>
                  <a:pt x="200" y="111"/>
                  <a:pt x="207" y="112"/>
                </a:cubicBezTo>
                <a:cubicBezTo>
                  <a:pt x="214" y="114"/>
                  <a:pt x="222" y="105"/>
                  <a:pt x="223" y="100"/>
                </a:cubicBezTo>
                <a:cubicBezTo>
                  <a:pt x="225" y="95"/>
                  <a:pt x="220" y="95"/>
                  <a:pt x="217" y="90"/>
                </a:cubicBezTo>
                <a:cubicBezTo>
                  <a:pt x="214" y="84"/>
                  <a:pt x="221" y="77"/>
                  <a:pt x="215" y="77"/>
                </a:cubicBezTo>
                <a:cubicBezTo>
                  <a:pt x="210" y="77"/>
                  <a:pt x="208" y="75"/>
                  <a:pt x="204" y="77"/>
                </a:cubicBezTo>
                <a:cubicBezTo>
                  <a:pt x="200" y="78"/>
                  <a:pt x="189" y="77"/>
                  <a:pt x="188" y="71"/>
                </a:cubicBezTo>
                <a:cubicBezTo>
                  <a:pt x="188" y="66"/>
                  <a:pt x="184" y="63"/>
                  <a:pt x="187" y="62"/>
                </a:cubicBezTo>
                <a:cubicBezTo>
                  <a:pt x="191" y="62"/>
                  <a:pt x="194" y="61"/>
                  <a:pt x="192" y="59"/>
                </a:cubicBezTo>
                <a:cubicBezTo>
                  <a:pt x="191" y="56"/>
                  <a:pt x="188" y="58"/>
                  <a:pt x="182" y="52"/>
                </a:cubicBezTo>
                <a:cubicBezTo>
                  <a:pt x="177" y="46"/>
                  <a:pt x="166" y="32"/>
                  <a:pt x="166" y="29"/>
                </a:cubicBezTo>
                <a:cubicBezTo>
                  <a:pt x="167" y="26"/>
                  <a:pt x="165" y="19"/>
                  <a:pt x="165" y="19"/>
                </a:cubicBezTo>
                <a:lnTo>
                  <a:pt x="168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33" name="Freeform 669"/>
          <p:cNvSpPr>
            <a:spLocks/>
          </p:cNvSpPr>
          <p:nvPr userDrawn="1"/>
        </p:nvSpPr>
        <p:spPr bwMode="auto">
          <a:xfrm>
            <a:off x="5376750" y="4724905"/>
            <a:ext cx="118932" cy="185936"/>
          </a:xfrm>
          <a:custGeom>
            <a:avLst/>
            <a:gdLst>
              <a:gd name="T0" fmla="*/ 2147483646 w 128"/>
              <a:gd name="T1" fmla="*/ 2147483646 h 199"/>
              <a:gd name="T2" fmla="*/ 2147483646 w 128"/>
              <a:gd name="T3" fmla="*/ 2147483646 h 199"/>
              <a:gd name="T4" fmla="*/ 2147483646 w 128"/>
              <a:gd name="T5" fmla="*/ 2147483646 h 199"/>
              <a:gd name="T6" fmla="*/ 2147483646 w 128"/>
              <a:gd name="T7" fmla="*/ 2147483646 h 199"/>
              <a:gd name="T8" fmla="*/ 2147483646 w 128"/>
              <a:gd name="T9" fmla="*/ 2147483646 h 199"/>
              <a:gd name="T10" fmla="*/ 2147483646 w 128"/>
              <a:gd name="T11" fmla="*/ 2147483646 h 199"/>
              <a:gd name="T12" fmla="*/ 2147483646 w 128"/>
              <a:gd name="T13" fmla="*/ 2147483646 h 199"/>
              <a:gd name="T14" fmla="*/ 2147483646 w 128"/>
              <a:gd name="T15" fmla="*/ 2147483646 h 199"/>
              <a:gd name="T16" fmla="*/ 2147483646 w 128"/>
              <a:gd name="T17" fmla="*/ 2147483646 h 199"/>
              <a:gd name="T18" fmla="*/ 2147483646 w 128"/>
              <a:gd name="T19" fmla="*/ 2147483646 h 199"/>
              <a:gd name="T20" fmla="*/ 2147483646 w 128"/>
              <a:gd name="T21" fmla="*/ 2147483646 h 199"/>
              <a:gd name="T22" fmla="*/ 2147483646 w 128"/>
              <a:gd name="T23" fmla="*/ 2147483646 h 199"/>
              <a:gd name="T24" fmla="*/ 2147483646 w 128"/>
              <a:gd name="T25" fmla="*/ 2147483646 h 199"/>
              <a:gd name="T26" fmla="*/ 2147483646 w 128"/>
              <a:gd name="T27" fmla="*/ 2147483646 h 199"/>
              <a:gd name="T28" fmla="*/ 2147483646 w 128"/>
              <a:gd name="T29" fmla="*/ 2147483646 h 199"/>
              <a:gd name="T30" fmla="*/ 2147483646 w 128"/>
              <a:gd name="T31" fmla="*/ 2147483646 h 199"/>
              <a:gd name="T32" fmla="*/ 2147483646 w 128"/>
              <a:gd name="T33" fmla="*/ 2147483646 h 199"/>
              <a:gd name="T34" fmla="*/ 2147483646 w 128"/>
              <a:gd name="T35" fmla="*/ 2147483646 h 199"/>
              <a:gd name="T36" fmla="*/ 2147483646 w 128"/>
              <a:gd name="T37" fmla="*/ 2147483646 h 199"/>
              <a:gd name="T38" fmla="*/ 2147483646 w 128"/>
              <a:gd name="T39" fmla="*/ 2147483646 h 199"/>
              <a:gd name="T40" fmla="*/ 2147483646 w 128"/>
              <a:gd name="T41" fmla="*/ 2147483646 h 199"/>
              <a:gd name="T42" fmla="*/ 2147483646 w 128"/>
              <a:gd name="T43" fmla="*/ 2147483646 h 199"/>
              <a:gd name="T44" fmla="*/ 2147483646 w 128"/>
              <a:gd name="T45" fmla="*/ 2147483646 h 199"/>
              <a:gd name="T46" fmla="*/ 2147483646 w 128"/>
              <a:gd name="T47" fmla="*/ 2147483646 h 199"/>
              <a:gd name="T48" fmla="*/ 2147483646 w 128"/>
              <a:gd name="T49" fmla="*/ 2147483646 h 199"/>
              <a:gd name="T50" fmla="*/ 2147483646 w 128"/>
              <a:gd name="T51" fmla="*/ 2147483646 h 199"/>
              <a:gd name="T52" fmla="*/ 2147483646 w 128"/>
              <a:gd name="T53" fmla="*/ 2147483646 h 199"/>
              <a:gd name="T54" fmla="*/ 2147483646 w 128"/>
              <a:gd name="T55" fmla="*/ 2147483646 h 199"/>
              <a:gd name="T56" fmla="*/ 2147483646 w 128"/>
              <a:gd name="T57" fmla="*/ 2147483646 h 199"/>
              <a:gd name="T58" fmla="*/ 2147483646 w 128"/>
              <a:gd name="T59" fmla="*/ 2147483646 h 199"/>
              <a:gd name="T60" fmla="*/ 2147483646 w 128"/>
              <a:gd name="T61" fmla="*/ 2147483646 h 199"/>
              <a:gd name="T62" fmla="*/ 2147483646 w 128"/>
              <a:gd name="T63" fmla="*/ 2147483646 h 1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8"/>
              <a:gd name="T97" fmla="*/ 0 h 199"/>
              <a:gd name="T98" fmla="*/ 128 w 128"/>
              <a:gd name="T99" fmla="*/ 199 h 19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8" h="199">
                <a:moveTo>
                  <a:pt x="98" y="12"/>
                </a:moveTo>
                <a:cubicBezTo>
                  <a:pt x="90" y="7"/>
                  <a:pt x="87" y="12"/>
                  <a:pt x="83" y="15"/>
                </a:cubicBezTo>
                <a:cubicBezTo>
                  <a:pt x="79" y="17"/>
                  <a:pt x="69" y="13"/>
                  <a:pt x="60" y="13"/>
                </a:cubicBezTo>
                <a:cubicBezTo>
                  <a:pt x="51" y="13"/>
                  <a:pt x="51" y="15"/>
                  <a:pt x="46" y="16"/>
                </a:cubicBezTo>
                <a:cubicBezTo>
                  <a:pt x="42" y="17"/>
                  <a:pt x="39" y="16"/>
                  <a:pt x="33" y="8"/>
                </a:cubicBezTo>
                <a:cubicBezTo>
                  <a:pt x="26" y="0"/>
                  <a:pt x="26" y="9"/>
                  <a:pt x="22" y="11"/>
                </a:cubicBezTo>
                <a:cubicBezTo>
                  <a:pt x="18" y="14"/>
                  <a:pt x="16" y="19"/>
                  <a:pt x="15" y="22"/>
                </a:cubicBezTo>
                <a:cubicBezTo>
                  <a:pt x="14" y="25"/>
                  <a:pt x="18" y="38"/>
                  <a:pt x="20" y="46"/>
                </a:cubicBezTo>
                <a:cubicBezTo>
                  <a:pt x="23" y="53"/>
                  <a:pt x="19" y="58"/>
                  <a:pt x="19" y="58"/>
                </a:cubicBezTo>
                <a:cubicBezTo>
                  <a:pt x="19" y="59"/>
                  <a:pt x="19" y="59"/>
                  <a:pt x="19" y="59"/>
                </a:cubicBezTo>
                <a:cubicBezTo>
                  <a:pt x="21" y="63"/>
                  <a:pt x="20" y="67"/>
                  <a:pt x="20" y="70"/>
                </a:cubicBezTo>
                <a:cubicBezTo>
                  <a:pt x="19" y="75"/>
                  <a:pt x="30" y="80"/>
                  <a:pt x="23" y="92"/>
                </a:cubicBezTo>
                <a:cubicBezTo>
                  <a:pt x="16" y="105"/>
                  <a:pt x="9" y="104"/>
                  <a:pt x="11" y="113"/>
                </a:cubicBezTo>
                <a:cubicBezTo>
                  <a:pt x="12" y="122"/>
                  <a:pt x="3" y="117"/>
                  <a:pt x="4" y="133"/>
                </a:cubicBezTo>
                <a:cubicBezTo>
                  <a:pt x="5" y="149"/>
                  <a:pt x="0" y="149"/>
                  <a:pt x="7" y="159"/>
                </a:cubicBezTo>
                <a:cubicBezTo>
                  <a:pt x="14" y="169"/>
                  <a:pt x="19" y="182"/>
                  <a:pt x="13" y="183"/>
                </a:cubicBezTo>
                <a:cubicBezTo>
                  <a:pt x="13" y="183"/>
                  <a:pt x="19" y="189"/>
                  <a:pt x="23" y="189"/>
                </a:cubicBezTo>
                <a:cubicBezTo>
                  <a:pt x="26" y="188"/>
                  <a:pt x="31" y="199"/>
                  <a:pt x="37" y="194"/>
                </a:cubicBezTo>
                <a:cubicBezTo>
                  <a:pt x="43" y="189"/>
                  <a:pt x="43" y="186"/>
                  <a:pt x="51" y="183"/>
                </a:cubicBezTo>
                <a:cubicBezTo>
                  <a:pt x="58" y="179"/>
                  <a:pt x="82" y="178"/>
                  <a:pt x="88" y="174"/>
                </a:cubicBezTo>
                <a:cubicBezTo>
                  <a:pt x="94" y="171"/>
                  <a:pt x="94" y="164"/>
                  <a:pt x="94" y="162"/>
                </a:cubicBezTo>
                <a:cubicBezTo>
                  <a:pt x="94" y="159"/>
                  <a:pt x="93" y="152"/>
                  <a:pt x="99" y="156"/>
                </a:cubicBezTo>
                <a:cubicBezTo>
                  <a:pt x="104" y="159"/>
                  <a:pt x="109" y="169"/>
                  <a:pt x="114" y="167"/>
                </a:cubicBezTo>
                <a:cubicBezTo>
                  <a:pt x="120" y="165"/>
                  <a:pt x="127" y="160"/>
                  <a:pt x="128" y="158"/>
                </a:cubicBezTo>
                <a:cubicBezTo>
                  <a:pt x="128" y="158"/>
                  <a:pt x="110" y="151"/>
                  <a:pt x="108" y="140"/>
                </a:cubicBezTo>
                <a:cubicBezTo>
                  <a:pt x="106" y="129"/>
                  <a:pt x="109" y="118"/>
                  <a:pt x="110" y="111"/>
                </a:cubicBezTo>
                <a:cubicBezTo>
                  <a:pt x="111" y="104"/>
                  <a:pt x="111" y="96"/>
                  <a:pt x="108" y="93"/>
                </a:cubicBezTo>
                <a:cubicBezTo>
                  <a:pt x="105" y="90"/>
                  <a:pt x="101" y="89"/>
                  <a:pt x="102" y="81"/>
                </a:cubicBezTo>
                <a:cubicBezTo>
                  <a:pt x="102" y="74"/>
                  <a:pt x="105" y="70"/>
                  <a:pt x="104" y="62"/>
                </a:cubicBezTo>
                <a:cubicBezTo>
                  <a:pt x="102" y="54"/>
                  <a:pt x="105" y="56"/>
                  <a:pt x="107" y="49"/>
                </a:cubicBezTo>
                <a:cubicBezTo>
                  <a:pt x="109" y="41"/>
                  <a:pt x="109" y="31"/>
                  <a:pt x="100" y="29"/>
                </a:cubicBezTo>
                <a:cubicBezTo>
                  <a:pt x="91" y="28"/>
                  <a:pt x="98" y="12"/>
                  <a:pt x="98" y="1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34" name="Freeform 670"/>
          <p:cNvSpPr>
            <a:spLocks/>
          </p:cNvSpPr>
          <p:nvPr userDrawn="1"/>
        </p:nvSpPr>
        <p:spPr bwMode="auto">
          <a:xfrm>
            <a:off x="5460504" y="4736633"/>
            <a:ext cx="50253" cy="135681"/>
          </a:xfrm>
          <a:custGeom>
            <a:avLst/>
            <a:gdLst>
              <a:gd name="T0" fmla="*/ 2147483646 w 53"/>
              <a:gd name="T1" fmla="*/ 2147483646 h 146"/>
              <a:gd name="T2" fmla="*/ 2147483646 w 53"/>
              <a:gd name="T3" fmla="*/ 2147483646 h 146"/>
              <a:gd name="T4" fmla="*/ 2147483646 w 53"/>
              <a:gd name="T5" fmla="*/ 2147483646 h 146"/>
              <a:gd name="T6" fmla="*/ 2147483646 w 53"/>
              <a:gd name="T7" fmla="*/ 2147483646 h 146"/>
              <a:gd name="T8" fmla="*/ 2147483646 w 53"/>
              <a:gd name="T9" fmla="*/ 2147483646 h 146"/>
              <a:gd name="T10" fmla="*/ 2147483646 w 53"/>
              <a:gd name="T11" fmla="*/ 2147483646 h 146"/>
              <a:gd name="T12" fmla="*/ 2147483646 w 53"/>
              <a:gd name="T13" fmla="*/ 2147483646 h 146"/>
              <a:gd name="T14" fmla="*/ 2147483646 w 53"/>
              <a:gd name="T15" fmla="*/ 2147483646 h 146"/>
              <a:gd name="T16" fmla="*/ 2147483646 w 53"/>
              <a:gd name="T17" fmla="*/ 0 h 146"/>
              <a:gd name="T18" fmla="*/ 2147483646 w 53"/>
              <a:gd name="T19" fmla="*/ 0 h 146"/>
              <a:gd name="T20" fmla="*/ 2147483646 w 53"/>
              <a:gd name="T21" fmla="*/ 2147483646 h 146"/>
              <a:gd name="T22" fmla="*/ 2147483646 w 53"/>
              <a:gd name="T23" fmla="*/ 2147483646 h 146"/>
              <a:gd name="T24" fmla="*/ 2147483646 w 53"/>
              <a:gd name="T25" fmla="*/ 2147483646 h 146"/>
              <a:gd name="T26" fmla="*/ 2147483646 w 53"/>
              <a:gd name="T27" fmla="*/ 2147483646 h 146"/>
              <a:gd name="T28" fmla="*/ 2147483646 w 53"/>
              <a:gd name="T29" fmla="*/ 2147483646 h 146"/>
              <a:gd name="T30" fmla="*/ 2147483646 w 53"/>
              <a:gd name="T31" fmla="*/ 2147483646 h 146"/>
              <a:gd name="T32" fmla="*/ 2147483646 w 53"/>
              <a:gd name="T33" fmla="*/ 2147483646 h 146"/>
              <a:gd name="T34" fmla="*/ 2147483646 w 53"/>
              <a:gd name="T35" fmla="*/ 2147483646 h 146"/>
              <a:gd name="T36" fmla="*/ 2147483646 w 53"/>
              <a:gd name="T37" fmla="*/ 2147483646 h 146"/>
              <a:gd name="T38" fmla="*/ 2147483646 w 53"/>
              <a:gd name="T39" fmla="*/ 2147483646 h 14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53"/>
              <a:gd name="T61" fmla="*/ 0 h 146"/>
              <a:gd name="T62" fmla="*/ 53 w 53"/>
              <a:gd name="T63" fmla="*/ 146 h 14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53" h="146">
                <a:moveTo>
                  <a:pt x="37" y="146"/>
                </a:moveTo>
                <a:cubicBezTo>
                  <a:pt x="37" y="146"/>
                  <a:pt x="19" y="139"/>
                  <a:pt x="17" y="128"/>
                </a:cubicBezTo>
                <a:cubicBezTo>
                  <a:pt x="15" y="117"/>
                  <a:pt x="18" y="106"/>
                  <a:pt x="19" y="99"/>
                </a:cubicBezTo>
                <a:cubicBezTo>
                  <a:pt x="20" y="92"/>
                  <a:pt x="20" y="84"/>
                  <a:pt x="17" y="81"/>
                </a:cubicBezTo>
                <a:cubicBezTo>
                  <a:pt x="14" y="78"/>
                  <a:pt x="10" y="77"/>
                  <a:pt x="11" y="69"/>
                </a:cubicBezTo>
                <a:cubicBezTo>
                  <a:pt x="11" y="62"/>
                  <a:pt x="14" y="58"/>
                  <a:pt x="13" y="50"/>
                </a:cubicBezTo>
                <a:cubicBezTo>
                  <a:pt x="11" y="42"/>
                  <a:pt x="14" y="44"/>
                  <a:pt x="16" y="37"/>
                </a:cubicBezTo>
                <a:cubicBezTo>
                  <a:pt x="18" y="29"/>
                  <a:pt x="18" y="19"/>
                  <a:pt x="9" y="17"/>
                </a:cubicBezTo>
                <a:cubicBezTo>
                  <a:pt x="0" y="16"/>
                  <a:pt x="7" y="0"/>
                  <a:pt x="7" y="0"/>
                </a:cubicBezTo>
                <a:cubicBezTo>
                  <a:pt x="8" y="0"/>
                  <a:pt x="8" y="0"/>
                  <a:pt x="8" y="0"/>
                </a:cubicBezTo>
                <a:cubicBezTo>
                  <a:pt x="16" y="6"/>
                  <a:pt x="18" y="7"/>
                  <a:pt x="25" y="7"/>
                </a:cubicBezTo>
                <a:cubicBezTo>
                  <a:pt x="25" y="7"/>
                  <a:pt x="22" y="18"/>
                  <a:pt x="28" y="22"/>
                </a:cubicBezTo>
                <a:cubicBezTo>
                  <a:pt x="33" y="27"/>
                  <a:pt x="42" y="31"/>
                  <a:pt x="42" y="38"/>
                </a:cubicBezTo>
                <a:cubicBezTo>
                  <a:pt x="43" y="45"/>
                  <a:pt x="40" y="51"/>
                  <a:pt x="44" y="57"/>
                </a:cubicBezTo>
                <a:cubicBezTo>
                  <a:pt x="48" y="62"/>
                  <a:pt x="53" y="62"/>
                  <a:pt x="52" y="69"/>
                </a:cubicBezTo>
                <a:cubicBezTo>
                  <a:pt x="50" y="77"/>
                  <a:pt x="47" y="70"/>
                  <a:pt x="48" y="82"/>
                </a:cubicBezTo>
                <a:cubicBezTo>
                  <a:pt x="50" y="94"/>
                  <a:pt x="50" y="115"/>
                  <a:pt x="49" y="118"/>
                </a:cubicBezTo>
                <a:cubicBezTo>
                  <a:pt x="48" y="121"/>
                  <a:pt x="45" y="127"/>
                  <a:pt x="48" y="130"/>
                </a:cubicBezTo>
                <a:cubicBezTo>
                  <a:pt x="51" y="134"/>
                  <a:pt x="52" y="143"/>
                  <a:pt x="52" y="143"/>
                </a:cubicBezTo>
                <a:cubicBezTo>
                  <a:pt x="52" y="143"/>
                  <a:pt x="44" y="139"/>
                  <a:pt x="37" y="14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35" name="Freeform 671"/>
          <p:cNvSpPr>
            <a:spLocks/>
          </p:cNvSpPr>
          <p:nvPr userDrawn="1"/>
        </p:nvSpPr>
        <p:spPr bwMode="auto">
          <a:xfrm>
            <a:off x="5482282" y="4701455"/>
            <a:ext cx="85429" cy="167509"/>
          </a:xfrm>
          <a:custGeom>
            <a:avLst/>
            <a:gdLst>
              <a:gd name="T0" fmla="*/ 2147483646 w 92"/>
              <a:gd name="T1" fmla="*/ 2147483646 h 181"/>
              <a:gd name="T2" fmla="*/ 2147483646 w 92"/>
              <a:gd name="T3" fmla="*/ 2147483646 h 181"/>
              <a:gd name="T4" fmla="*/ 2147483646 w 92"/>
              <a:gd name="T5" fmla="*/ 2147483646 h 181"/>
              <a:gd name="T6" fmla="*/ 2147483646 w 92"/>
              <a:gd name="T7" fmla="*/ 2147483646 h 181"/>
              <a:gd name="T8" fmla="*/ 2147483646 w 92"/>
              <a:gd name="T9" fmla="*/ 2147483646 h 181"/>
              <a:gd name="T10" fmla="*/ 2147483646 w 92"/>
              <a:gd name="T11" fmla="*/ 2147483646 h 181"/>
              <a:gd name="T12" fmla="*/ 2147483646 w 92"/>
              <a:gd name="T13" fmla="*/ 2147483646 h 181"/>
              <a:gd name="T14" fmla="*/ 2147483646 w 92"/>
              <a:gd name="T15" fmla="*/ 2147483646 h 181"/>
              <a:gd name="T16" fmla="*/ 2147483646 w 92"/>
              <a:gd name="T17" fmla="*/ 2147483646 h 181"/>
              <a:gd name="T18" fmla="*/ 2147483646 w 92"/>
              <a:gd name="T19" fmla="*/ 2147483646 h 181"/>
              <a:gd name="T20" fmla="*/ 2147483646 w 92"/>
              <a:gd name="T21" fmla="*/ 2147483646 h 181"/>
              <a:gd name="T22" fmla="*/ 2147483646 w 92"/>
              <a:gd name="T23" fmla="*/ 2147483646 h 181"/>
              <a:gd name="T24" fmla="*/ 2147483646 w 92"/>
              <a:gd name="T25" fmla="*/ 2147483646 h 181"/>
              <a:gd name="T26" fmla="*/ 2147483646 w 92"/>
              <a:gd name="T27" fmla="*/ 2147483646 h 181"/>
              <a:gd name="T28" fmla="*/ 2147483646 w 92"/>
              <a:gd name="T29" fmla="*/ 2147483646 h 181"/>
              <a:gd name="T30" fmla="*/ 2147483646 w 92"/>
              <a:gd name="T31" fmla="*/ 2147483646 h 181"/>
              <a:gd name="T32" fmla="*/ 2147483646 w 92"/>
              <a:gd name="T33" fmla="*/ 2147483646 h 181"/>
              <a:gd name="T34" fmla="*/ 2147483646 w 92"/>
              <a:gd name="T35" fmla="*/ 2147483646 h 181"/>
              <a:gd name="T36" fmla="*/ 2147483646 w 92"/>
              <a:gd name="T37" fmla="*/ 2147483646 h 181"/>
              <a:gd name="T38" fmla="*/ 2147483646 w 92"/>
              <a:gd name="T39" fmla="*/ 2147483646 h 181"/>
              <a:gd name="T40" fmla="*/ 2147483646 w 92"/>
              <a:gd name="T41" fmla="*/ 2147483646 h 181"/>
              <a:gd name="T42" fmla="*/ 2147483646 w 92"/>
              <a:gd name="T43" fmla="*/ 2147483646 h 181"/>
              <a:gd name="T44" fmla="*/ 2147483646 w 92"/>
              <a:gd name="T45" fmla="*/ 2147483646 h 181"/>
              <a:gd name="T46" fmla="*/ 2147483646 w 92"/>
              <a:gd name="T47" fmla="*/ 2147483646 h 181"/>
              <a:gd name="T48" fmla="*/ 2147483646 w 92"/>
              <a:gd name="T49" fmla="*/ 2147483646 h 181"/>
              <a:gd name="T50" fmla="*/ 2147483646 w 92"/>
              <a:gd name="T51" fmla="*/ 2147483646 h 181"/>
              <a:gd name="T52" fmla="*/ 2147483646 w 92"/>
              <a:gd name="T53" fmla="*/ 2147483646 h 181"/>
              <a:gd name="T54" fmla="*/ 2147483646 w 92"/>
              <a:gd name="T55" fmla="*/ 2147483646 h 181"/>
              <a:gd name="T56" fmla="*/ 2147483646 w 92"/>
              <a:gd name="T57" fmla="*/ 2147483646 h 181"/>
              <a:gd name="T58" fmla="*/ 2147483646 w 92"/>
              <a:gd name="T59" fmla="*/ 2147483646 h 181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92"/>
              <a:gd name="T91" fmla="*/ 0 h 181"/>
              <a:gd name="T92" fmla="*/ 92 w 92"/>
              <a:gd name="T93" fmla="*/ 181 h 181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92" h="181">
                <a:moveTo>
                  <a:pt x="30" y="181"/>
                </a:moveTo>
                <a:cubicBezTo>
                  <a:pt x="30" y="181"/>
                  <a:pt x="29" y="172"/>
                  <a:pt x="26" y="168"/>
                </a:cubicBezTo>
                <a:cubicBezTo>
                  <a:pt x="23" y="165"/>
                  <a:pt x="26" y="159"/>
                  <a:pt x="27" y="156"/>
                </a:cubicBezTo>
                <a:cubicBezTo>
                  <a:pt x="28" y="153"/>
                  <a:pt x="28" y="132"/>
                  <a:pt x="26" y="120"/>
                </a:cubicBezTo>
                <a:cubicBezTo>
                  <a:pt x="25" y="108"/>
                  <a:pt x="28" y="115"/>
                  <a:pt x="30" y="107"/>
                </a:cubicBezTo>
                <a:cubicBezTo>
                  <a:pt x="31" y="100"/>
                  <a:pt x="26" y="100"/>
                  <a:pt x="22" y="95"/>
                </a:cubicBezTo>
                <a:cubicBezTo>
                  <a:pt x="18" y="89"/>
                  <a:pt x="21" y="83"/>
                  <a:pt x="20" y="76"/>
                </a:cubicBezTo>
                <a:cubicBezTo>
                  <a:pt x="20" y="69"/>
                  <a:pt x="11" y="65"/>
                  <a:pt x="6" y="60"/>
                </a:cubicBezTo>
                <a:cubicBezTo>
                  <a:pt x="0" y="56"/>
                  <a:pt x="3" y="45"/>
                  <a:pt x="3" y="45"/>
                </a:cubicBezTo>
                <a:cubicBezTo>
                  <a:pt x="9" y="45"/>
                  <a:pt x="11" y="43"/>
                  <a:pt x="13" y="40"/>
                </a:cubicBezTo>
                <a:cubicBezTo>
                  <a:pt x="15" y="38"/>
                  <a:pt x="28" y="29"/>
                  <a:pt x="35" y="30"/>
                </a:cubicBezTo>
                <a:cubicBezTo>
                  <a:pt x="42" y="32"/>
                  <a:pt x="50" y="23"/>
                  <a:pt x="51" y="18"/>
                </a:cubicBezTo>
                <a:cubicBezTo>
                  <a:pt x="51" y="18"/>
                  <a:pt x="51" y="6"/>
                  <a:pt x="55" y="7"/>
                </a:cubicBezTo>
                <a:cubicBezTo>
                  <a:pt x="59" y="9"/>
                  <a:pt x="62" y="9"/>
                  <a:pt x="63" y="6"/>
                </a:cubicBezTo>
                <a:cubicBezTo>
                  <a:pt x="63" y="3"/>
                  <a:pt x="63" y="0"/>
                  <a:pt x="69" y="9"/>
                </a:cubicBezTo>
                <a:cubicBezTo>
                  <a:pt x="75" y="17"/>
                  <a:pt x="79" y="15"/>
                  <a:pt x="82" y="21"/>
                </a:cubicBezTo>
                <a:cubicBezTo>
                  <a:pt x="86" y="26"/>
                  <a:pt x="82" y="28"/>
                  <a:pt x="83" y="32"/>
                </a:cubicBezTo>
                <a:cubicBezTo>
                  <a:pt x="84" y="36"/>
                  <a:pt x="86" y="39"/>
                  <a:pt x="88" y="42"/>
                </a:cubicBezTo>
                <a:cubicBezTo>
                  <a:pt x="89" y="46"/>
                  <a:pt x="92" y="46"/>
                  <a:pt x="89" y="53"/>
                </a:cubicBezTo>
                <a:cubicBezTo>
                  <a:pt x="86" y="60"/>
                  <a:pt x="80" y="63"/>
                  <a:pt x="81" y="68"/>
                </a:cubicBezTo>
                <a:cubicBezTo>
                  <a:pt x="83" y="73"/>
                  <a:pt x="89" y="77"/>
                  <a:pt x="81" y="79"/>
                </a:cubicBezTo>
                <a:cubicBezTo>
                  <a:pt x="73" y="81"/>
                  <a:pt x="71" y="77"/>
                  <a:pt x="71" y="80"/>
                </a:cubicBezTo>
                <a:cubicBezTo>
                  <a:pt x="70" y="84"/>
                  <a:pt x="67" y="82"/>
                  <a:pt x="66" y="85"/>
                </a:cubicBezTo>
                <a:cubicBezTo>
                  <a:pt x="64" y="88"/>
                  <a:pt x="77" y="95"/>
                  <a:pt x="66" y="97"/>
                </a:cubicBezTo>
                <a:cubicBezTo>
                  <a:pt x="55" y="99"/>
                  <a:pt x="51" y="100"/>
                  <a:pt x="54" y="108"/>
                </a:cubicBezTo>
                <a:cubicBezTo>
                  <a:pt x="57" y="117"/>
                  <a:pt x="56" y="122"/>
                  <a:pt x="55" y="127"/>
                </a:cubicBezTo>
                <a:cubicBezTo>
                  <a:pt x="54" y="131"/>
                  <a:pt x="54" y="132"/>
                  <a:pt x="55" y="138"/>
                </a:cubicBezTo>
                <a:cubicBezTo>
                  <a:pt x="57" y="145"/>
                  <a:pt x="58" y="147"/>
                  <a:pt x="58" y="153"/>
                </a:cubicBezTo>
                <a:cubicBezTo>
                  <a:pt x="58" y="158"/>
                  <a:pt x="53" y="176"/>
                  <a:pt x="53" y="176"/>
                </a:cubicBezTo>
                <a:cubicBezTo>
                  <a:pt x="53" y="176"/>
                  <a:pt x="36" y="180"/>
                  <a:pt x="30" y="1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36" name="Freeform 672"/>
          <p:cNvSpPr>
            <a:spLocks/>
          </p:cNvSpPr>
          <p:nvPr userDrawn="1"/>
        </p:nvSpPr>
        <p:spPr bwMode="auto">
          <a:xfrm>
            <a:off x="5475582" y="4411665"/>
            <a:ext cx="403697" cy="308217"/>
          </a:xfrm>
          <a:custGeom>
            <a:avLst/>
            <a:gdLst>
              <a:gd name="T0" fmla="*/ 2147483646 w 434"/>
              <a:gd name="T1" fmla="*/ 2147483646 h 330"/>
              <a:gd name="T2" fmla="*/ 2147483646 w 434"/>
              <a:gd name="T3" fmla="*/ 2147483646 h 330"/>
              <a:gd name="T4" fmla="*/ 2147483646 w 434"/>
              <a:gd name="T5" fmla="*/ 2147483646 h 330"/>
              <a:gd name="T6" fmla="*/ 2147483646 w 434"/>
              <a:gd name="T7" fmla="*/ 2147483646 h 330"/>
              <a:gd name="T8" fmla="*/ 2147483646 w 434"/>
              <a:gd name="T9" fmla="*/ 2147483646 h 330"/>
              <a:gd name="T10" fmla="*/ 2147483646 w 434"/>
              <a:gd name="T11" fmla="*/ 2147483646 h 330"/>
              <a:gd name="T12" fmla="*/ 2147483646 w 434"/>
              <a:gd name="T13" fmla="*/ 2147483646 h 330"/>
              <a:gd name="T14" fmla="*/ 2147483646 w 434"/>
              <a:gd name="T15" fmla="*/ 2147483646 h 330"/>
              <a:gd name="T16" fmla="*/ 2147483646 w 434"/>
              <a:gd name="T17" fmla="*/ 2147483646 h 330"/>
              <a:gd name="T18" fmla="*/ 2147483646 w 434"/>
              <a:gd name="T19" fmla="*/ 2147483646 h 330"/>
              <a:gd name="T20" fmla="*/ 2147483646 w 434"/>
              <a:gd name="T21" fmla="*/ 2147483646 h 330"/>
              <a:gd name="T22" fmla="*/ 2147483646 w 434"/>
              <a:gd name="T23" fmla="*/ 2147483646 h 330"/>
              <a:gd name="T24" fmla="*/ 2147483646 w 434"/>
              <a:gd name="T25" fmla="*/ 2147483646 h 330"/>
              <a:gd name="T26" fmla="*/ 2147483646 w 434"/>
              <a:gd name="T27" fmla="*/ 2147483646 h 330"/>
              <a:gd name="T28" fmla="*/ 0 w 434"/>
              <a:gd name="T29" fmla="*/ 2147483646 h 330"/>
              <a:gd name="T30" fmla="*/ 2147483646 w 434"/>
              <a:gd name="T31" fmla="*/ 2147483646 h 330"/>
              <a:gd name="T32" fmla="*/ 2147483646 w 434"/>
              <a:gd name="T33" fmla="*/ 2147483646 h 330"/>
              <a:gd name="T34" fmla="*/ 2147483646 w 434"/>
              <a:gd name="T35" fmla="*/ 2147483646 h 330"/>
              <a:gd name="T36" fmla="*/ 2147483646 w 434"/>
              <a:gd name="T37" fmla="*/ 2147483646 h 330"/>
              <a:gd name="T38" fmla="*/ 2147483646 w 434"/>
              <a:gd name="T39" fmla="*/ 2147483646 h 330"/>
              <a:gd name="T40" fmla="*/ 2147483646 w 434"/>
              <a:gd name="T41" fmla="*/ 2147483646 h 330"/>
              <a:gd name="T42" fmla="*/ 2147483646 w 434"/>
              <a:gd name="T43" fmla="*/ 2147483646 h 330"/>
              <a:gd name="T44" fmla="*/ 2147483646 w 434"/>
              <a:gd name="T45" fmla="*/ 2147483646 h 330"/>
              <a:gd name="T46" fmla="*/ 2147483646 w 434"/>
              <a:gd name="T47" fmla="*/ 2147483646 h 330"/>
              <a:gd name="T48" fmla="*/ 2147483646 w 434"/>
              <a:gd name="T49" fmla="*/ 2147483646 h 330"/>
              <a:gd name="T50" fmla="*/ 2147483646 w 434"/>
              <a:gd name="T51" fmla="*/ 2147483646 h 330"/>
              <a:gd name="T52" fmla="*/ 2147483646 w 434"/>
              <a:gd name="T53" fmla="*/ 2147483646 h 330"/>
              <a:gd name="T54" fmla="*/ 2147483646 w 434"/>
              <a:gd name="T55" fmla="*/ 2147483646 h 330"/>
              <a:gd name="T56" fmla="*/ 2147483646 w 434"/>
              <a:gd name="T57" fmla="*/ 2147483646 h 330"/>
              <a:gd name="T58" fmla="*/ 2147483646 w 434"/>
              <a:gd name="T59" fmla="*/ 2147483646 h 330"/>
              <a:gd name="T60" fmla="*/ 2147483646 w 434"/>
              <a:gd name="T61" fmla="*/ 2147483646 h 330"/>
              <a:gd name="T62" fmla="*/ 2147483646 w 434"/>
              <a:gd name="T63" fmla="*/ 2147483646 h 330"/>
              <a:gd name="T64" fmla="*/ 2147483646 w 434"/>
              <a:gd name="T65" fmla="*/ 2147483646 h 330"/>
              <a:gd name="T66" fmla="*/ 2147483646 w 434"/>
              <a:gd name="T67" fmla="*/ 2147483646 h 330"/>
              <a:gd name="T68" fmla="*/ 2147483646 w 434"/>
              <a:gd name="T69" fmla="*/ 2147483646 h 330"/>
              <a:gd name="T70" fmla="*/ 2147483646 w 434"/>
              <a:gd name="T71" fmla="*/ 2147483646 h 330"/>
              <a:gd name="T72" fmla="*/ 2147483646 w 434"/>
              <a:gd name="T73" fmla="*/ 2147483646 h 330"/>
              <a:gd name="T74" fmla="*/ 2147483646 w 434"/>
              <a:gd name="T75" fmla="*/ 2147483646 h 330"/>
              <a:gd name="T76" fmla="*/ 2147483646 w 434"/>
              <a:gd name="T77" fmla="*/ 2147483646 h 330"/>
              <a:gd name="T78" fmla="*/ 2147483646 w 434"/>
              <a:gd name="T79" fmla="*/ 2147483646 h 330"/>
              <a:gd name="T80" fmla="*/ 2147483646 w 434"/>
              <a:gd name="T81" fmla="*/ 2147483646 h 330"/>
              <a:gd name="T82" fmla="*/ 2147483646 w 434"/>
              <a:gd name="T83" fmla="*/ 2147483646 h 330"/>
              <a:gd name="T84" fmla="*/ 2147483646 w 434"/>
              <a:gd name="T85" fmla="*/ 2147483646 h 330"/>
              <a:gd name="T86" fmla="*/ 2147483646 w 434"/>
              <a:gd name="T87" fmla="*/ 2147483646 h 330"/>
              <a:gd name="T88" fmla="*/ 2147483646 w 434"/>
              <a:gd name="T89" fmla="*/ 2147483646 h 330"/>
              <a:gd name="T90" fmla="*/ 2147483646 w 434"/>
              <a:gd name="T91" fmla="*/ 2147483646 h 330"/>
              <a:gd name="T92" fmla="*/ 2147483646 w 434"/>
              <a:gd name="T93" fmla="*/ 2147483646 h 330"/>
              <a:gd name="T94" fmla="*/ 2147483646 w 434"/>
              <a:gd name="T95" fmla="*/ 2147483646 h 330"/>
              <a:gd name="T96" fmla="*/ 2147483646 w 434"/>
              <a:gd name="T97" fmla="*/ 2147483646 h 330"/>
              <a:gd name="T98" fmla="*/ 2147483646 w 434"/>
              <a:gd name="T99" fmla="*/ 2147483646 h 330"/>
              <a:gd name="T100" fmla="*/ 2147483646 w 434"/>
              <a:gd name="T101" fmla="*/ 2147483646 h 330"/>
              <a:gd name="T102" fmla="*/ 2147483646 w 434"/>
              <a:gd name="T103" fmla="*/ 2147483646 h 330"/>
              <a:gd name="T104" fmla="*/ 2147483646 w 434"/>
              <a:gd name="T105" fmla="*/ 2147483646 h 330"/>
              <a:gd name="T106" fmla="*/ 2147483646 w 434"/>
              <a:gd name="T107" fmla="*/ 2147483646 h 330"/>
              <a:gd name="T108" fmla="*/ 2147483646 w 434"/>
              <a:gd name="T109" fmla="*/ 2147483646 h 330"/>
              <a:gd name="T110" fmla="*/ 2147483646 w 434"/>
              <a:gd name="T111" fmla="*/ 2147483646 h 330"/>
              <a:gd name="T112" fmla="*/ 2147483646 w 434"/>
              <a:gd name="T113" fmla="*/ 2147483646 h 330"/>
              <a:gd name="T114" fmla="*/ 2147483646 w 434"/>
              <a:gd name="T115" fmla="*/ 2147483646 h 330"/>
              <a:gd name="T116" fmla="*/ 2147483646 w 434"/>
              <a:gd name="T117" fmla="*/ 2147483646 h 330"/>
              <a:gd name="T118" fmla="*/ 2147483646 w 434"/>
              <a:gd name="T119" fmla="*/ 2147483646 h 330"/>
              <a:gd name="T120" fmla="*/ 2147483646 w 434"/>
              <a:gd name="T121" fmla="*/ 2147483646 h 33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34"/>
              <a:gd name="T184" fmla="*/ 0 h 330"/>
              <a:gd name="T185" fmla="*/ 434 w 434"/>
              <a:gd name="T186" fmla="*/ 330 h 33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34" h="330">
                <a:moveTo>
                  <a:pt x="408" y="23"/>
                </a:moveTo>
                <a:cubicBezTo>
                  <a:pt x="385" y="35"/>
                  <a:pt x="385" y="35"/>
                  <a:pt x="385" y="35"/>
                </a:cubicBezTo>
                <a:cubicBezTo>
                  <a:pt x="385" y="35"/>
                  <a:pt x="362" y="0"/>
                  <a:pt x="328" y="8"/>
                </a:cubicBezTo>
                <a:cubicBezTo>
                  <a:pt x="294" y="14"/>
                  <a:pt x="174" y="105"/>
                  <a:pt x="167" y="112"/>
                </a:cubicBezTo>
                <a:cubicBezTo>
                  <a:pt x="159" y="119"/>
                  <a:pt x="122" y="126"/>
                  <a:pt x="112" y="126"/>
                </a:cubicBezTo>
                <a:cubicBezTo>
                  <a:pt x="112" y="126"/>
                  <a:pt x="116" y="172"/>
                  <a:pt x="114" y="188"/>
                </a:cubicBezTo>
                <a:cubicBezTo>
                  <a:pt x="112" y="203"/>
                  <a:pt x="104" y="203"/>
                  <a:pt x="105" y="210"/>
                </a:cubicBezTo>
                <a:cubicBezTo>
                  <a:pt x="106" y="216"/>
                  <a:pt x="99" y="230"/>
                  <a:pt x="93" y="233"/>
                </a:cubicBezTo>
                <a:cubicBezTo>
                  <a:pt x="88" y="236"/>
                  <a:pt x="73" y="233"/>
                  <a:pt x="68" y="233"/>
                </a:cubicBezTo>
                <a:cubicBezTo>
                  <a:pt x="62" y="233"/>
                  <a:pt x="52" y="231"/>
                  <a:pt x="48" y="232"/>
                </a:cubicBezTo>
                <a:cubicBezTo>
                  <a:pt x="44" y="233"/>
                  <a:pt x="30" y="232"/>
                  <a:pt x="30" y="232"/>
                </a:cubicBezTo>
                <a:cubicBezTo>
                  <a:pt x="30" y="232"/>
                  <a:pt x="30" y="243"/>
                  <a:pt x="17" y="241"/>
                </a:cubicBezTo>
                <a:cubicBezTo>
                  <a:pt x="13" y="240"/>
                  <a:pt x="9" y="238"/>
                  <a:pt x="4" y="236"/>
                </a:cubicBezTo>
                <a:cubicBezTo>
                  <a:pt x="3" y="236"/>
                  <a:pt x="3" y="236"/>
                  <a:pt x="3" y="236"/>
                </a:cubicBezTo>
                <a:cubicBezTo>
                  <a:pt x="0" y="246"/>
                  <a:pt x="0" y="246"/>
                  <a:pt x="0" y="246"/>
                </a:cubicBezTo>
                <a:cubicBezTo>
                  <a:pt x="0" y="246"/>
                  <a:pt x="2" y="253"/>
                  <a:pt x="1" y="256"/>
                </a:cubicBezTo>
                <a:cubicBezTo>
                  <a:pt x="1" y="259"/>
                  <a:pt x="12" y="273"/>
                  <a:pt x="17" y="279"/>
                </a:cubicBezTo>
                <a:cubicBezTo>
                  <a:pt x="23" y="285"/>
                  <a:pt x="26" y="283"/>
                  <a:pt x="27" y="286"/>
                </a:cubicBezTo>
                <a:cubicBezTo>
                  <a:pt x="29" y="288"/>
                  <a:pt x="26" y="289"/>
                  <a:pt x="22" y="289"/>
                </a:cubicBezTo>
                <a:cubicBezTo>
                  <a:pt x="19" y="290"/>
                  <a:pt x="23" y="293"/>
                  <a:pt x="23" y="298"/>
                </a:cubicBezTo>
                <a:cubicBezTo>
                  <a:pt x="24" y="304"/>
                  <a:pt x="35" y="305"/>
                  <a:pt x="39" y="304"/>
                </a:cubicBezTo>
                <a:cubicBezTo>
                  <a:pt x="43" y="302"/>
                  <a:pt x="45" y="304"/>
                  <a:pt x="50" y="304"/>
                </a:cubicBezTo>
                <a:cubicBezTo>
                  <a:pt x="56" y="304"/>
                  <a:pt x="49" y="311"/>
                  <a:pt x="52" y="317"/>
                </a:cubicBezTo>
                <a:cubicBezTo>
                  <a:pt x="55" y="322"/>
                  <a:pt x="60" y="322"/>
                  <a:pt x="58" y="327"/>
                </a:cubicBezTo>
                <a:cubicBezTo>
                  <a:pt x="58" y="327"/>
                  <a:pt x="58" y="315"/>
                  <a:pt x="62" y="316"/>
                </a:cubicBezTo>
                <a:cubicBezTo>
                  <a:pt x="66" y="318"/>
                  <a:pt x="69" y="318"/>
                  <a:pt x="70" y="315"/>
                </a:cubicBezTo>
                <a:cubicBezTo>
                  <a:pt x="70" y="312"/>
                  <a:pt x="70" y="309"/>
                  <a:pt x="76" y="318"/>
                </a:cubicBezTo>
                <a:cubicBezTo>
                  <a:pt x="82" y="326"/>
                  <a:pt x="86" y="325"/>
                  <a:pt x="89" y="329"/>
                </a:cubicBezTo>
                <a:cubicBezTo>
                  <a:pt x="89" y="329"/>
                  <a:pt x="89" y="330"/>
                  <a:pt x="89" y="330"/>
                </a:cubicBezTo>
                <a:cubicBezTo>
                  <a:pt x="89" y="330"/>
                  <a:pt x="89" y="330"/>
                  <a:pt x="89" y="330"/>
                </a:cubicBezTo>
                <a:cubicBezTo>
                  <a:pt x="93" y="316"/>
                  <a:pt x="93" y="316"/>
                  <a:pt x="93" y="316"/>
                </a:cubicBezTo>
                <a:cubicBezTo>
                  <a:pt x="93" y="316"/>
                  <a:pt x="93" y="308"/>
                  <a:pt x="96" y="307"/>
                </a:cubicBezTo>
                <a:cubicBezTo>
                  <a:pt x="100" y="307"/>
                  <a:pt x="103" y="306"/>
                  <a:pt x="104" y="300"/>
                </a:cubicBezTo>
                <a:cubicBezTo>
                  <a:pt x="106" y="294"/>
                  <a:pt x="104" y="296"/>
                  <a:pt x="106" y="291"/>
                </a:cubicBezTo>
                <a:cubicBezTo>
                  <a:pt x="108" y="286"/>
                  <a:pt x="111" y="275"/>
                  <a:pt x="122" y="277"/>
                </a:cubicBezTo>
                <a:cubicBezTo>
                  <a:pt x="134" y="278"/>
                  <a:pt x="139" y="279"/>
                  <a:pt x="140" y="275"/>
                </a:cubicBezTo>
                <a:cubicBezTo>
                  <a:pt x="141" y="272"/>
                  <a:pt x="140" y="265"/>
                  <a:pt x="151" y="272"/>
                </a:cubicBezTo>
                <a:cubicBezTo>
                  <a:pt x="162" y="280"/>
                  <a:pt x="173" y="281"/>
                  <a:pt x="175" y="282"/>
                </a:cubicBezTo>
                <a:cubicBezTo>
                  <a:pt x="177" y="282"/>
                  <a:pt x="181" y="285"/>
                  <a:pt x="181" y="285"/>
                </a:cubicBezTo>
                <a:cubicBezTo>
                  <a:pt x="181" y="285"/>
                  <a:pt x="174" y="295"/>
                  <a:pt x="180" y="296"/>
                </a:cubicBezTo>
                <a:cubicBezTo>
                  <a:pt x="186" y="298"/>
                  <a:pt x="185" y="298"/>
                  <a:pt x="193" y="296"/>
                </a:cubicBezTo>
                <a:cubicBezTo>
                  <a:pt x="202" y="293"/>
                  <a:pt x="200" y="289"/>
                  <a:pt x="208" y="291"/>
                </a:cubicBezTo>
                <a:cubicBezTo>
                  <a:pt x="215" y="292"/>
                  <a:pt x="223" y="289"/>
                  <a:pt x="225" y="290"/>
                </a:cubicBezTo>
                <a:cubicBezTo>
                  <a:pt x="227" y="291"/>
                  <a:pt x="236" y="305"/>
                  <a:pt x="242" y="304"/>
                </a:cubicBezTo>
                <a:cubicBezTo>
                  <a:pt x="249" y="303"/>
                  <a:pt x="267" y="298"/>
                  <a:pt x="270" y="294"/>
                </a:cubicBezTo>
                <a:cubicBezTo>
                  <a:pt x="274" y="291"/>
                  <a:pt x="277" y="276"/>
                  <a:pt x="294" y="285"/>
                </a:cubicBezTo>
                <a:cubicBezTo>
                  <a:pt x="311" y="294"/>
                  <a:pt x="303" y="292"/>
                  <a:pt x="319" y="293"/>
                </a:cubicBezTo>
                <a:cubicBezTo>
                  <a:pt x="335" y="294"/>
                  <a:pt x="327" y="291"/>
                  <a:pt x="338" y="289"/>
                </a:cubicBezTo>
                <a:cubicBezTo>
                  <a:pt x="348" y="287"/>
                  <a:pt x="346" y="284"/>
                  <a:pt x="353" y="283"/>
                </a:cubicBezTo>
                <a:cubicBezTo>
                  <a:pt x="361" y="282"/>
                  <a:pt x="368" y="283"/>
                  <a:pt x="368" y="283"/>
                </a:cubicBezTo>
                <a:cubicBezTo>
                  <a:pt x="368" y="283"/>
                  <a:pt x="368" y="265"/>
                  <a:pt x="367" y="262"/>
                </a:cubicBezTo>
                <a:cubicBezTo>
                  <a:pt x="366" y="259"/>
                  <a:pt x="372" y="259"/>
                  <a:pt x="376" y="249"/>
                </a:cubicBezTo>
                <a:cubicBezTo>
                  <a:pt x="380" y="239"/>
                  <a:pt x="379" y="237"/>
                  <a:pt x="385" y="230"/>
                </a:cubicBezTo>
                <a:cubicBezTo>
                  <a:pt x="392" y="223"/>
                  <a:pt x="396" y="216"/>
                  <a:pt x="401" y="212"/>
                </a:cubicBezTo>
                <a:cubicBezTo>
                  <a:pt x="406" y="208"/>
                  <a:pt x="419" y="192"/>
                  <a:pt x="419" y="192"/>
                </a:cubicBezTo>
                <a:cubicBezTo>
                  <a:pt x="419" y="192"/>
                  <a:pt x="423" y="141"/>
                  <a:pt x="424" y="129"/>
                </a:cubicBezTo>
                <a:cubicBezTo>
                  <a:pt x="426" y="118"/>
                  <a:pt x="434" y="108"/>
                  <a:pt x="431" y="101"/>
                </a:cubicBezTo>
                <a:cubicBezTo>
                  <a:pt x="428" y="93"/>
                  <a:pt x="418" y="92"/>
                  <a:pt x="417" y="88"/>
                </a:cubicBezTo>
                <a:cubicBezTo>
                  <a:pt x="416" y="83"/>
                  <a:pt x="418" y="76"/>
                  <a:pt x="416" y="71"/>
                </a:cubicBezTo>
                <a:cubicBezTo>
                  <a:pt x="415" y="67"/>
                  <a:pt x="409" y="61"/>
                  <a:pt x="408" y="55"/>
                </a:cubicBezTo>
                <a:cubicBezTo>
                  <a:pt x="407" y="48"/>
                  <a:pt x="408" y="23"/>
                  <a:pt x="408" y="2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37" name="Freeform 673"/>
          <p:cNvSpPr>
            <a:spLocks/>
          </p:cNvSpPr>
          <p:nvPr userDrawn="1"/>
        </p:nvSpPr>
        <p:spPr bwMode="auto">
          <a:xfrm>
            <a:off x="5817300" y="4418364"/>
            <a:ext cx="264664" cy="428824"/>
          </a:xfrm>
          <a:custGeom>
            <a:avLst/>
            <a:gdLst>
              <a:gd name="T0" fmla="*/ 2147483646 w 285"/>
              <a:gd name="T1" fmla="*/ 2147483646 h 459"/>
              <a:gd name="T2" fmla="*/ 2147483646 w 285"/>
              <a:gd name="T3" fmla="*/ 0 h 459"/>
              <a:gd name="T4" fmla="*/ 2147483646 w 285"/>
              <a:gd name="T5" fmla="*/ 2147483646 h 459"/>
              <a:gd name="T6" fmla="*/ 2147483646 w 285"/>
              <a:gd name="T7" fmla="*/ 2147483646 h 459"/>
              <a:gd name="T8" fmla="*/ 2147483646 w 285"/>
              <a:gd name="T9" fmla="*/ 2147483646 h 459"/>
              <a:gd name="T10" fmla="*/ 2147483646 w 285"/>
              <a:gd name="T11" fmla="*/ 2147483646 h 459"/>
              <a:gd name="T12" fmla="*/ 2147483646 w 285"/>
              <a:gd name="T13" fmla="*/ 2147483646 h 459"/>
              <a:gd name="T14" fmla="*/ 2147483646 w 285"/>
              <a:gd name="T15" fmla="*/ 2147483646 h 459"/>
              <a:gd name="T16" fmla="*/ 2147483646 w 285"/>
              <a:gd name="T17" fmla="*/ 2147483646 h 459"/>
              <a:gd name="T18" fmla="*/ 2147483646 w 285"/>
              <a:gd name="T19" fmla="*/ 2147483646 h 459"/>
              <a:gd name="T20" fmla="*/ 2147483646 w 285"/>
              <a:gd name="T21" fmla="*/ 2147483646 h 459"/>
              <a:gd name="T22" fmla="*/ 2147483646 w 285"/>
              <a:gd name="T23" fmla="*/ 2147483646 h 459"/>
              <a:gd name="T24" fmla="*/ 2147483646 w 285"/>
              <a:gd name="T25" fmla="*/ 2147483646 h 459"/>
              <a:gd name="T26" fmla="*/ 2147483646 w 285"/>
              <a:gd name="T27" fmla="*/ 2147483646 h 459"/>
              <a:gd name="T28" fmla="*/ 2147483646 w 285"/>
              <a:gd name="T29" fmla="*/ 2147483646 h 459"/>
              <a:gd name="T30" fmla="*/ 2147483646 w 285"/>
              <a:gd name="T31" fmla="*/ 2147483646 h 459"/>
              <a:gd name="T32" fmla="*/ 2147483646 w 285"/>
              <a:gd name="T33" fmla="*/ 2147483646 h 459"/>
              <a:gd name="T34" fmla="*/ 2147483646 w 285"/>
              <a:gd name="T35" fmla="*/ 2147483646 h 459"/>
              <a:gd name="T36" fmla="*/ 2147483646 w 285"/>
              <a:gd name="T37" fmla="*/ 2147483646 h 459"/>
              <a:gd name="T38" fmla="*/ 2147483646 w 285"/>
              <a:gd name="T39" fmla="*/ 2147483646 h 459"/>
              <a:gd name="T40" fmla="*/ 2147483646 w 285"/>
              <a:gd name="T41" fmla="*/ 2147483646 h 459"/>
              <a:gd name="T42" fmla="*/ 2147483646 w 285"/>
              <a:gd name="T43" fmla="*/ 2147483646 h 459"/>
              <a:gd name="T44" fmla="*/ 2147483646 w 285"/>
              <a:gd name="T45" fmla="*/ 2147483646 h 459"/>
              <a:gd name="T46" fmla="*/ 2147483646 w 285"/>
              <a:gd name="T47" fmla="*/ 2147483646 h 459"/>
              <a:gd name="T48" fmla="*/ 2147483646 w 285"/>
              <a:gd name="T49" fmla="*/ 2147483646 h 459"/>
              <a:gd name="T50" fmla="*/ 2147483646 w 285"/>
              <a:gd name="T51" fmla="*/ 2147483646 h 459"/>
              <a:gd name="T52" fmla="*/ 2147483646 w 285"/>
              <a:gd name="T53" fmla="*/ 2147483646 h 459"/>
              <a:gd name="T54" fmla="*/ 2147483646 w 285"/>
              <a:gd name="T55" fmla="*/ 2147483646 h 459"/>
              <a:gd name="T56" fmla="*/ 2147483646 w 285"/>
              <a:gd name="T57" fmla="*/ 2147483646 h 459"/>
              <a:gd name="T58" fmla="*/ 2147483646 w 285"/>
              <a:gd name="T59" fmla="*/ 2147483646 h 459"/>
              <a:gd name="T60" fmla="*/ 2147483646 w 285"/>
              <a:gd name="T61" fmla="*/ 2147483646 h 459"/>
              <a:gd name="T62" fmla="*/ 2147483646 w 285"/>
              <a:gd name="T63" fmla="*/ 2147483646 h 459"/>
              <a:gd name="T64" fmla="*/ 2147483646 w 285"/>
              <a:gd name="T65" fmla="*/ 2147483646 h 459"/>
              <a:gd name="T66" fmla="*/ 2147483646 w 285"/>
              <a:gd name="T67" fmla="*/ 2147483646 h 459"/>
              <a:gd name="T68" fmla="*/ 2147483646 w 285"/>
              <a:gd name="T69" fmla="*/ 2147483646 h 459"/>
              <a:gd name="T70" fmla="*/ 2147483646 w 285"/>
              <a:gd name="T71" fmla="*/ 2147483646 h 459"/>
              <a:gd name="T72" fmla="*/ 2147483646 w 285"/>
              <a:gd name="T73" fmla="*/ 2147483646 h 459"/>
              <a:gd name="T74" fmla="*/ 2147483646 w 285"/>
              <a:gd name="T75" fmla="*/ 2147483646 h 459"/>
              <a:gd name="T76" fmla="*/ 2147483646 w 285"/>
              <a:gd name="T77" fmla="*/ 2147483646 h 459"/>
              <a:gd name="T78" fmla="*/ 2147483646 w 285"/>
              <a:gd name="T79" fmla="*/ 2147483646 h 459"/>
              <a:gd name="T80" fmla="*/ 2147483646 w 285"/>
              <a:gd name="T81" fmla="*/ 2147483646 h 459"/>
              <a:gd name="T82" fmla="*/ 2147483646 w 285"/>
              <a:gd name="T83" fmla="*/ 2147483646 h 459"/>
              <a:gd name="T84" fmla="*/ 2147483646 w 285"/>
              <a:gd name="T85" fmla="*/ 2147483646 h 459"/>
              <a:gd name="T86" fmla="*/ 2147483646 w 285"/>
              <a:gd name="T87" fmla="*/ 2147483646 h 459"/>
              <a:gd name="T88" fmla="*/ 2147483646 w 285"/>
              <a:gd name="T89" fmla="*/ 2147483646 h 459"/>
              <a:gd name="T90" fmla="*/ 2147483646 w 285"/>
              <a:gd name="T91" fmla="*/ 2147483646 h 459"/>
              <a:gd name="T92" fmla="*/ 2147483646 w 285"/>
              <a:gd name="T93" fmla="*/ 2147483646 h 459"/>
              <a:gd name="T94" fmla="*/ 2147483646 w 285"/>
              <a:gd name="T95" fmla="*/ 2147483646 h 459"/>
              <a:gd name="T96" fmla="*/ 2147483646 w 285"/>
              <a:gd name="T97" fmla="*/ 2147483646 h 459"/>
              <a:gd name="T98" fmla="*/ 2147483646 w 285"/>
              <a:gd name="T99" fmla="*/ 2147483646 h 459"/>
              <a:gd name="T100" fmla="*/ 2147483646 w 285"/>
              <a:gd name="T101" fmla="*/ 2147483646 h 459"/>
              <a:gd name="T102" fmla="*/ 2147483646 w 285"/>
              <a:gd name="T103" fmla="*/ 2147483646 h 459"/>
              <a:gd name="T104" fmla="*/ 2147483646 w 285"/>
              <a:gd name="T105" fmla="*/ 2147483646 h 459"/>
              <a:gd name="T106" fmla="*/ 2147483646 w 285"/>
              <a:gd name="T107" fmla="*/ 2147483646 h 459"/>
              <a:gd name="T108" fmla="*/ 2147483646 w 285"/>
              <a:gd name="T109" fmla="*/ 2147483646 h 459"/>
              <a:gd name="T110" fmla="*/ 2147483646 w 285"/>
              <a:gd name="T111" fmla="*/ 2147483646 h 45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85"/>
              <a:gd name="T169" fmla="*/ 0 h 459"/>
              <a:gd name="T170" fmla="*/ 285 w 285"/>
              <a:gd name="T171" fmla="*/ 459 h 459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85" h="459">
                <a:moveTo>
                  <a:pt x="280" y="111"/>
                </a:moveTo>
                <a:cubicBezTo>
                  <a:pt x="71" y="0"/>
                  <a:pt x="71" y="0"/>
                  <a:pt x="71" y="0"/>
                </a:cubicBezTo>
                <a:cubicBezTo>
                  <a:pt x="44" y="15"/>
                  <a:pt x="44" y="15"/>
                  <a:pt x="44" y="15"/>
                </a:cubicBezTo>
                <a:cubicBezTo>
                  <a:pt x="42" y="16"/>
                  <a:pt x="42" y="16"/>
                  <a:pt x="42" y="16"/>
                </a:cubicBezTo>
                <a:cubicBezTo>
                  <a:pt x="42" y="16"/>
                  <a:pt x="41" y="41"/>
                  <a:pt x="42" y="48"/>
                </a:cubicBezTo>
                <a:cubicBezTo>
                  <a:pt x="43" y="54"/>
                  <a:pt x="49" y="60"/>
                  <a:pt x="50" y="64"/>
                </a:cubicBezTo>
                <a:cubicBezTo>
                  <a:pt x="52" y="69"/>
                  <a:pt x="50" y="76"/>
                  <a:pt x="51" y="81"/>
                </a:cubicBezTo>
                <a:cubicBezTo>
                  <a:pt x="52" y="85"/>
                  <a:pt x="62" y="86"/>
                  <a:pt x="65" y="94"/>
                </a:cubicBezTo>
                <a:cubicBezTo>
                  <a:pt x="68" y="101"/>
                  <a:pt x="60" y="111"/>
                  <a:pt x="58" y="122"/>
                </a:cubicBezTo>
                <a:cubicBezTo>
                  <a:pt x="57" y="134"/>
                  <a:pt x="53" y="185"/>
                  <a:pt x="53" y="185"/>
                </a:cubicBezTo>
                <a:cubicBezTo>
                  <a:pt x="53" y="185"/>
                  <a:pt x="40" y="201"/>
                  <a:pt x="35" y="205"/>
                </a:cubicBezTo>
                <a:cubicBezTo>
                  <a:pt x="30" y="209"/>
                  <a:pt x="26" y="216"/>
                  <a:pt x="19" y="223"/>
                </a:cubicBezTo>
                <a:cubicBezTo>
                  <a:pt x="13" y="230"/>
                  <a:pt x="14" y="232"/>
                  <a:pt x="10" y="242"/>
                </a:cubicBezTo>
                <a:cubicBezTo>
                  <a:pt x="6" y="252"/>
                  <a:pt x="0" y="252"/>
                  <a:pt x="1" y="255"/>
                </a:cubicBezTo>
                <a:cubicBezTo>
                  <a:pt x="2" y="258"/>
                  <a:pt x="2" y="276"/>
                  <a:pt x="2" y="276"/>
                </a:cubicBezTo>
                <a:cubicBezTo>
                  <a:pt x="2" y="276"/>
                  <a:pt x="6" y="292"/>
                  <a:pt x="17" y="292"/>
                </a:cubicBezTo>
                <a:cubicBezTo>
                  <a:pt x="28" y="292"/>
                  <a:pt x="30" y="295"/>
                  <a:pt x="32" y="302"/>
                </a:cubicBezTo>
                <a:cubicBezTo>
                  <a:pt x="33" y="310"/>
                  <a:pt x="40" y="315"/>
                  <a:pt x="43" y="321"/>
                </a:cubicBezTo>
                <a:cubicBezTo>
                  <a:pt x="46" y="327"/>
                  <a:pt x="39" y="335"/>
                  <a:pt x="43" y="346"/>
                </a:cubicBezTo>
                <a:cubicBezTo>
                  <a:pt x="48" y="357"/>
                  <a:pt x="45" y="365"/>
                  <a:pt x="49" y="369"/>
                </a:cubicBezTo>
                <a:cubicBezTo>
                  <a:pt x="54" y="373"/>
                  <a:pt x="59" y="384"/>
                  <a:pt x="46" y="384"/>
                </a:cubicBezTo>
                <a:cubicBezTo>
                  <a:pt x="34" y="384"/>
                  <a:pt x="15" y="372"/>
                  <a:pt x="13" y="383"/>
                </a:cubicBezTo>
                <a:cubicBezTo>
                  <a:pt x="10" y="394"/>
                  <a:pt x="8" y="394"/>
                  <a:pt x="18" y="401"/>
                </a:cubicBezTo>
                <a:cubicBezTo>
                  <a:pt x="27" y="407"/>
                  <a:pt x="33" y="412"/>
                  <a:pt x="38" y="419"/>
                </a:cubicBezTo>
                <a:cubicBezTo>
                  <a:pt x="42" y="426"/>
                  <a:pt x="54" y="452"/>
                  <a:pt x="54" y="452"/>
                </a:cubicBezTo>
                <a:cubicBezTo>
                  <a:pt x="54" y="452"/>
                  <a:pt x="62" y="458"/>
                  <a:pt x="69" y="453"/>
                </a:cubicBezTo>
                <a:cubicBezTo>
                  <a:pt x="76" y="447"/>
                  <a:pt x="80" y="437"/>
                  <a:pt x="83" y="443"/>
                </a:cubicBezTo>
                <a:cubicBezTo>
                  <a:pt x="86" y="449"/>
                  <a:pt x="86" y="459"/>
                  <a:pt x="93" y="450"/>
                </a:cubicBezTo>
                <a:cubicBezTo>
                  <a:pt x="101" y="442"/>
                  <a:pt x="101" y="440"/>
                  <a:pt x="111" y="439"/>
                </a:cubicBezTo>
                <a:cubicBezTo>
                  <a:pt x="120" y="439"/>
                  <a:pt x="120" y="435"/>
                  <a:pt x="129" y="436"/>
                </a:cubicBezTo>
                <a:cubicBezTo>
                  <a:pt x="139" y="436"/>
                  <a:pt x="151" y="425"/>
                  <a:pt x="151" y="420"/>
                </a:cubicBezTo>
                <a:cubicBezTo>
                  <a:pt x="151" y="415"/>
                  <a:pt x="139" y="408"/>
                  <a:pt x="151" y="409"/>
                </a:cubicBezTo>
                <a:cubicBezTo>
                  <a:pt x="163" y="409"/>
                  <a:pt x="172" y="409"/>
                  <a:pt x="178" y="407"/>
                </a:cubicBezTo>
                <a:cubicBezTo>
                  <a:pt x="185" y="405"/>
                  <a:pt x="194" y="407"/>
                  <a:pt x="197" y="399"/>
                </a:cubicBezTo>
                <a:cubicBezTo>
                  <a:pt x="199" y="391"/>
                  <a:pt x="197" y="384"/>
                  <a:pt x="209" y="380"/>
                </a:cubicBezTo>
                <a:cubicBezTo>
                  <a:pt x="221" y="376"/>
                  <a:pt x="223" y="373"/>
                  <a:pt x="225" y="366"/>
                </a:cubicBezTo>
                <a:cubicBezTo>
                  <a:pt x="227" y="359"/>
                  <a:pt x="235" y="354"/>
                  <a:pt x="240" y="354"/>
                </a:cubicBezTo>
                <a:cubicBezTo>
                  <a:pt x="245" y="354"/>
                  <a:pt x="258" y="354"/>
                  <a:pt x="258" y="354"/>
                </a:cubicBezTo>
                <a:cubicBezTo>
                  <a:pt x="258" y="354"/>
                  <a:pt x="265" y="348"/>
                  <a:pt x="255" y="342"/>
                </a:cubicBezTo>
                <a:cubicBezTo>
                  <a:pt x="246" y="336"/>
                  <a:pt x="246" y="332"/>
                  <a:pt x="246" y="323"/>
                </a:cubicBezTo>
                <a:cubicBezTo>
                  <a:pt x="246" y="314"/>
                  <a:pt x="246" y="306"/>
                  <a:pt x="240" y="307"/>
                </a:cubicBezTo>
                <a:cubicBezTo>
                  <a:pt x="235" y="308"/>
                  <a:pt x="223" y="310"/>
                  <a:pt x="227" y="301"/>
                </a:cubicBezTo>
                <a:cubicBezTo>
                  <a:pt x="230" y="292"/>
                  <a:pt x="230" y="291"/>
                  <a:pt x="235" y="291"/>
                </a:cubicBezTo>
                <a:cubicBezTo>
                  <a:pt x="239" y="290"/>
                  <a:pt x="239" y="288"/>
                  <a:pt x="240" y="286"/>
                </a:cubicBezTo>
                <a:cubicBezTo>
                  <a:pt x="240" y="283"/>
                  <a:pt x="241" y="280"/>
                  <a:pt x="237" y="279"/>
                </a:cubicBezTo>
                <a:cubicBezTo>
                  <a:pt x="232" y="278"/>
                  <a:pt x="227" y="275"/>
                  <a:pt x="229" y="272"/>
                </a:cubicBezTo>
                <a:cubicBezTo>
                  <a:pt x="232" y="269"/>
                  <a:pt x="229" y="264"/>
                  <a:pt x="235" y="264"/>
                </a:cubicBezTo>
                <a:cubicBezTo>
                  <a:pt x="241" y="264"/>
                  <a:pt x="246" y="258"/>
                  <a:pt x="243" y="256"/>
                </a:cubicBezTo>
                <a:cubicBezTo>
                  <a:pt x="240" y="253"/>
                  <a:pt x="243" y="249"/>
                  <a:pt x="243" y="249"/>
                </a:cubicBezTo>
                <a:cubicBezTo>
                  <a:pt x="243" y="249"/>
                  <a:pt x="248" y="244"/>
                  <a:pt x="254" y="244"/>
                </a:cubicBezTo>
                <a:cubicBezTo>
                  <a:pt x="260" y="244"/>
                  <a:pt x="262" y="242"/>
                  <a:pt x="259" y="233"/>
                </a:cubicBezTo>
                <a:cubicBezTo>
                  <a:pt x="257" y="224"/>
                  <a:pt x="254" y="220"/>
                  <a:pt x="259" y="220"/>
                </a:cubicBezTo>
                <a:cubicBezTo>
                  <a:pt x="264" y="220"/>
                  <a:pt x="259" y="212"/>
                  <a:pt x="265" y="212"/>
                </a:cubicBezTo>
                <a:cubicBezTo>
                  <a:pt x="272" y="212"/>
                  <a:pt x="273" y="208"/>
                  <a:pt x="277" y="213"/>
                </a:cubicBezTo>
                <a:cubicBezTo>
                  <a:pt x="281" y="218"/>
                  <a:pt x="285" y="218"/>
                  <a:pt x="285" y="218"/>
                </a:cubicBezTo>
                <a:lnTo>
                  <a:pt x="280" y="11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38" name="Freeform 674"/>
          <p:cNvSpPr>
            <a:spLocks/>
          </p:cNvSpPr>
          <p:nvPr userDrawn="1"/>
        </p:nvSpPr>
        <p:spPr bwMode="auto">
          <a:xfrm>
            <a:off x="5529184" y="4659577"/>
            <a:ext cx="316592" cy="264664"/>
          </a:xfrm>
          <a:custGeom>
            <a:avLst/>
            <a:gdLst>
              <a:gd name="T0" fmla="*/ 2147483646 w 340"/>
              <a:gd name="T1" fmla="*/ 2147483646 h 283"/>
              <a:gd name="T2" fmla="*/ 2147483646 w 340"/>
              <a:gd name="T3" fmla="*/ 2147483646 h 283"/>
              <a:gd name="T4" fmla="*/ 2147483646 w 340"/>
              <a:gd name="T5" fmla="*/ 2147483646 h 283"/>
              <a:gd name="T6" fmla="*/ 2147483646 w 340"/>
              <a:gd name="T7" fmla="*/ 2147483646 h 283"/>
              <a:gd name="T8" fmla="*/ 2147483646 w 340"/>
              <a:gd name="T9" fmla="*/ 2147483646 h 283"/>
              <a:gd name="T10" fmla="*/ 2147483646 w 340"/>
              <a:gd name="T11" fmla="*/ 2147483646 h 283"/>
              <a:gd name="T12" fmla="*/ 2147483646 w 340"/>
              <a:gd name="T13" fmla="*/ 2147483646 h 283"/>
              <a:gd name="T14" fmla="*/ 2147483646 w 340"/>
              <a:gd name="T15" fmla="*/ 2147483646 h 283"/>
              <a:gd name="T16" fmla="*/ 2147483646 w 340"/>
              <a:gd name="T17" fmla="*/ 2147483646 h 283"/>
              <a:gd name="T18" fmla="*/ 2147483646 w 340"/>
              <a:gd name="T19" fmla="*/ 2147483646 h 283"/>
              <a:gd name="T20" fmla="*/ 2147483646 w 340"/>
              <a:gd name="T21" fmla="*/ 2147483646 h 283"/>
              <a:gd name="T22" fmla="*/ 2147483646 w 340"/>
              <a:gd name="T23" fmla="*/ 2147483646 h 283"/>
              <a:gd name="T24" fmla="*/ 2147483646 w 340"/>
              <a:gd name="T25" fmla="*/ 2147483646 h 283"/>
              <a:gd name="T26" fmla="*/ 2147483646 w 340"/>
              <a:gd name="T27" fmla="*/ 2147483646 h 283"/>
              <a:gd name="T28" fmla="*/ 2147483646 w 340"/>
              <a:gd name="T29" fmla="*/ 2147483646 h 283"/>
              <a:gd name="T30" fmla="*/ 2147483646 w 340"/>
              <a:gd name="T31" fmla="*/ 2147483646 h 283"/>
              <a:gd name="T32" fmla="*/ 2147483646 w 340"/>
              <a:gd name="T33" fmla="*/ 2147483646 h 283"/>
              <a:gd name="T34" fmla="*/ 2147483646 w 340"/>
              <a:gd name="T35" fmla="*/ 2147483646 h 283"/>
              <a:gd name="T36" fmla="*/ 2147483646 w 340"/>
              <a:gd name="T37" fmla="*/ 2147483646 h 283"/>
              <a:gd name="T38" fmla="*/ 2147483646 w 340"/>
              <a:gd name="T39" fmla="*/ 2147483646 h 283"/>
              <a:gd name="T40" fmla="*/ 2147483646 w 340"/>
              <a:gd name="T41" fmla="*/ 2147483646 h 283"/>
              <a:gd name="T42" fmla="*/ 2147483646 w 340"/>
              <a:gd name="T43" fmla="*/ 2147483646 h 283"/>
              <a:gd name="T44" fmla="*/ 2147483646 w 340"/>
              <a:gd name="T45" fmla="*/ 2147483646 h 283"/>
              <a:gd name="T46" fmla="*/ 2147483646 w 340"/>
              <a:gd name="T47" fmla="*/ 2147483646 h 283"/>
              <a:gd name="T48" fmla="*/ 2147483646 w 340"/>
              <a:gd name="T49" fmla="*/ 2147483646 h 283"/>
              <a:gd name="T50" fmla="*/ 2147483646 w 340"/>
              <a:gd name="T51" fmla="*/ 2147483646 h 283"/>
              <a:gd name="T52" fmla="*/ 2147483646 w 340"/>
              <a:gd name="T53" fmla="*/ 2147483646 h 283"/>
              <a:gd name="T54" fmla="*/ 2147483646 w 340"/>
              <a:gd name="T55" fmla="*/ 2147483646 h 283"/>
              <a:gd name="T56" fmla="*/ 2147483646 w 340"/>
              <a:gd name="T57" fmla="*/ 2147483646 h 283"/>
              <a:gd name="T58" fmla="*/ 2147483646 w 340"/>
              <a:gd name="T59" fmla="*/ 2147483646 h 283"/>
              <a:gd name="T60" fmla="*/ 2147483646 w 340"/>
              <a:gd name="T61" fmla="*/ 2147483646 h 283"/>
              <a:gd name="T62" fmla="*/ 2147483646 w 340"/>
              <a:gd name="T63" fmla="*/ 2147483646 h 283"/>
              <a:gd name="T64" fmla="*/ 2147483646 w 340"/>
              <a:gd name="T65" fmla="*/ 2147483646 h 283"/>
              <a:gd name="T66" fmla="*/ 2147483646 w 340"/>
              <a:gd name="T67" fmla="*/ 2147483646 h 283"/>
              <a:gd name="T68" fmla="*/ 2147483646 w 340"/>
              <a:gd name="T69" fmla="*/ 2147483646 h 283"/>
              <a:gd name="T70" fmla="*/ 2147483646 w 340"/>
              <a:gd name="T71" fmla="*/ 2147483646 h 283"/>
              <a:gd name="T72" fmla="*/ 2147483646 w 340"/>
              <a:gd name="T73" fmla="*/ 2147483646 h 283"/>
              <a:gd name="T74" fmla="*/ 2147483646 w 340"/>
              <a:gd name="T75" fmla="*/ 2147483646 h 283"/>
              <a:gd name="T76" fmla="*/ 2147483646 w 340"/>
              <a:gd name="T77" fmla="*/ 2147483646 h 283"/>
              <a:gd name="T78" fmla="*/ 2147483646 w 340"/>
              <a:gd name="T79" fmla="*/ 2147483646 h 283"/>
              <a:gd name="T80" fmla="*/ 2147483646 w 340"/>
              <a:gd name="T81" fmla="*/ 2147483646 h 283"/>
              <a:gd name="T82" fmla="*/ 2147483646 w 340"/>
              <a:gd name="T83" fmla="*/ 2147483646 h 283"/>
              <a:gd name="T84" fmla="*/ 2147483646 w 340"/>
              <a:gd name="T85" fmla="*/ 2147483646 h 283"/>
              <a:gd name="T86" fmla="*/ 2147483646 w 340"/>
              <a:gd name="T87" fmla="*/ 2147483646 h 283"/>
              <a:gd name="T88" fmla="*/ 2147483646 w 340"/>
              <a:gd name="T89" fmla="*/ 2147483646 h 283"/>
              <a:gd name="T90" fmla="*/ 2147483646 w 340"/>
              <a:gd name="T91" fmla="*/ 2147483646 h 283"/>
              <a:gd name="T92" fmla="*/ 2147483646 w 340"/>
              <a:gd name="T93" fmla="*/ 2147483646 h 283"/>
              <a:gd name="T94" fmla="*/ 2147483646 w 340"/>
              <a:gd name="T95" fmla="*/ 2147483646 h 283"/>
              <a:gd name="T96" fmla="*/ 2147483646 w 340"/>
              <a:gd name="T97" fmla="*/ 2147483646 h 283"/>
              <a:gd name="T98" fmla="*/ 2147483646 w 340"/>
              <a:gd name="T99" fmla="*/ 2147483646 h 283"/>
              <a:gd name="T100" fmla="*/ 2147483646 w 340"/>
              <a:gd name="T101" fmla="*/ 2147483646 h 283"/>
              <a:gd name="T102" fmla="*/ 2147483646 w 340"/>
              <a:gd name="T103" fmla="*/ 2147483646 h 283"/>
              <a:gd name="T104" fmla="*/ 2147483646 w 340"/>
              <a:gd name="T105" fmla="*/ 2147483646 h 283"/>
              <a:gd name="T106" fmla="*/ 2147483646 w 340"/>
              <a:gd name="T107" fmla="*/ 2147483646 h 283"/>
              <a:gd name="T108" fmla="*/ 2147483646 w 340"/>
              <a:gd name="T109" fmla="*/ 2147483646 h 283"/>
              <a:gd name="T110" fmla="*/ 2147483646 w 340"/>
              <a:gd name="T111" fmla="*/ 2147483646 h 283"/>
              <a:gd name="T112" fmla="*/ 2147483646 w 340"/>
              <a:gd name="T113" fmla="*/ 2147483646 h 283"/>
              <a:gd name="T114" fmla="*/ 2147483646 w 340"/>
              <a:gd name="T115" fmla="*/ 2147483646 h 283"/>
              <a:gd name="T116" fmla="*/ 2147483646 w 340"/>
              <a:gd name="T117" fmla="*/ 2147483646 h 283"/>
              <a:gd name="T118" fmla="*/ 2147483646 w 340"/>
              <a:gd name="T119" fmla="*/ 2147483646 h 283"/>
              <a:gd name="T120" fmla="*/ 2147483646 w 340"/>
              <a:gd name="T121" fmla="*/ 2147483646 h 283"/>
              <a:gd name="T122" fmla="*/ 2147483646 w 340"/>
              <a:gd name="T123" fmla="*/ 2147483646 h 283"/>
              <a:gd name="T124" fmla="*/ 2147483646 w 340"/>
              <a:gd name="T125" fmla="*/ 2147483646 h 28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0"/>
              <a:gd name="T190" fmla="*/ 0 h 283"/>
              <a:gd name="T191" fmla="*/ 340 w 340"/>
              <a:gd name="T192" fmla="*/ 283 h 28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0" h="283">
                <a:moveTo>
                  <a:pt x="325" y="34"/>
                </a:moveTo>
                <a:cubicBezTo>
                  <a:pt x="314" y="34"/>
                  <a:pt x="310" y="18"/>
                  <a:pt x="310" y="18"/>
                </a:cubicBezTo>
                <a:cubicBezTo>
                  <a:pt x="310" y="18"/>
                  <a:pt x="303" y="17"/>
                  <a:pt x="295" y="18"/>
                </a:cubicBezTo>
                <a:cubicBezTo>
                  <a:pt x="288" y="19"/>
                  <a:pt x="290" y="22"/>
                  <a:pt x="280" y="24"/>
                </a:cubicBezTo>
                <a:cubicBezTo>
                  <a:pt x="269" y="26"/>
                  <a:pt x="277" y="29"/>
                  <a:pt x="261" y="28"/>
                </a:cubicBezTo>
                <a:cubicBezTo>
                  <a:pt x="245" y="27"/>
                  <a:pt x="253" y="29"/>
                  <a:pt x="236" y="20"/>
                </a:cubicBezTo>
                <a:cubicBezTo>
                  <a:pt x="219" y="11"/>
                  <a:pt x="216" y="26"/>
                  <a:pt x="212" y="29"/>
                </a:cubicBezTo>
                <a:cubicBezTo>
                  <a:pt x="209" y="33"/>
                  <a:pt x="191" y="38"/>
                  <a:pt x="184" y="39"/>
                </a:cubicBezTo>
                <a:cubicBezTo>
                  <a:pt x="178" y="40"/>
                  <a:pt x="169" y="26"/>
                  <a:pt x="167" y="25"/>
                </a:cubicBezTo>
                <a:cubicBezTo>
                  <a:pt x="165" y="24"/>
                  <a:pt x="157" y="27"/>
                  <a:pt x="150" y="26"/>
                </a:cubicBezTo>
                <a:cubicBezTo>
                  <a:pt x="142" y="24"/>
                  <a:pt x="144" y="28"/>
                  <a:pt x="135" y="31"/>
                </a:cubicBezTo>
                <a:cubicBezTo>
                  <a:pt x="127" y="33"/>
                  <a:pt x="128" y="33"/>
                  <a:pt x="122" y="31"/>
                </a:cubicBezTo>
                <a:cubicBezTo>
                  <a:pt x="116" y="30"/>
                  <a:pt x="123" y="20"/>
                  <a:pt x="123" y="20"/>
                </a:cubicBezTo>
                <a:cubicBezTo>
                  <a:pt x="123" y="20"/>
                  <a:pt x="119" y="17"/>
                  <a:pt x="117" y="17"/>
                </a:cubicBezTo>
                <a:cubicBezTo>
                  <a:pt x="115" y="16"/>
                  <a:pt x="104" y="15"/>
                  <a:pt x="93" y="7"/>
                </a:cubicBezTo>
                <a:cubicBezTo>
                  <a:pt x="82" y="0"/>
                  <a:pt x="83" y="7"/>
                  <a:pt x="82" y="10"/>
                </a:cubicBezTo>
                <a:cubicBezTo>
                  <a:pt x="81" y="14"/>
                  <a:pt x="76" y="13"/>
                  <a:pt x="64" y="12"/>
                </a:cubicBezTo>
                <a:cubicBezTo>
                  <a:pt x="53" y="10"/>
                  <a:pt x="50" y="21"/>
                  <a:pt x="48" y="26"/>
                </a:cubicBezTo>
                <a:cubicBezTo>
                  <a:pt x="46" y="31"/>
                  <a:pt x="48" y="29"/>
                  <a:pt x="46" y="35"/>
                </a:cubicBezTo>
                <a:cubicBezTo>
                  <a:pt x="45" y="41"/>
                  <a:pt x="42" y="42"/>
                  <a:pt x="38" y="42"/>
                </a:cubicBezTo>
                <a:cubicBezTo>
                  <a:pt x="35" y="43"/>
                  <a:pt x="35" y="51"/>
                  <a:pt x="35" y="51"/>
                </a:cubicBezTo>
                <a:cubicBezTo>
                  <a:pt x="31" y="65"/>
                  <a:pt x="31" y="65"/>
                  <a:pt x="31" y="65"/>
                </a:cubicBezTo>
                <a:cubicBezTo>
                  <a:pt x="35" y="70"/>
                  <a:pt x="31" y="72"/>
                  <a:pt x="32" y="76"/>
                </a:cubicBezTo>
                <a:cubicBezTo>
                  <a:pt x="33" y="80"/>
                  <a:pt x="35" y="83"/>
                  <a:pt x="37" y="86"/>
                </a:cubicBezTo>
                <a:cubicBezTo>
                  <a:pt x="38" y="90"/>
                  <a:pt x="41" y="90"/>
                  <a:pt x="38" y="97"/>
                </a:cubicBezTo>
                <a:cubicBezTo>
                  <a:pt x="35" y="104"/>
                  <a:pt x="29" y="107"/>
                  <a:pt x="30" y="112"/>
                </a:cubicBezTo>
                <a:cubicBezTo>
                  <a:pt x="32" y="117"/>
                  <a:pt x="38" y="121"/>
                  <a:pt x="30" y="123"/>
                </a:cubicBezTo>
                <a:cubicBezTo>
                  <a:pt x="22" y="125"/>
                  <a:pt x="20" y="121"/>
                  <a:pt x="20" y="124"/>
                </a:cubicBezTo>
                <a:cubicBezTo>
                  <a:pt x="19" y="128"/>
                  <a:pt x="16" y="126"/>
                  <a:pt x="15" y="129"/>
                </a:cubicBezTo>
                <a:cubicBezTo>
                  <a:pt x="13" y="132"/>
                  <a:pt x="26" y="139"/>
                  <a:pt x="15" y="141"/>
                </a:cubicBezTo>
                <a:cubicBezTo>
                  <a:pt x="4" y="143"/>
                  <a:pt x="0" y="144"/>
                  <a:pt x="3" y="152"/>
                </a:cubicBezTo>
                <a:cubicBezTo>
                  <a:pt x="6" y="161"/>
                  <a:pt x="5" y="166"/>
                  <a:pt x="4" y="171"/>
                </a:cubicBezTo>
                <a:cubicBezTo>
                  <a:pt x="3" y="175"/>
                  <a:pt x="3" y="176"/>
                  <a:pt x="4" y="182"/>
                </a:cubicBezTo>
                <a:cubicBezTo>
                  <a:pt x="6" y="189"/>
                  <a:pt x="7" y="191"/>
                  <a:pt x="7" y="197"/>
                </a:cubicBezTo>
                <a:cubicBezTo>
                  <a:pt x="7" y="202"/>
                  <a:pt x="2" y="220"/>
                  <a:pt x="2" y="220"/>
                </a:cubicBezTo>
                <a:cubicBezTo>
                  <a:pt x="2" y="220"/>
                  <a:pt x="15" y="225"/>
                  <a:pt x="23" y="223"/>
                </a:cubicBezTo>
                <a:cubicBezTo>
                  <a:pt x="31" y="221"/>
                  <a:pt x="37" y="221"/>
                  <a:pt x="43" y="219"/>
                </a:cubicBezTo>
                <a:cubicBezTo>
                  <a:pt x="49" y="218"/>
                  <a:pt x="59" y="216"/>
                  <a:pt x="61" y="226"/>
                </a:cubicBezTo>
                <a:cubicBezTo>
                  <a:pt x="64" y="236"/>
                  <a:pt x="74" y="257"/>
                  <a:pt x="81" y="267"/>
                </a:cubicBezTo>
                <a:cubicBezTo>
                  <a:pt x="89" y="277"/>
                  <a:pt x="94" y="283"/>
                  <a:pt x="111" y="277"/>
                </a:cubicBezTo>
                <a:cubicBezTo>
                  <a:pt x="128" y="270"/>
                  <a:pt x="134" y="266"/>
                  <a:pt x="146" y="269"/>
                </a:cubicBezTo>
                <a:cubicBezTo>
                  <a:pt x="157" y="273"/>
                  <a:pt x="165" y="269"/>
                  <a:pt x="165" y="269"/>
                </a:cubicBezTo>
                <a:cubicBezTo>
                  <a:pt x="165" y="269"/>
                  <a:pt x="176" y="246"/>
                  <a:pt x="175" y="238"/>
                </a:cubicBezTo>
                <a:cubicBezTo>
                  <a:pt x="174" y="230"/>
                  <a:pt x="183" y="231"/>
                  <a:pt x="192" y="222"/>
                </a:cubicBezTo>
                <a:cubicBezTo>
                  <a:pt x="201" y="214"/>
                  <a:pt x="199" y="211"/>
                  <a:pt x="205" y="206"/>
                </a:cubicBezTo>
                <a:cubicBezTo>
                  <a:pt x="211" y="201"/>
                  <a:pt x="215" y="198"/>
                  <a:pt x="220" y="203"/>
                </a:cubicBezTo>
                <a:cubicBezTo>
                  <a:pt x="226" y="207"/>
                  <a:pt x="230" y="193"/>
                  <a:pt x="231" y="202"/>
                </a:cubicBezTo>
                <a:cubicBezTo>
                  <a:pt x="231" y="211"/>
                  <a:pt x="227" y="213"/>
                  <a:pt x="232" y="216"/>
                </a:cubicBezTo>
                <a:cubicBezTo>
                  <a:pt x="237" y="219"/>
                  <a:pt x="235" y="215"/>
                  <a:pt x="239" y="222"/>
                </a:cubicBezTo>
                <a:cubicBezTo>
                  <a:pt x="244" y="228"/>
                  <a:pt x="245" y="225"/>
                  <a:pt x="251" y="217"/>
                </a:cubicBezTo>
                <a:cubicBezTo>
                  <a:pt x="258" y="208"/>
                  <a:pt x="258" y="209"/>
                  <a:pt x="260" y="201"/>
                </a:cubicBezTo>
                <a:cubicBezTo>
                  <a:pt x="261" y="193"/>
                  <a:pt x="268" y="185"/>
                  <a:pt x="269" y="178"/>
                </a:cubicBezTo>
                <a:cubicBezTo>
                  <a:pt x="269" y="170"/>
                  <a:pt x="269" y="162"/>
                  <a:pt x="272" y="159"/>
                </a:cubicBezTo>
                <a:cubicBezTo>
                  <a:pt x="275" y="157"/>
                  <a:pt x="254" y="157"/>
                  <a:pt x="272" y="151"/>
                </a:cubicBezTo>
                <a:cubicBezTo>
                  <a:pt x="289" y="144"/>
                  <a:pt x="291" y="137"/>
                  <a:pt x="291" y="132"/>
                </a:cubicBezTo>
                <a:cubicBezTo>
                  <a:pt x="291" y="128"/>
                  <a:pt x="293" y="124"/>
                  <a:pt x="296" y="121"/>
                </a:cubicBezTo>
                <a:cubicBezTo>
                  <a:pt x="299" y="117"/>
                  <a:pt x="300" y="105"/>
                  <a:pt x="300" y="105"/>
                </a:cubicBezTo>
                <a:cubicBezTo>
                  <a:pt x="300" y="105"/>
                  <a:pt x="305" y="91"/>
                  <a:pt x="308" y="91"/>
                </a:cubicBezTo>
                <a:cubicBezTo>
                  <a:pt x="310" y="91"/>
                  <a:pt x="307" y="75"/>
                  <a:pt x="315" y="78"/>
                </a:cubicBezTo>
                <a:cubicBezTo>
                  <a:pt x="323" y="81"/>
                  <a:pt x="326" y="80"/>
                  <a:pt x="329" y="80"/>
                </a:cubicBezTo>
                <a:cubicBezTo>
                  <a:pt x="332" y="80"/>
                  <a:pt x="340" y="63"/>
                  <a:pt x="332" y="60"/>
                </a:cubicBezTo>
                <a:cubicBezTo>
                  <a:pt x="325" y="57"/>
                  <a:pt x="322" y="51"/>
                  <a:pt x="322" y="49"/>
                </a:cubicBezTo>
                <a:cubicBezTo>
                  <a:pt x="322" y="47"/>
                  <a:pt x="325" y="34"/>
                  <a:pt x="325" y="3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39" name="Freeform 675"/>
          <p:cNvSpPr>
            <a:spLocks/>
          </p:cNvSpPr>
          <p:nvPr userDrawn="1"/>
        </p:nvSpPr>
        <p:spPr bwMode="auto">
          <a:xfrm>
            <a:off x="5683292" y="4691405"/>
            <a:ext cx="202685" cy="301516"/>
          </a:xfrm>
          <a:custGeom>
            <a:avLst/>
            <a:gdLst>
              <a:gd name="T0" fmla="*/ 2147483646 w 218"/>
              <a:gd name="T1" fmla="*/ 2147483646 h 323"/>
              <a:gd name="T2" fmla="*/ 2147483646 w 218"/>
              <a:gd name="T3" fmla="*/ 2147483646 h 323"/>
              <a:gd name="T4" fmla="*/ 2147483646 w 218"/>
              <a:gd name="T5" fmla="*/ 2147483646 h 323"/>
              <a:gd name="T6" fmla="*/ 2147483646 w 218"/>
              <a:gd name="T7" fmla="*/ 2147483646 h 323"/>
              <a:gd name="T8" fmla="*/ 2147483646 w 218"/>
              <a:gd name="T9" fmla="*/ 2147483646 h 323"/>
              <a:gd name="T10" fmla="*/ 2147483646 w 218"/>
              <a:gd name="T11" fmla="*/ 2147483646 h 323"/>
              <a:gd name="T12" fmla="*/ 2147483646 w 218"/>
              <a:gd name="T13" fmla="*/ 2147483646 h 323"/>
              <a:gd name="T14" fmla="*/ 2147483646 w 218"/>
              <a:gd name="T15" fmla="*/ 2147483646 h 323"/>
              <a:gd name="T16" fmla="*/ 2147483646 w 218"/>
              <a:gd name="T17" fmla="*/ 2147483646 h 323"/>
              <a:gd name="T18" fmla="*/ 2147483646 w 218"/>
              <a:gd name="T19" fmla="*/ 0 h 323"/>
              <a:gd name="T20" fmla="*/ 2147483646 w 218"/>
              <a:gd name="T21" fmla="*/ 2147483646 h 323"/>
              <a:gd name="T22" fmla="*/ 2147483646 w 218"/>
              <a:gd name="T23" fmla="*/ 2147483646 h 323"/>
              <a:gd name="T24" fmla="*/ 2147483646 w 218"/>
              <a:gd name="T25" fmla="*/ 2147483646 h 323"/>
              <a:gd name="T26" fmla="*/ 2147483646 w 218"/>
              <a:gd name="T27" fmla="*/ 2147483646 h 323"/>
              <a:gd name="T28" fmla="*/ 2147483646 w 218"/>
              <a:gd name="T29" fmla="*/ 2147483646 h 323"/>
              <a:gd name="T30" fmla="*/ 2147483646 w 218"/>
              <a:gd name="T31" fmla="*/ 2147483646 h 323"/>
              <a:gd name="T32" fmla="*/ 2147483646 w 218"/>
              <a:gd name="T33" fmla="*/ 2147483646 h 323"/>
              <a:gd name="T34" fmla="*/ 2147483646 w 218"/>
              <a:gd name="T35" fmla="*/ 2147483646 h 323"/>
              <a:gd name="T36" fmla="*/ 2147483646 w 218"/>
              <a:gd name="T37" fmla="*/ 2147483646 h 323"/>
              <a:gd name="T38" fmla="*/ 2147483646 w 218"/>
              <a:gd name="T39" fmla="*/ 2147483646 h 323"/>
              <a:gd name="T40" fmla="*/ 2147483646 w 218"/>
              <a:gd name="T41" fmla="*/ 2147483646 h 323"/>
              <a:gd name="T42" fmla="*/ 2147483646 w 218"/>
              <a:gd name="T43" fmla="*/ 2147483646 h 323"/>
              <a:gd name="T44" fmla="*/ 2147483646 w 218"/>
              <a:gd name="T45" fmla="*/ 2147483646 h 323"/>
              <a:gd name="T46" fmla="*/ 2147483646 w 218"/>
              <a:gd name="T47" fmla="*/ 2147483646 h 323"/>
              <a:gd name="T48" fmla="*/ 2147483646 w 218"/>
              <a:gd name="T49" fmla="*/ 2147483646 h 323"/>
              <a:gd name="T50" fmla="*/ 2147483646 w 218"/>
              <a:gd name="T51" fmla="*/ 2147483646 h 323"/>
              <a:gd name="T52" fmla="*/ 2147483646 w 218"/>
              <a:gd name="T53" fmla="*/ 2147483646 h 323"/>
              <a:gd name="T54" fmla="*/ 2147483646 w 218"/>
              <a:gd name="T55" fmla="*/ 2147483646 h 323"/>
              <a:gd name="T56" fmla="*/ 2147483646 w 218"/>
              <a:gd name="T57" fmla="*/ 2147483646 h 323"/>
              <a:gd name="T58" fmla="*/ 2147483646 w 218"/>
              <a:gd name="T59" fmla="*/ 2147483646 h 323"/>
              <a:gd name="T60" fmla="*/ 0 w 218"/>
              <a:gd name="T61" fmla="*/ 2147483646 h 323"/>
              <a:gd name="T62" fmla="*/ 2147483646 w 218"/>
              <a:gd name="T63" fmla="*/ 2147483646 h 323"/>
              <a:gd name="T64" fmla="*/ 2147483646 w 218"/>
              <a:gd name="T65" fmla="*/ 2147483646 h 323"/>
              <a:gd name="T66" fmla="*/ 2147483646 w 218"/>
              <a:gd name="T67" fmla="*/ 2147483646 h 323"/>
              <a:gd name="T68" fmla="*/ 2147483646 w 218"/>
              <a:gd name="T69" fmla="*/ 2147483646 h 323"/>
              <a:gd name="T70" fmla="*/ 2147483646 w 218"/>
              <a:gd name="T71" fmla="*/ 2147483646 h 323"/>
              <a:gd name="T72" fmla="*/ 2147483646 w 218"/>
              <a:gd name="T73" fmla="*/ 2147483646 h 323"/>
              <a:gd name="T74" fmla="*/ 2147483646 w 218"/>
              <a:gd name="T75" fmla="*/ 2147483646 h 323"/>
              <a:gd name="T76" fmla="*/ 2147483646 w 218"/>
              <a:gd name="T77" fmla="*/ 2147483646 h 323"/>
              <a:gd name="T78" fmla="*/ 2147483646 w 218"/>
              <a:gd name="T79" fmla="*/ 2147483646 h 323"/>
              <a:gd name="T80" fmla="*/ 2147483646 w 218"/>
              <a:gd name="T81" fmla="*/ 2147483646 h 323"/>
              <a:gd name="T82" fmla="*/ 2147483646 w 218"/>
              <a:gd name="T83" fmla="*/ 2147483646 h 323"/>
              <a:gd name="T84" fmla="*/ 2147483646 w 218"/>
              <a:gd name="T85" fmla="*/ 2147483646 h 323"/>
              <a:gd name="T86" fmla="*/ 2147483646 w 218"/>
              <a:gd name="T87" fmla="*/ 2147483646 h 323"/>
              <a:gd name="T88" fmla="*/ 2147483646 w 218"/>
              <a:gd name="T89" fmla="*/ 2147483646 h 323"/>
              <a:gd name="T90" fmla="*/ 2147483646 w 218"/>
              <a:gd name="T91" fmla="*/ 2147483646 h 323"/>
              <a:gd name="T92" fmla="*/ 2147483646 w 218"/>
              <a:gd name="T93" fmla="*/ 2147483646 h 323"/>
              <a:gd name="T94" fmla="*/ 2147483646 w 218"/>
              <a:gd name="T95" fmla="*/ 2147483646 h 323"/>
              <a:gd name="T96" fmla="*/ 2147483646 w 218"/>
              <a:gd name="T97" fmla="*/ 2147483646 h 32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18"/>
              <a:gd name="T148" fmla="*/ 0 h 323"/>
              <a:gd name="T149" fmla="*/ 218 w 218"/>
              <a:gd name="T150" fmla="*/ 323 h 32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18" h="323">
                <a:moveTo>
                  <a:pt x="197" y="160"/>
                </a:moveTo>
                <a:cubicBezTo>
                  <a:pt x="197" y="160"/>
                  <a:pt x="185" y="134"/>
                  <a:pt x="181" y="127"/>
                </a:cubicBezTo>
                <a:cubicBezTo>
                  <a:pt x="176" y="120"/>
                  <a:pt x="170" y="115"/>
                  <a:pt x="161" y="109"/>
                </a:cubicBezTo>
                <a:cubicBezTo>
                  <a:pt x="151" y="102"/>
                  <a:pt x="153" y="102"/>
                  <a:pt x="156" y="91"/>
                </a:cubicBezTo>
                <a:cubicBezTo>
                  <a:pt x="158" y="80"/>
                  <a:pt x="177" y="92"/>
                  <a:pt x="189" y="92"/>
                </a:cubicBezTo>
                <a:cubicBezTo>
                  <a:pt x="202" y="92"/>
                  <a:pt x="197" y="81"/>
                  <a:pt x="192" y="77"/>
                </a:cubicBezTo>
                <a:cubicBezTo>
                  <a:pt x="188" y="73"/>
                  <a:pt x="191" y="65"/>
                  <a:pt x="186" y="54"/>
                </a:cubicBezTo>
                <a:cubicBezTo>
                  <a:pt x="182" y="43"/>
                  <a:pt x="189" y="35"/>
                  <a:pt x="186" y="29"/>
                </a:cubicBezTo>
                <a:cubicBezTo>
                  <a:pt x="183" y="23"/>
                  <a:pt x="176" y="18"/>
                  <a:pt x="175" y="10"/>
                </a:cubicBezTo>
                <a:cubicBezTo>
                  <a:pt x="173" y="3"/>
                  <a:pt x="171" y="0"/>
                  <a:pt x="160" y="0"/>
                </a:cubicBezTo>
                <a:cubicBezTo>
                  <a:pt x="160" y="0"/>
                  <a:pt x="157" y="13"/>
                  <a:pt x="157" y="15"/>
                </a:cubicBezTo>
                <a:cubicBezTo>
                  <a:pt x="157" y="17"/>
                  <a:pt x="160" y="23"/>
                  <a:pt x="167" y="26"/>
                </a:cubicBezTo>
                <a:cubicBezTo>
                  <a:pt x="175" y="29"/>
                  <a:pt x="167" y="46"/>
                  <a:pt x="164" y="46"/>
                </a:cubicBezTo>
                <a:cubicBezTo>
                  <a:pt x="161" y="46"/>
                  <a:pt x="158" y="47"/>
                  <a:pt x="150" y="44"/>
                </a:cubicBezTo>
                <a:cubicBezTo>
                  <a:pt x="142" y="41"/>
                  <a:pt x="145" y="57"/>
                  <a:pt x="143" y="57"/>
                </a:cubicBezTo>
                <a:cubicBezTo>
                  <a:pt x="140" y="57"/>
                  <a:pt x="135" y="71"/>
                  <a:pt x="135" y="71"/>
                </a:cubicBezTo>
                <a:cubicBezTo>
                  <a:pt x="135" y="71"/>
                  <a:pt x="134" y="83"/>
                  <a:pt x="131" y="87"/>
                </a:cubicBezTo>
                <a:cubicBezTo>
                  <a:pt x="128" y="90"/>
                  <a:pt x="126" y="94"/>
                  <a:pt x="126" y="98"/>
                </a:cubicBezTo>
                <a:cubicBezTo>
                  <a:pt x="126" y="103"/>
                  <a:pt x="124" y="110"/>
                  <a:pt x="107" y="117"/>
                </a:cubicBezTo>
                <a:cubicBezTo>
                  <a:pt x="89" y="123"/>
                  <a:pt x="110" y="123"/>
                  <a:pt x="107" y="125"/>
                </a:cubicBezTo>
                <a:cubicBezTo>
                  <a:pt x="104" y="128"/>
                  <a:pt x="104" y="136"/>
                  <a:pt x="104" y="144"/>
                </a:cubicBezTo>
                <a:cubicBezTo>
                  <a:pt x="103" y="151"/>
                  <a:pt x="96" y="159"/>
                  <a:pt x="95" y="167"/>
                </a:cubicBezTo>
                <a:cubicBezTo>
                  <a:pt x="93" y="175"/>
                  <a:pt x="93" y="174"/>
                  <a:pt x="86" y="183"/>
                </a:cubicBezTo>
                <a:cubicBezTo>
                  <a:pt x="80" y="191"/>
                  <a:pt x="79" y="194"/>
                  <a:pt x="74" y="188"/>
                </a:cubicBezTo>
                <a:cubicBezTo>
                  <a:pt x="70" y="181"/>
                  <a:pt x="72" y="185"/>
                  <a:pt x="67" y="182"/>
                </a:cubicBezTo>
                <a:cubicBezTo>
                  <a:pt x="62" y="179"/>
                  <a:pt x="66" y="177"/>
                  <a:pt x="66" y="168"/>
                </a:cubicBezTo>
                <a:cubicBezTo>
                  <a:pt x="65" y="159"/>
                  <a:pt x="61" y="173"/>
                  <a:pt x="55" y="169"/>
                </a:cubicBezTo>
                <a:cubicBezTo>
                  <a:pt x="50" y="164"/>
                  <a:pt x="46" y="167"/>
                  <a:pt x="40" y="172"/>
                </a:cubicBezTo>
                <a:cubicBezTo>
                  <a:pt x="34" y="177"/>
                  <a:pt x="36" y="180"/>
                  <a:pt x="27" y="188"/>
                </a:cubicBezTo>
                <a:cubicBezTo>
                  <a:pt x="18" y="197"/>
                  <a:pt x="9" y="196"/>
                  <a:pt x="10" y="204"/>
                </a:cubicBezTo>
                <a:cubicBezTo>
                  <a:pt x="11" y="212"/>
                  <a:pt x="0" y="235"/>
                  <a:pt x="0" y="235"/>
                </a:cubicBezTo>
                <a:cubicBezTo>
                  <a:pt x="0" y="235"/>
                  <a:pt x="9" y="235"/>
                  <a:pt x="10" y="241"/>
                </a:cubicBezTo>
                <a:cubicBezTo>
                  <a:pt x="10" y="247"/>
                  <a:pt x="16" y="257"/>
                  <a:pt x="18" y="258"/>
                </a:cubicBezTo>
                <a:cubicBezTo>
                  <a:pt x="19" y="258"/>
                  <a:pt x="24" y="248"/>
                  <a:pt x="35" y="247"/>
                </a:cubicBezTo>
                <a:cubicBezTo>
                  <a:pt x="35" y="247"/>
                  <a:pt x="28" y="251"/>
                  <a:pt x="31" y="257"/>
                </a:cubicBezTo>
                <a:cubicBezTo>
                  <a:pt x="34" y="263"/>
                  <a:pt x="23" y="265"/>
                  <a:pt x="31" y="270"/>
                </a:cubicBezTo>
                <a:cubicBezTo>
                  <a:pt x="39" y="275"/>
                  <a:pt x="42" y="281"/>
                  <a:pt x="39" y="285"/>
                </a:cubicBezTo>
                <a:cubicBezTo>
                  <a:pt x="36" y="289"/>
                  <a:pt x="36" y="305"/>
                  <a:pt x="36" y="305"/>
                </a:cubicBezTo>
                <a:cubicBezTo>
                  <a:pt x="36" y="305"/>
                  <a:pt x="61" y="310"/>
                  <a:pt x="79" y="306"/>
                </a:cubicBezTo>
                <a:cubicBezTo>
                  <a:pt x="96" y="303"/>
                  <a:pt x="95" y="295"/>
                  <a:pt x="122" y="302"/>
                </a:cubicBezTo>
                <a:cubicBezTo>
                  <a:pt x="149" y="308"/>
                  <a:pt x="168" y="309"/>
                  <a:pt x="174" y="312"/>
                </a:cubicBezTo>
                <a:cubicBezTo>
                  <a:pt x="180" y="314"/>
                  <a:pt x="208" y="307"/>
                  <a:pt x="213" y="323"/>
                </a:cubicBezTo>
                <a:cubicBezTo>
                  <a:pt x="213" y="323"/>
                  <a:pt x="218" y="302"/>
                  <a:pt x="211" y="292"/>
                </a:cubicBezTo>
                <a:cubicBezTo>
                  <a:pt x="205" y="283"/>
                  <a:pt x="182" y="268"/>
                  <a:pt x="182" y="260"/>
                </a:cubicBezTo>
                <a:cubicBezTo>
                  <a:pt x="183" y="252"/>
                  <a:pt x="184" y="248"/>
                  <a:pt x="177" y="241"/>
                </a:cubicBezTo>
                <a:cubicBezTo>
                  <a:pt x="169" y="234"/>
                  <a:pt x="170" y="226"/>
                  <a:pt x="170" y="216"/>
                </a:cubicBezTo>
                <a:cubicBezTo>
                  <a:pt x="169" y="205"/>
                  <a:pt x="162" y="205"/>
                  <a:pt x="164" y="200"/>
                </a:cubicBezTo>
                <a:cubicBezTo>
                  <a:pt x="166" y="196"/>
                  <a:pt x="171" y="201"/>
                  <a:pt x="174" y="195"/>
                </a:cubicBezTo>
                <a:cubicBezTo>
                  <a:pt x="178" y="190"/>
                  <a:pt x="187" y="165"/>
                  <a:pt x="197" y="16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40" name="Freeform 676"/>
          <p:cNvSpPr>
            <a:spLocks/>
          </p:cNvSpPr>
          <p:nvPr userDrawn="1"/>
        </p:nvSpPr>
        <p:spPr bwMode="auto">
          <a:xfrm>
            <a:off x="5834052" y="4750032"/>
            <a:ext cx="343393" cy="242888"/>
          </a:xfrm>
          <a:custGeom>
            <a:avLst/>
            <a:gdLst>
              <a:gd name="T0" fmla="*/ 2147483646 w 367"/>
              <a:gd name="T1" fmla="*/ 2147483646 h 261"/>
              <a:gd name="T2" fmla="*/ 2147483646 w 367"/>
              <a:gd name="T3" fmla="*/ 2147483646 h 261"/>
              <a:gd name="T4" fmla="*/ 2147483646 w 367"/>
              <a:gd name="T5" fmla="*/ 2147483646 h 261"/>
              <a:gd name="T6" fmla="*/ 2147483646 w 367"/>
              <a:gd name="T7" fmla="*/ 2147483646 h 261"/>
              <a:gd name="T8" fmla="*/ 2147483646 w 367"/>
              <a:gd name="T9" fmla="*/ 2147483646 h 261"/>
              <a:gd name="T10" fmla="*/ 2147483646 w 367"/>
              <a:gd name="T11" fmla="*/ 2147483646 h 261"/>
              <a:gd name="T12" fmla="*/ 2147483646 w 367"/>
              <a:gd name="T13" fmla="*/ 2147483646 h 261"/>
              <a:gd name="T14" fmla="*/ 2147483646 w 367"/>
              <a:gd name="T15" fmla="*/ 2147483646 h 261"/>
              <a:gd name="T16" fmla="*/ 2147483646 w 367"/>
              <a:gd name="T17" fmla="*/ 2147483646 h 261"/>
              <a:gd name="T18" fmla="*/ 2147483646 w 367"/>
              <a:gd name="T19" fmla="*/ 2147483646 h 261"/>
              <a:gd name="T20" fmla="*/ 2147483646 w 367"/>
              <a:gd name="T21" fmla="*/ 2147483646 h 261"/>
              <a:gd name="T22" fmla="*/ 2147483646 w 367"/>
              <a:gd name="T23" fmla="*/ 2147483646 h 261"/>
              <a:gd name="T24" fmla="*/ 2147483646 w 367"/>
              <a:gd name="T25" fmla="*/ 2147483646 h 261"/>
              <a:gd name="T26" fmla="*/ 2147483646 w 367"/>
              <a:gd name="T27" fmla="*/ 2147483646 h 261"/>
              <a:gd name="T28" fmla="*/ 2147483646 w 367"/>
              <a:gd name="T29" fmla="*/ 2147483646 h 261"/>
              <a:gd name="T30" fmla="*/ 2147483646 w 367"/>
              <a:gd name="T31" fmla="*/ 2147483646 h 261"/>
              <a:gd name="T32" fmla="*/ 2147483646 w 367"/>
              <a:gd name="T33" fmla="*/ 2147483646 h 261"/>
              <a:gd name="T34" fmla="*/ 2147483646 w 367"/>
              <a:gd name="T35" fmla="*/ 2147483646 h 261"/>
              <a:gd name="T36" fmla="*/ 2147483646 w 367"/>
              <a:gd name="T37" fmla="*/ 2147483646 h 261"/>
              <a:gd name="T38" fmla="*/ 2147483646 w 367"/>
              <a:gd name="T39" fmla="*/ 0 h 261"/>
              <a:gd name="T40" fmla="*/ 2147483646 w 367"/>
              <a:gd name="T41" fmla="*/ 0 h 261"/>
              <a:gd name="T42" fmla="*/ 2147483646 w 367"/>
              <a:gd name="T43" fmla="*/ 2147483646 h 261"/>
              <a:gd name="T44" fmla="*/ 2147483646 w 367"/>
              <a:gd name="T45" fmla="*/ 2147483646 h 261"/>
              <a:gd name="T46" fmla="*/ 2147483646 w 367"/>
              <a:gd name="T47" fmla="*/ 2147483646 h 261"/>
              <a:gd name="T48" fmla="*/ 2147483646 w 367"/>
              <a:gd name="T49" fmla="*/ 2147483646 h 261"/>
              <a:gd name="T50" fmla="*/ 2147483646 w 367"/>
              <a:gd name="T51" fmla="*/ 2147483646 h 261"/>
              <a:gd name="T52" fmla="*/ 2147483646 w 367"/>
              <a:gd name="T53" fmla="*/ 2147483646 h 261"/>
              <a:gd name="T54" fmla="*/ 2147483646 w 367"/>
              <a:gd name="T55" fmla="*/ 2147483646 h 261"/>
              <a:gd name="T56" fmla="*/ 2147483646 w 367"/>
              <a:gd name="T57" fmla="*/ 2147483646 h 261"/>
              <a:gd name="T58" fmla="*/ 2147483646 w 367"/>
              <a:gd name="T59" fmla="*/ 2147483646 h 261"/>
              <a:gd name="T60" fmla="*/ 2147483646 w 367"/>
              <a:gd name="T61" fmla="*/ 2147483646 h 261"/>
              <a:gd name="T62" fmla="*/ 2147483646 w 367"/>
              <a:gd name="T63" fmla="*/ 2147483646 h 261"/>
              <a:gd name="T64" fmla="*/ 2147483646 w 367"/>
              <a:gd name="T65" fmla="*/ 2147483646 h 261"/>
              <a:gd name="T66" fmla="*/ 2147483646 w 367"/>
              <a:gd name="T67" fmla="*/ 2147483646 h 261"/>
              <a:gd name="T68" fmla="*/ 2147483646 w 367"/>
              <a:gd name="T69" fmla="*/ 2147483646 h 261"/>
              <a:gd name="T70" fmla="*/ 2147483646 w 367"/>
              <a:gd name="T71" fmla="*/ 2147483646 h 261"/>
              <a:gd name="T72" fmla="*/ 2147483646 w 367"/>
              <a:gd name="T73" fmla="*/ 2147483646 h 261"/>
              <a:gd name="T74" fmla="*/ 2147483646 w 367"/>
              <a:gd name="T75" fmla="*/ 2147483646 h 261"/>
              <a:gd name="T76" fmla="*/ 2147483646 w 367"/>
              <a:gd name="T77" fmla="*/ 2147483646 h 261"/>
              <a:gd name="T78" fmla="*/ 2147483646 w 367"/>
              <a:gd name="T79" fmla="*/ 2147483646 h 261"/>
              <a:gd name="T80" fmla="*/ 2147483646 w 367"/>
              <a:gd name="T81" fmla="*/ 2147483646 h 261"/>
              <a:gd name="T82" fmla="*/ 2147483646 w 367"/>
              <a:gd name="T83" fmla="*/ 2147483646 h 261"/>
              <a:gd name="T84" fmla="*/ 2147483646 w 367"/>
              <a:gd name="T85" fmla="*/ 2147483646 h 261"/>
              <a:gd name="T86" fmla="*/ 2147483646 w 367"/>
              <a:gd name="T87" fmla="*/ 2147483646 h 261"/>
              <a:gd name="T88" fmla="*/ 2147483646 w 367"/>
              <a:gd name="T89" fmla="*/ 2147483646 h 261"/>
              <a:gd name="T90" fmla="*/ 2147483646 w 367"/>
              <a:gd name="T91" fmla="*/ 2147483646 h 261"/>
              <a:gd name="T92" fmla="*/ 2147483646 w 367"/>
              <a:gd name="T93" fmla="*/ 2147483646 h 261"/>
              <a:gd name="T94" fmla="*/ 2147483646 w 367"/>
              <a:gd name="T95" fmla="*/ 2147483646 h 261"/>
              <a:gd name="T96" fmla="*/ 2147483646 w 367"/>
              <a:gd name="T97" fmla="*/ 2147483646 h 261"/>
              <a:gd name="T98" fmla="*/ 2147483646 w 367"/>
              <a:gd name="T99" fmla="*/ 2147483646 h 261"/>
              <a:gd name="T100" fmla="*/ 2147483646 w 367"/>
              <a:gd name="T101" fmla="*/ 2147483646 h 261"/>
              <a:gd name="T102" fmla="*/ 2147483646 w 367"/>
              <a:gd name="T103" fmla="*/ 2147483646 h 261"/>
              <a:gd name="T104" fmla="*/ 2147483646 w 367"/>
              <a:gd name="T105" fmla="*/ 2147483646 h 261"/>
              <a:gd name="T106" fmla="*/ 2147483646 w 367"/>
              <a:gd name="T107" fmla="*/ 2147483646 h 261"/>
              <a:gd name="T108" fmla="*/ 2147483646 w 367"/>
              <a:gd name="T109" fmla="*/ 2147483646 h 261"/>
              <a:gd name="T110" fmla="*/ 2147483646 w 367"/>
              <a:gd name="T111" fmla="*/ 2147483646 h 261"/>
              <a:gd name="T112" fmla="*/ 2147483646 w 367"/>
              <a:gd name="T113" fmla="*/ 2147483646 h 261"/>
              <a:gd name="T114" fmla="*/ 2147483646 w 367"/>
              <a:gd name="T115" fmla="*/ 2147483646 h 26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67"/>
              <a:gd name="T175" fmla="*/ 0 h 261"/>
              <a:gd name="T176" fmla="*/ 367 w 367"/>
              <a:gd name="T177" fmla="*/ 261 h 26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67" h="261">
                <a:moveTo>
                  <a:pt x="51" y="261"/>
                </a:moveTo>
                <a:cubicBezTo>
                  <a:pt x="51" y="261"/>
                  <a:pt x="56" y="240"/>
                  <a:pt x="49" y="230"/>
                </a:cubicBezTo>
                <a:cubicBezTo>
                  <a:pt x="43" y="221"/>
                  <a:pt x="20" y="206"/>
                  <a:pt x="20" y="198"/>
                </a:cubicBezTo>
                <a:cubicBezTo>
                  <a:pt x="21" y="190"/>
                  <a:pt x="22" y="186"/>
                  <a:pt x="15" y="179"/>
                </a:cubicBezTo>
                <a:cubicBezTo>
                  <a:pt x="7" y="172"/>
                  <a:pt x="8" y="164"/>
                  <a:pt x="8" y="154"/>
                </a:cubicBezTo>
                <a:cubicBezTo>
                  <a:pt x="7" y="143"/>
                  <a:pt x="0" y="143"/>
                  <a:pt x="2" y="138"/>
                </a:cubicBezTo>
                <a:cubicBezTo>
                  <a:pt x="4" y="134"/>
                  <a:pt x="9" y="139"/>
                  <a:pt x="12" y="133"/>
                </a:cubicBezTo>
                <a:cubicBezTo>
                  <a:pt x="16" y="128"/>
                  <a:pt x="25" y="103"/>
                  <a:pt x="35" y="98"/>
                </a:cubicBezTo>
                <a:cubicBezTo>
                  <a:pt x="35" y="98"/>
                  <a:pt x="43" y="104"/>
                  <a:pt x="50" y="99"/>
                </a:cubicBezTo>
                <a:cubicBezTo>
                  <a:pt x="57" y="93"/>
                  <a:pt x="61" y="83"/>
                  <a:pt x="64" y="89"/>
                </a:cubicBezTo>
                <a:cubicBezTo>
                  <a:pt x="67" y="95"/>
                  <a:pt x="67" y="105"/>
                  <a:pt x="74" y="96"/>
                </a:cubicBezTo>
                <a:cubicBezTo>
                  <a:pt x="82" y="88"/>
                  <a:pt x="82" y="86"/>
                  <a:pt x="92" y="85"/>
                </a:cubicBezTo>
                <a:cubicBezTo>
                  <a:pt x="101" y="85"/>
                  <a:pt x="101" y="81"/>
                  <a:pt x="110" y="82"/>
                </a:cubicBezTo>
                <a:cubicBezTo>
                  <a:pt x="120" y="82"/>
                  <a:pt x="132" y="71"/>
                  <a:pt x="132" y="66"/>
                </a:cubicBezTo>
                <a:cubicBezTo>
                  <a:pt x="132" y="61"/>
                  <a:pt x="120" y="54"/>
                  <a:pt x="132" y="55"/>
                </a:cubicBezTo>
                <a:cubicBezTo>
                  <a:pt x="144" y="55"/>
                  <a:pt x="153" y="55"/>
                  <a:pt x="159" y="53"/>
                </a:cubicBezTo>
                <a:cubicBezTo>
                  <a:pt x="166" y="51"/>
                  <a:pt x="175" y="53"/>
                  <a:pt x="178" y="45"/>
                </a:cubicBezTo>
                <a:cubicBezTo>
                  <a:pt x="180" y="37"/>
                  <a:pt x="178" y="30"/>
                  <a:pt x="190" y="26"/>
                </a:cubicBezTo>
                <a:cubicBezTo>
                  <a:pt x="202" y="22"/>
                  <a:pt x="204" y="19"/>
                  <a:pt x="206" y="12"/>
                </a:cubicBezTo>
                <a:cubicBezTo>
                  <a:pt x="208" y="5"/>
                  <a:pt x="216" y="0"/>
                  <a:pt x="221" y="0"/>
                </a:cubicBezTo>
                <a:cubicBezTo>
                  <a:pt x="226" y="0"/>
                  <a:pt x="239" y="0"/>
                  <a:pt x="239" y="0"/>
                </a:cubicBezTo>
                <a:cubicBezTo>
                  <a:pt x="239" y="0"/>
                  <a:pt x="238" y="5"/>
                  <a:pt x="246" y="10"/>
                </a:cubicBezTo>
                <a:cubicBezTo>
                  <a:pt x="253" y="15"/>
                  <a:pt x="267" y="32"/>
                  <a:pt x="261" y="41"/>
                </a:cubicBezTo>
                <a:cubicBezTo>
                  <a:pt x="256" y="50"/>
                  <a:pt x="252" y="60"/>
                  <a:pt x="258" y="61"/>
                </a:cubicBezTo>
                <a:cubicBezTo>
                  <a:pt x="264" y="62"/>
                  <a:pt x="269" y="54"/>
                  <a:pt x="274" y="60"/>
                </a:cubicBezTo>
                <a:cubicBezTo>
                  <a:pt x="280" y="67"/>
                  <a:pt x="272" y="71"/>
                  <a:pt x="276" y="73"/>
                </a:cubicBezTo>
                <a:cubicBezTo>
                  <a:pt x="279" y="76"/>
                  <a:pt x="283" y="73"/>
                  <a:pt x="289" y="75"/>
                </a:cubicBezTo>
                <a:cubicBezTo>
                  <a:pt x="295" y="78"/>
                  <a:pt x="295" y="82"/>
                  <a:pt x="301" y="84"/>
                </a:cubicBezTo>
                <a:cubicBezTo>
                  <a:pt x="307" y="85"/>
                  <a:pt x="315" y="81"/>
                  <a:pt x="313" y="89"/>
                </a:cubicBezTo>
                <a:cubicBezTo>
                  <a:pt x="312" y="97"/>
                  <a:pt x="304" y="99"/>
                  <a:pt x="310" y="102"/>
                </a:cubicBezTo>
                <a:cubicBezTo>
                  <a:pt x="317" y="104"/>
                  <a:pt x="318" y="100"/>
                  <a:pt x="326" y="105"/>
                </a:cubicBezTo>
                <a:cubicBezTo>
                  <a:pt x="334" y="110"/>
                  <a:pt x="337" y="116"/>
                  <a:pt x="340" y="120"/>
                </a:cubicBezTo>
                <a:cubicBezTo>
                  <a:pt x="343" y="124"/>
                  <a:pt x="337" y="134"/>
                  <a:pt x="344" y="138"/>
                </a:cubicBezTo>
                <a:cubicBezTo>
                  <a:pt x="350" y="142"/>
                  <a:pt x="357" y="146"/>
                  <a:pt x="359" y="147"/>
                </a:cubicBezTo>
                <a:cubicBezTo>
                  <a:pt x="361" y="149"/>
                  <a:pt x="367" y="151"/>
                  <a:pt x="367" y="155"/>
                </a:cubicBezTo>
                <a:cubicBezTo>
                  <a:pt x="367" y="158"/>
                  <a:pt x="365" y="162"/>
                  <a:pt x="365" y="162"/>
                </a:cubicBezTo>
                <a:cubicBezTo>
                  <a:pt x="365" y="162"/>
                  <a:pt x="357" y="160"/>
                  <a:pt x="355" y="162"/>
                </a:cubicBezTo>
                <a:cubicBezTo>
                  <a:pt x="353" y="165"/>
                  <a:pt x="346" y="167"/>
                  <a:pt x="341" y="164"/>
                </a:cubicBezTo>
                <a:cubicBezTo>
                  <a:pt x="336" y="162"/>
                  <a:pt x="332" y="157"/>
                  <a:pt x="328" y="160"/>
                </a:cubicBezTo>
                <a:cubicBezTo>
                  <a:pt x="325" y="162"/>
                  <a:pt x="320" y="161"/>
                  <a:pt x="318" y="160"/>
                </a:cubicBezTo>
                <a:cubicBezTo>
                  <a:pt x="316" y="159"/>
                  <a:pt x="311" y="152"/>
                  <a:pt x="309" y="157"/>
                </a:cubicBezTo>
                <a:cubicBezTo>
                  <a:pt x="308" y="162"/>
                  <a:pt x="283" y="161"/>
                  <a:pt x="279" y="164"/>
                </a:cubicBezTo>
                <a:cubicBezTo>
                  <a:pt x="275" y="166"/>
                  <a:pt x="272" y="177"/>
                  <a:pt x="270" y="177"/>
                </a:cubicBezTo>
                <a:cubicBezTo>
                  <a:pt x="268" y="177"/>
                  <a:pt x="265" y="175"/>
                  <a:pt x="261" y="177"/>
                </a:cubicBezTo>
                <a:cubicBezTo>
                  <a:pt x="256" y="179"/>
                  <a:pt x="252" y="173"/>
                  <a:pt x="248" y="173"/>
                </a:cubicBezTo>
                <a:cubicBezTo>
                  <a:pt x="243" y="173"/>
                  <a:pt x="239" y="163"/>
                  <a:pt x="237" y="173"/>
                </a:cubicBezTo>
                <a:cubicBezTo>
                  <a:pt x="235" y="184"/>
                  <a:pt x="230" y="192"/>
                  <a:pt x="226" y="192"/>
                </a:cubicBezTo>
                <a:cubicBezTo>
                  <a:pt x="222" y="192"/>
                  <a:pt x="220" y="191"/>
                  <a:pt x="216" y="190"/>
                </a:cubicBezTo>
                <a:cubicBezTo>
                  <a:pt x="212" y="190"/>
                  <a:pt x="191" y="186"/>
                  <a:pt x="186" y="187"/>
                </a:cubicBezTo>
                <a:cubicBezTo>
                  <a:pt x="182" y="187"/>
                  <a:pt x="175" y="184"/>
                  <a:pt x="174" y="181"/>
                </a:cubicBezTo>
                <a:cubicBezTo>
                  <a:pt x="173" y="177"/>
                  <a:pt x="164" y="160"/>
                  <a:pt x="147" y="164"/>
                </a:cubicBezTo>
                <a:cubicBezTo>
                  <a:pt x="130" y="168"/>
                  <a:pt x="121" y="187"/>
                  <a:pt x="121" y="207"/>
                </a:cubicBezTo>
                <a:cubicBezTo>
                  <a:pt x="121" y="207"/>
                  <a:pt x="117" y="211"/>
                  <a:pt x="108" y="209"/>
                </a:cubicBezTo>
                <a:cubicBezTo>
                  <a:pt x="98" y="207"/>
                  <a:pt x="91" y="206"/>
                  <a:pt x="87" y="204"/>
                </a:cubicBezTo>
                <a:cubicBezTo>
                  <a:pt x="83" y="202"/>
                  <a:pt x="79" y="203"/>
                  <a:pt x="78" y="207"/>
                </a:cubicBezTo>
                <a:cubicBezTo>
                  <a:pt x="78" y="211"/>
                  <a:pt x="71" y="211"/>
                  <a:pt x="66" y="212"/>
                </a:cubicBezTo>
                <a:cubicBezTo>
                  <a:pt x="61" y="213"/>
                  <a:pt x="62" y="224"/>
                  <a:pt x="62" y="226"/>
                </a:cubicBezTo>
                <a:cubicBezTo>
                  <a:pt x="62" y="229"/>
                  <a:pt x="57" y="254"/>
                  <a:pt x="51" y="26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41" name="Freeform 677"/>
          <p:cNvSpPr>
            <a:spLocks/>
          </p:cNvSpPr>
          <p:nvPr userDrawn="1"/>
        </p:nvSpPr>
        <p:spPr bwMode="auto">
          <a:xfrm>
            <a:off x="5701718" y="4976170"/>
            <a:ext cx="55279" cy="33501"/>
          </a:xfrm>
          <a:custGeom>
            <a:avLst/>
            <a:gdLst>
              <a:gd name="T0" fmla="*/ 2147483646 w 59"/>
              <a:gd name="T1" fmla="*/ 0 h 36"/>
              <a:gd name="T2" fmla="*/ 2147483646 w 59"/>
              <a:gd name="T3" fmla="*/ 2147483646 h 36"/>
              <a:gd name="T4" fmla="*/ 2147483646 w 59"/>
              <a:gd name="T5" fmla="*/ 2147483646 h 36"/>
              <a:gd name="T6" fmla="*/ 2147483646 w 59"/>
              <a:gd name="T7" fmla="*/ 2147483646 h 36"/>
              <a:gd name="T8" fmla="*/ 2147483646 w 59"/>
              <a:gd name="T9" fmla="*/ 2147483646 h 36"/>
              <a:gd name="T10" fmla="*/ 2147483646 w 59"/>
              <a:gd name="T11" fmla="*/ 2147483646 h 36"/>
              <a:gd name="T12" fmla="*/ 2147483646 w 59"/>
              <a:gd name="T13" fmla="*/ 2147483646 h 36"/>
              <a:gd name="T14" fmla="*/ 2147483646 w 59"/>
              <a:gd name="T15" fmla="*/ 0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9"/>
              <a:gd name="T25" fmla="*/ 0 h 36"/>
              <a:gd name="T26" fmla="*/ 59 w 59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9" h="36">
                <a:moveTo>
                  <a:pt x="16" y="0"/>
                </a:moveTo>
                <a:cubicBezTo>
                  <a:pt x="16" y="0"/>
                  <a:pt x="43" y="6"/>
                  <a:pt x="59" y="1"/>
                </a:cubicBezTo>
                <a:cubicBezTo>
                  <a:pt x="59" y="1"/>
                  <a:pt x="57" y="15"/>
                  <a:pt x="58" y="19"/>
                </a:cubicBezTo>
                <a:cubicBezTo>
                  <a:pt x="58" y="24"/>
                  <a:pt x="57" y="31"/>
                  <a:pt x="56" y="33"/>
                </a:cubicBezTo>
                <a:cubicBezTo>
                  <a:pt x="56" y="34"/>
                  <a:pt x="41" y="36"/>
                  <a:pt x="41" y="36"/>
                </a:cubicBezTo>
                <a:cubicBezTo>
                  <a:pt x="8" y="36"/>
                  <a:pt x="8" y="36"/>
                  <a:pt x="8" y="36"/>
                </a:cubicBezTo>
                <a:cubicBezTo>
                  <a:pt x="8" y="36"/>
                  <a:pt x="0" y="29"/>
                  <a:pt x="6" y="25"/>
                </a:cubicBezTo>
                <a:cubicBezTo>
                  <a:pt x="11" y="20"/>
                  <a:pt x="17" y="6"/>
                  <a:pt x="1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42" name="Freeform 678"/>
          <p:cNvSpPr>
            <a:spLocks/>
          </p:cNvSpPr>
          <p:nvPr userDrawn="1"/>
        </p:nvSpPr>
        <p:spPr bwMode="auto">
          <a:xfrm>
            <a:off x="5684967" y="4966119"/>
            <a:ext cx="154108" cy="167509"/>
          </a:xfrm>
          <a:custGeom>
            <a:avLst/>
            <a:gdLst>
              <a:gd name="T0" fmla="*/ 2147483646 w 166"/>
              <a:gd name="T1" fmla="*/ 2147483646 h 179"/>
              <a:gd name="T2" fmla="*/ 2147483646 w 166"/>
              <a:gd name="T3" fmla="*/ 2147483646 h 179"/>
              <a:gd name="T4" fmla="*/ 2147483646 w 166"/>
              <a:gd name="T5" fmla="*/ 2147483646 h 179"/>
              <a:gd name="T6" fmla="*/ 2147483646 w 166"/>
              <a:gd name="T7" fmla="*/ 2147483646 h 179"/>
              <a:gd name="T8" fmla="*/ 2147483646 w 166"/>
              <a:gd name="T9" fmla="*/ 2147483646 h 179"/>
              <a:gd name="T10" fmla="*/ 2147483646 w 166"/>
              <a:gd name="T11" fmla="*/ 2147483646 h 179"/>
              <a:gd name="T12" fmla="*/ 2147483646 w 166"/>
              <a:gd name="T13" fmla="*/ 2147483646 h 179"/>
              <a:gd name="T14" fmla="*/ 2147483646 w 166"/>
              <a:gd name="T15" fmla="*/ 2147483646 h 179"/>
              <a:gd name="T16" fmla="*/ 2147483646 w 166"/>
              <a:gd name="T17" fmla="*/ 2147483646 h 179"/>
              <a:gd name="T18" fmla="*/ 2147483646 w 166"/>
              <a:gd name="T19" fmla="*/ 2147483646 h 179"/>
              <a:gd name="T20" fmla="*/ 2147483646 w 166"/>
              <a:gd name="T21" fmla="*/ 2147483646 h 179"/>
              <a:gd name="T22" fmla="*/ 2147483646 w 166"/>
              <a:gd name="T23" fmla="*/ 2147483646 h 179"/>
              <a:gd name="T24" fmla="*/ 2147483646 w 166"/>
              <a:gd name="T25" fmla="*/ 2147483646 h 179"/>
              <a:gd name="T26" fmla="*/ 2147483646 w 166"/>
              <a:gd name="T27" fmla="*/ 2147483646 h 179"/>
              <a:gd name="T28" fmla="*/ 2147483646 w 166"/>
              <a:gd name="T29" fmla="*/ 2147483646 h 179"/>
              <a:gd name="T30" fmla="*/ 2147483646 w 166"/>
              <a:gd name="T31" fmla="*/ 2147483646 h 179"/>
              <a:gd name="T32" fmla="*/ 2147483646 w 166"/>
              <a:gd name="T33" fmla="*/ 2147483646 h 179"/>
              <a:gd name="T34" fmla="*/ 2147483646 w 166"/>
              <a:gd name="T35" fmla="*/ 2147483646 h 179"/>
              <a:gd name="T36" fmla="*/ 2147483646 w 166"/>
              <a:gd name="T37" fmla="*/ 2147483646 h 179"/>
              <a:gd name="T38" fmla="*/ 2147483646 w 166"/>
              <a:gd name="T39" fmla="*/ 2147483646 h 179"/>
              <a:gd name="T40" fmla="*/ 2147483646 w 166"/>
              <a:gd name="T41" fmla="*/ 2147483646 h 179"/>
              <a:gd name="T42" fmla="*/ 2147483646 w 166"/>
              <a:gd name="T43" fmla="*/ 2147483646 h 179"/>
              <a:gd name="T44" fmla="*/ 2147483646 w 166"/>
              <a:gd name="T45" fmla="*/ 2147483646 h 179"/>
              <a:gd name="T46" fmla="*/ 2147483646 w 166"/>
              <a:gd name="T47" fmla="*/ 2147483646 h 179"/>
              <a:gd name="T48" fmla="*/ 2147483646 w 166"/>
              <a:gd name="T49" fmla="*/ 2147483646 h 179"/>
              <a:gd name="T50" fmla="*/ 2147483646 w 166"/>
              <a:gd name="T51" fmla="*/ 2147483646 h 179"/>
              <a:gd name="T52" fmla="*/ 2147483646 w 166"/>
              <a:gd name="T53" fmla="*/ 2147483646 h 179"/>
              <a:gd name="T54" fmla="*/ 2147483646 w 166"/>
              <a:gd name="T55" fmla="*/ 2147483646 h 179"/>
              <a:gd name="T56" fmla="*/ 2147483646 w 166"/>
              <a:gd name="T57" fmla="*/ 2147483646 h 179"/>
              <a:gd name="T58" fmla="*/ 2147483646 w 166"/>
              <a:gd name="T59" fmla="*/ 2147483646 h 179"/>
              <a:gd name="T60" fmla="*/ 2147483646 w 166"/>
              <a:gd name="T61" fmla="*/ 2147483646 h 179"/>
              <a:gd name="T62" fmla="*/ 2147483646 w 166"/>
              <a:gd name="T63" fmla="*/ 2147483646 h 179"/>
              <a:gd name="T64" fmla="*/ 2147483646 w 166"/>
              <a:gd name="T65" fmla="*/ 2147483646 h 179"/>
              <a:gd name="T66" fmla="*/ 2147483646 w 166"/>
              <a:gd name="T67" fmla="*/ 2147483646 h 179"/>
              <a:gd name="T68" fmla="*/ 2147483646 w 166"/>
              <a:gd name="T69" fmla="*/ 2147483646 h 179"/>
              <a:gd name="T70" fmla="*/ 2147483646 w 166"/>
              <a:gd name="T71" fmla="*/ 2147483646 h 179"/>
              <a:gd name="T72" fmla="*/ 2147483646 w 166"/>
              <a:gd name="T73" fmla="*/ 2147483646 h 179"/>
              <a:gd name="T74" fmla="*/ 2147483646 w 166"/>
              <a:gd name="T75" fmla="*/ 2147483646 h 179"/>
              <a:gd name="T76" fmla="*/ 2147483646 w 166"/>
              <a:gd name="T77" fmla="*/ 2147483646 h 179"/>
              <a:gd name="T78" fmla="*/ 2147483646 w 166"/>
              <a:gd name="T79" fmla="*/ 2147483646 h 179"/>
              <a:gd name="T80" fmla="*/ 2147483646 w 166"/>
              <a:gd name="T81" fmla="*/ 2147483646 h 179"/>
              <a:gd name="T82" fmla="*/ 2147483646 w 166"/>
              <a:gd name="T83" fmla="*/ 2147483646 h 179"/>
              <a:gd name="T84" fmla="*/ 2147483646 w 166"/>
              <a:gd name="T85" fmla="*/ 2147483646 h 179"/>
              <a:gd name="T86" fmla="*/ 2147483646 w 166"/>
              <a:gd name="T87" fmla="*/ 2147483646 h 179"/>
              <a:gd name="T88" fmla="*/ 2147483646 w 166"/>
              <a:gd name="T89" fmla="*/ 2147483646 h 179"/>
              <a:gd name="T90" fmla="*/ 2147483646 w 166"/>
              <a:gd name="T91" fmla="*/ 2147483646 h 179"/>
              <a:gd name="T92" fmla="*/ 2147483646 w 166"/>
              <a:gd name="T93" fmla="*/ 2147483646 h 179"/>
              <a:gd name="T94" fmla="*/ 2147483646 w 166"/>
              <a:gd name="T95" fmla="*/ 2147483646 h 179"/>
              <a:gd name="T96" fmla="*/ 2147483646 w 166"/>
              <a:gd name="T97" fmla="*/ 2147483646 h 179"/>
              <a:gd name="T98" fmla="*/ 2147483646 w 166"/>
              <a:gd name="T99" fmla="*/ 2147483646 h 179"/>
              <a:gd name="T100" fmla="*/ 2147483646 w 166"/>
              <a:gd name="T101" fmla="*/ 21474836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6"/>
              <a:gd name="T154" fmla="*/ 0 h 179"/>
              <a:gd name="T155" fmla="*/ 166 w 166"/>
              <a:gd name="T156" fmla="*/ 179 h 17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6" h="179">
                <a:moveTo>
                  <a:pt x="132" y="9"/>
                </a:moveTo>
                <a:cubicBezTo>
                  <a:pt x="129" y="9"/>
                  <a:pt x="125" y="8"/>
                  <a:pt x="121" y="7"/>
                </a:cubicBezTo>
                <a:cubicBezTo>
                  <a:pt x="94" y="0"/>
                  <a:pt x="95" y="8"/>
                  <a:pt x="78" y="11"/>
                </a:cubicBezTo>
                <a:cubicBezTo>
                  <a:pt x="78" y="11"/>
                  <a:pt x="76" y="25"/>
                  <a:pt x="77" y="29"/>
                </a:cubicBezTo>
                <a:cubicBezTo>
                  <a:pt x="77" y="34"/>
                  <a:pt x="76" y="41"/>
                  <a:pt x="75" y="43"/>
                </a:cubicBezTo>
                <a:cubicBezTo>
                  <a:pt x="75" y="44"/>
                  <a:pt x="60" y="46"/>
                  <a:pt x="60" y="46"/>
                </a:cubicBezTo>
                <a:cubicBezTo>
                  <a:pt x="27" y="46"/>
                  <a:pt x="27" y="46"/>
                  <a:pt x="27" y="46"/>
                </a:cubicBezTo>
                <a:cubicBezTo>
                  <a:pt x="27" y="46"/>
                  <a:pt x="27" y="52"/>
                  <a:pt x="25" y="57"/>
                </a:cubicBezTo>
                <a:cubicBezTo>
                  <a:pt x="23" y="62"/>
                  <a:pt x="21" y="71"/>
                  <a:pt x="18" y="78"/>
                </a:cubicBezTo>
                <a:cubicBezTo>
                  <a:pt x="16" y="85"/>
                  <a:pt x="21" y="88"/>
                  <a:pt x="15" y="91"/>
                </a:cubicBezTo>
                <a:cubicBezTo>
                  <a:pt x="8" y="94"/>
                  <a:pt x="7" y="92"/>
                  <a:pt x="7" y="92"/>
                </a:cubicBezTo>
                <a:cubicBezTo>
                  <a:pt x="7" y="92"/>
                  <a:pt x="5" y="87"/>
                  <a:pt x="3" y="90"/>
                </a:cubicBezTo>
                <a:cubicBezTo>
                  <a:pt x="1" y="92"/>
                  <a:pt x="0" y="93"/>
                  <a:pt x="2" y="96"/>
                </a:cubicBezTo>
                <a:cubicBezTo>
                  <a:pt x="4" y="99"/>
                  <a:pt x="6" y="100"/>
                  <a:pt x="7" y="103"/>
                </a:cubicBezTo>
                <a:cubicBezTo>
                  <a:pt x="8" y="105"/>
                  <a:pt x="6" y="104"/>
                  <a:pt x="9" y="111"/>
                </a:cubicBezTo>
                <a:cubicBezTo>
                  <a:pt x="12" y="118"/>
                  <a:pt x="12" y="122"/>
                  <a:pt x="15" y="120"/>
                </a:cubicBezTo>
                <a:cubicBezTo>
                  <a:pt x="19" y="119"/>
                  <a:pt x="21" y="116"/>
                  <a:pt x="21" y="120"/>
                </a:cubicBezTo>
                <a:cubicBezTo>
                  <a:pt x="21" y="124"/>
                  <a:pt x="18" y="124"/>
                  <a:pt x="17" y="125"/>
                </a:cubicBezTo>
                <a:cubicBezTo>
                  <a:pt x="15" y="126"/>
                  <a:pt x="15" y="127"/>
                  <a:pt x="18" y="128"/>
                </a:cubicBezTo>
                <a:cubicBezTo>
                  <a:pt x="21" y="129"/>
                  <a:pt x="25" y="127"/>
                  <a:pt x="24" y="131"/>
                </a:cubicBezTo>
                <a:cubicBezTo>
                  <a:pt x="23" y="134"/>
                  <a:pt x="30" y="141"/>
                  <a:pt x="31" y="144"/>
                </a:cubicBezTo>
                <a:cubicBezTo>
                  <a:pt x="33" y="146"/>
                  <a:pt x="41" y="153"/>
                  <a:pt x="45" y="158"/>
                </a:cubicBezTo>
                <a:cubicBezTo>
                  <a:pt x="49" y="163"/>
                  <a:pt x="58" y="170"/>
                  <a:pt x="61" y="173"/>
                </a:cubicBezTo>
                <a:cubicBezTo>
                  <a:pt x="63" y="177"/>
                  <a:pt x="65" y="179"/>
                  <a:pt x="69" y="178"/>
                </a:cubicBezTo>
                <a:cubicBezTo>
                  <a:pt x="73" y="176"/>
                  <a:pt x="70" y="167"/>
                  <a:pt x="77" y="169"/>
                </a:cubicBezTo>
                <a:cubicBezTo>
                  <a:pt x="84" y="172"/>
                  <a:pt x="82" y="168"/>
                  <a:pt x="87" y="167"/>
                </a:cubicBezTo>
                <a:cubicBezTo>
                  <a:pt x="91" y="167"/>
                  <a:pt x="97" y="163"/>
                  <a:pt x="92" y="160"/>
                </a:cubicBezTo>
                <a:cubicBezTo>
                  <a:pt x="87" y="156"/>
                  <a:pt x="87" y="152"/>
                  <a:pt x="87" y="150"/>
                </a:cubicBezTo>
                <a:cubicBezTo>
                  <a:pt x="87" y="148"/>
                  <a:pt x="71" y="139"/>
                  <a:pt x="86" y="142"/>
                </a:cubicBezTo>
                <a:cubicBezTo>
                  <a:pt x="100" y="145"/>
                  <a:pt x="99" y="140"/>
                  <a:pt x="104" y="141"/>
                </a:cubicBezTo>
                <a:cubicBezTo>
                  <a:pt x="110" y="142"/>
                  <a:pt x="111" y="140"/>
                  <a:pt x="110" y="137"/>
                </a:cubicBezTo>
                <a:cubicBezTo>
                  <a:pt x="108" y="133"/>
                  <a:pt x="102" y="128"/>
                  <a:pt x="109" y="129"/>
                </a:cubicBezTo>
                <a:cubicBezTo>
                  <a:pt x="115" y="129"/>
                  <a:pt x="115" y="123"/>
                  <a:pt x="118" y="127"/>
                </a:cubicBezTo>
                <a:cubicBezTo>
                  <a:pt x="121" y="132"/>
                  <a:pt x="121" y="132"/>
                  <a:pt x="123" y="139"/>
                </a:cubicBezTo>
                <a:cubicBezTo>
                  <a:pt x="125" y="145"/>
                  <a:pt x="123" y="143"/>
                  <a:pt x="129" y="144"/>
                </a:cubicBezTo>
                <a:cubicBezTo>
                  <a:pt x="135" y="146"/>
                  <a:pt x="136" y="145"/>
                  <a:pt x="138" y="143"/>
                </a:cubicBezTo>
                <a:cubicBezTo>
                  <a:pt x="141" y="142"/>
                  <a:pt x="138" y="139"/>
                  <a:pt x="142" y="141"/>
                </a:cubicBezTo>
                <a:cubicBezTo>
                  <a:pt x="146" y="142"/>
                  <a:pt x="149" y="142"/>
                  <a:pt x="150" y="144"/>
                </a:cubicBezTo>
                <a:cubicBezTo>
                  <a:pt x="150" y="146"/>
                  <a:pt x="157" y="137"/>
                  <a:pt x="159" y="136"/>
                </a:cubicBezTo>
                <a:cubicBezTo>
                  <a:pt x="160" y="135"/>
                  <a:pt x="159" y="134"/>
                  <a:pt x="161" y="131"/>
                </a:cubicBezTo>
                <a:cubicBezTo>
                  <a:pt x="163" y="128"/>
                  <a:pt x="164" y="118"/>
                  <a:pt x="163" y="110"/>
                </a:cubicBezTo>
                <a:cubicBezTo>
                  <a:pt x="162" y="102"/>
                  <a:pt x="162" y="98"/>
                  <a:pt x="164" y="95"/>
                </a:cubicBezTo>
                <a:cubicBezTo>
                  <a:pt x="165" y="92"/>
                  <a:pt x="165" y="88"/>
                  <a:pt x="161" y="85"/>
                </a:cubicBezTo>
                <a:cubicBezTo>
                  <a:pt x="157" y="83"/>
                  <a:pt x="152" y="84"/>
                  <a:pt x="150" y="80"/>
                </a:cubicBezTo>
                <a:cubicBezTo>
                  <a:pt x="148" y="77"/>
                  <a:pt x="145" y="74"/>
                  <a:pt x="147" y="70"/>
                </a:cubicBezTo>
                <a:cubicBezTo>
                  <a:pt x="148" y="67"/>
                  <a:pt x="148" y="60"/>
                  <a:pt x="153" y="58"/>
                </a:cubicBezTo>
                <a:cubicBezTo>
                  <a:pt x="159" y="56"/>
                  <a:pt x="166" y="59"/>
                  <a:pt x="165" y="51"/>
                </a:cubicBezTo>
                <a:cubicBezTo>
                  <a:pt x="164" y="42"/>
                  <a:pt x="159" y="30"/>
                  <a:pt x="150" y="32"/>
                </a:cubicBezTo>
                <a:cubicBezTo>
                  <a:pt x="142" y="34"/>
                  <a:pt x="133" y="48"/>
                  <a:pt x="130" y="39"/>
                </a:cubicBezTo>
                <a:cubicBezTo>
                  <a:pt x="127" y="31"/>
                  <a:pt x="126" y="27"/>
                  <a:pt x="127" y="24"/>
                </a:cubicBezTo>
                <a:cubicBezTo>
                  <a:pt x="129" y="20"/>
                  <a:pt x="132" y="9"/>
                  <a:pt x="132" y="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43" name="Freeform 679"/>
          <p:cNvSpPr>
            <a:spLocks/>
          </p:cNvSpPr>
          <p:nvPr userDrawn="1"/>
        </p:nvSpPr>
        <p:spPr bwMode="auto">
          <a:xfrm>
            <a:off x="5748620" y="4937643"/>
            <a:ext cx="201011" cy="232837"/>
          </a:xfrm>
          <a:custGeom>
            <a:avLst/>
            <a:gdLst>
              <a:gd name="T0" fmla="*/ 2147483646 w 216"/>
              <a:gd name="T1" fmla="*/ 2147483646 h 249"/>
              <a:gd name="T2" fmla="*/ 2147483646 w 216"/>
              <a:gd name="T3" fmla="*/ 2147483646 h 249"/>
              <a:gd name="T4" fmla="*/ 2147483646 w 216"/>
              <a:gd name="T5" fmla="*/ 2147483646 h 249"/>
              <a:gd name="T6" fmla="*/ 2147483646 w 216"/>
              <a:gd name="T7" fmla="*/ 2147483646 h 249"/>
              <a:gd name="T8" fmla="*/ 2147483646 w 216"/>
              <a:gd name="T9" fmla="*/ 2147483646 h 249"/>
              <a:gd name="T10" fmla="*/ 2147483646 w 216"/>
              <a:gd name="T11" fmla="*/ 2147483646 h 249"/>
              <a:gd name="T12" fmla="*/ 2147483646 w 216"/>
              <a:gd name="T13" fmla="*/ 2147483646 h 249"/>
              <a:gd name="T14" fmla="*/ 2147483646 w 216"/>
              <a:gd name="T15" fmla="*/ 2147483646 h 249"/>
              <a:gd name="T16" fmla="*/ 2147483646 w 216"/>
              <a:gd name="T17" fmla="*/ 2147483646 h 249"/>
              <a:gd name="T18" fmla="*/ 2147483646 w 216"/>
              <a:gd name="T19" fmla="*/ 2147483646 h 249"/>
              <a:gd name="T20" fmla="*/ 2147483646 w 216"/>
              <a:gd name="T21" fmla="*/ 2147483646 h 249"/>
              <a:gd name="T22" fmla="*/ 2147483646 w 216"/>
              <a:gd name="T23" fmla="*/ 2147483646 h 249"/>
              <a:gd name="T24" fmla="*/ 2147483646 w 216"/>
              <a:gd name="T25" fmla="*/ 2147483646 h 249"/>
              <a:gd name="T26" fmla="*/ 2147483646 w 216"/>
              <a:gd name="T27" fmla="*/ 2147483646 h 249"/>
              <a:gd name="T28" fmla="*/ 2147483646 w 216"/>
              <a:gd name="T29" fmla="*/ 2147483646 h 249"/>
              <a:gd name="T30" fmla="*/ 2147483646 w 216"/>
              <a:gd name="T31" fmla="*/ 2147483646 h 249"/>
              <a:gd name="T32" fmla="*/ 2147483646 w 216"/>
              <a:gd name="T33" fmla="*/ 2147483646 h 249"/>
              <a:gd name="T34" fmla="*/ 2147483646 w 216"/>
              <a:gd name="T35" fmla="*/ 2147483646 h 249"/>
              <a:gd name="T36" fmla="*/ 2147483646 w 216"/>
              <a:gd name="T37" fmla="*/ 2147483646 h 249"/>
              <a:gd name="T38" fmla="*/ 2147483646 w 216"/>
              <a:gd name="T39" fmla="*/ 2147483646 h 249"/>
              <a:gd name="T40" fmla="*/ 2147483646 w 216"/>
              <a:gd name="T41" fmla="*/ 2147483646 h 249"/>
              <a:gd name="T42" fmla="*/ 2147483646 w 216"/>
              <a:gd name="T43" fmla="*/ 2147483646 h 249"/>
              <a:gd name="T44" fmla="*/ 2147483646 w 216"/>
              <a:gd name="T45" fmla="*/ 2147483646 h 249"/>
              <a:gd name="T46" fmla="*/ 2147483646 w 216"/>
              <a:gd name="T47" fmla="*/ 2147483646 h 249"/>
              <a:gd name="T48" fmla="*/ 2147483646 w 216"/>
              <a:gd name="T49" fmla="*/ 2147483646 h 249"/>
              <a:gd name="T50" fmla="*/ 2147483646 w 216"/>
              <a:gd name="T51" fmla="*/ 2147483646 h 249"/>
              <a:gd name="T52" fmla="*/ 2147483646 w 216"/>
              <a:gd name="T53" fmla="*/ 2147483646 h 249"/>
              <a:gd name="T54" fmla="*/ 2147483646 w 216"/>
              <a:gd name="T55" fmla="*/ 2147483646 h 249"/>
              <a:gd name="T56" fmla="*/ 2147483646 w 216"/>
              <a:gd name="T57" fmla="*/ 2147483646 h 249"/>
              <a:gd name="T58" fmla="*/ 2147483646 w 216"/>
              <a:gd name="T59" fmla="*/ 2147483646 h 249"/>
              <a:gd name="T60" fmla="*/ 2147483646 w 216"/>
              <a:gd name="T61" fmla="*/ 2147483646 h 249"/>
              <a:gd name="T62" fmla="*/ 2147483646 w 216"/>
              <a:gd name="T63" fmla="*/ 2147483646 h 249"/>
              <a:gd name="T64" fmla="*/ 2147483646 w 216"/>
              <a:gd name="T65" fmla="*/ 2147483646 h 249"/>
              <a:gd name="T66" fmla="*/ 2147483646 w 216"/>
              <a:gd name="T67" fmla="*/ 2147483646 h 249"/>
              <a:gd name="T68" fmla="*/ 2147483646 w 216"/>
              <a:gd name="T69" fmla="*/ 2147483646 h 249"/>
              <a:gd name="T70" fmla="*/ 2147483646 w 216"/>
              <a:gd name="T71" fmla="*/ 2147483646 h 249"/>
              <a:gd name="T72" fmla="*/ 0 w 216"/>
              <a:gd name="T73" fmla="*/ 2147483646 h 249"/>
              <a:gd name="T74" fmla="*/ 2147483646 w 216"/>
              <a:gd name="T75" fmla="*/ 2147483646 h 249"/>
              <a:gd name="T76" fmla="*/ 2147483646 w 216"/>
              <a:gd name="T77" fmla="*/ 2147483646 h 249"/>
              <a:gd name="T78" fmla="*/ 2147483646 w 216"/>
              <a:gd name="T79" fmla="*/ 2147483646 h 249"/>
              <a:gd name="T80" fmla="*/ 2147483646 w 216"/>
              <a:gd name="T81" fmla="*/ 2147483646 h 249"/>
              <a:gd name="T82" fmla="*/ 2147483646 w 216"/>
              <a:gd name="T83" fmla="*/ 2147483646 h 249"/>
              <a:gd name="T84" fmla="*/ 2147483646 w 216"/>
              <a:gd name="T85" fmla="*/ 2147483646 h 249"/>
              <a:gd name="T86" fmla="*/ 2147483646 w 216"/>
              <a:gd name="T87" fmla="*/ 2147483646 h 249"/>
              <a:gd name="T88" fmla="*/ 2147483646 w 216"/>
              <a:gd name="T89" fmla="*/ 2147483646 h 249"/>
              <a:gd name="T90" fmla="*/ 2147483646 w 216"/>
              <a:gd name="T91" fmla="*/ 2147483646 h 249"/>
              <a:gd name="T92" fmla="*/ 2147483646 w 216"/>
              <a:gd name="T93" fmla="*/ 2147483646 h 249"/>
              <a:gd name="T94" fmla="*/ 2147483646 w 216"/>
              <a:gd name="T95" fmla="*/ 2147483646 h 249"/>
              <a:gd name="T96" fmla="*/ 2147483646 w 216"/>
              <a:gd name="T97" fmla="*/ 2147483646 h 249"/>
              <a:gd name="T98" fmla="*/ 2147483646 w 216"/>
              <a:gd name="T99" fmla="*/ 2147483646 h 249"/>
              <a:gd name="T100" fmla="*/ 2147483646 w 216"/>
              <a:gd name="T101" fmla="*/ 2147483646 h 249"/>
              <a:gd name="T102" fmla="*/ 2147483646 w 216"/>
              <a:gd name="T103" fmla="*/ 2147483646 h 249"/>
              <a:gd name="T104" fmla="*/ 2147483646 w 216"/>
              <a:gd name="T105" fmla="*/ 2147483646 h 249"/>
              <a:gd name="T106" fmla="*/ 2147483646 w 216"/>
              <a:gd name="T107" fmla="*/ 2147483646 h 249"/>
              <a:gd name="T108" fmla="*/ 2147483646 w 216"/>
              <a:gd name="T109" fmla="*/ 2147483646 h 249"/>
              <a:gd name="T110" fmla="*/ 2147483646 w 216"/>
              <a:gd name="T111" fmla="*/ 2147483646 h 249"/>
              <a:gd name="T112" fmla="*/ 2147483646 w 216"/>
              <a:gd name="T113" fmla="*/ 2147483646 h 249"/>
              <a:gd name="T114" fmla="*/ 2147483646 w 216"/>
              <a:gd name="T115" fmla="*/ 2147483646 h 249"/>
              <a:gd name="T116" fmla="*/ 2147483646 w 216"/>
              <a:gd name="T117" fmla="*/ 2147483646 h 249"/>
              <a:gd name="T118" fmla="*/ 2147483646 w 216"/>
              <a:gd name="T119" fmla="*/ 2147483646 h 249"/>
              <a:gd name="T120" fmla="*/ 2147483646 w 216"/>
              <a:gd name="T121" fmla="*/ 2147483646 h 249"/>
              <a:gd name="T122" fmla="*/ 2147483646 w 216"/>
              <a:gd name="T123" fmla="*/ 2147483646 h 2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16"/>
              <a:gd name="T187" fmla="*/ 0 h 249"/>
              <a:gd name="T188" fmla="*/ 216 w 216"/>
              <a:gd name="T189" fmla="*/ 249 h 24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16" h="249">
                <a:moveTo>
                  <a:pt x="213" y="5"/>
                </a:moveTo>
                <a:cubicBezTo>
                  <a:pt x="213" y="5"/>
                  <a:pt x="209" y="9"/>
                  <a:pt x="200" y="7"/>
                </a:cubicBezTo>
                <a:cubicBezTo>
                  <a:pt x="190" y="5"/>
                  <a:pt x="183" y="4"/>
                  <a:pt x="179" y="2"/>
                </a:cubicBezTo>
                <a:cubicBezTo>
                  <a:pt x="175" y="0"/>
                  <a:pt x="171" y="1"/>
                  <a:pt x="170" y="5"/>
                </a:cubicBezTo>
                <a:cubicBezTo>
                  <a:pt x="170" y="9"/>
                  <a:pt x="163" y="9"/>
                  <a:pt x="158" y="10"/>
                </a:cubicBezTo>
                <a:cubicBezTo>
                  <a:pt x="153" y="11"/>
                  <a:pt x="154" y="22"/>
                  <a:pt x="154" y="24"/>
                </a:cubicBezTo>
                <a:cubicBezTo>
                  <a:pt x="154" y="27"/>
                  <a:pt x="149" y="52"/>
                  <a:pt x="143" y="59"/>
                </a:cubicBezTo>
                <a:cubicBezTo>
                  <a:pt x="138" y="43"/>
                  <a:pt x="110" y="50"/>
                  <a:pt x="104" y="48"/>
                </a:cubicBezTo>
                <a:cubicBezTo>
                  <a:pt x="99" y="46"/>
                  <a:pt x="85" y="45"/>
                  <a:pt x="65" y="41"/>
                </a:cubicBezTo>
                <a:cubicBezTo>
                  <a:pt x="63" y="40"/>
                  <a:pt x="63" y="40"/>
                  <a:pt x="63" y="40"/>
                </a:cubicBezTo>
                <a:cubicBezTo>
                  <a:pt x="63" y="40"/>
                  <a:pt x="60" y="51"/>
                  <a:pt x="58" y="55"/>
                </a:cubicBezTo>
                <a:cubicBezTo>
                  <a:pt x="57" y="58"/>
                  <a:pt x="58" y="62"/>
                  <a:pt x="61" y="70"/>
                </a:cubicBezTo>
                <a:cubicBezTo>
                  <a:pt x="64" y="79"/>
                  <a:pt x="73" y="65"/>
                  <a:pt x="81" y="63"/>
                </a:cubicBezTo>
                <a:cubicBezTo>
                  <a:pt x="90" y="61"/>
                  <a:pt x="95" y="73"/>
                  <a:pt x="96" y="82"/>
                </a:cubicBezTo>
                <a:cubicBezTo>
                  <a:pt x="97" y="90"/>
                  <a:pt x="90" y="87"/>
                  <a:pt x="84" y="89"/>
                </a:cubicBezTo>
                <a:cubicBezTo>
                  <a:pt x="79" y="91"/>
                  <a:pt x="79" y="98"/>
                  <a:pt x="78" y="101"/>
                </a:cubicBezTo>
                <a:cubicBezTo>
                  <a:pt x="76" y="105"/>
                  <a:pt x="79" y="108"/>
                  <a:pt x="81" y="111"/>
                </a:cubicBezTo>
                <a:cubicBezTo>
                  <a:pt x="83" y="115"/>
                  <a:pt x="88" y="114"/>
                  <a:pt x="92" y="116"/>
                </a:cubicBezTo>
                <a:cubicBezTo>
                  <a:pt x="96" y="119"/>
                  <a:pt x="96" y="123"/>
                  <a:pt x="95" y="126"/>
                </a:cubicBezTo>
                <a:cubicBezTo>
                  <a:pt x="93" y="129"/>
                  <a:pt x="93" y="133"/>
                  <a:pt x="94" y="141"/>
                </a:cubicBezTo>
                <a:cubicBezTo>
                  <a:pt x="95" y="149"/>
                  <a:pt x="94" y="159"/>
                  <a:pt x="92" y="162"/>
                </a:cubicBezTo>
                <a:cubicBezTo>
                  <a:pt x="90" y="165"/>
                  <a:pt x="91" y="166"/>
                  <a:pt x="90" y="167"/>
                </a:cubicBezTo>
                <a:cubicBezTo>
                  <a:pt x="88" y="168"/>
                  <a:pt x="81" y="177"/>
                  <a:pt x="81" y="175"/>
                </a:cubicBezTo>
                <a:cubicBezTo>
                  <a:pt x="80" y="173"/>
                  <a:pt x="77" y="173"/>
                  <a:pt x="73" y="172"/>
                </a:cubicBezTo>
                <a:cubicBezTo>
                  <a:pt x="69" y="170"/>
                  <a:pt x="72" y="173"/>
                  <a:pt x="69" y="174"/>
                </a:cubicBezTo>
                <a:cubicBezTo>
                  <a:pt x="67" y="176"/>
                  <a:pt x="66" y="177"/>
                  <a:pt x="60" y="175"/>
                </a:cubicBezTo>
                <a:cubicBezTo>
                  <a:pt x="54" y="174"/>
                  <a:pt x="56" y="176"/>
                  <a:pt x="54" y="170"/>
                </a:cubicBezTo>
                <a:cubicBezTo>
                  <a:pt x="52" y="163"/>
                  <a:pt x="52" y="163"/>
                  <a:pt x="49" y="158"/>
                </a:cubicBezTo>
                <a:cubicBezTo>
                  <a:pt x="46" y="154"/>
                  <a:pt x="46" y="160"/>
                  <a:pt x="40" y="160"/>
                </a:cubicBezTo>
                <a:cubicBezTo>
                  <a:pt x="33" y="159"/>
                  <a:pt x="39" y="164"/>
                  <a:pt x="41" y="168"/>
                </a:cubicBezTo>
                <a:cubicBezTo>
                  <a:pt x="42" y="171"/>
                  <a:pt x="41" y="173"/>
                  <a:pt x="35" y="172"/>
                </a:cubicBezTo>
                <a:cubicBezTo>
                  <a:pt x="30" y="171"/>
                  <a:pt x="31" y="176"/>
                  <a:pt x="17" y="173"/>
                </a:cubicBezTo>
                <a:cubicBezTo>
                  <a:pt x="2" y="170"/>
                  <a:pt x="18" y="179"/>
                  <a:pt x="18" y="181"/>
                </a:cubicBezTo>
                <a:cubicBezTo>
                  <a:pt x="18" y="183"/>
                  <a:pt x="18" y="187"/>
                  <a:pt x="23" y="191"/>
                </a:cubicBezTo>
                <a:cubicBezTo>
                  <a:pt x="28" y="194"/>
                  <a:pt x="22" y="198"/>
                  <a:pt x="18" y="198"/>
                </a:cubicBezTo>
                <a:cubicBezTo>
                  <a:pt x="13" y="199"/>
                  <a:pt x="15" y="203"/>
                  <a:pt x="8" y="200"/>
                </a:cubicBezTo>
                <a:cubicBezTo>
                  <a:pt x="1" y="198"/>
                  <a:pt x="4" y="207"/>
                  <a:pt x="0" y="209"/>
                </a:cubicBezTo>
                <a:cubicBezTo>
                  <a:pt x="0" y="209"/>
                  <a:pt x="0" y="222"/>
                  <a:pt x="6" y="225"/>
                </a:cubicBezTo>
                <a:cubicBezTo>
                  <a:pt x="12" y="228"/>
                  <a:pt x="20" y="227"/>
                  <a:pt x="21" y="234"/>
                </a:cubicBezTo>
                <a:cubicBezTo>
                  <a:pt x="22" y="241"/>
                  <a:pt x="26" y="248"/>
                  <a:pt x="26" y="248"/>
                </a:cubicBezTo>
                <a:cubicBezTo>
                  <a:pt x="26" y="248"/>
                  <a:pt x="33" y="241"/>
                  <a:pt x="37" y="237"/>
                </a:cubicBezTo>
                <a:cubicBezTo>
                  <a:pt x="41" y="233"/>
                  <a:pt x="47" y="223"/>
                  <a:pt x="51" y="229"/>
                </a:cubicBezTo>
                <a:cubicBezTo>
                  <a:pt x="55" y="235"/>
                  <a:pt x="60" y="249"/>
                  <a:pt x="67" y="245"/>
                </a:cubicBezTo>
                <a:cubicBezTo>
                  <a:pt x="74" y="240"/>
                  <a:pt x="77" y="235"/>
                  <a:pt x="79" y="232"/>
                </a:cubicBezTo>
                <a:cubicBezTo>
                  <a:pt x="81" y="229"/>
                  <a:pt x="85" y="223"/>
                  <a:pt x="89" y="226"/>
                </a:cubicBezTo>
                <a:cubicBezTo>
                  <a:pt x="92" y="230"/>
                  <a:pt x="96" y="222"/>
                  <a:pt x="96" y="225"/>
                </a:cubicBezTo>
                <a:cubicBezTo>
                  <a:pt x="97" y="229"/>
                  <a:pt x="90" y="233"/>
                  <a:pt x="93" y="240"/>
                </a:cubicBezTo>
                <a:cubicBezTo>
                  <a:pt x="95" y="246"/>
                  <a:pt x="97" y="244"/>
                  <a:pt x="101" y="243"/>
                </a:cubicBezTo>
                <a:cubicBezTo>
                  <a:pt x="105" y="243"/>
                  <a:pt x="116" y="232"/>
                  <a:pt x="122" y="226"/>
                </a:cubicBezTo>
                <a:cubicBezTo>
                  <a:pt x="127" y="220"/>
                  <a:pt x="132" y="218"/>
                  <a:pt x="137" y="215"/>
                </a:cubicBezTo>
                <a:cubicBezTo>
                  <a:pt x="141" y="212"/>
                  <a:pt x="144" y="210"/>
                  <a:pt x="144" y="204"/>
                </a:cubicBezTo>
                <a:cubicBezTo>
                  <a:pt x="145" y="198"/>
                  <a:pt x="142" y="193"/>
                  <a:pt x="143" y="185"/>
                </a:cubicBezTo>
                <a:cubicBezTo>
                  <a:pt x="144" y="176"/>
                  <a:pt x="139" y="176"/>
                  <a:pt x="146" y="166"/>
                </a:cubicBezTo>
                <a:cubicBezTo>
                  <a:pt x="154" y="155"/>
                  <a:pt x="155" y="151"/>
                  <a:pt x="160" y="145"/>
                </a:cubicBezTo>
                <a:cubicBezTo>
                  <a:pt x="165" y="140"/>
                  <a:pt x="163" y="135"/>
                  <a:pt x="174" y="131"/>
                </a:cubicBezTo>
                <a:cubicBezTo>
                  <a:pt x="184" y="128"/>
                  <a:pt x="187" y="124"/>
                  <a:pt x="189" y="120"/>
                </a:cubicBezTo>
                <a:cubicBezTo>
                  <a:pt x="191" y="115"/>
                  <a:pt x="190" y="111"/>
                  <a:pt x="191" y="104"/>
                </a:cubicBezTo>
                <a:cubicBezTo>
                  <a:pt x="192" y="97"/>
                  <a:pt x="194" y="88"/>
                  <a:pt x="194" y="80"/>
                </a:cubicBezTo>
                <a:cubicBezTo>
                  <a:pt x="194" y="73"/>
                  <a:pt x="197" y="68"/>
                  <a:pt x="199" y="63"/>
                </a:cubicBezTo>
                <a:cubicBezTo>
                  <a:pt x="201" y="58"/>
                  <a:pt x="204" y="54"/>
                  <a:pt x="202" y="50"/>
                </a:cubicBezTo>
                <a:cubicBezTo>
                  <a:pt x="201" y="45"/>
                  <a:pt x="211" y="25"/>
                  <a:pt x="213" y="22"/>
                </a:cubicBezTo>
                <a:cubicBezTo>
                  <a:pt x="215" y="19"/>
                  <a:pt x="216" y="9"/>
                  <a:pt x="213" y="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44" name="Freeform 680"/>
          <p:cNvSpPr>
            <a:spLocks/>
          </p:cNvSpPr>
          <p:nvPr userDrawn="1"/>
        </p:nvSpPr>
        <p:spPr bwMode="auto">
          <a:xfrm>
            <a:off x="6025011" y="4420039"/>
            <a:ext cx="418773" cy="522629"/>
          </a:xfrm>
          <a:custGeom>
            <a:avLst/>
            <a:gdLst>
              <a:gd name="T0" fmla="*/ 2147483646 w 450"/>
              <a:gd name="T1" fmla="*/ 2147483646 h 560"/>
              <a:gd name="T2" fmla="*/ 2147483646 w 450"/>
              <a:gd name="T3" fmla="*/ 2147483646 h 560"/>
              <a:gd name="T4" fmla="*/ 2147483646 w 450"/>
              <a:gd name="T5" fmla="*/ 2147483646 h 560"/>
              <a:gd name="T6" fmla="*/ 2147483646 w 450"/>
              <a:gd name="T7" fmla="*/ 2147483646 h 560"/>
              <a:gd name="T8" fmla="*/ 2147483646 w 450"/>
              <a:gd name="T9" fmla="*/ 2147483646 h 560"/>
              <a:gd name="T10" fmla="*/ 2147483646 w 450"/>
              <a:gd name="T11" fmla="*/ 2147483646 h 560"/>
              <a:gd name="T12" fmla="*/ 2147483646 w 450"/>
              <a:gd name="T13" fmla="*/ 2147483646 h 560"/>
              <a:gd name="T14" fmla="*/ 2147483646 w 450"/>
              <a:gd name="T15" fmla="*/ 2147483646 h 560"/>
              <a:gd name="T16" fmla="*/ 2147483646 w 450"/>
              <a:gd name="T17" fmla="*/ 2147483646 h 560"/>
              <a:gd name="T18" fmla="*/ 2147483646 w 450"/>
              <a:gd name="T19" fmla="*/ 2147483646 h 560"/>
              <a:gd name="T20" fmla="*/ 2147483646 w 450"/>
              <a:gd name="T21" fmla="*/ 2147483646 h 560"/>
              <a:gd name="T22" fmla="*/ 2147483646 w 450"/>
              <a:gd name="T23" fmla="*/ 2147483646 h 560"/>
              <a:gd name="T24" fmla="*/ 2147483646 w 450"/>
              <a:gd name="T25" fmla="*/ 2147483646 h 560"/>
              <a:gd name="T26" fmla="*/ 2147483646 w 450"/>
              <a:gd name="T27" fmla="*/ 2147483646 h 560"/>
              <a:gd name="T28" fmla="*/ 2147483646 w 450"/>
              <a:gd name="T29" fmla="*/ 2147483646 h 560"/>
              <a:gd name="T30" fmla="*/ 2147483646 w 450"/>
              <a:gd name="T31" fmla="*/ 2147483646 h 560"/>
              <a:gd name="T32" fmla="*/ 2147483646 w 450"/>
              <a:gd name="T33" fmla="*/ 2147483646 h 560"/>
              <a:gd name="T34" fmla="*/ 2147483646 w 450"/>
              <a:gd name="T35" fmla="*/ 2147483646 h 560"/>
              <a:gd name="T36" fmla="*/ 2147483646 w 450"/>
              <a:gd name="T37" fmla="*/ 2147483646 h 560"/>
              <a:gd name="T38" fmla="*/ 2147483646 w 450"/>
              <a:gd name="T39" fmla="*/ 2147483646 h 560"/>
              <a:gd name="T40" fmla="*/ 2147483646 w 450"/>
              <a:gd name="T41" fmla="*/ 2147483646 h 560"/>
              <a:gd name="T42" fmla="*/ 2147483646 w 450"/>
              <a:gd name="T43" fmla="*/ 2147483646 h 560"/>
              <a:gd name="T44" fmla="*/ 2147483646 w 450"/>
              <a:gd name="T45" fmla="*/ 2147483646 h 560"/>
              <a:gd name="T46" fmla="*/ 2147483646 w 450"/>
              <a:gd name="T47" fmla="*/ 2147483646 h 560"/>
              <a:gd name="T48" fmla="*/ 2147483646 w 450"/>
              <a:gd name="T49" fmla="*/ 2147483646 h 560"/>
              <a:gd name="T50" fmla="*/ 2147483646 w 450"/>
              <a:gd name="T51" fmla="*/ 2147483646 h 560"/>
              <a:gd name="T52" fmla="*/ 2147483646 w 450"/>
              <a:gd name="T53" fmla="*/ 2147483646 h 560"/>
              <a:gd name="T54" fmla="*/ 2147483646 w 450"/>
              <a:gd name="T55" fmla="*/ 2147483646 h 560"/>
              <a:gd name="T56" fmla="*/ 2147483646 w 450"/>
              <a:gd name="T57" fmla="*/ 2147483646 h 560"/>
              <a:gd name="T58" fmla="*/ 2147483646 w 450"/>
              <a:gd name="T59" fmla="*/ 2147483646 h 560"/>
              <a:gd name="T60" fmla="*/ 2147483646 w 450"/>
              <a:gd name="T61" fmla="*/ 2147483646 h 560"/>
              <a:gd name="T62" fmla="*/ 2147483646 w 450"/>
              <a:gd name="T63" fmla="*/ 2147483646 h 560"/>
              <a:gd name="T64" fmla="*/ 2147483646 w 450"/>
              <a:gd name="T65" fmla="*/ 2147483646 h 560"/>
              <a:gd name="T66" fmla="*/ 2147483646 w 450"/>
              <a:gd name="T67" fmla="*/ 2147483646 h 560"/>
              <a:gd name="T68" fmla="*/ 2147483646 w 450"/>
              <a:gd name="T69" fmla="*/ 2147483646 h 560"/>
              <a:gd name="T70" fmla="*/ 2147483646 w 450"/>
              <a:gd name="T71" fmla="*/ 2147483646 h 560"/>
              <a:gd name="T72" fmla="*/ 2147483646 w 450"/>
              <a:gd name="T73" fmla="*/ 2147483646 h 560"/>
              <a:gd name="T74" fmla="*/ 2147483646 w 450"/>
              <a:gd name="T75" fmla="*/ 2147483646 h 560"/>
              <a:gd name="T76" fmla="*/ 2147483646 w 450"/>
              <a:gd name="T77" fmla="*/ 2147483646 h 560"/>
              <a:gd name="T78" fmla="*/ 2147483646 w 450"/>
              <a:gd name="T79" fmla="*/ 2147483646 h 560"/>
              <a:gd name="T80" fmla="*/ 2147483646 w 450"/>
              <a:gd name="T81" fmla="*/ 2147483646 h 560"/>
              <a:gd name="T82" fmla="*/ 2147483646 w 450"/>
              <a:gd name="T83" fmla="*/ 2147483646 h 560"/>
              <a:gd name="T84" fmla="*/ 2147483646 w 450"/>
              <a:gd name="T85" fmla="*/ 2147483646 h 560"/>
              <a:gd name="T86" fmla="*/ 2147483646 w 450"/>
              <a:gd name="T87" fmla="*/ 2147483646 h 560"/>
              <a:gd name="T88" fmla="*/ 2147483646 w 450"/>
              <a:gd name="T89" fmla="*/ 2147483646 h 560"/>
              <a:gd name="T90" fmla="*/ 2147483646 w 450"/>
              <a:gd name="T91" fmla="*/ 2147483646 h 560"/>
              <a:gd name="T92" fmla="*/ 2147483646 w 450"/>
              <a:gd name="T93" fmla="*/ 2147483646 h 560"/>
              <a:gd name="T94" fmla="*/ 2147483646 w 450"/>
              <a:gd name="T95" fmla="*/ 2147483646 h 560"/>
              <a:gd name="T96" fmla="*/ 2147483646 w 450"/>
              <a:gd name="T97" fmla="*/ 2147483646 h 560"/>
              <a:gd name="T98" fmla="*/ 2147483646 w 450"/>
              <a:gd name="T99" fmla="*/ 2147483646 h 560"/>
              <a:gd name="T100" fmla="*/ 2147483646 w 450"/>
              <a:gd name="T101" fmla="*/ 2147483646 h 560"/>
              <a:gd name="T102" fmla="*/ 2147483646 w 450"/>
              <a:gd name="T103" fmla="*/ 2147483646 h 560"/>
              <a:gd name="T104" fmla="*/ 2147483646 w 450"/>
              <a:gd name="T105" fmla="*/ 2147483646 h 56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50"/>
              <a:gd name="T160" fmla="*/ 0 h 560"/>
              <a:gd name="T161" fmla="*/ 450 w 450"/>
              <a:gd name="T162" fmla="*/ 560 h 56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50" h="560">
                <a:moveTo>
                  <a:pt x="161" y="515"/>
                </a:moveTo>
                <a:cubicBezTo>
                  <a:pt x="161" y="515"/>
                  <a:pt x="163" y="511"/>
                  <a:pt x="163" y="508"/>
                </a:cubicBezTo>
                <a:cubicBezTo>
                  <a:pt x="163" y="504"/>
                  <a:pt x="157" y="502"/>
                  <a:pt x="155" y="500"/>
                </a:cubicBezTo>
                <a:cubicBezTo>
                  <a:pt x="153" y="499"/>
                  <a:pt x="146" y="495"/>
                  <a:pt x="140" y="491"/>
                </a:cubicBezTo>
                <a:cubicBezTo>
                  <a:pt x="133" y="487"/>
                  <a:pt x="139" y="477"/>
                  <a:pt x="136" y="473"/>
                </a:cubicBezTo>
                <a:cubicBezTo>
                  <a:pt x="133" y="469"/>
                  <a:pt x="130" y="463"/>
                  <a:pt x="122" y="458"/>
                </a:cubicBezTo>
                <a:cubicBezTo>
                  <a:pt x="114" y="453"/>
                  <a:pt x="113" y="458"/>
                  <a:pt x="106" y="455"/>
                </a:cubicBezTo>
                <a:cubicBezTo>
                  <a:pt x="100" y="452"/>
                  <a:pt x="108" y="450"/>
                  <a:pt x="109" y="442"/>
                </a:cubicBezTo>
                <a:cubicBezTo>
                  <a:pt x="111" y="434"/>
                  <a:pt x="103" y="438"/>
                  <a:pt x="97" y="437"/>
                </a:cubicBezTo>
                <a:cubicBezTo>
                  <a:pt x="91" y="435"/>
                  <a:pt x="91" y="431"/>
                  <a:pt x="85" y="428"/>
                </a:cubicBezTo>
                <a:cubicBezTo>
                  <a:pt x="79" y="426"/>
                  <a:pt x="75" y="429"/>
                  <a:pt x="72" y="426"/>
                </a:cubicBezTo>
                <a:cubicBezTo>
                  <a:pt x="68" y="424"/>
                  <a:pt x="76" y="420"/>
                  <a:pt x="70" y="413"/>
                </a:cubicBezTo>
                <a:cubicBezTo>
                  <a:pt x="65" y="407"/>
                  <a:pt x="60" y="415"/>
                  <a:pt x="54" y="414"/>
                </a:cubicBezTo>
                <a:cubicBezTo>
                  <a:pt x="48" y="413"/>
                  <a:pt x="52" y="403"/>
                  <a:pt x="57" y="394"/>
                </a:cubicBezTo>
                <a:cubicBezTo>
                  <a:pt x="63" y="385"/>
                  <a:pt x="49" y="368"/>
                  <a:pt x="42" y="363"/>
                </a:cubicBezTo>
                <a:cubicBezTo>
                  <a:pt x="34" y="358"/>
                  <a:pt x="35" y="353"/>
                  <a:pt x="35" y="353"/>
                </a:cubicBezTo>
                <a:cubicBezTo>
                  <a:pt x="35" y="353"/>
                  <a:pt x="35" y="353"/>
                  <a:pt x="35" y="353"/>
                </a:cubicBezTo>
                <a:cubicBezTo>
                  <a:pt x="35" y="353"/>
                  <a:pt x="42" y="347"/>
                  <a:pt x="32" y="341"/>
                </a:cubicBezTo>
                <a:cubicBezTo>
                  <a:pt x="23" y="335"/>
                  <a:pt x="23" y="331"/>
                  <a:pt x="23" y="322"/>
                </a:cubicBezTo>
                <a:cubicBezTo>
                  <a:pt x="23" y="313"/>
                  <a:pt x="23" y="305"/>
                  <a:pt x="17" y="306"/>
                </a:cubicBezTo>
                <a:cubicBezTo>
                  <a:pt x="12" y="307"/>
                  <a:pt x="0" y="309"/>
                  <a:pt x="4" y="300"/>
                </a:cubicBezTo>
                <a:cubicBezTo>
                  <a:pt x="7" y="291"/>
                  <a:pt x="7" y="290"/>
                  <a:pt x="12" y="290"/>
                </a:cubicBezTo>
                <a:cubicBezTo>
                  <a:pt x="16" y="289"/>
                  <a:pt x="16" y="287"/>
                  <a:pt x="17" y="285"/>
                </a:cubicBezTo>
                <a:cubicBezTo>
                  <a:pt x="17" y="282"/>
                  <a:pt x="18" y="279"/>
                  <a:pt x="14" y="278"/>
                </a:cubicBezTo>
                <a:cubicBezTo>
                  <a:pt x="9" y="277"/>
                  <a:pt x="4" y="274"/>
                  <a:pt x="6" y="271"/>
                </a:cubicBezTo>
                <a:cubicBezTo>
                  <a:pt x="9" y="268"/>
                  <a:pt x="6" y="263"/>
                  <a:pt x="12" y="263"/>
                </a:cubicBezTo>
                <a:cubicBezTo>
                  <a:pt x="18" y="263"/>
                  <a:pt x="23" y="257"/>
                  <a:pt x="20" y="255"/>
                </a:cubicBezTo>
                <a:cubicBezTo>
                  <a:pt x="17" y="252"/>
                  <a:pt x="20" y="248"/>
                  <a:pt x="20" y="248"/>
                </a:cubicBezTo>
                <a:cubicBezTo>
                  <a:pt x="20" y="248"/>
                  <a:pt x="25" y="243"/>
                  <a:pt x="31" y="243"/>
                </a:cubicBezTo>
                <a:cubicBezTo>
                  <a:pt x="37" y="243"/>
                  <a:pt x="39" y="241"/>
                  <a:pt x="36" y="232"/>
                </a:cubicBezTo>
                <a:cubicBezTo>
                  <a:pt x="34" y="223"/>
                  <a:pt x="31" y="219"/>
                  <a:pt x="36" y="219"/>
                </a:cubicBezTo>
                <a:cubicBezTo>
                  <a:pt x="41" y="219"/>
                  <a:pt x="36" y="211"/>
                  <a:pt x="42" y="211"/>
                </a:cubicBezTo>
                <a:cubicBezTo>
                  <a:pt x="49" y="211"/>
                  <a:pt x="50" y="207"/>
                  <a:pt x="54" y="212"/>
                </a:cubicBezTo>
                <a:cubicBezTo>
                  <a:pt x="58" y="217"/>
                  <a:pt x="62" y="217"/>
                  <a:pt x="62" y="217"/>
                </a:cubicBezTo>
                <a:cubicBezTo>
                  <a:pt x="57" y="110"/>
                  <a:pt x="57" y="110"/>
                  <a:pt x="57" y="110"/>
                </a:cubicBezTo>
                <a:cubicBezTo>
                  <a:pt x="61" y="96"/>
                  <a:pt x="61" y="96"/>
                  <a:pt x="61" y="96"/>
                </a:cubicBezTo>
                <a:cubicBezTo>
                  <a:pt x="86" y="95"/>
                  <a:pt x="86" y="95"/>
                  <a:pt x="86" y="95"/>
                </a:cubicBezTo>
                <a:cubicBezTo>
                  <a:pt x="86" y="95"/>
                  <a:pt x="85" y="73"/>
                  <a:pt x="84" y="43"/>
                </a:cubicBezTo>
                <a:cubicBezTo>
                  <a:pt x="84" y="39"/>
                  <a:pt x="84" y="39"/>
                  <a:pt x="84" y="39"/>
                </a:cubicBezTo>
                <a:cubicBezTo>
                  <a:pt x="84" y="39"/>
                  <a:pt x="280" y="35"/>
                  <a:pt x="284" y="35"/>
                </a:cubicBezTo>
                <a:cubicBezTo>
                  <a:pt x="288" y="35"/>
                  <a:pt x="299" y="38"/>
                  <a:pt x="299" y="38"/>
                </a:cubicBezTo>
                <a:cubicBezTo>
                  <a:pt x="304" y="42"/>
                  <a:pt x="304" y="42"/>
                  <a:pt x="304" y="42"/>
                </a:cubicBezTo>
                <a:cubicBezTo>
                  <a:pt x="304" y="42"/>
                  <a:pt x="310" y="43"/>
                  <a:pt x="311" y="43"/>
                </a:cubicBezTo>
                <a:cubicBezTo>
                  <a:pt x="313" y="42"/>
                  <a:pt x="317" y="41"/>
                  <a:pt x="318" y="40"/>
                </a:cubicBezTo>
                <a:cubicBezTo>
                  <a:pt x="319" y="39"/>
                  <a:pt x="317" y="36"/>
                  <a:pt x="315" y="34"/>
                </a:cubicBezTo>
                <a:cubicBezTo>
                  <a:pt x="314" y="32"/>
                  <a:pt x="316" y="29"/>
                  <a:pt x="318" y="28"/>
                </a:cubicBezTo>
                <a:cubicBezTo>
                  <a:pt x="321" y="27"/>
                  <a:pt x="321" y="32"/>
                  <a:pt x="322" y="33"/>
                </a:cubicBezTo>
                <a:cubicBezTo>
                  <a:pt x="324" y="34"/>
                  <a:pt x="325" y="33"/>
                  <a:pt x="326" y="33"/>
                </a:cubicBezTo>
                <a:cubicBezTo>
                  <a:pt x="328" y="32"/>
                  <a:pt x="328" y="28"/>
                  <a:pt x="327" y="25"/>
                </a:cubicBezTo>
                <a:cubicBezTo>
                  <a:pt x="325" y="22"/>
                  <a:pt x="328" y="22"/>
                  <a:pt x="333" y="22"/>
                </a:cubicBezTo>
                <a:cubicBezTo>
                  <a:pt x="337" y="22"/>
                  <a:pt x="333" y="18"/>
                  <a:pt x="335" y="12"/>
                </a:cubicBezTo>
                <a:cubicBezTo>
                  <a:pt x="337" y="6"/>
                  <a:pt x="341" y="7"/>
                  <a:pt x="347" y="9"/>
                </a:cubicBezTo>
                <a:cubicBezTo>
                  <a:pt x="352" y="11"/>
                  <a:pt x="358" y="0"/>
                  <a:pt x="358" y="0"/>
                </a:cubicBezTo>
                <a:cubicBezTo>
                  <a:pt x="358" y="0"/>
                  <a:pt x="363" y="9"/>
                  <a:pt x="366" y="11"/>
                </a:cubicBezTo>
                <a:cubicBezTo>
                  <a:pt x="369" y="13"/>
                  <a:pt x="377" y="9"/>
                  <a:pt x="381" y="16"/>
                </a:cubicBezTo>
                <a:cubicBezTo>
                  <a:pt x="385" y="22"/>
                  <a:pt x="387" y="26"/>
                  <a:pt x="390" y="30"/>
                </a:cubicBezTo>
                <a:cubicBezTo>
                  <a:pt x="392" y="33"/>
                  <a:pt x="403" y="44"/>
                  <a:pt x="406" y="53"/>
                </a:cubicBezTo>
                <a:cubicBezTo>
                  <a:pt x="410" y="62"/>
                  <a:pt x="411" y="59"/>
                  <a:pt x="409" y="79"/>
                </a:cubicBezTo>
                <a:cubicBezTo>
                  <a:pt x="407" y="99"/>
                  <a:pt x="411" y="104"/>
                  <a:pt x="415" y="107"/>
                </a:cubicBezTo>
                <a:cubicBezTo>
                  <a:pt x="419" y="111"/>
                  <a:pt x="430" y="114"/>
                  <a:pt x="434" y="121"/>
                </a:cubicBezTo>
                <a:cubicBezTo>
                  <a:pt x="439" y="129"/>
                  <a:pt x="449" y="140"/>
                  <a:pt x="449" y="140"/>
                </a:cubicBezTo>
                <a:cubicBezTo>
                  <a:pt x="449" y="140"/>
                  <a:pt x="450" y="145"/>
                  <a:pt x="443" y="151"/>
                </a:cubicBezTo>
                <a:cubicBezTo>
                  <a:pt x="436" y="156"/>
                  <a:pt x="428" y="154"/>
                  <a:pt x="425" y="161"/>
                </a:cubicBezTo>
                <a:cubicBezTo>
                  <a:pt x="423" y="168"/>
                  <a:pt x="423" y="175"/>
                  <a:pt x="416" y="174"/>
                </a:cubicBezTo>
                <a:cubicBezTo>
                  <a:pt x="408" y="173"/>
                  <a:pt x="408" y="166"/>
                  <a:pt x="408" y="184"/>
                </a:cubicBezTo>
                <a:cubicBezTo>
                  <a:pt x="408" y="201"/>
                  <a:pt x="405" y="204"/>
                  <a:pt x="402" y="213"/>
                </a:cubicBezTo>
                <a:cubicBezTo>
                  <a:pt x="399" y="222"/>
                  <a:pt x="402" y="230"/>
                  <a:pt x="403" y="238"/>
                </a:cubicBezTo>
                <a:cubicBezTo>
                  <a:pt x="405" y="247"/>
                  <a:pt x="406" y="257"/>
                  <a:pt x="403" y="264"/>
                </a:cubicBezTo>
                <a:cubicBezTo>
                  <a:pt x="400" y="271"/>
                  <a:pt x="393" y="290"/>
                  <a:pt x="393" y="295"/>
                </a:cubicBezTo>
                <a:cubicBezTo>
                  <a:pt x="393" y="299"/>
                  <a:pt x="391" y="296"/>
                  <a:pt x="387" y="296"/>
                </a:cubicBezTo>
                <a:cubicBezTo>
                  <a:pt x="382" y="296"/>
                  <a:pt x="378" y="298"/>
                  <a:pt x="378" y="307"/>
                </a:cubicBezTo>
                <a:cubicBezTo>
                  <a:pt x="377" y="317"/>
                  <a:pt x="370" y="323"/>
                  <a:pt x="368" y="327"/>
                </a:cubicBezTo>
                <a:cubicBezTo>
                  <a:pt x="366" y="331"/>
                  <a:pt x="367" y="337"/>
                  <a:pt x="367" y="346"/>
                </a:cubicBezTo>
                <a:cubicBezTo>
                  <a:pt x="366" y="355"/>
                  <a:pt x="363" y="351"/>
                  <a:pt x="358" y="351"/>
                </a:cubicBezTo>
                <a:cubicBezTo>
                  <a:pt x="353" y="351"/>
                  <a:pt x="351" y="344"/>
                  <a:pt x="350" y="359"/>
                </a:cubicBezTo>
                <a:cubicBezTo>
                  <a:pt x="348" y="375"/>
                  <a:pt x="348" y="387"/>
                  <a:pt x="346" y="392"/>
                </a:cubicBezTo>
                <a:cubicBezTo>
                  <a:pt x="343" y="396"/>
                  <a:pt x="344" y="401"/>
                  <a:pt x="345" y="410"/>
                </a:cubicBezTo>
                <a:cubicBezTo>
                  <a:pt x="346" y="419"/>
                  <a:pt x="343" y="422"/>
                  <a:pt x="337" y="420"/>
                </a:cubicBezTo>
                <a:cubicBezTo>
                  <a:pt x="332" y="419"/>
                  <a:pt x="327" y="408"/>
                  <a:pt x="323" y="419"/>
                </a:cubicBezTo>
                <a:cubicBezTo>
                  <a:pt x="318" y="431"/>
                  <a:pt x="304" y="441"/>
                  <a:pt x="314" y="442"/>
                </a:cubicBezTo>
                <a:cubicBezTo>
                  <a:pt x="324" y="443"/>
                  <a:pt x="331" y="438"/>
                  <a:pt x="338" y="442"/>
                </a:cubicBezTo>
                <a:cubicBezTo>
                  <a:pt x="346" y="446"/>
                  <a:pt x="345" y="447"/>
                  <a:pt x="350" y="456"/>
                </a:cubicBezTo>
                <a:cubicBezTo>
                  <a:pt x="355" y="465"/>
                  <a:pt x="364" y="463"/>
                  <a:pt x="365" y="474"/>
                </a:cubicBezTo>
                <a:cubicBezTo>
                  <a:pt x="367" y="485"/>
                  <a:pt x="367" y="491"/>
                  <a:pt x="374" y="495"/>
                </a:cubicBezTo>
                <a:cubicBezTo>
                  <a:pt x="381" y="498"/>
                  <a:pt x="376" y="502"/>
                  <a:pt x="383" y="504"/>
                </a:cubicBezTo>
                <a:cubicBezTo>
                  <a:pt x="390" y="505"/>
                  <a:pt x="397" y="496"/>
                  <a:pt x="398" y="501"/>
                </a:cubicBezTo>
                <a:cubicBezTo>
                  <a:pt x="400" y="506"/>
                  <a:pt x="397" y="526"/>
                  <a:pt x="397" y="526"/>
                </a:cubicBezTo>
                <a:cubicBezTo>
                  <a:pt x="359" y="527"/>
                  <a:pt x="359" y="527"/>
                  <a:pt x="359" y="527"/>
                </a:cubicBezTo>
                <a:cubicBezTo>
                  <a:pt x="335" y="551"/>
                  <a:pt x="335" y="551"/>
                  <a:pt x="335" y="551"/>
                </a:cubicBezTo>
                <a:cubicBezTo>
                  <a:pt x="335" y="551"/>
                  <a:pt x="321" y="552"/>
                  <a:pt x="318" y="550"/>
                </a:cubicBezTo>
                <a:cubicBezTo>
                  <a:pt x="315" y="549"/>
                  <a:pt x="313" y="544"/>
                  <a:pt x="305" y="551"/>
                </a:cubicBezTo>
                <a:cubicBezTo>
                  <a:pt x="298" y="558"/>
                  <a:pt x="288" y="556"/>
                  <a:pt x="288" y="556"/>
                </a:cubicBezTo>
                <a:cubicBezTo>
                  <a:pt x="288" y="556"/>
                  <a:pt x="287" y="547"/>
                  <a:pt x="284" y="553"/>
                </a:cubicBezTo>
                <a:cubicBezTo>
                  <a:pt x="281" y="558"/>
                  <a:pt x="278" y="556"/>
                  <a:pt x="275" y="555"/>
                </a:cubicBezTo>
                <a:cubicBezTo>
                  <a:pt x="272" y="554"/>
                  <a:pt x="271" y="549"/>
                  <a:pt x="270" y="553"/>
                </a:cubicBezTo>
                <a:cubicBezTo>
                  <a:pt x="269" y="556"/>
                  <a:pt x="262" y="555"/>
                  <a:pt x="262" y="555"/>
                </a:cubicBezTo>
                <a:cubicBezTo>
                  <a:pt x="258" y="560"/>
                  <a:pt x="258" y="560"/>
                  <a:pt x="258" y="560"/>
                </a:cubicBezTo>
                <a:cubicBezTo>
                  <a:pt x="253" y="556"/>
                  <a:pt x="253" y="556"/>
                  <a:pt x="253" y="556"/>
                </a:cubicBezTo>
                <a:cubicBezTo>
                  <a:pt x="253" y="556"/>
                  <a:pt x="247" y="540"/>
                  <a:pt x="242" y="542"/>
                </a:cubicBezTo>
                <a:cubicBezTo>
                  <a:pt x="236" y="543"/>
                  <a:pt x="231" y="544"/>
                  <a:pt x="230" y="538"/>
                </a:cubicBezTo>
                <a:cubicBezTo>
                  <a:pt x="228" y="532"/>
                  <a:pt x="229" y="528"/>
                  <a:pt x="226" y="528"/>
                </a:cubicBezTo>
                <a:cubicBezTo>
                  <a:pt x="223" y="528"/>
                  <a:pt x="220" y="520"/>
                  <a:pt x="220" y="527"/>
                </a:cubicBezTo>
                <a:cubicBezTo>
                  <a:pt x="219" y="534"/>
                  <a:pt x="216" y="536"/>
                  <a:pt x="211" y="534"/>
                </a:cubicBezTo>
                <a:cubicBezTo>
                  <a:pt x="206" y="533"/>
                  <a:pt x="203" y="520"/>
                  <a:pt x="198" y="527"/>
                </a:cubicBezTo>
                <a:cubicBezTo>
                  <a:pt x="192" y="534"/>
                  <a:pt x="192" y="535"/>
                  <a:pt x="185" y="534"/>
                </a:cubicBezTo>
                <a:cubicBezTo>
                  <a:pt x="178" y="534"/>
                  <a:pt x="179" y="533"/>
                  <a:pt x="174" y="528"/>
                </a:cubicBezTo>
                <a:cubicBezTo>
                  <a:pt x="170" y="523"/>
                  <a:pt x="161" y="515"/>
                  <a:pt x="161" y="51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45" name="Freeform 681"/>
          <p:cNvSpPr>
            <a:spLocks/>
          </p:cNvSpPr>
          <p:nvPr userDrawn="1"/>
        </p:nvSpPr>
        <p:spPr bwMode="auto">
          <a:xfrm>
            <a:off x="5778773" y="4890740"/>
            <a:ext cx="499177" cy="497501"/>
          </a:xfrm>
          <a:custGeom>
            <a:avLst/>
            <a:gdLst>
              <a:gd name="T0" fmla="*/ 2147483646 w 536"/>
              <a:gd name="T1" fmla="*/ 2147483646 h 533"/>
              <a:gd name="T2" fmla="*/ 2147483646 w 536"/>
              <a:gd name="T3" fmla="*/ 2147483646 h 533"/>
              <a:gd name="T4" fmla="*/ 2147483646 w 536"/>
              <a:gd name="T5" fmla="*/ 2147483646 h 533"/>
              <a:gd name="T6" fmla="*/ 2147483646 w 536"/>
              <a:gd name="T7" fmla="*/ 2147483646 h 533"/>
              <a:gd name="T8" fmla="*/ 2147483646 w 536"/>
              <a:gd name="T9" fmla="*/ 2147483646 h 533"/>
              <a:gd name="T10" fmla="*/ 2147483646 w 536"/>
              <a:gd name="T11" fmla="*/ 2147483646 h 533"/>
              <a:gd name="T12" fmla="*/ 2147483646 w 536"/>
              <a:gd name="T13" fmla="*/ 2147483646 h 533"/>
              <a:gd name="T14" fmla="*/ 2147483646 w 536"/>
              <a:gd name="T15" fmla="*/ 2147483646 h 533"/>
              <a:gd name="T16" fmla="*/ 2147483646 w 536"/>
              <a:gd name="T17" fmla="*/ 2147483646 h 533"/>
              <a:gd name="T18" fmla="*/ 2147483646 w 536"/>
              <a:gd name="T19" fmla="*/ 2147483646 h 533"/>
              <a:gd name="T20" fmla="*/ 2147483646 w 536"/>
              <a:gd name="T21" fmla="*/ 2147483646 h 533"/>
              <a:gd name="T22" fmla="*/ 2147483646 w 536"/>
              <a:gd name="T23" fmla="*/ 2147483646 h 533"/>
              <a:gd name="T24" fmla="*/ 2147483646 w 536"/>
              <a:gd name="T25" fmla="*/ 2147483646 h 533"/>
              <a:gd name="T26" fmla="*/ 2147483646 w 536"/>
              <a:gd name="T27" fmla="*/ 2147483646 h 533"/>
              <a:gd name="T28" fmla="*/ 2147483646 w 536"/>
              <a:gd name="T29" fmla="*/ 2147483646 h 533"/>
              <a:gd name="T30" fmla="*/ 2147483646 w 536"/>
              <a:gd name="T31" fmla="*/ 2147483646 h 533"/>
              <a:gd name="T32" fmla="*/ 2147483646 w 536"/>
              <a:gd name="T33" fmla="*/ 2147483646 h 533"/>
              <a:gd name="T34" fmla="*/ 2147483646 w 536"/>
              <a:gd name="T35" fmla="*/ 2147483646 h 533"/>
              <a:gd name="T36" fmla="*/ 2147483646 w 536"/>
              <a:gd name="T37" fmla="*/ 2147483646 h 533"/>
              <a:gd name="T38" fmla="*/ 2147483646 w 536"/>
              <a:gd name="T39" fmla="*/ 2147483646 h 533"/>
              <a:gd name="T40" fmla="*/ 2147483646 w 536"/>
              <a:gd name="T41" fmla="*/ 2147483646 h 533"/>
              <a:gd name="T42" fmla="*/ 2147483646 w 536"/>
              <a:gd name="T43" fmla="*/ 2147483646 h 533"/>
              <a:gd name="T44" fmla="*/ 2147483646 w 536"/>
              <a:gd name="T45" fmla="*/ 2147483646 h 533"/>
              <a:gd name="T46" fmla="*/ 2147483646 w 536"/>
              <a:gd name="T47" fmla="*/ 2147483646 h 533"/>
              <a:gd name="T48" fmla="*/ 2147483646 w 536"/>
              <a:gd name="T49" fmla="*/ 2147483646 h 533"/>
              <a:gd name="T50" fmla="*/ 2147483646 w 536"/>
              <a:gd name="T51" fmla="*/ 2147483646 h 533"/>
              <a:gd name="T52" fmla="*/ 2147483646 w 536"/>
              <a:gd name="T53" fmla="*/ 2147483646 h 533"/>
              <a:gd name="T54" fmla="*/ 2147483646 w 536"/>
              <a:gd name="T55" fmla="*/ 2147483646 h 533"/>
              <a:gd name="T56" fmla="*/ 2147483646 w 536"/>
              <a:gd name="T57" fmla="*/ 2147483646 h 533"/>
              <a:gd name="T58" fmla="*/ 2147483646 w 536"/>
              <a:gd name="T59" fmla="*/ 2147483646 h 533"/>
              <a:gd name="T60" fmla="*/ 2147483646 w 536"/>
              <a:gd name="T61" fmla="*/ 2147483646 h 533"/>
              <a:gd name="T62" fmla="*/ 2147483646 w 536"/>
              <a:gd name="T63" fmla="*/ 2147483646 h 533"/>
              <a:gd name="T64" fmla="*/ 2147483646 w 536"/>
              <a:gd name="T65" fmla="*/ 2147483646 h 533"/>
              <a:gd name="T66" fmla="*/ 2147483646 w 536"/>
              <a:gd name="T67" fmla="*/ 2147483646 h 533"/>
              <a:gd name="T68" fmla="*/ 2147483646 w 536"/>
              <a:gd name="T69" fmla="*/ 2147483646 h 533"/>
              <a:gd name="T70" fmla="*/ 2147483646 w 536"/>
              <a:gd name="T71" fmla="*/ 2147483646 h 533"/>
              <a:gd name="T72" fmla="*/ 2147483646 w 536"/>
              <a:gd name="T73" fmla="*/ 2147483646 h 533"/>
              <a:gd name="T74" fmla="*/ 2147483646 w 536"/>
              <a:gd name="T75" fmla="*/ 2147483646 h 533"/>
              <a:gd name="T76" fmla="*/ 2147483646 w 536"/>
              <a:gd name="T77" fmla="*/ 2147483646 h 533"/>
              <a:gd name="T78" fmla="*/ 2147483646 w 536"/>
              <a:gd name="T79" fmla="*/ 2147483646 h 533"/>
              <a:gd name="T80" fmla="*/ 2147483646 w 536"/>
              <a:gd name="T81" fmla="*/ 2147483646 h 533"/>
              <a:gd name="T82" fmla="*/ 2147483646 w 536"/>
              <a:gd name="T83" fmla="*/ 2147483646 h 533"/>
              <a:gd name="T84" fmla="*/ 0 w 536"/>
              <a:gd name="T85" fmla="*/ 2147483646 h 533"/>
              <a:gd name="T86" fmla="*/ 2147483646 w 536"/>
              <a:gd name="T87" fmla="*/ 2147483646 h 53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536"/>
              <a:gd name="T133" fmla="*/ 0 h 533"/>
              <a:gd name="T134" fmla="*/ 536 w 536"/>
              <a:gd name="T135" fmla="*/ 533 h 53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536" h="533">
                <a:moveTo>
                  <a:pt x="23" y="286"/>
                </a:moveTo>
                <a:cubicBezTo>
                  <a:pt x="26" y="292"/>
                  <a:pt x="30" y="298"/>
                  <a:pt x="35" y="295"/>
                </a:cubicBezTo>
                <a:cubicBezTo>
                  <a:pt x="42" y="290"/>
                  <a:pt x="45" y="285"/>
                  <a:pt x="47" y="282"/>
                </a:cubicBezTo>
                <a:cubicBezTo>
                  <a:pt x="49" y="279"/>
                  <a:pt x="53" y="273"/>
                  <a:pt x="57" y="276"/>
                </a:cubicBezTo>
                <a:cubicBezTo>
                  <a:pt x="60" y="280"/>
                  <a:pt x="64" y="272"/>
                  <a:pt x="64" y="275"/>
                </a:cubicBezTo>
                <a:cubicBezTo>
                  <a:pt x="65" y="279"/>
                  <a:pt x="58" y="283"/>
                  <a:pt x="61" y="290"/>
                </a:cubicBezTo>
                <a:cubicBezTo>
                  <a:pt x="63" y="296"/>
                  <a:pt x="65" y="294"/>
                  <a:pt x="69" y="293"/>
                </a:cubicBezTo>
                <a:cubicBezTo>
                  <a:pt x="73" y="293"/>
                  <a:pt x="84" y="282"/>
                  <a:pt x="90" y="276"/>
                </a:cubicBezTo>
                <a:cubicBezTo>
                  <a:pt x="95" y="270"/>
                  <a:pt x="100" y="268"/>
                  <a:pt x="105" y="265"/>
                </a:cubicBezTo>
                <a:cubicBezTo>
                  <a:pt x="109" y="262"/>
                  <a:pt x="112" y="260"/>
                  <a:pt x="112" y="254"/>
                </a:cubicBezTo>
                <a:cubicBezTo>
                  <a:pt x="113" y="248"/>
                  <a:pt x="110" y="243"/>
                  <a:pt x="111" y="235"/>
                </a:cubicBezTo>
                <a:cubicBezTo>
                  <a:pt x="112" y="226"/>
                  <a:pt x="107" y="226"/>
                  <a:pt x="114" y="216"/>
                </a:cubicBezTo>
                <a:cubicBezTo>
                  <a:pt x="122" y="205"/>
                  <a:pt x="123" y="201"/>
                  <a:pt x="128" y="195"/>
                </a:cubicBezTo>
                <a:cubicBezTo>
                  <a:pt x="133" y="190"/>
                  <a:pt x="131" y="185"/>
                  <a:pt x="142" y="181"/>
                </a:cubicBezTo>
                <a:cubicBezTo>
                  <a:pt x="152" y="178"/>
                  <a:pt x="155" y="174"/>
                  <a:pt x="157" y="170"/>
                </a:cubicBezTo>
                <a:cubicBezTo>
                  <a:pt x="159" y="165"/>
                  <a:pt x="158" y="161"/>
                  <a:pt x="159" y="154"/>
                </a:cubicBezTo>
                <a:cubicBezTo>
                  <a:pt x="160" y="147"/>
                  <a:pt x="162" y="138"/>
                  <a:pt x="162" y="130"/>
                </a:cubicBezTo>
                <a:cubicBezTo>
                  <a:pt x="162" y="123"/>
                  <a:pt x="165" y="118"/>
                  <a:pt x="167" y="113"/>
                </a:cubicBezTo>
                <a:cubicBezTo>
                  <a:pt x="169" y="108"/>
                  <a:pt x="172" y="104"/>
                  <a:pt x="170" y="100"/>
                </a:cubicBezTo>
                <a:cubicBezTo>
                  <a:pt x="169" y="95"/>
                  <a:pt x="179" y="75"/>
                  <a:pt x="181" y="72"/>
                </a:cubicBezTo>
                <a:cubicBezTo>
                  <a:pt x="183" y="69"/>
                  <a:pt x="184" y="59"/>
                  <a:pt x="181" y="55"/>
                </a:cubicBezTo>
                <a:cubicBezTo>
                  <a:pt x="181" y="35"/>
                  <a:pt x="190" y="16"/>
                  <a:pt x="207" y="12"/>
                </a:cubicBezTo>
                <a:cubicBezTo>
                  <a:pt x="224" y="8"/>
                  <a:pt x="233" y="25"/>
                  <a:pt x="234" y="29"/>
                </a:cubicBezTo>
                <a:cubicBezTo>
                  <a:pt x="235" y="32"/>
                  <a:pt x="242" y="35"/>
                  <a:pt x="246" y="35"/>
                </a:cubicBezTo>
                <a:cubicBezTo>
                  <a:pt x="251" y="34"/>
                  <a:pt x="272" y="38"/>
                  <a:pt x="276" y="38"/>
                </a:cubicBezTo>
                <a:cubicBezTo>
                  <a:pt x="280" y="39"/>
                  <a:pt x="282" y="40"/>
                  <a:pt x="286" y="40"/>
                </a:cubicBezTo>
                <a:cubicBezTo>
                  <a:pt x="290" y="40"/>
                  <a:pt x="295" y="32"/>
                  <a:pt x="297" y="21"/>
                </a:cubicBezTo>
                <a:cubicBezTo>
                  <a:pt x="299" y="11"/>
                  <a:pt x="303" y="21"/>
                  <a:pt x="308" y="21"/>
                </a:cubicBezTo>
                <a:cubicBezTo>
                  <a:pt x="312" y="21"/>
                  <a:pt x="316" y="27"/>
                  <a:pt x="321" y="25"/>
                </a:cubicBezTo>
                <a:cubicBezTo>
                  <a:pt x="325" y="23"/>
                  <a:pt x="328" y="25"/>
                  <a:pt x="330" y="25"/>
                </a:cubicBezTo>
                <a:cubicBezTo>
                  <a:pt x="332" y="25"/>
                  <a:pt x="335" y="14"/>
                  <a:pt x="339" y="12"/>
                </a:cubicBezTo>
                <a:cubicBezTo>
                  <a:pt x="343" y="9"/>
                  <a:pt x="368" y="10"/>
                  <a:pt x="369" y="5"/>
                </a:cubicBezTo>
                <a:cubicBezTo>
                  <a:pt x="371" y="0"/>
                  <a:pt x="376" y="7"/>
                  <a:pt x="378" y="8"/>
                </a:cubicBezTo>
                <a:cubicBezTo>
                  <a:pt x="380" y="9"/>
                  <a:pt x="385" y="10"/>
                  <a:pt x="388" y="8"/>
                </a:cubicBezTo>
                <a:cubicBezTo>
                  <a:pt x="392" y="5"/>
                  <a:pt x="396" y="10"/>
                  <a:pt x="401" y="12"/>
                </a:cubicBezTo>
                <a:cubicBezTo>
                  <a:pt x="406" y="15"/>
                  <a:pt x="413" y="13"/>
                  <a:pt x="415" y="10"/>
                </a:cubicBezTo>
                <a:cubicBezTo>
                  <a:pt x="417" y="8"/>
                  <a:pt x="425" y="10"/>
                  <a:pt x="425" y="10"/>
                </a:cubicBezTo>
                <a:cubicBezTo>
                  <a:pt x="425" y="10"/>
                  <a:pt x="434" y="18"/>
                  <a:pt x="438" y="23"/>
                </a:cubicBezTo>
                <a:cubicBezTo>
                  <a:pt x="443" y="28"/>
                  <a:pt x="442" y="29"/>
                  <a:pt x="449" y="29"/>
                </a:cubicBezTo>
                <a:cubicBezTo>
                  <a:pt x="456" y="30"/>
                  <a:pt x="456" y="29"/>
                  <a:pt x="462" y="22"/>
                </a:cubicBezTo>
                <a:cubicBezTo>
                  <a:pt x="467" y="15"/>
                  <a:pt x="470" y="28"/>
                  <a:pt x="475" y="29"/>
                </a:cubicBezTo>
                <a:cubicBezTo>
                  <a:pt x="480" y="31"/>
                  <a:pt x="483" y="29"/>
                  <a:pt x="484" y="22"/>
                </a:cubicBezTo>
                <a:cubicBezTo>
                  <a:pt x="484" y="15"/>
                  <a:pt x="487" y="23"/>
                  <a:pt x="490" y="23"/>
                </a:cubicBezTo>
                <a:cubicBezTo>
                  <a:pt x="493" y="23"/>
                  <a:pt x="492" y="27"/>
                  <a:pt x="494" y="33"/>
                </a:cubicBezTo>
                <a:cubicBezTo>
                  <a:pt x="495" y="39"/>
                  <a:pt x="500" y="38"/>
                  <a:pt x="506" y="37"/>
                </a:cubicBezTo>
                <a:cubicBezTo>
                  <a:pt x="511" y="35"/>
                  <a:pt x="517" y="51"/>
                  <a:pt x="517" y="51"/>
                </a:cubicBezTo>
                <a:cubicBezTo>
                  <a:pt x="522" y="55"/>
                  <a:pt x="522" y="55"/>
                  <a:pt x="522" y="55"/>
                </a:cubicBezTo>
                <a:cubicBezTo>
                  <a:pt x="522" y="55"/>
                  <a:pt x="521" y="65"/>
                  <a:pt x="522" y="68"/>
                </a:cubicBezTo>
                <a:cubicBezTo>
                  <a:pt x="523" y="71"/>
                  <a:pt x="526" y="75"/>
                  <a:pt x="524" y="77"/>
                </a:cubicBezTo>
                <a:cubicBezTo>
                  <a:pt x="521" y="80"/>
                  <a:pt x="520" y="81"/>
                  <a:pt x="522" y="83"/>
                </a:cubicBezTo>
                <a:cubicBezTo>
                  <a:pt x="524" y="85"/>
                  <a:pt x="531" y="87"/>
                  <a:pt x="533" y="88"/>
                </a:cubicBezTo>
                <a:cubicBezTo>
                  <a:pt x="534" y="90"/>
                  <a:pt x="536" y="95"/>
                  <a:pt x="533" y="97"/>
                </a:cubicBezTo>
                <a:cubicBezTo>
                  <a:pt x="531" y="99"/>
                  <a:pt x="520" y="109"/>
                  <a:pt x="517" y="112"/>
                </a:cubicBezTo>
                <a:cubicBezTo>
                  <a:pt x="514" y="116"/>
                  <a:pt x="502" y="136"/>
                  <a:pt x="499" y="142"/>
                </a:cubicBezTo>
                <a:cubicBezTo>
                  <a:pt x="496" y="148"/>
                  <a:pt x="491" y="150"/>
                  <a:pt x="491" y="159"/>
                </a:cubicBezTo>
                <a:cubicBezTo>
                  <a:pt x="491" y="168"/>
                  <a:pt x="488" y="174"/>
                  <a:pt x="489" y="180"/>
                </a:cubicBezTo>
                <a:cubicBezTo>
                  <a:pt x="489" y="186"/>
                  <a:pt x="490" y="189"/>
                  <a:pt x="489" y="192"/>
                </a:cubicBezTo>
                <a:cubicBezTo>
                  <a:pt x="487" y="194"/>
                  <a:pt x="489" y="196"/>
                  <a:pt x="484" y="197"/>
                </a:cubicBezTo>
                <a:cubicBezTo>
                  <a:pt x="479" y="199"/>
                  <a:pt x="474" y="198"/>
                  <a:pt x="475" y="204"/>
                </a:cubicBezTo>
                <a:cubicBezTo>
                  <a:pt x="476" y="210"/>
                  <a:pt x="477" y="210"/>
                  <a:pt x="473" y="214"/>
                </a:cubicBezTo>
                <a:cubicBezTo>
                  <a:pt x="470" y="219"/>
                  <a:pt x="468" y="221"/>
                  <a:pt x="469" y="224"/>
                </a:cubicBezTo>
                <a:cubicBezTo>
                  <a:pt x="471" y="226"/>
                  <a:pt x="469" y="228"/>
                  <a:pt x="472" y="229"/>
                </a:cubicBezTo>
                <a:cubicBezTo>
                  <a:pt x="476" y="230"/>
                  <a:pt x="477" y="243"/>
                  <a:pt x="477" y="243"/>
                </a:cubicBezTo>
                <a:cubicBezTo>
                  <a:pt x="477" y="243"/>
                  <a:pt x="480" y="257"/>
                  <a:pt x="480" y="264"/>
                </a:cubicBezTo>
                <a:cubicBezTo>
                  <a:pt x="479" y="270"/>
                  <a:pt x="483" y="275"/>
                  <a:pt x="482" y="284"/>
                </a:cubicBezTo>
                <a:cubicBezTo>
                  <a:pt x="482" y="293"/>
                  <a:pt x="482" y="297"/>
                  <a:pt x="484" y="306"/>
                </a:cubicBezTo>
                <a:cubicBezTo>
                  <a:pt x="485" y="316"/>
                  <a:pt x="489" y="320"/>
                  <a:pt x="489" y="325"/>
                </a:cubicBezTo>
                <a:cubicBezTo>
                  <a:pt x="489" y="330"/>
                  <a:pt x="485" y="330"/>
                  <a:pt x="487" y="335"/>
                </a:cubicBezTo>
                <a:cubicBezTo>
                  <a:pt x="489" y="340"/>
                  <a:pt x="496" y="343"/>
                  <a:pt x="500" y="348"/>
                </a:cubicBezTo>
                <a:cubicBezTo>
                  <a:pt x="505" y="353"/>
                  <a:pt x="510" y="359"/>
                  <a:pt x="511" y="362"/>
                </a:cubicBezTo>
                <a:cubicBezTo>
                  <a:pt x="513" y="365"/>
                  <a:pt x="521" y="388"/>
                  <a:pt x="521" y="388"/>
                </a:cubicBezTo>
                <a:cubicBezTo>
                  <a:pt x="521" y="388"/>
                  <a:pt x="474" y="387"/>
                  <a:pt x="471" y="391"/>
                </a:cubicBezTo>
                <a:cubicBezTo>
                  <a:pt x="468" y="395"/>
                  <a:pt x="470" y="406"/>
                  <a:pt x="470" y="406"/>
                </a:cubicBezTo>
                <a:cubicBezTo>
                  <a:pt x="470" y="406"/>
                  <a:pt x="460" y="415"/>
                  <a:pt x="456" y="415"/>
                </a:cubicBezTo>
                <a:cubicBezTo>
                  <a:pt x="456" y="415"/>
                  <a:pt x="459" y="422"/>
                  <a:pt x="460" y="428"/>
                </a:cubicBezTo>
                <a:cubicBezTo>
                  <a:pt x="462" y="434"/>
                  <a:pt x="458" y="436"/>
                  <a:pt x="459" y="444"/>
                </a:cubicBezTo>
                <a:cubicBezTo>
                  <a:pt x="459" y="451"/>
                  <a:pt x="465" y="454"/>
                  <a:pt x="462" y="460"/>
                </a:cubicBezTo>
                <a:cubicBezTo>
                  <a:pt x="459" y="466"/>
                  <a:pt x="456" y="469"/>
                  <a:pt x="454" y="474"/>
                </a:cubicBezTo>
                <a:cubicBezTo>
                  <a:pt x="453" y="478"/>
                  <a:pt x="454" y="472"/>
                  <a:pt x="453" y="478"/>
                </a:cubicBezTo>
                <a:cubicBezTo>
                  <a:pt x="452" y="484"/>
                  <a:pt x="459" y="483"/>
                  <a:pt x="462" y="489"/>
                </a:cubicBezTo>
                <a:cubicBezTo>
                  <a:pt x="465" y="495"/>
                  <a:pt x="472" y="495"/>
                  <a:pt x="475" y="499"/>
                </a:cubicBezTo>
                <a:cubicBezTo>
                  <a:pt x="478" y="504"/>
                  <a:pt x="481" y="501"/>
                  <a:pt x="481" y="501"/>
                </a:cubicBezTo>
                <a:cubicBezTo>
                  <a:pt x="490" y="503"/>
                  <a:pt x="490" y="503"/>
                  <a:pt x="490" y="503"/>
                </a:cubicBezTo>
                <a:cubicBezTo>
                  <a:pt x="490" y="503"/>
                  <a:pt x="493" y="510"/>
                  <a:pt x="493" y="515"/>
                </a:cubicBezTo>
                <a:cubicBezTo>
                  <a:pt x="493" y="520"/>
                  <a:pt x="496" y="522"/>
                  <a:pt x="492" y="526"/>
                </a:cubicBezTo>
                <a:cubicBezTo>
                  <a:pt x="487" y="529"/>
                  <a:pt x="481" y="533"/>
                  <a:pt x="478" y="531"/>
                </a:cubicBezTo>
                <a:cubicBezTo>
                  <a:pt x="475" y="529"/>
                  <a:pt x="472" y="518"/>
                  <a:pt x="468" y="521"/>
                </a:cubicBezTo>
                <a:cubicBezTo>
                  <a:pt x="465" y="524"/>
                  <a:pt x="461" y="527"/>
                  <a:pt x="459" y="522"/>
                </a:cubicBezTo>
                <a:cubicBezTo>
                  <a:pt x="458" y="518"/>
                  <a:pt x="459" y="510"/>
                  <a:pt x="456" y="510"/>
                </a:cubicBezTo>
                <a:cubicBezTo>
                  <a:pt x="454" y="510"/>
                  <a:pt x="452" y="505"/>
                  <a:pt x="449" y="505"/>
                </a:cubicBezTo>
                <a:cubicBezTo>
                  <a:pt x="446" y="505"/>
                  <a:pt x="440" y="498"/>
                  <a:pt x="440" y="498"/>
                </a:cubicBezTo>
                <a:cubicBezTo>
                  <a:pt x="440" y="498"/>
                  <a:pt x="435" y="499"/>
                  <a:pt x="432" y="499"/>
                </a:cubicBezTo>
                <a:cubicBezTo>
                  <a:pt x="429" y="499"/>
                  <a:pt x="424" y="497"/>
                  <a:pt x="424" y="490"/>
                </a:cubicBezTo>
                <a:cubicBezTo>
                  <a:pt x="423" y="483"/>
                  <a:pt x="422" y="476"/>
                  <a:pt x="419" y="476"/>
                </a:cubicBezTo>
                <a:cubicBezTo>
                  <a:pt x="416" y="476"/>
                  <a:pt x="412" y="478"/>
                  <a:pt x="412" y="484"/>
                </a:cubicBezTo>
                <a:cubicBezTo>
                  <a:pt x="412" y="490"/>
                  <a:pt x="411" y="485"/>
                  <a:pt x="404" y="488"/>
                </a:cubicBezTo>
                <a:cubicBezTo>
                  <a:pt x="398" y="491"/>
                  <a:pt x="396" y="477"/>
                  <a:pt x="390" y="482"/>
                </a:cubicBezTo>
                <a:cubicBezTo>
                  <a:pt x="384" y="486"/>
                  <a:pt x="380" y="487"/>
                  <a:pt x="376" y="486"/>
                </a:cubicBezTo>
                <a:cubicBezTo>
                  <a:pt x="372" y="484"/>
                  <a:pt x="371" y="483"/>
                  <a:pt x="370" y="480"/>
                </a:cubicBezTo>
                <a:cubicBezTo>
                  <a:pt x="369" y="477"/>
                  <a:pt x="369" y="467"/>
                  <a:pt x="366" y="469"/>
                </a:cubicBezTo>
                <a:cubicBezTo>
                  <a:pt x="363" y="472"/>
                  <a:pt x="355" y="475"/>
                  <a:pt x="355" y="475"/>
                </a:cubicBezTo>
                <a:cubicBezTo>
                  <a:pt x="355" y="475"/>
                  <a:pt x="352" y="475"/>
                  <a:pt x="349" y="474"/>
                </a:cubicBezTo>
                <a:cubicBezTo>
                  <a:pt x="346" y="473"/>
                  <a:pt x="343" y="473"/>
                  <a:pt x="340" y="469"/>
                </a:cubicBezTo>
                <a:cubicBezTo>
                  <a:pt x="337" y="466"/>
                  <a:pt x="326" y="467"/>
                  <a:pt x="326" y="467"/>
                </a:cubicBezTo>
                <a:cubicBezTo>
                  <a:pt x="309" y="466"/>
                  <a:pt x="309" y="466"/>
                  <a:pt x="309" y="466"/>
                </a:cubicBezTo>
                <a:cubicBezTo>
                  <a:pt x="309" y="466"/>
                  <a:pt x="285" y="469"/>
                  <a:pt x="283" y="472"/>
                </a:cubicBezTo>
                <a:cubicBezTo>
                  <a:pt x="281" y="475"/>
                  <a:pt x="278" y="466"/>
                  <a:pt x="280" y="461"/>
                </a:cubicBezTo>
                <a:cubicBezTo>
                  <a:pt x="282" y="455"/>
                  <a:pt x="283" y="450"/>
                  <a:pt x="281" y="444"/>
                </a:cubicBezTo>
                <a:cubicBezTo>
                  <a:pt x="279" y="437"/>
                  <a:pt x="274" y="433"/>
                  <a:pt x="273" y="430"/>
                </a:cubicBezTo>
                <a:cubicBezTo>
                  <a:pt x="271" y="427"/>
                  <a:pt x="268" y="424"/>
                  <a:pt x="269" y="419"/>
                </a:cubicBezTo>
                <a:cubicBezTo>
                  <a:pt x="270" y="414"/>
                  <a:pt x="273" y="406"/>
                  <a:pt x="273" y="401"/>
                </a:cubicBezTo>
                <a:cubicBezTo>
                  <a:pt x="273" y="397"/>
                  <a:pt x="274" y="387"/>
                  <a:pt x="270" y="384"/>
                </a:cubicBezTo>
                <a:cubicBezTo>
                  <a:pt x="267" y="382"/>
                  <a:pt x="265" y="376"/>
                  <a:pt x="267" y="373"/>
                </a:cubicBezTo>
                <a:cubicBezTo>
                  <a:pt x="268" y="369"/>
                  <a:pt x="271" y="365"/>
                  <a:pt x="270" y="363"/>
                </a:cubicBezTo>
                <a:cubicBezTo>
                  <a:pt x="270" y="361"/>
                  <a:pt x="268" y="359"/>
                  <a:pt x="268" y="359"/>
                </a:cubicBezTo>
                <a:cubicBezTo>
                  <a:pt x="234" y="360"/>
                  <a:pt x="234" y="360"/>
                  <a:pt x="234" y="360"/>
                </a:cubicBezTo>
                <a:cubicBezTo>
                  <a:pt x="237" y="349"/>
                  <a:pt x="237" y="349"/>
                  <a:pt x="237" y="349"/>
                </a:cubicBezTo>
                <a:cubicBezTo>
                  <a:pt x="227" y="349"/>
                  <a:pt x="227" y="349"/>
                  <a:pt x="227" y="349"/>
                </a:cubicBezTo>
                <a:cubicBezTo>
                  <a:pt x="227" y="349"/>
                  <a:pt x="226" y="353"/>
                  <a:pt x="220" y="354"/>
                </a:cubicBezTo>
                <a:cubicBezTo>
                  <a:pt x="214" y="354"/>
                  <a:pt x="205" y="352"/>
                  <a:pt x="205" y="352"/>
                </a:cubicBezTo>
                <a:cubicBezTo>
                  <a:pt x="205" y="352"/>
                  <a:pt x="208" y="361"/>
                  <a:pt x="205" y="368"/>
                </a:cubicBezTo>
                <a:cubicBezTo>
                  <a:pt x="202" y="376"/>
                  <a:pt x="191" y="382"/>
                  <a:pt x="191" y="382"/>
                </a:cubicBezTo>
                <a:cubicBezTo>
                  <a:pt x="191" y="382"/>
                  <a:pt x="177" y="377"/>
                  <a:pt x="169" y="380"/>
                </a:cubicBezTo>
                <a:cubicBezTo>
                  <a:pt x="161" y="383"/>
                  <a:pt x="149" y="387"/>
                  <a:pt x="143" y="374"/>
                </a:cubicBezTo>
                <a:cubicBezTo>
                  <a:pt x="137" y="361"/>
                  <a:pt x="137" y="349"/>
                  <a:pt x="129" y="345"/>
                </a:cubicBezTo>
                <a:cubicBezTo>
                  <a:pt x="121" y="341"/>
                  <a:pt x="131" y="327"/>
                  <a:pt x="123" y="323"/>
                </a:cubicBezTo>
                <a:cubicBezTo>
                  <a:pt x="115" y="319"/>
                  <a:pt x="21" y="321"/>
                  <a:pt x="21" y="321"/>
                </a:cubicBezTo>
                <a:cubicBezTo>
                  <a:pt x="5" y="327"/>
                  <a:pt x="5" y="327"/>
                  <a:pt x="5" y="327"/>
                </a:cubicBezTo>
                <a:cubicBezTo>
                  <a:pt x="0" y="319"/>
                  <a:pt x="0" y="319"/>
                  <a:pt x="0" y="319"/>
                </a:cubicBezTo>
                <a:cubicBezTo>
                  <a:pt x="0" y="319"/>
                  <a:pt x="7" y="322"/>
                  <a:pt x="8" y="316"/>
                </a:cubicBezTo>
                <a:cubicBezTo>
                  <a:pt x="10" y="309"/>
                  <a:pt x="7" y="297"/>
                  <a:pt x="11" y="296"/>
                </a:cubicBezTo>
                <a:lnTo>
                  <a:pt x="23" y="2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46" name="Freeform 682"/>
          <p:cNvSpPr>
            <a:spLocks/>
          </p:cNvSpPr>
          <p:nvPr userDrawn="1"/>
        </p:nvSpPr>
        <p:spPr bwMode="auto">
          <a:xfrm>
            <a:off x="5772072" y="5145355"/>
            <a:ext cx="28477" cy="45227"/>
          </a:xfrm>
          <a:custGeom>
            <a:avLst/>
            <a:gdLst>
              <a:gd name="T0" fmla="*/ 0 w 29"/>
              <a:gd name="T1" fmla="*/ 2147483646 h 48"/>
              <a:gd name="T2" fmla="*/ 2147483646 w 29"/>
              <a:gd name="T3" fmla="*/ 2147483646 h 48"/>
              <a:gd name="T4" fmla="*/ 2147483646 w 29"/>
              <a:gd name="T5" fmla="*/ 2147483646 h 48"/>
              <a:gd name="T6" fmla="*/ 2147483646 w 29"/>
              <a:gd name="T7" fmla="*/ 2147483646 h 48"/>
              <a:gd name="T8" fmla="*/ 2147483646 w 29"/>
              <a:gd name="T9" fmla="*/ 2147483646 h 48"/>
              <a:gd name="T10" fmla="*/ 2147483646 w 29"/>
              <a:gd name="T11" fmla="*/ 2147483646 h 48"/>
              <a:gd name="T12" fmla="*/ 2147483646 w 29"/>
              <a:gd name="T13" fmla="*/ 2147483646 h 48"/>
              <a:gd name="T14" fmla="*/ 2147483646 w 29"/>
              <a:gd name="T15" fmla="*/ 2147483646 h 48"/>
              <a:gd name="T16" fmla="*/ 0 w 29"/>
              <a:gd name="T17" fmla="*/ 2147483646 h 4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9"/>
              <a:gd name="T28" fmla="*/ 0 h 48"/>
              <a:gd name="T29" fmla="*/ 29 w 29"/>
              <a:gd name="T30" fmla="*/ 48 h 4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9" h="48">
                <a:moveTo>
                  <a:pt x="0" y="25"/>
                </a:moveTo>
                <a:cubicBezTo>
                  <a:pt x="0" y="25"/>
                  <a:pt x="7" y="18"/>
                  <a:pt x="11" y="14"/>
                </a:cubicBezTo>
                <a:cubicBezTo>
                  <a:pt x="15" y="10"/>
                  <a:pt x="21" y="0"/>
                  <a:pt x="25" y="6"/>
                </a:cubicBezTo>
                <a:cubicBezTo>
                  <a:pt x="26" y="8"/>
                  <a:pt x="28" y="10"/>
                  <a:pt x="29" y="13"/>
                </a:cubicBezTo>
                <a:cubicBezTo>
                  <a:pt x="19" y="22"/>
                  <a:pt x="19" y="22"/>
                  <a:pt x="19" y="22"/>
                </a:cubicBezTo>
                <a:cubicBezTo>
                  <a:pt x="19" y="22"/>
                  <a:pt x="15" y="24"/>
                  <a:pt x="15" y="28"/>
                </a:cubicBezTo>
                <a:cubicBezTo>
                  <a:pt x="15" y="32"/>
                  <a:pt x="16" y="43"/>
                  <a:pt x="12" y="46"/>
                </a:cubicBezTo>
                <a:cubicBezTo>
                  <a:pt x="9" y="48"/>
                  <a:pt x="6" y="46"/>
                  <a:pt x="6" y="46"/>
                </a:cubicBezTo>
                <a:cubicBezTo>
                  <a:pt x="6" y="46"/>
                  <a:pt x="3" y="29"/>
                  <a:pt x="0" y="2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47" name="Freeform 683"/>
          <p:cNvSpPr>
            <a:spLocks/>
          </p:cNvSpPr>
          <p:nvPr userDrawn="1"/>
        </p:nvSpPr>
        <p:spPr bwMode="auto">
          <a:xfrm>
            <a:off x="5768722" y="5188907"/>
            <a:ext cx="314917" cy="328319"/>
          </a:xfrm>
          <a:custGeom>
            <a:avLst/>
            <a:gdLst>
              <a:gd name="T0" fmla="*/ 2147483646 w 337"/>
              <a:gd name="T1" fmla="*/ 2147483646 h 351"/>
              <a:gd name="T2" fmla="*/ 2147483646 w 337"/>
              <a:gd name="T3" fmla="*/ 2147483646 h 351"/>
              <a:gd name="T4" fmla="*/ 2147483646 w 337"/>
              <a:gd name="T5" fmla="*/ 2147483646 h 351"/>
              <a:gd name="T6" fmla="*/ 2147483646 w 337"/>
              <a:gd name="T7" fmla="*/ 2147483646 h 351"/>
              <a:gd name="T8" fmla="*/ 2147483646 w 337"/>
              <a:gd name="T9" fmla="*/ 2147483646 h 351"/>
              <a:gd name="T10" fmla="*/ 2147483646 w 337"/>
              <a:gd name="T11" fmla="*/ 2147483646 h 351"/>
              <a:gd name="T12" fmla="*/ 2147483646 w 337"/>
              <a:gd name="T13" fmla="*/ 2147483646 h 351"/>
              <a:gd name="T14" fmla="*/ 2147483646 w 337"/>
              <a:gd name="T15" fmla="*/ 2147483646 h 351"/>
              <a:gd name="T16" fmla="*/ 2147483646 w 337"/>
              <a:gd name="T17" fmla="*/ 2147483646 h 351"/>
              <a:gd name="T18" fmla="*/ 2147483646 w 337"/>
              <a:gd name="T19" fmla="*/ 2147483646 h 351"/>
              <a:gd name="T20" fmla="*/ 2147483646 w 337"/>
              <a:gd name="T21" fmla="*/ 2147483646 h 351"/>
              <a:gd name="T22" fmla="*/ 2147483646 w 337"/>
              <a:gd name="T23" fmla="*/ 2147483646 h 351"/>
              <a:gd name="T24" fmla="*/ 2147483646 w 337"/>
              <a:gd name="T25" fmla="*/ 2147483646 h 351"/>
              <a:gd name="T26" fmla="*/ 2147483646 w 337"/>
              <a:gd name="T27" fmla="*/ 2147483646 h 351"/>
              <a:gd name="T28" fmla="*/ 2147483646 w 337"/>
              <a:gd name="T29" fmla="*/ 2147483646 h 351"/>
              <a:gd name="T30" fmla="*/ 2147483646 w 337"/>
              <a:gd name="T31" fmla="*/ 2147483646 h 351"/>
              <a:gd name="T32" fmla="*/ 2147483646 w 337"/>
              <a:gd name="T33" fmla="*/ 2147483646 h 351"/>
              <a:gd name="T34" fmla="*/ 2147483646 w 337"/>
              <a:gd name="T35" fmla="*/ 2147483646 h 351"/>
              <a:gd name="T36" fmla="*/ 2147483646 w 337"/>
              <a:gd name="T37" fmla="*/ 2147483646 h 351"/>
              <a:gd name="T38" fmla="*/ 2147483646 w 337"/>
              <a:gd name="T39" fmla="*/ 2147483646 h 351"/>
              <a:gd name="T40" fmla="*/ 2147483646 w 337"/>
              <a:gd name="T41" fmla="*/ 2147483646 h 351"/>
              <a:gd name="T42" fmla="*/ 2147483646 w 337"/>
              <a:gd name="T43" fmla="*/ 2147483646 h 351"/>
              <a:gd name="T44" fmla="*/ 2147483646 w 337"/>
              <a:gd name="T45" fmla="*/ 2147483646 h 351"/>
              <a:gd name="T46" fmla="*/ 2147483646 w 337"/>
              <a:gd name="T47" fmla="*/ 2147483646 h 351"/>
              <a:gd name="T48" fmla="*/ 2147483646 w 337"/>
              <a:gd name="T49" fmla="*/ 2147483646 h 351"/>
              <a:gd name="T50" fmla="*/ 2147483646 w 337"/>
              <a:gd name="T51" fmla="*/ 2147483646 h 351"/>
              <a:gd name="T52" fmla="*/ 2147483646 w 337"/>
              <a:gd name="T53" fmla="*/ 2147483646 h 351"/>
              <a:gd name="T54" fmla="*/ 2147483646 w 337"/>
              <a:gd name="T55" fmla="*/ 2147483646 h 351"/>
              <a:gd name="T56" fmla="*/ 2147483646 w 337"/>
              <a:gd name="T57" fmla="*/ 2147483646 h 351"/>
              <a:gd name="T58" fmla="*/ 2147483646 w 337"/>
              <a:gd name="T59" fmla="*/ 2147483646 h 351"/>
              <a:gd name="T60" fmla="*/ 2147483646 w 337"/>
              <a:gd name="T61" fmla="*/ 2147483646 h 351"/>
              <a:gd name="T62" fmla="*/ 2147483646 w 337"/>
              <a:gd name="T63" fmla="*/ 2147483646 h 351"/>
              <a:gd name="T64" fmla="*/ 2147483646 w 337"/>
              <a:gd name="T65" fmla="*/ 2147483646 h 351"/>
              <a:gd name="T66" fmla="*/ 2147483646 w 337"/>
              <a:gd name="T67" fmla="*/ 2147483646 h 351"/>
              <a:gd name="T68" fmla="*/ 2147483646 w 337"/>
              <a:gd name="T69" fmla="*/ 2147483646 h 351"/>
              <a:gd name="T70" fmla="*/ 2147483646 w 337"/>
              <a:gd name="T71" fmla="*/ 2147483646 h 351"/>
              <a:gd name="T72" fmla="*/ 2147483646 w 337"/>
              <a:gd name="T73" fmla="*/ 2147483646 h 351"/>
              <a:gd name="T74" fmla="*/ 2147483646 w 337"/>
              <a:gd name="T75" fmla="*/ 2147483646 h 351"/>
              <a:gd name="T76" fmla="*/ 2147483646 w 337"/>
              <a:gd name="T77" fmla="*/ 2147483646 h 351"/>
              <a:gd name="T78" fmla="*/ 2147483646 w 337"/>
              <a:gd name="T79" fmla="*/ 2147483646 h 351"/>
              <a:gd name="T80" fmla="*/ 2147483646 w 337"/>
              <a:gd name="T81" fmla="*/ 2147483646 h 351"/>
              <a:gd name="T82" fmla="*/ 2147483646 w 337"/>
              <a:gd name="T83" fmla="*/ 2147483646 h 351"/>
              <a:gd name="T84" fmla="*/ 2147483646 w 337"/>
              <a:gd name="T85" fmla="*/ 2147483646 h 351"/>
              <a:gd name="T86" fmla="*/ 2147483646 w 337"/>
              <a:gd name="T87" fmla="*/ 2147483646 h 351"/>
              <a:gd name="T88" fmla="*/ 2147483646 w 337"/>
              <a:gd name="T89" fmla="*/ 2147483646 h 351"/>
              <a:gd name="T90" fmla="*/ 2147483646 w 337"/>
              <a:gd name="T91" fmla="*/ 2147483646 h 351"/>
              <a:gd name="T92" fmla="*/ 2147483646 w 337"/>
              <a:gd name="T93" fmla="*/ 2147483646 h 351"/>
              <a:gd name="T94" fmla="*/ 2147483646 w 337"/>
              <a:gd name="T95" fmla="*/ 2147483646 h 351"/>
              <a:gd name="T96" fmla="*/ 2147483646 w 337"/>
              <a:gd name="T97" fmla="*/ 2147483646 h 351"/>
              <a:gd name="T98" fmla="*/ 2147483646 w 337"/>
              <a:gd name="T99" fmla="*/ 2147483646 h 351"/>
              <a:gd name="T100" fmla="*/ 2147483646 w 337"/>
              <a:gd name="T101" fmla="*/ 2147483646 h 351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37"/>
              <a:gd name="T154" fmla="*/ 0 h 351"/>
              <a:gd name="T155" fmla="*/ 337 w 337"/>
              <a:gd name="T156" fmla="*/ 351 h 351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37" h="351">
                <a:moveTo>
                  <a:pt x="15" y="8"/>
                </a:moveTo>
                <a:cubicBezTo>
                  <a:pt x="31" y="2"/>
                  <a:pt x="31" y="2"/>
                  <a:pt x="31" y="2"/>
                </a:cubicBezTo>
                <a:cubicBezTo>
                  <a:pt x="31" y="2"/>
                  <a:pt x="125" y="0"/>
                  <a:pt x="133" y="4"/>
                </a:cubicBezTo>
                <a:cubicBezTo>
                  <a:pt x="141" y="8"/>
                  <a:pt x="131" y="22"/>
                  <a:pt x="139" y="26"/>
                </a:cubicBezTo>
                <a:cubicBezTo>
                  <a:pt x="147" y="30"/>
                  <a:pt x="147" y="42"/>
                  <a:pt x="153" y="55"/>
                </a:cubicBezTo>
                <a:cubicBezTo>
                  <a:pt x="159" y="68"/>
                  <a:pt x="171" y="64"/>
                  <a:pt x="179" y="61"/>
                </a:cubicBezTo>
                <a:cubicBezTo>
                  <a:pt x="187" y="58"/>
                  <a:pt x="201" y="63"/>
                  <a:pt x="201" y="63"/>
                </a:cubicBezTo>
                <a:cubicBezTo>
                  <a:pt x="201" y="63"/>
                  <a:pt x="212" y="57"/>
                  <a:pt x="215" y="49"/>
                </a:cubicBezTo>
                <a:cubicBezTo>
                  <a:pt x="218" y="42"/>
                  <a:pt x="215" y="33"/>
                  <a:pt x="215" y="33"/>
                </a:cubicBezTo>
                <a:cubicBezTo>
                  <a:pt x="215" y="33"/>
                  <a:pt x="224" y="35"/>
                  <a:pt x="230" y="35"/>
                </a:cubicBezTo>
                <a:cubicBezTo>
                  <a:pt x="236" y="34"/>
                  <a:pt x="237" y="30"/>
                  <a:pt x="237" y="30"/>
                </a:cubicBezTo>
                <a:cubicBezTo>
                  <a:pt x="247" y="30"/>
                  <a:pt x="247" y="30"/>
                  <a:pt x="247" y="30"/>
                </a:cubicBezTo>
                <a:cubicBezTo>
                  <a:pt x="244" y="41"/>
                  <a:pt x="244" y="41"/>
                  <a:pt x="244" y="41"/>
                </a:cubicBezTo>
                <a:cubicBezTo>
                  <a:pt x="278" y="40"/>
                  <a:pt x="278" y="40"/>
                  <a:pt x="278" y="40"/>
                </a:cubicBezTo>
                <a:cubicBezTo>
                  <a:pt x="278" y="40"/>
                  <a:pt x="280" y="42"/>
                  <a:pt x="280" y="44"/>
                </a:cubicBezTo>
                <a:cubicBezTo>
                  <a:pt x="281" y="46"/>
                  <a:pt x="278" y="50"/>
                  <a:pt x="277" y="54"/>
                </a:cubicBezTo>
                <a:cubicBezTo>
                  <a:pt x="275" y="57"/>
                  <a:pt x="277" y="63"/>
                  <a:pt x="280" y="65"/>
                </a:cubicBezTo>
                <a:cubicBezTo>
                  <a:pt x="284" y="68"/>
                  <a:pt x="283" y="78"/>
                  <a:pt x="283" y="82"/>
                </a:cubicBezTo>
                <a:cubicBezTo>
                  <a:pt x="283" y="87"/>
                  <a:pt x="280" y="95"/>
                  <a:pt x="279" y="100"/>
                </a:cubicBezTo>
                <a:cubicBezTo>
                  <a:pt x="278" y="105"/>
                  <a:pt x="281" y="108"/>
                  <a:pt x="283" y="111"/>
                </a:cubicBezTo>
                <a:cubicBezTo>
                  <a:pt x="284" y="114"/>
                  <a:pt x="289" y="118"/>
                  <a:pt x="291" y="125"/>
                </a:cubicBezTo>
                <a:cubicBezTo>
                  <a:pt x="293" y="131"/>
                  <a:pt x="292" y="136"/>
                  <a:pt x="290" y="142"/>
                </a:cubicBezTo>
                <a:cubicBezTo>
                  <a:pt x="288" y="147"/>
                  <a:pt x="291" y="156"/>
                  <a:pt x="293" y="153"/>
                </a:cubicBezTo>
                <a:cubicBezTo>
                  <a:pt x="295" y="150"/>
                  <a:pt x="319" y="147"/>
                  <a:pt x="319" y="147"/>
                </a:cubicBezTo>
                <a:cubicBezTo>
                  <a:pt x="336" y="148"/>
                  <a:pt x="336" y="148"/>
                  <a:pt x="336" y="148"/>
                </a:cubicBezTo>
                <a:cubicBezTo>
                  <a:pt x="337" y="201"/>
                  <a:pt x="337" y="201"/>
                  <a:pt x="337" y="201"/>
                </a:cubicBezTo>
                <a:cubicBezTo>
                  <a:pt x="283" y="203"/>
                  <a:pt x="283" y="203"/>
                  <a:pt x="283" y="203"/>
                </a:cubicBezTo>
                <a:cubicBezTo>
                  <a:pt x="283" y="290"/>
                  <a:pt x="283" y="290"/>
                  <a:pt x="283" y="290"/>
                </a:cubicBezTo>
                <a:cubicBezTo>
                  <a:pt x="283" y="290"/>
                  <a:pt x="282" y="295"/>
                  <a:pt x="289" y="302"/>
                </a:cubicBezTo>
                <a:cubicBezTo>
                  <a:pt x="296" y="310"/>
                  <a:pt x="319" y="332"/>
                  <a:pt x="319" y="332"/>
                </a:cubicBezTo>
                <a:cubicBezTo>
                  <a:pt x="319" y="332"/>
                  <a:pt x="263" y="351"/>
                  <a:pt x="244" y="343"/>
                </a:cubicBezTo>
                <a:cubicBezTo>
                  <a:pt x="225" y="335"/>
                  <a:pt x="210" y="338"/>
                  <a:pt x="203" y="337"/>
                </a:cubicBezTo>
                <a:cubicBezTo>
                  <a:pt x="196" y="336"/>
                  <a:pt x="185" y="333"/>
                  <a:pt x="186" y="325"/>
                </a:cubicBezTo>
                <a:cubicBezTo>
                  <a:pt x="63" y="323"/>
                  <a:pt x="63" y="323"/>
                  <a:pt x="63" y="323"/>
                </a:cubicBezTo>
                <a:cubicBezTo>
                  <a:pt x="63" y="323"/>
                  <a:pt x="49" y="309"/>
                  <a:pt x="41" y="312"/>
                </a:cubicBezTo>
                <a:cubicBezTo>
                  <a:pt x="32" y="314"/>
                  <a:pt x="29" y="320"/>
                  <a:pt x="21" y="319"/>
                </a:cubicBezTo>
                <a:cubicBezTo>
                  <a:pt x="14" y="318"/>
                  <a:pt x="1" y="318"/>
                  <a:pt x="1" y="320"/>
                </a:cubicBezTo>
                <a:cubicBezTo>
                  <a:pt x="1" y="320"/>
                  <a:pt x="0" y="303"/>
                  <a:pt x="2" y="293"/>
                </a:cubicBezTo>
                <a:cubicBezTo>
                  <a:pt x="4" y="284"/>
                  <a:pt x="8" y="275"/>
                  <a:pt x="9" y="268"/>
                </a:cubicBezTo>
                <a:cubicBezTo>
                  <a:pt x="10" y="260"/>
                  <a:pt x="7" y="259"/>
                  <a:pt x="9" y="253"/>
                </a:cubicBezTo>
                <a:cubicBezTo>
                  <a:pt x="11" y="247"/>
                  <a:pt x="15" y="241"/>
                  <a:pt x="18" y="235"/>
                </a:cubicBezTo>
                <a:cubicBezTo>
                  <a:pt x="20" y="229"/>
                  <a:pt x="24" y="225"/>
                  <a:pt x="23" y="220"/>
                </a:cubicBezTo>
                <a:cubicBezTo>
                  <a:pt x="23" y="214"/>
                  <a:pt x="24" y="208"/>
                  <a:pt x="28" y="204"/>
                </a:cubicBezTo>
                <a:cubicBezTo>
                  <a:pt x="32" y="201"/>
                  <a:pt x="32" y="190"/>
                  <a:pt x="39" y="190"/>
                </a:cubicBezTo>
                <a:cubicBezTo>
                  <a:pt x="46" y="189"/>
                  <a:pt x="48" y="186"/>
                  <a:pt x="52" y="180"/>
                </a:cubicBezTo>
                <a:cubicBezTo>
                  <a:pt x="55" y="173"/>
                  <a:pt x="58" y="164"/>
                  <a:pt x="59" y="160"/>
                </a:cubicBezTo>
                <a:cubicBezTo>
                  <a:pt x="60" y="157"/>
                  <a:pt x="58" y="138"/>
                  <a:pt x="48" y="125"/>
                </a:cubicBezTo>
                <a:cubicBezTo>
                  <a:pt x="38" y="112"/>
                  <a:pt x="27" y="101"/>
                  <a:pt x="35" y="96"/>
                </a:cubicBezTo>
                <a:cubicBezTo>
                  <a:pt x="43" y="90"/>
                  <a:pt x="53" y="89"/>
                  <a:pt x="44" y="74"/>
                </a:cubicBezTo>
                <a:cubicBezTo>
                  <a:pt x="35" y="59"/>
                  <a:pt x="33" y="37"/>
                  <a:pt x="27" y="31"/>
                </a:cubicBezTo>
                <a:cubicBezTo>
                  <a:pt x="22" y="25"/>
                  <a:pt x="10" y="18"/>
                  <a:pt x="15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48" name="Freeform 684"/>
          <p:cNvSpPr>
            <a:spLocks/>
          </p:cNvSpPr>
          <p:nvPr userDrawn="1"/>
        </p:nvSpPr>
        <p:spPr bwMode="auto">
          <a:xfrm>
            <a:off x="6234398" y="4922568"/>
            <a:ext cx="145733" cy="152433"/>
          </a:xfrm>
          <a:custGeom>
            <a:avLst/>
            <a:gdLst>
              <a:gd name="T0" fmla="*/ 2147483646 w 157"/>
              <a:gd name="T1" fmla="*/ 0 h 163"/>
              <a:gd name="T2" fmla="*/ 2147483646 w 157"/>
              <a:gd name="T3" fmla="*/ 2147483646 h 163"/>
              <a:gd name="T4" fmla="*/ 2147483646 w 157"/>
              <a:gd name="T5" fmla="*/ 2147483646 h 163"/>
              <a:gd name="T6" fmla="*/ 2147483646 w 157"/>
              <a:gd name="T7" fmla="*/ 2147483646 h 163"/>
              <a:gd name="T8" fmla="*/ 2147483646 w 157"/>
              <a:gd name="T9" fmla="*/ 2147483646 h 163"/>
              <a:gd name="T10" fmla="*/ 2147483646 w 157"/>
              <a:gd name="T11" fmla="*/ 2147483646 h 163"/>
              <a:gd name="T12" fmla="*/ 2147483646 w 157"/>
              <a:gd name="T13" fmla="*/ 2147483646 h 163"/>
              <a:gd name="T14" fmla="*/ 2147483646 w 157"/>
              <a:gd name="T15" fmla="*/ 2147483646 h 163"/>
              <a:gd name="T16" fmla="*/ 2147483646 w 157"/>
              <a:gd name="T17" fmla="*/ 2147483646 h 163"/>
              <a:gd name="T18" fmla="*/ 2147483646 w 157"/>
              <a:gd name="T19" fmla="*/ 2147483646 h 163"/>
              <a:gd name="T20" fmla="*/ 2147483646 w 157"/>
              <a:gd name="T21" fmla="*/ 2147483646 h 163"/>
              <a:gd name="T22" fmla="*/ 2147483646 w 157"/>
              <a:gd name="T23" fmla="*/ 2147483646 h 163"/>
              <a:gd name="T24" fmla="*/ 2147483646 w 157"/>
              <a:gd name="T25" fmla="*/ 2147483646 h 163"/>
              <a:gd name="T26" fmla="*/ 2147483646 w 157"/>
              <a:gd name="T27" fmla="*/ 2147483646 h 163"/>
              <a:gd name="T28" fmla="*/ 2147483646 w 157"/>
              <a:gd name="T29" fmla="*/ 2147483646 h 163"/>
              <a:gd name="T30" fmla="*/ 2147483646 w 157"/>
              <a:gd name="T31" fmla="*/ 2147483646 h 163"/>
              <a:gd name="T32" fmla="*/ 2147483646 w 157"/>
              <a:gd name="T33" fmla="*/ 2147483646 h 163"/>
              <a:gd name="T34" fmla="*/ 2147483646 w 157"/>
              <a:gd name="T35" fmla="*/ 2147483646 h 163"/>
              <a:gd name="T36" fmla="*/ 2147483646 w 157"/>
              <a:gd name="T37" fmla="*/ 2147483646 h 163"/>
              <a:gd name="T38" fmla="*/ 2147483646 w 157"/>
              <a:gd name="T39" fmla="*/ 2147483646 h 163"/>
              <a:gd name="T40" fmla="*/ 2147483646 w 157"/>
              <a:gd name="T41" fmla="*/ 2147483646 h 163"/>
              <a:gd name="T42" fmla="*/ 2147483646 w 157"/>
              <a:gd name="T43" fmla="*/ 2147483646 h 163"/>
              <a:gd name="T44" fmla="*/ 2147483646 w 157"/>
              <a:gd name="T45" fmla="*/ 2147483646 h 163"/>
              <a:gd name="T46" fmla="*/ 2147483646 w 157"/>
              <a:gd name="T47" fmla="*/ 2147483646 h 163"/>
              <a:gd name="T48" fmla="*/ 2147483646 w 157"/>
              <a:gd name="T49" fmla="*/ 2147483646 h 163"/>
              <a:gd name="T50" fmla="*/ 2147483646 w 157"/>
              <a:gd name="T51" fmla="*/ 2147483646 h 163"/>
              <a:gd name="T52" fmla="*/ 2147483646 w 157"/>
              <a:gd name="T53" fmla="*/ 2147483646 h 163"/>
              <a:gd name="T54" fmla="*/ 2147483646 w 157"/>
              <a:gd name="T55" fmla="*/ 2147483646 h 163"/>
              <a:gd name="T56" fmla="*/ 2147483646 w 157"/>
              <a:gd name="T57" fmla="*/ 2147483646 h 163"/>
              <a:gd name="T58" fmla="*/ 2147483646 w 157"/>
              <a:gd name="T59" fmla="*/ 2147483646 h 163"/>
              <a:gd name="T60" fmla="*/ 2147483646 w 157"/>
              <a:gd name="T61" fmla="*/ 2147483646 h 163"/>
              <a:gd name="T62" fmla="*/ 2147483646 w 157"/>
              <a:gd name="T63" fmla="*/ 2147483646 h 163"/>
              <a:gd name="T64" fmla="*/ 2147483646 w 157"/>
              <a:gd name="T65" fmla="*/ 2147483646 h 163"/>
              <a:gd name="T66" fmla="*/ 2147483646 w 157"/>
              <a:gd name="T67" fmla="*/ 2147483646 h 163"/>
              <a:gd name="T68" fmla="*/ 2147483646 w 157"/>
              <a:gd name="T69" fmla="*/ 2147483646 h 163"/>
              <a:gd name="T70" fmla="*/ 2147483646 w 157"/>
              <a:gd name="T71" fmla="*/ 2147483646 h 163"/>
              <a:gd name="T72" fmla="*/ 2147483646 w 157"/>
              <a:gd name="T73" fmla="*/ 2147483646 h 163"/>
              <a:gd name="T74" fmla="*/ 2147483646 w 157"/>
              <a:gd name="T75" fmla="*/ 0 h 16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57"/>
              <a:gd name="T115" fmla="*/ 0 h 163"/>
              <a:gd name="T116" fmla="*/ 157 w 157"/>
              <a:gd name="T117" fmla="*/ 163 h 16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57" h="163">
                <a:moveTo>
                  <a:pt x="124" y="0"/>
                </a:moveTo>
                <a:cubicBezTo>
                  <a:pt x="111" y="12"/>
                  <a:pt x="111" y="12"/>
                  <a:pt x="111" y="12"/>
                </a:cubicBezTo>
                <a:cubicBezTo>
                  <a:pt x="111" y="12"/>
                  <a:pt x="97" y="13"/>
                  <a:pt x="94" y="11"/>
                </a:cubicBezTo>
                <a:cubicBezTo>
                  <a:pt x="91" y="10"/>
                  <a:pt x="89" y="5"/>
                  <a:pt x="81" y="12"/>
                </a:cubicBezTo>
                <a:cubicBezTo>
                  <a:pt x="74" y="19"/>
                  <a:pt x="64" y="17"/>
                  <a:pt x="64" y="17"/>
                </a:cubicBezTo>
                <a:cubicBezTo>
                  <a:pt x="64" y="17"/>
                  <a:pt x="63" y="8"/>
                  <a:pt x="60" y="14"/>
                </a:cubicBezTo>
                <a:cubicBezTo>
                  <a:pt x="57" y="19"/>
                  <a:pt x="54" y="17"/>
                  <a:pt x="51" y="16"/>
                </a:cubicBezTo>
                <a:cubicBezTo>
                  <a:pt x="48" y="15"/>
                  <a:pt x="47" y="10"/>
                  <a:pt x="46" y="14"/>
                </a:cubicBezTo>
                <a:cubicBezTo>
                  <a:pt x="45" y="17"/>
                  <a:pt x="38" y="16"/>
                  <a:pt x="38" y="16"/>
                </a:cubicBezTo>
                <a:cubicBezTo>
                  <a:pt x="34" y="21"/>
                  <a:pt x="34" y="21"/>
                  <a:pt x="34" y="21"/>
                </a:cubicBezTo>
                <a:cubicBezTo>
                  <a:pt x="34" y="21"/>
                  <a:pt x="33" y="31"/>
                  <a:pt x="34" y="34"/>
                </a:cubicBezTo>
                <a:cubicBezTo>
                  <a:pt x="35" y="37"/>
                  <a:pt x="38" y="41"/>
                  <a:pt x="36" y="43"/>
                </a:cubicBezTo>
                <a:cubicBezTo>
                  <a:pt x="33" y="46"/>
                  <a:pt x="32" y="47"/>
                  <a:pt x="34" y="49"/>
                </a:cubicBezTo>
                <a:cubicBezTo>
                  <a:pt x="36" y="51"/>
                  <a:pt x="43" y="53"/>
                  <a:pt x="45" y="54"/>
                </a:cubicBezTo>
                <a:cubicBezTo>
                  <a:pt x="46" y="56"/>
                  <a:pt x="48" y="61"/>
                  <a:pt x="45" y="63"/>
                </a:cubicBezTo>
                <a:cubicBezTo>
                  <a:pt x="43" y="65"/>
                  <a:pt x="32" y="75"/>
                  <a:pt x="29" y="78"/>
                </a:cubicBezTo>
                <a:cubicBezTo>
                  <a:pt x="26" y="82"/>
                  <a:pt x="14" y="102"/>
                  <a:pt x="11" y="108"/>
                </a:cubicBezTo>
                <a:cubicBezTo>
                  <a:pt x="8" y="114"/>
                  <a:pt x="3" y="116"/>
                  <a:pt x="3" y="125"/>
                </a:cubicBezTo>
                <a:cubicBezTo>
                  <a:pt x="3" y="134"/>
                  <a:pt x="0" y="140"/>
                  <a:pt x="1" y="146"/>
                </a:cubicBezTo>
                <a:cubicBezTo>
                  <a:pt x="1" y="152"/>
                  <a:pt x="2" y="155"/>
                  <a:pt x="1" y="158"/>
                </a:cubicBezTo>
                <a:cubicBezTo>
                  <a:pt x="1" y="158"/>
                  <a:pt x="10" y="163"/>
                  <a:pt x="15" y="161"/>
                </a:cubicBezTo>
                <a:cubicBezTo>
                  <a:pt x="20" y="159"/>
                  <a:pt x="21" y="148"/>
                  <a:pt x="32" y="149"/>
                </a:cubicBezTo>
                <a:cubicBezTo>
                  <a:pt x="42" y="150"/>
                  <a:pt x="60" y="147"/>
                  <a:pt x="60" y="147"/>
                </a:cubicBezTo>
                <a:cubicBezTo>
                  <a:pt x="60" y="147"/>
                  <a:pt x="65" y="141"/>
                  <a:pt x="67" y="135"/>
                </a:cubicBezTo>
                <a:cubicBezTo>
                  <a:pt x="69" y="129"/>
                  <a:pt x="68" y="121"/>
                  <a:pt x="74" y="121"/>
                </a:cubicBezTo>
                <a:cubicBezTo>
                  <a:pt x="80" y="120"/>
                  <a:pt x="83" y="114"/>
                  <a:pt x="89" y="118"/>
                </a:cubicBezTo>
                <a:cubicBezTo>
                  <a:pt x="96" y="122"/>
                  <a:pt x="99" y="117"/>
                  <a:pt x="102" y="113"/>
                </a:cubicBezTo>
                <a:cubicBezTo>
                  <a:pt x="105" y="109"/>
                  <a:pt x="107" y="106"/>
                  <a:pt x="109" y="107"/>
                </a:cubicBezTo>
                <a:cubicBezTo>
                  <a:pt x="111" y="109"/>
                  <a:pt x="113" y="107"/>
                  <a:pt x="116" y="110"/>
                </a:cubicBezTo>
                <a:cubicBezTo>
                  <a:pt x="119" y="113"/>
                  <a:pt x="125" y="118"/>
                  <a:pt x="125" y="118"/>
                </a:cubicBezTo>
                <a:cubicBezTo>
                  <a:pt x="125" y="118"/>
                  <a:pt x="127" y="105"/>
                  <a:pt x="132" y="101"/>
                </a:cubicBezTo>
                <a:cubicBezTo>
                  <a:pt x="137" y="98"/>
                  <a:pt x="141" y="88"/>
                  <a:pt x="145" y="85"/>
                </a:cubicBezTo>
                <a:cubicBezTo>
                  <a:pt x="149" y="83"/>
                  <a:pt x="152" y="77"/>
                  <a:pt x="153" y="73"/>
                </a:cubicBezTo>
                <a:cubicBezTo>
                  <a:pt x="153" y="69"/>
                  <a:pt x="153" y="63"/>
                  <a:pt x="153" y="61"/>
                </a:cubicBezTo>
                <a:cubicBezTo>
                  <a:pt x="154" y="58"/>
                  <a:pt x="157" y="52"/>
                  <a:pt x="155" y="49"/>
                </a:cubicBezTo>
                <a:cubicBezTo>
                  <a:pt x="154" y="45"/>
                  <a:pt x="153" y="39"/>
                  <a:pt x="149" y="36"/>
                </a:cubicBezTo>
                <a:cubicBezTo>
                  <a:pt x="146" y="33"/>
                  <a:pt x="140" y="33"/>
                  <a:pt x="139" y="27"/>
                </a:cubicBezTo>
                <a:cubicBezTo>
                  <a:pt x="137" y="20"/>
                  <a:pt x="124" y="0"/>
                  <a:pt x="12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49" name="Freeform 685"/>
          <p:cNvSpPr>
            <a:spLocks/>
          </p:cNvSpPr>
          <p:nvPr userDrawn="1"/>
        </p:nvSpPr>
        <p:spPr bwMode="auto">
          <a:xfrm>
            <a:off x="6214297" y="5059924"/>
            <a:ext cx="298167" cy="284765"/>
          </a:xfrm>
          <a:custGeom>
            <a:avLst/>
            <a:gdLst>
              <a:gd name="T0" fmla="*/ 2147483646 w 319"/>
              <a:gd name="T1" fmla="*/ 2147483646 h 305"/>
              <a:gd name="T2" fmla="*/ 2147483646 w 319"/>
              <a:gd name="T3" fmla="*/ 2147483646 h 305"/>
              <a:gd name="T4" fmla="*/ 2147483646 w 319"/>
              <a:gd name="T5" fmla="*/ 2147483646 h 305"/>
              <a:gd name="T6" fmla="*/ 2147483646 w 319"/>
              <a:gd name="T7" fmla="*/ 2147483646 h 305"/>
              <a:gd name="T8" fmla="*/ 2147483646 w 319"/>
              <a:gd name="T9" fmla="*/ 2147483646 h 305"/>
              <a:gd name="T10" fmla="*/ 2147483646 w 319"/>
              <a:gd name="T11" fmla="*/ 2147483646 h 305"/>
              <a:gd name="T12" fmla="*/ 2147483646 w 319"/>
              <a:gd name="T13" fmla="*/ 2147483646 h 305"/>
              <a:gd name="T14" fmla="*/ 2147483646 w 319"/>
              <a:gd name="T15" fmla="*/ 2147483646 h 305"/>
              <a:gd name="T16" fmla="*/ 2147483646 w 319"/>
              <a:gd name="T17" fmla="*/ 2147483646 h 305"/>
              <a:gd name="T18" fmla="*/ 2147483646 w 319"/>
              <a:gd name="T19" fmla="*/ 2147483646 h 305"/>
              <a:gd name="T20" fmla="*/ 2147483646 w 319"/>
              <a:gd name="T21" fmla="*/ 2147483646 h 305"/>
              <a:gd name="T22" fmla="*/ 2147483646 w 319"/>
              <a:gd name="T23" fmla="*/ 2147483646 h 305"/>
              <a:gd name="T24" fmla="*/ 2147483646 w 319"/>
              <a:gd name="T25" fmla="*/ 2147483646 h 305"/>
              <a:gd name="T26" fmla="*/ 2147483646 w 319"/>
              <a:gd name="T27" fmla="*/ 2147483646 h 305"/>
              <a:gd name="T28" fmla="*/ 2147483646 w 319"/>
              <a:gd name="T29" fmla="*/ 2147483646 h 305"/>
              <a:gd name="T30" fmla="*/ 2147483646 w 319"/>
              <a:gd name="T31" fmla="*/ 2147483646 h 305"/>
              <a:gd name="T32" fmla="*/ 2147483646 w 319"/>
              <a:gd name="T33" fmla="*/ 2147483646 h 305"/>
              <a:gd name="T34" fmla="*/ 2147483646 w 319"/>
              <a:gd name="T35" fmla="*/ 2147483646 h 305"/>
              <a:gd name="T36" fmla="*/ 2147483646 w 319"/>
              <a:gd name="T37" fmla="*/ 2147483646 h 305"/>
              <a:gd name="T38" fmla="*/ 2147483646 w 319"/>
              <a:gd name="T39" fmla="*/ 2147483646 h 305"/>
              <a:gd name="T40" fmla="*/ 2147483646 w 319"/>
              <a:gd name="T41" fmla="*/ 2147483646 h 305"/>
              <a:gd name="T42" fmla="*/ 2147483646 w 319"/>
              <a:gd name="T43" fmla="*/ 2147483646 h 305"/>
              <a:gd name="T44" fmla="*/ 2147483646 w 319"/>
              <a:gd name="T45" fmla="*/ 2147483646 h 305"/>
              <a:gd name="T46" fmla="*/ 2147483646 w 319"/>
              <a:gd name="T47" fmla="*/ 2147483646 h 305"/>
              <a:gd name="T48" fmla="*/ 2147483646 w 319"/>
              <a:gd name="T49" fmla="*/ 2147483646 h 305"/>
              <a:gd name="T50" fmla="*/ 2147483646 w 319"/>
              <a:gd name="T51" fmla="*/ 2147483646 h 305"/>
              <a:gd name="T52" fmla="*/ 2147483646 w 319"/>
              <a:gd name="T53" fmla="*/ 2147483646 h 305"/>
              <a:gd name="T54" fmla="*/ 2147483646 w 319"/>
              <a:gd name="T55" fmla="*/ 2147483646 h 305"/>
              <a:gd name="T56" fmla="*/ 2147483646 w 319"/>
              <a:gd name="T57" fmla="*/ 2147483646 h 305"/>
              <a:gd name="T58" fmla="*/ 2147483646 w 319"/>
              <a:gd name="T59" fmla="*/ 2147483646 h 305"/>
              <a:gd name="T60" fmla="*/ 2147483646 w 319"/>
              <a:gd name="T61" fmla="*/ 2147483646 h 305"/>
              <a:gd name="T62" fmla="*/ 2147483646 w 319"/>
              <a:gd name="T63" fmla="*/ 2147483646 h 305"/>
              <a:gd name="T64" fmla="*/ 2147483646 w 319"/>
              <a:gd name="T65" fmla="*/ 2147483646 h 305"/>
              <a:gd name="T66" fmla="*/ 2147483646 w 319"/>
              <a:gd name="T67" fmla="*/ 2147483646 h 305"/>
              <a:gd name="T68" fmla="*/ 2147483646 w 319"/>
              <a:gd name="T69" fmla="*/ 0 h 30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19"/>
              <a:gd name="T106" fmla="*/ 0 h 305"/>
              <a:gd name="T107" fmla="*/ 319 w 319"/>
              <a:gd name="T108" fmla="*/ 305 h 30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19" h="305">
                <a:moveTo>
                  <a:pt x="80" y="0"/>
                </a:moveTo>
                <a:cubicBezTo>
                  <a:pt x="80" y="0"/>
                  <a:pt x="62" y="3"/>
                  <a:pt x="52" y="2"/>
                </a:cubicBezTo>
                <a:cubicBezTo>
                  <a:pt x="41" y="1"/>
                  <a:pt x="40" y="12"/>
                  <a:pt x="35" y="14"/>
                </a:cubicBezTo>
                <a:cubicBezTo>
                  <a:pt x="30" y="16"/>
                  <a:pt x="21" y="11"/>
                  <a:pt x="21" y="11"/>
                </a:cubicBezTo>
                <a:cubicBezTo>
                  <a:pt x="19" y="13"/>
                  <a:pt x="21" y="15"/>
                  <a:pt x="16" y="16"/>
                </a:cubicBezTo>
                <a:cubicBezTo>
                  <a:pt x="11" y="18"/>
                  <a:pt x="6" y="17"/>
                  <a:pt x="7" y="23"/>
                </a:cubicBezTo>
                <a:cubicBezTo>
                  <a:pt x="8" y="29"/>
                  <a:pt x="9" y="29"/>
                  <a:pt x="5" y="33"/>
                </a:cubicBezTo>
                <a:cubicBezTo>
                  <a:pt x="2" y="38"/>
                  <a:pt x="0" y="40"/>
                  <a:pt x="1" y="43"/>
                </a:cubicBezTo>
                <a:cubicBezTo>
                  <a:pt x="3" y="45"/>
                  <a:pt x="1" y="47"/>
                  <a:pt x="4" y="48"/>
                </a:cubicBezTo>
                <a:cubicBezTo>
                  <a:pt x="8" y="49"/>
                  <a:pt x="9" y="62"/>
                  <a:pt x="9" y="62"/>
                </a:cubicBezTo>
                <a:cubicBezTo>
                  <a:pt x="9" y="62"/>
                  <a:pt x="12" y="76"/>
                  <a:pt x="12" y="83"/>
                </a:cubicBezTo>
                <a:cubicBezTo>
                  <a:pt x="11" y="89"/>
                  <a:pt x="15" y="94"/>
                  <a:pt x="14" y="103"/>
                </a:cubicBezTo>
                <a:cubicBezTo>
                  <a:pt x="14" y="112"/>
                  <a:pt x="14" y="116"/>
                  <a:pt x="16" y="125"/>
                </a:cubicBezTo>
                <a:cubicBezTo>
                  <a:pt x="17" y="135"/>
                  <a:pt x="21" y="139"/>
                  <a:pt x="21" y="144"/>
                </a:cubicBezTo>
                <a:cubicBezTo>
                  <a:pt x="21" y="149"/>
                  <a:pt x="17" y="149"/>
                  <a:pt x="19" y="154"/>
                </a:cubicBezTo>
                <a:cubicBezTo>
                  <a:pt x="21" y="159"/>
                  <a:pt x="28" y="162"/>
                  <a:pt x="32" y="167"/>
                </a:cubicBezTo>
                <a:cubicBezTo>
                  <a:pt x="37" y="172"/>
                  <a:pt x="42" y="178"/>
                  <a:pt x="43" y="181"/>
                </a:cubicBezTo>
                <a:cubicBezTo>
                  <a:pt x="45" y="184"/>
                  <a:pt x="53" y="207"/>
                  <a:pt x="53" y="207"/>
                </a:cubicBezTo>
                <a:cubicBezTo>
                  <a:pt x="53" y="207"/>
                  <a:pt x="65" y="217"/>
                  <a:pt x="73" y="217"/>
                </a:cubicBezTo>
                <a:cubicBezTo>
                  <a:pt x="80" y="218"/>
                  <a:pt x="85" y="214"/>
                  <a:pt x="89" y="223"/>
                </a:cubicBezTo>
                <a:cubicBezTo>
                  <a:pt x="92" y="232"/>
                  <a:pt x="99" y="231"/>
                  <a:pt x="105" y="235"/>
                </a:cubicBezTo>
                <a:cubicBezTo>
                  <a:pt x="111" y="239"/>
                  <a:pt x="120" y="241"/>
                  <a:pt x="124" y="242"/>
                </a:cubicBezTo>
                <a:cubicBezTo>
                  <a:pt x="128" y="244"/>
                  <a:pt x="139" y="241"/>
                  <a:pt x="141" y="242"/>
                </a:cubicBezTo>
                <a:cubicBezTo>
                  <a:pt x="143" y="244"/>
                  <a:pt x="148" y="241"/>
                  <a:pt x="153" y="252"/>
                </a:cubicBezTo>
                <a:cubicBezTo>
                  <a:pt x="158" y="263"/>
                  <a:pt x="160" y="267"/>
                  <a:pt x="158" y="275"/>
                </a:cubicBezTo>
                <a:cubicBezTo>
                  <a:pt x="155" y="282"/>
                  <a:pt x="158" y="288"/>
                  <a:pt x="159" y="290"/>
                </a:cubicBezTo>
                <a:cubicBezTo>
                  <a:pt x="161" y="292"/>
                  <a:pt x="166" y="301"/>
                  <a:pt x="166" y="301"/>
                </a:cubicBezTo>
                <a:cubicBezTo>
                  <a:pt x="186" y="302"/>
                  <a:pt x="186" y="302"/>
                  <a:pt x="186" y="302"/>
                </a:cubicBezTo>
                <a:cubicBezTo>
                  <a:pt x="186" y="302"/>
                  <a:pt x="194" y="292"/>
                  <a:pt x="197" y="297"/>
                </a:cubicBezTo>
                <a:cubicBezTo>
                  <a:pt x="200" y="302"/>
                  <a:pt x="206" y="305"/>
                  <a:pt x="210" y="305"/>
                </a:cubicBezTo>
                <a:cubicBezTo>
                  <a:pt x="215" y="304"/>
                  <a:pt x="212" y="299"/>
                  <a:pt x="221" y="299"/>
                </a:cubicBezTo>
                <a:cubicBezTo>
                  <a:pt x="231" y="300"/>
                  <a:pt x="231" y="305"/>
                  <a:pt x="237" y="304"/>
                </a:cubicBezTo>
                <a:cubicBezTo>
                  <a:pt x="243" y="303"/>
                  <a:pt x="251" y="297"/>
                  <a:pt x="251" y="297"/>
                </a:cubicBezTo>
                <a:cubicBezTo>
                  <a:pt x="251" y="297"/>
                  <a:pt x="248" y="291"/>
                  <a:pt x="252" y="289"/>
                </a:cubicBezTo>
                <a:cubicBezTo>
                  <a:pt x="256" y="288"/>
                  <a:pt x="257" y="281"/>
                  <a:pt x="265" y="287"/>
                </a:cubicBezTo>
                <a:cubicBezTo>
                  <a:pt x="272" y="293"/>
                  <a:pt x="273" y="288"/>
                  <a:pt x="281" y="287"/>
                </a:cubicBezTo>
                <a:cubicBezTo>
                  <a:pt x="288" y="286"/>
                  <a:pt x="313" y="270"/>
                  <a:pt x="319" y="272"/>
                </a:cubicBezTo>
                <a:cubicBezTo>
                  <a:pt x="319" y="272"/>
                  <a:pt x="315" y="265"/>
                  <a:pt x="307" y="262"/>
                </a:cubicBezTo>
                <a:cubicBezTo>
                  <a:pt x="299" y="259"/>
                  <a:pt x="296" y="255"/>
                  <a:pt x="297" y="249"/>
                </a:cubicBezTo>
                <a:cubicBezTo>
                  <a:pt x="299" y="243"/>
                  <a:pt x="302" y="236"/>
                  <a:pt x="300" y="234"/>
                </a:cubicBezTo>
                <a:cubicBezTo>
                  <a:pt x="297" y="231"/>
                  <a:pt x="294" y="225"/>
                  <a:pt x="291" y="223"/>
                </a:cubicBezTo>
                <a:cubicBezTo>
                  <a:pt x="288" y="220"/>
                  <a:pt x="287" y="217"/>
                  <a:pt x="288" y="212"/>
                </a:cubicBezTo>
                <a:cubicBezTo>
                  <a:pt x="289" y="206"/>
                  <a:pt x="290" y="201"/>
                  <a:pt x="293" y="199"/>
                </a:cubicBezTo>
                <a:cubicBezTo>
                  <a:pt x="296" y="197"/>
                  <a:pt x="297" y="194"/>
                  <a:pt x="292" y="188"/>
                </a:cubicBezTo>
                <a:cubicBezTo>
                  <a:pt x="288" y="182"/>
                  <a:pt x="293" y="178"/>
                  <a:pt x="295" y="175"/>
                </a:cubicBezTo>
                <a:cubicBezTo>
                  <a:pt x="296" y="172"/>
                  <a:pt x="295" y="160"/>
                  <a:pt x="291" y="160"/>
                </a:cubicBezTo>
                <a:cubicBezTo>
                  <a:pt x="287" y="159"/>
                  <a:pt x="281" y="160"/>
                  <a:pt x="280" y="155"/>
                </a:cubicBezTo>
                <a:cubicBezTo>
                  <a:pt x="278" y="150"/>
                  <a:pt x="276" y="149"/>
                  <a:pt x="277" y="143"/>
                </a:cubicBezTo>
                <a:cubicBezTo>
                  <a:pt x="278" y="138"/>
                  <a:pt x="281" y="127"/>
                  <a:pt x="283" y="124"/>
                </a:cubicBezTo>
                <a:cubicBezTo>
                  <a:pt x="284" y="120"/>
                  <a:pt x="288" y="102"/>
                  <a:pt x="288" y="102"/>
                </a:cubicBezTo>
                <a:cubicBezTo>
                  <a:pt x="254" y="77"/>
                  <a:pt x="254" y="77"/>
                  <a:pt x="254" y="77"/>
                </a:cubicBezTo>
                <a:cubicBezTo>
                  <a:pt x="254" y="77"/>
                  <a:pt x="246" y="65"/>
                  <a:pt x="248" y="59"/>
                </a:cubicBezTo>
                <a:cubicBezTo>
                  <a:pt x="148" y="1"/>
                  <a:pt x="148" y="1"/>
                  <a:pt x="148" y="1"/>
                </a:cubicBezTo>
                <a:cubicBezTo>
                  <a:pt x="148" y="1"/>
                  <a:pt x="144" y="6"/>
                  <a:pt x="144" y="12"/>
                </a:cubicBezTo>
                <a:cubicBezTo>
                  <a:pt x="143" y="18"/>
                  <a:pt x="137" y="14"/>
                  <a:pt x="133" y="19"/>
                </a:cubicBezTo>
                <a:cubicBezTo>
                  <a:pt x="128" y="24"/>
                  <a:pt x="115" y="27"/>
                  <a:pt x="123" y="31"/>
                </a:cubicBezTo>
                <a:cubicBezTo>
                  <a:pt x="131" y="36"/>
                  <a:pt x="139" y="29"/>
                  <a:pt x="140" y="34"/>
                </a:cubicBezTo>
                <a:cubicBezTo>
                  <a:pt x="142" y="39"/>
                  <a:pt x="138" y="42"/>
                  <a:pt x="131" y="44"/>
                </a:cubicBezTo>
                <a:cubicBezTo>
                  <a:pt x="123" y="46"/>
                  <a:pt x="120" y="47"/>
                  <a:pt x="118" y="44"/>
                </a:cubicBezTo>
                <a:cubicBezTo>
                  <a:pt x="116" y="40"/>
                  <a:pt x="114" y="31"/>
                  <a:pt x="110" y="36"/>
                </a:cubicBezTo>
                <a:cubicBezTo>
                  <a:pt x="106" y="41"/>
                  <a:pt x="103" y="43"/>
                  <a:pt x="103" y="43"/>
                </a:cubicBezTo>
                <a:cubicBezTo>
                  <a:pt x="103" y="43"/>
                  <a:pt x="101" y="34"/>
                  <a:pt x="98" y="38"/>
                </a:cubicBezTo>
                <a:cubicBezTo>
                  <a:pt x="94" y="42"/>
                  <a:pt x="98" y="35"/>
                  <a:pt x="94" y="42"/>
                </a:cubicBezTo>
                <a:cubicBezTo>
                  <a:pt x="90" y="50"/>
                  <a:pt x="89" y="53"/>
                  <a:pt x="84" y="53"/>
                </a:cubicBezTo>
                <a:cubicBezTo>
                  <a:pt x="80" y="53"/>
                  <a:pt x="74" y="53"/>
                  <a:pt x="77" y="46"/>
                </a:cubicBezTo>
                <a:cubicBezTo>
                  <a:pt x="80" y="39"/>
                  <a:pt x="86" y="37"/>
                  <a:pt x="83" y="32"/>
                </a:cubicBezTo>
                <a:cubicBezTo>
                  <a:pt x="80" y="28"/>
                  <a:pt x="80" y="30"/>
                  <a:pt x="80" y="24"/>
                </a:cubicBezTo>
                <a:cubicBezTo>
                  <a:pt x="80" y="18"/>
                  <a:pt x="82" y="15"/>
                  <a:pt x="84" y="14"/>
                </a:cubicBezTo>
                <a:cubicBezTo>
                  <a:pt x="87" y="12"/>
                  <a:pt x="89" y="6"/>
                  <a:pt x="89" y="6"/>
                </a:cubicBezTo>
                <a:lnTo>
                  <a:pt x="8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50" name="Freeform 686"/>
          <p:cNvSpPr>
            <a:spLocks/>
          </p:cNvSpPr>
          <p:nvPr userDrawn="1"/>
        </p:nvSpPr>
        <p:spPr bwMode="auto">
          <a:xfrm>
            <a:off x="6349980" y="4907491"/>
            <a:ext cx="204361" cy="251264"/>
          </a:xfrm>
          <a:custGeom>
            <a:avLst/>
            <a:gdLst>
              <a:gd name="T0" fmla="*/ 2147483646 w 219"/>
              <a:gd name="T1" fmla="*/ 2147483646 h 268"/>
              <a:gd name="T2" fmla="*/ 2147483646 w 219"/>
              <a:gd name="T3" fmla="*/ 2147483646 h 268"/>
              <a:gd name="T4" fmla="*/ 2147483646 w 219"/>
              <a:gd name="T5" fmla="*/ 2147483646 h 268"/>
              <a:gd name="T6" fmla="*/ 2147483646 w 219"/>
              <a:gd name="T7" fmla="*/ 2147483646 h 268"/>
              <a:gd name="T8" fmla="*/ 2147483646 w 219"/>
              <a:gd name="T9" fmla="*/ 2147483646 h 268"/>
              <a:gd name="T10" fmla="*/ 2147483646 w 219"/>
              <a:gd name="T11" fmla="*/ 2147483646 h 268"/>
              <a:gd name="T12" fmla="*/ 2147483646 w 219"/>
              <a:gd name="T13" fmla="*/ 2147483646 h 268"/>
              <a:gd name="T14" fmla="*/ 2147483646 w 219"/>
              <a:gd name="T15" fmla="*/ 2147483646 h 268"/>
              <a:gd name="T16" fmla="*/ 2147483646 w 219"/>
              <a:gd name="T17" fmla="*/ 2147483646 h 268"/>
              <a:gd name="T18" fmla="*/ 2147483646 w 219"/>
              <a:gd name="T19" fmla="*/ 2147483646 h 268"/>
              <a:gd name="T20" fmla="*/ 2147483646 w 219"/>
              <a:gd name="T21" fmla="*/ 2147483646 h 268"/>
              <a:gd name="T22" fmla="*/ 2147483646 w 219"/>
              <a:gd name="T23" fmla="*/ 2147483646 h 268"/>
              <a:gd name="T24" fmla="*/ 2147483646 w 219"/>
              <a:gd name="T25" fmla="*/ 2147483646 h 268"/>
              <a:gd name="T26" fmla="*/ 2147483646 w 219"/>
              <a:gd name="T27" fmla="*/ 2147483646 h 268"/>
              <a:gd name="T28" fmla="*/ 2147483646 w 219"/>
              <a:gd name="T29" fmla="*/ 2147483646 h 268"/>
              <a:gd name="T30" fmla="*/ 2147483646 w 219"/>
              <a:gd name="T31" fmla="*/ 2147483646 h 268"/>
              <a:gd name="T32" fmla="*/ 2147483646 w 219"/>
              <a:gd name="T33" fmla="*/ 2147483646 h 268"/>
              <a:gd name="T34" fmla="*/ 2147483646 w 219"/>
              <a:gd name="T35" fmla="*/ 2147483646 h 268"/>
              <a:gd name="T36" fmla="*/ 2147483646 w 219"/>
              <a:gd name="T37" fmla="*/ 2147483646 h 268"/>
              <a:gd name="T38" fmla="*/ 0 w 219"/>
              <a:gd name="T39" fmla="*/ 2147483646 h 268"/>
              <a:gd name="T40" fmla="*/ 2147483646 w 219"/>
              <a:gd name="T41" fmla="*/ 2147483646 h 268"/>
              <a:gd name="T42" fmla="*/ 2147483646 w 219"/>
              <a:gd name="T43" fmla="*/ 2147483646 h 268"/>
              <a:gd name="T44" fmla="*/ 2147483646 w 219"/>
              <a:gd name="T45" fmla="*/ 2147483646 h 268"/>
              <a:gd name="T46" fmla="*/ 2147483646 w 219"/>
              <a:gd name="T47" fmla="*/ 2147483646 h 268"/>
              <a:gd name="T48" fmla="*/ 2147483646 w 219"/>
              <a:gd name="T49" fmla="*/ 2147483646 h 268"/>
              <a:gd name="T50" fmla="*/ 2147483646 w 219"/>
              <a:gd name="T51" fmla="*/ 2147483646 h 268"/>
              <a:gd name="T52" fmla="*/ 2147483646 w 219"/>
              <a:gd name="T53" fmla="*/ 2147483646 h 268"/>
              <a:gd name="T54" fmla="*/ 2147483646 w 219"/>
              <a:gd name="T55" fmla="*/ 2147483646 h 268"/>
              <a:gd name="T56" fmla="*/ 2147483646 w 219"/>
              <a:gd name="T57" fmla="*/ 2147483646 h 268"/>
              <a:gd name="T58" fmla="*/ 2147483646 w 219"/>
              <a:gd name="T59" fmla="*/ 2147483646 h 268"/>
              <a:gd name="T60" fmla="*/ 2147483646 w 219"/>
              <a:gd name="T61" fmla="*/ 2147483646 h 268"/>
              <a:gd name="T62" fmla="*/ 2147483646 w 219"/>
              <a:gd name="T63" fmla="*/ 2147483646 h 268"/>
              <a:gd name="T64" fmla="*/ 2147483646 w 219"/>
              <a:gd name="T65" fmla="*/ 2147483646 h 268"/>
              <a:gd name="T66" fmla="*/ 2147483646 w 219"/>
              <a:gd name="T67" fmla="*/ 2147483646 h 268"/>
              <a:gd name="T68" fmla="*/ 2147483646 w 219"/>
              <a:gd name="T69" fmla="*/ 2147483646 h 268"/>
              <a:gd name="T70" fmla="*/ 2147483646 w 219"/>
              <a:gd name="T71" fmla="*/ 2147483646 h 268"/>
              <a:gd name="T72" fmla="*/ 2147483646 w 219"/>
              <a:gd name="T73" fmla="*/ 2147483646 h 268"/>
              <a:gd name="T74" fmla="*/ 2147483646 w 219"/>
              <a:gd name="T75" fmla="*/ 2147483646 h 268"/>
              <a:gd name="T76" fmla="*/ 2147483646 w 219"/>
              <a:gd name="T77" fmla="*/ 2147483646 h 268"/>
              <a:gd name="T78" fmla="*/ 2147483646 w 219"/>
              <a:gd name="T79" fmla="*/ 2147483646 h 268"/>
              <a:gd name="T80" fmla="*/ 2147483646 w 219"/>
              <a:gd name="T81" fmla="*/ 2147483646 h 268"/>
              <a:gd name="T82" fmla="*/ 2147483646 w 219"/>
              <a:gd name="T83" fmla="*/ 2147483646 h 268"/>
              <a:gd name="T84" fmla="*/ 2147483646 w 219"/>
              <a:gd name="T85" fmla="*/ 2147483646 h 268"/>
              <a:gd name="T86" fmla="*/ 2147483646 w 219"/>
              <a:gd name="T87" fmla="*/ 2147483646 h 268"/>
              <a:gd name="T88" fmla="*/ 2147483646 w 219"/>
              <a:gd name="T89" fmla="*/ 2147483646 h 268"/>
              <a:gd name="T90" fmla="*/ 2147483646 w 219"/>
              <a:gd name="T91" fmla="*/ 2147483646 h 268"/>
              <a:gd name="T92" fmla="*/ 2147483646 w 219"/>
              <a:gd name="T93" fmla="*/ 2147483646 h 268"/>
              <a:gd name="T94" fmla="*/ 2147483646 w 219"/>
              <a:gd name="T95" fmla="*/ 2147483646 h 268"/>
              <a:gd name="T96" fmla="*/ 2147483646 w 219"/>
              <a:gd name="T97" fmla="*/ 2147483646 h 268"/>
              <a:gd name="T98" fmla="*/ 2147483646 w 219"/>
              <a:gd name="T99" fmla="*/ 2147483646 h 268"/>
              <a:gd name="T100" fmla="*/ 2147483646 w 219"/>
              <a:gd name="T101" fmla="*/ 2147483646 h 26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19"/>
              <a:gd name="T154" fmla="*/ 0 h 268"/>
              <a:gd name="T155" fmla="*/ 219 w 219"/>
              <a:gd name="T156" fmla="*/ 268 h 268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19" h="268">
                <a:moveTo>
                  <a:pt x="144" y="265"/>
                </a:moveTo>
                <a:cubicBezTo>
                  <a:pt x="110" y="240"/>
                  <a:pt x="110" y="240"/>
                  <a:pt x="110" y="240"/>
                </a:cubicBezTo>
                <a:cubicBezTo>
                  <a:pt x="110" y="240"/>
                  <a:pt x="102" y="228"/>
                  <a:pt x="104" y="222"/>
                </a:cubicBezTo>
                <a:cubicBezTo>
                  <a:pt x="4" y="164"/>
                  <a:pt x="4" y="164"/>
                  <a:pt x="4" y="164"/>
                </a:cubicBezTo>
                <a:cubicBezTo>
                  <a:pt x="4" y="164"/>
                  <a:pt x="1" y="153"/>
                  <a:pt x="4" y="149"/>
                </a:cubicBezTo>
                <a:cubicBezTo>
                  <a:pt x="8" y="145"/>
                  <a:pt x="7" y="149"/>
                  <a:pt x="10" y="149"/>
                </a:cubicBezTo>
                <a:cubicBezTo>
                  <a:pt x="13" y="148"/>
                  <a:pt x="15" y="147"/>
                  <a:pt x="16" y="146"/>
                </a:cubicBezTo>
                <a:cubicBezTo>
                  <a:pt x="18" y="145"/>
                  <a:pt x="25" y="144"/>
                  <a:pt x="27" y="142"/>
                </a:cubicBezTo>
                <a:cubicBezTo>
                  <a:pt x="29" y="139"/>
                  <a:pt x="26" y="140"/>
                  <a:pt x="22" y="137"/>
                </a:cubicBezTo>
                <a:cubicBezTo>
                  <a:pt x="18" y="135"/>
                  <a:pt x="15" y="141"/>
                  <a:pt x="13" y="142"/>
                </a:cubicBezTo>
                <a:cubicBezTo>
                  <a:pt x="11" y="143"/>
                  <a:pt x="8" y="142"/>
                  <a:pt x="4" y="140"/>
                </a:cubicBezTo>
                <a:cubicBezTo>
                  <a:pt x="1" y="138"/>
                  <a:pt x="1" y="134"/>
                  <a:pt x="1" y="134"/>
                </a:cubicBezTo>
                <a:cubicBezTo>
                  <a:pt x="1" y="134"/>
                  <a:pt x="3" y="121"/>
                  <a:pt x="8" y="117"/>
                </a:cubicBezTo>
                <a:cubicBezTo>
                  <a:pt x="13" y="114"/>
                  <a:pt x="17" y="104"/>
                  <a:pt x="21" y="101"/>
                </a:cubicBezTo>
                <a:cubicBezTo>
                  <a:pt x="25" y="99"/>
                  <a:pt x="28" y="93"/>
                  <a:pt x="29" y="89"/>
                </a:cubicBezTo>
                <a:cubicBezTo>
                  <a:pt x="29" y="85"/>
                  <a:pt x="29" y="79"/>
                  <a:pt x="29" y="77"/>
                </a:cubicBezTo>
                <a:cubicBezTo>
                  <a:pt x="30" y="74"/>
                  <a:pt x="33" y="68"/>
                  <a:pt x="31" y="65"/>
                </a:cubicBezTo>
                <a:cubicBezTo>
                  <a:pt x="30" y="61"/>
                  <a:pt x="29" y="55"/>
                  <a:pt x="25" y="52"/>
                </a:cubicBezTo>
                <a:cubicBezTo>
                  <a:pt x="22" y="49"/>
                  <a:pt x="16" y="49"/>
                  <a:pt x="15" y="43"/>
                </a:cubicBezTo>
                <a:cubicBezTo>
                  <a:pt x="13" y="36"/>
                  <a:pt x="0" y="16"/>
                  <a:pt x="0" y="16"/>
                </a:cubicBezTo>
                <a:cubicBezTo>
                  <a:pt x="1" y="13"/>
                  <a:pt x="1" y="13"/>
                  <a:pt x="1" y="13"/>
                </a:cubicBezTo>
                <a:cubicBezTo>
                  <a:pt x="11" y="4"/>
                  <a:pt x="11" y="4"/>
                  <a:pt x="11" y="4"/>
                </a:cubicBezTo>
                <a:cubicBezTo>
                  <a:pt x="49" y="3"/>
                  <a:pt x="49" y="3"/>
                  <a:pt x="49" y="3"/>
                </a:cubicBezTo>
                <a:cubicBezTo>
                  <a:pt x="49" y="3"/>
                  <a:pt x="55" y="4"/>
                  <a:pt x="57" y="6"/>
                </a:cubicBezTo>
                <a:cubicBezTo>
                  <a:pt x="59" y="8"/>
                  <a:pt x="84" y="9"/>
                  <a:pt x="84" y="9"/>
                </a:cubicBezTo>
                <a:cubicBezTo>
                  <a:pt x="114" y="28"/>
                  <a:pt x="114" y="28"/>
                  <a:pt x="114" y="28"/>
                </a:cubicBezTo>
                <a:cubicBezTo>
                  <a:pt x="155" y="31"/>
                  <a:pt x="155" y="31"/>
                  <a:pt x="155" y="31"/>
                </a:cubicBezTo>
                <a:cubicBezTo>
                  <a:pt x="155" y="31"/>
                  <a:pt x="162" y="21"/>
                  <a:pt x="169" y="19"/>
                </a:cubicBezTo>
                <a:cubicBezTo>
                  <a:pt x="176" y="17"/>
                  <a:pt x="183" y="0"/>
                  <a:pt x="189" y="9"/>
                </a:cubicBezTo>
                <a:cubicBezTo>
                  <a:pt x="196" y="18"/>
                  <a:pt x="200" y="16"/>
                  <a:pt x="204" y="17"/>
                </a:cubicBezTo>
                <a:cubicBezTo>
                  <a:pt x="208" y="17"/>
                  <a:pt x="219" y="17"/>
                  <a:pt x="219" y="17"/>
                </a:cubicBezTo>
                <a:cubicBezTo>
                  <a:pt x="219" y="17"/>
                  <a:pt x="200" y="47"/>
                  <a:pt x="195" y="50"/>
                </a:cubicBezTo>
                <a:cubicBezTo>
                  <a:pt x="197" y="157"/>
                  <a:pt x="197" y="157"/>
                  <a:pt x="197" y="157"/>
                </a:cubicBezTo>
                <a:cubicBezTo>
                  <a:pt x="213" y="177"/>
                  <a:pt x="213" y="177"/>
                  <a:pt x="213" y="177"/>
                </a:cubicBezTo>
                <a:cubicBezTo>
                  <a:pt x="213" y="177"/>
                  <a:pt x="206" y="189"/>
                  <a:pt x="202" y="189"/>
                </a:cubicBezTo>
                <a:cubicBezTo>
                  <a:pt x="199" y="190"/>
                  <a:pt x="195" y="184"/>
                  <a:pt x="194" y="187"/>
                </a:cubicBezTo>
                <a:cubicBezTo>
                  <a:pt x="192" y="189"/>
                  <a:pt x="193" y="192"/>
                  <a:pt x="193" y="194"/>
                </a:cubicBezTo>
                <a:cubicBezTo>
                  <a:pt x="192" y="195"/>
                  <a:pt x="190" y="194"/>
                  <a:pt x="191" y="199"/>
                </a:cubicBezTo>
                <a:cubicBezTo>
                  <a:pt x="192" y="204"/>
                  <a:pt x="188" y="205"/>
                  <a:pt x="185" y="205"/>
                </a:cubicBezTo>
                <a:cubicBezTo>
                  <a:pt x="183" y="205"/>
                  <a:pt x="183" y="203"/>
                  <a:pt x="181" y="204"/>
                </a:cubicBezTo>
                <a:cubicBezTo>
                  <a:pt x="179" y="204"/>
                  <a:pt x="180" y="197"/>
                  <a:pt x="178" y="202"/>
                </a:cubicBezTo>
                <a:cubicBezTo>
                  <a:pt x="175" y="208"/>
                  <a:pt x="167" y="207"/>
                  <a:pt x="170" y="214"/>
                </a:cubicBezTo>
                <a:cubicBezTo>
                  <a:pt x="174" y="221"/>
                  <a:pt x="174" y="223"/>
                  <a:pt x="171" y="228"/>
                </a:cubicBezTo>
                <a:cubicBezTo>
                  <a:pt x="169" y="233"/>
                  <a:pt x="166" y="233"/>
                  <a:pt x="164" y="234"/>
                </a:cubicBezTo>
                <a:cubicBezTo>
                  <a:pt x="163" y="235"/>
                  <a:pt x="159" y="231"/>
                  <a:pt x="159" y="235"/>
                </a:cubicBezTo>
                <a:cubicBezTo>
                  <a:pt x="159" y="239"/>
                  <a:pt x="166" y="242"/>
                  <a:pt x="163" y="245"/>
                </a:cubicBezTo>
                <a:cubicBezTo>
                  <a:pt x="160" y="247"/>
                  <a:pt x="153" y="245"/>
                  <a:pt x="153" y="245"/>
                </a:cubicBezTo>
                <a:cubicBezTo>
                  <a:pt x="153" y="245"/>
                  <a:pt x="151" y="248"/>
                  <a:pt x="154" y="252"/>
                </a:cubicBezTo>
                <a:cubicBezTo>
                  <a:pt x="157" y="256"/>
                  <a:pt x="159" y="256"/>
                  <a:pt x="158" y="259"/>
                </a:cubicBezTo>
                <a:cubicBezTo>
                  <a:pt x="156" y="263"/>
                  <a:pt x="159" y="263"/>
                  <a:pt x="154" y="265"/>
                </a:cubicBezTo>
                <a:cubicBezTo>
                  <a:pt x="149" y="268"/>
                  <a:pt x="144" y="265"/>
                  <a:pt x="144" y="2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51" name="Freeform 687"/>
          <p:cNvSpPr>
            <a:spLocks/>
          </p:cNvSpPr>
          <p:nvPr userDrawn="1"/>
        </p:nvSpPr>
        <p:spPr bwMode="auto">
          <a:xfrm>
            <a:off x="6396882" y="4550696"/>
            <a:ext cx="170860" cy="145733"/>
          </a:xfrm>
          <a:custGeom>
            <a:avLst/>
            <a:gdLst>
              <a:gd name="T0" fmla="*/ 2147483646 w 184"/>
              <a:gd name="T1" fmla="*/ 0 h 157"/>
              <a:gd name="T2" fmla="*/ 2147483646 w 184"/>
              <a:gd name="T3" fmla="*/ 2147483646 h 157"/>
              <a:gd name="T4" fmla="*/ 2147483646 w 184"/>
              <a:gd name="T5" fmla="*/ 2147483646 h 157"/>
              <a:gd name="T6" fmla="*/ 2147483646 w 184"/>
              <a:gd name="T7" fmla="*/ 2147483646 h 157"/>
              <a:gd name="T8" fmla="*/ 2147483646 w 184"/>
              <a:gd name="T9" fmla="*/ 2147483646 h 157"/>
              <a:gd name="T10" fmla="*/ 2147483646 w 184"/>
              <a:gd name="T11" fmla="*/ 2147483646 h 157"/>
              <a:gd name="T12" fmla="*/ 2147483646 w 184"/>
              <a:gd name="T13" fmla="*/ 2147483646 h 157"/>
              <a:gd name="T14" fmla="*/ 2147483646 w 184"/>
              <a:gd name="T15" fmla="*/ 2147483646 h 157"/>
              <a:gd name="T16" fmla="*/ 2147483646 w 184"/>
              <a:gd name="T17" fmla="*/ 2147483646 h 157"/>
              <a:gd name="T18" fmla="*/ 2147483646 w 184"/>
              <a:gd name="T19" fmla="*/ 2147483646 h 157"/>
              <a:gd name="T20" fmla="*/ 2147483646 w 184"/>
              <a:gd name="T21" fmla="*/ 2147483646 h 157"/>
              <a:gd name="T22" fmla="*/ 2147483646 w 184"/>
              <a:gd name="T23" fmla="*/ 2147483646 h 157"/>
              <a:gd name="T24" fmla="*/ 2147483646 w 184"/>
              <a:gd name="T25" fmla="*/ 2147483646 h 157"/>
              <a:gd name="T26" fmla="*/ 2147483646 w 184"/>
              <a:gd name="T27" fmla="*/ 2147483646 h 157"/>
              <a:gd name="T28" fmla="*/ 2147483646 w 184"/>
              <a:gd name="T29" fmla="*/ 2147483646 h 157"/>
              <a:gd name="T30" fmla="*/ 2147483646 w 184"/>
              <a:gd name="T31" fmla="*/ 2147483646 h 157"/>
              <a:gd name="T32" fmla="*/ 2147483646 w 184"/>
              <a:gd name="T33" fmla="*/ 2147483646 h 157"/>
              <a:gd name="T34" fmla="*/ 2147483646 w 184"/>
              <a:gd name="T35" fmla="*/ 2147483646 h 157"/>
              <a:gd name="T36" fmla="*/ 2147483646 w 184"/>
              <a:gd name="T37" fmla="*/ 2147483646 h 157"/>
              <a:gd name="T38" fmla="*/ 2147483646 w 184"/>
              <a:gd name="T39" fmla="*/ 2147483646 h 157"/>
              <a:gd name="T40" fmla="*/ 2147483646 w 184"/>
              <a:gd name="T41" fmla="*/ 2147483646 h 157"/>
              <a:gd name="T42" fmla="*/ 2147483646 w 184"/>
              <a:gd name="T43" fmla="*/ 2147483646 h 157"/>
              <a:gd name="T44" fmla="*/ 2147483646 w 184"/>
              <a:gd name="T45" fmla="*/ 2147483646 h 157"/>
              <a:gd name="T46" fmla="*/ 2147483646 w 184"/>
              <a:gd name="T47" fmla="*/ 2147483646 h 157"/>
              <a:gd name="T48" fmla="*/ 2147483646 w 184"/>
              <a:gd name="T49" fmla="*/ 2147483646 h 157"/>
              <a:gd name="T50" fmla="*/ 2147483646 w 184"/>
              <a:gd name="T51" fmla="*/ 2147483646 h 157"/>
              <a:gd name="T52" fmla="*/ 2147483646 w 184"/>
              <a:gd name="T53" fmla="*/ 2147483646 h 157"/>
              <a:gd name="T54" fmla="*/ 2147483646 w 184"/>
              <a:gd name="T55" fmla="*/ 2147483646 h 157"/>
              <a:gd name="T56" fmla="*/ 2147483646 w 184"/>
              <a:gd name="T57" fmla="*/ 0 h 15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84"/>
              <a:gd name="T88" fmla="*/ 0 h 157"/>
              <a:gd name="T89" fmla="*/ 184 w 184"/>
              <a:gd name="T90" fmla="*/ 157 h 15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84" h="157">
                <a:moveTo>
                  <a:pt x="50" y="0"/>
                </a:moveTo>
                <a:cubicBezTo>
                  <a:pt x="50" y="0"/>
                  <a:pt x="51" y="5"/>
                  <a:pt x="44" y="11"/>
                </a:cubicBezTo>
                <a:cubicBezTo>
                  <a:pt x="37" y="16"/>
                  <a:pt x="29" y="14"/>
                  <a:pt x="26" y="21"/>
                </a:cubicBezTo>
                <a:cubicBezTo>
                  <a:pt x="24" y="28"/>
                  <a:pt x="24" y="35"/>
                  <a:pt x="17" y="34"/>
                </a:cubicBezTo>
                <a:cubicBezTo>
                  <a:pt x="9" y="33"/>
                  <a:pt x="9" y="26"/>
                  <a:pt x="9" y="44"/>
                </a:cubicBezTo>
                <a:cubicBezTo>
                  <a:pt x="9" y="61"/>
                  <a:pt x="6" y="64"/>
                  <a:pt x="3" y="73"/>
                </a:cubicBezTo>
                <a:cubicBezTo>
                  <a:pt x="0" y="82"/>
                  <a:pt x="3" y="90"/>
                  <a:pt x="4" y="98"/>
                </a:cubicBezTo>
                <a:cubicBezTo>
                  <a:pt x="5" y="101"/>
                  <a:pt x="5" y="104"/>
                  <a:pt x="6" y="107"/>
                </a:cubicBezTo>
                <a:cubicBezTo>
                  <a:pt x="6" y="107"/>
                  <a:pt x="15" y="108"/>
                  <a:pt x="16" y="108"/>
                </a:cubicBezTo>
                <a:cubicBezTo>
                  <a:pt x="17" y="108"/>
                  <a:pt x="22" y="104"/>
                  <a:pt x="25" y="103"/>
                </a:cubicBezTo>
                <a:cubicBezTo>
                  <a:pt x="27" y="103"/>
                  <a:pt x="29" y="103"/>
                  <a:pt x="31" y="109"/>
                </a:cubicBezTo>
                <a:cubicBezTo>
                  <a:pt x="34" y="114"/>
                  <a:pt x="38" y="111"/>
                  <a:pt x="38" y="108"/>
                </a:cubicBezTo>
                <a:cubicBezTo>
                  <a:pt x="39" y="104"/>
                  <a:pt x="38" y="100"/>
                  <a:pt x="40" y="97"/>
                </a:cubicBezTo>
                <a:cubicBezTo>
                  <a:pt x="42" y="94"/>
                  <a:pt x="41" y="88"/>
                  <a:pt x="45" y="89"/>
                </a:cubicBezTo>
                <a:cubicBezTo>
                  <a:pt x="49" y="90"/>
                  <a:pt x="53" y="92"/>
                  <a:pt x="54" y="95"/>
                </a:cubicBezTo>
                <a:cubicBezTo>
                  <a:pt x="54" y="99"/>
                  <a:pt x="57" y="96"/>
                  <a:pt x="60" y="99"/>
                </a:cubicBezTo>
                <a:cubicBezTo>
                  <a:pt x="63" y="103"/>
                  <a:pt x="66" y="100"/>
                  <a:pt x="68" y="99"/>
                </a:cubicBezTo>
                <a:cubicBezTo>
                  <a:pt x="71" y="98"/>
                  <a:pt x="72" y="91"/>
                  <a:pt x="75" y="94"/>
                </a:cubicBezTo>
                <a:cubicBezTo>
                  <a:pt x="77" y="98"/>
                  <a:pt x="76" y="99"/>
                  <a:pt x="81" y="100"/>
                </a:cubicBezTo>
                <a:cubicBezTo>
                  <a:pt x="86" y="102"/>
                  <a:pt x="100" y="98"/>
                  <a:pt x="112" y="105"/>
                </a:cubicBezTo>
                <a:cubicBezTo>
                  <a:pt x="124" y="113"/>
                  <a:pt x="126" y="114"/>
                  <a:pt x="134" y="123"/>
                </a:cubicBezTo>
                <a:cubicBezTo>
                  <a:pt x="142" y="132"/>
                  <a:pt x="165" y="152"/>
                  <a:pt x="170" y="155"/>
                </a:cubicBezTo>
                <a:cubicBezTo>
                  <a:pt x="175" y="157"/>
                  <a:pt x="184" y="149"/>
                  <a:pt x="183" y="146"/>
                </a:cubicBezTo>
                <a:cubicBezTo>
                  <a:pt x="183" y="146"/>
                  <a:pt x="169" y="133"/>
                  <a:pt x="165" y="129"/>
                </a:cubicBezTo>
                <a:cubicBezTo>
                  <a:pt x="162" y="125"/>
                  <a:pt x="156" y="118"/>
                  <a:pt x="149" y="113"/>
                </a:cubicBezTo>
                <a:cubicBezTo>
                  <a:pt x="143" y="108"/>
                  <a:pt x="134" y="95"/>
                  <a:pt x="130" y="92"/>
                </a:cubicBezTo>
                <a:cubicBezTo>
                  <a:pt x="127" y="89"/>
                  <a:pt x="112" y="87"/>
                  <a:pt x="97" y="79"/>
                </a:cubicBezTo>
                <a:cubicBezTo>
                  <a:pt x="82" y="71"/>
                  <a:pt x="77" y="65"/>
                  <a:pt x="77" y="59"/>
                </a:cubicBezTo>
                <a:cubicBezTo>
                  <a:pt x="76" y="54"/>
                  <a:pt x="73" y="23"/>
                  <a:pt x="5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52" name="Freeform 688"/>
          <p:cNvSpPr>
            <a:spLocks/>
          </p:cNvSpPr>
          <p:nvPr userDrawn="1"/>
        </p:nvSpPr>
        <p:spPr bwMode="auto">
          <a:xfrm>
            <a:off x="6308102" y="4632776"/>
            <a:ext cx="395321" cy="304867"/>
          </a:xfrm>
          <a:custGeom>
            <a:avLst/>
            <a:gdLst>
              <a:gd name="T0" fmla="*/ 2147483646 w 423"/>
              <a:gd name="T1" fmla="*/ 2147483646 h 326"/>
              <a:gd name="T2" fmla="*/ 2147483646 w 423"/>
              <a:gd name="T3" fmla="*/ 2147483646 h 326"/>
              <a:gd name="T4" fmla="*/ 2147483646 w 423"/>
              <a:gd name="T5" fmla="*/ 2147483646 h 326"/>
              <a:gd name="T6" fmla="*/ 2147483646 w 423"/>
              <a:gd name="T7" fmla="*/ 2147483646 h 326"/>
              <a:gd name="T8" fmla="*/ 2147483646 w 423"/>
              <a:gd name="T9" fmla="*/ 2147483646 h 326"/>
              <a:gd name="T10" fmla="*/ 2147483646 w 423"/>
              <a:gd name="T11" fmla="*/ 2147483646 h 326"/>
              <a:gd name="T12" fmla="*/ 2147483646 w 423"/>
              <a:gd name="T13" fmla="*/ 2147483646 h 326"/>
              <a:gd name="T14" fmla="*/ 2147483646 w 423"/>
              <a:gd name="T15" fmla="*/ 2147483646 h 326"/>
              <a:gd name="T16" fmla="*/ 2147483646 w 423"/>
              <a:gd name="T17" fmla="*/ 2147483646 h 326"/>
              <a:gd name="T18" fmla="*/ 2147483646 w 423"/>
              <a:gd name="T19" fmla="*/ 2147483646 h 326"/>
              <a:gd name="T20" fmla="*/ 2147483646 w 423"/>
              <a:gd name="T21" fmla="*/ 2147483646 h 326"/>
              <a:gd name="T22" fmla="*/ 2147483646 w 423"/>
              <a:gd name="T23" fmla="*/ 2147483646 h 326"/>
              <a:gd name="T24" fmla="*/ 2147483646 w 423"/>
              <a:gd name="T25" fmla="*/ 2147483646 h 326"/>
              <a:gd name="T26" fmla="*/ 2147483646 w 423"/>
              <a:gd name="T27" fmla="*/ 2147483646 h 326"/>
              <a:gd name="T28" fmla="*/ 2147483646 w 423"/>
              <a:gd name="T29" fmla="*/ 2147483646 h 326"/>
              <a:gd name="T30" fmla="*/ 2147483646 w 423"/>
              <a:gd name="T31" fmla="*/ 2147483646 h 326"/>
              <a:gd name="T32" fmla="*/ 2147483646 w 423"/>
              <a:gd name="T33" fmla="*/ 2147483646 h 326"/>
              <a:gd name="T34" fmla="*/ 2147483646 w 423"/>
              <a:gd name="T35" fmla="*/ 2147483646 h 326"/>
              <a:gd name="T36" fmla="*/ 2147483646 w 423"/>
              <a:gd name="T37" fmla="*/ 2147483646 h 326"/>
              <a:gd name="T38" fmla="*/ 2147483646 w 423"/>
              <a:gd name="T39" fmla="*/ 2147483646 h 326"/>
              <a:gd name="T40" fmla="*/ 2147483646 w 423"/>
              <a:gd name="T41" fmla="*/ 2147483646 h 326"/>
              <a:gd name="T42" fmla="*/ 2147483646 w 423"/>
              <a:gd name="T43" fmla="*/ 2147483646 h 326"/>
              <a:gd name="T44" fmla="*/ 2147483646 w 423"/>
              <a:gd name="T45" fmla="*/ 2147483646 h 326"/>
              <a:gd name="T46" fmla="*/ 2147483646 w 423"/>
              <a:gd name="T47" fmla="*/ 2147483646 h 326"/>
              <a:gd name="T48" fmla="*/ 2147483646 w 423"/>
              <a:gd name="T49" fmla="*/ 2147483646 h 326"/>
              <a:gd name="T50" fmla="*/ 2147483646 w 423"/>
              <a:gd name="T51" fmla="*/ 2147483646 h 326"/>
              <a:gd name="T52" fmla="*/ 2147483646 w 423"/>
              <a:gd name="T53" fmla="*/ 2147483646 h 326"/>
              <a:gd name="T54" fmla="*/ 2147483646 w 423"/>
              <a:gd name="T55" fmla="*/ 2147483646 h 326"/>
              <a:gd name="T56" fmla="*/ 2147483646 w 423"/>
              <a:gd name="T57" fmla="*/ 2147483646 h 326"/>
              <a:gd name="T58" fmla="*/ 2147483646 w 423"/>
              <a:gd name="T59" fmla="*/ 2147483646 h 326"/>
              <a:gd name="T60" fmla="*/ 2147483646 w 423"/>
              <a:gd name="T61" fmla="*/ 2147483646 h 326"/>
              <a:gd name="T62" fmla="*/ 2147483646 w 423"/>
              <a:gd name="T63" fmla="*/ 2147483646 h 326"/>
              <a:gd name="T64" fmla="*/ 2147483646 w 423"/>
              <a:gd name="T65" fmla="*/ 2147483646 h 326"/>
              <a:gd name="T66" fmla="*/ 2147483646 w 423"/>
              <a:gd name="T67" fmla="*/ 2147483646 h 326"/>
              <a:gd name="T68" fmla="*/ 2147483646 w 423"/>
              <a:gd name="T69" fmla="*/ 2147483646 h 326"/>
              <a:gd name="T70" fmla="*/ 2147483646 w 423"/>
              <a:gd name="T71" fmla="*/ 2147483646 h 326"/>
              <a:gd name="T72" fmla="*/ 2147483646 w 423"/>
              <a:gd name="T73" fmla="*/ 2147483646 h 326"/>
              <a:gd name="T74" fmla="*/ 2147483646 w 423"/>
              <a:gd name="T75" fmla="*/ 2147483646 h 326"/>
              <a:gd name="T76" fmla="*/ 2147483646 w 423"/>
              <a:gd name="T77" fmla="*/ 2147483646 h 326"/>
              <a:gd name="T78" fmla="*/ 2147483646 w 423"/>
              <a:gd name="T79" fmla="*/ 2147483646 h 326"/>
              <a:gd name="T80" fmla="*/ 2147483646 w 423"/>
              <a:gd name="T81" fmla="*/ 2147483646 h 326"/>
              <a:gd name="T82" fmla="*/ 2147483646 w 423"/>
              <a:gd name="T83" fmla="*/ 2147483646 h 326"/>
              <a:gd name="T84" fmla="*/ 2147483646 w 423"/>
              <a:gd name="T85" fmla="*/ 2147483646 h 326"/>
              <a:gd name="T86" fmla="*/ 2147483646 w 423"/>
              <a:gd name="T87" fmla="*/ 2147483646 h 326"/>
              <a:gd name="T88" fmla="*/ 2147483646 w 423"/>
              <a:gd name="T89" fmla="*/ 2147483646 h 326"/>
              <a:gd name="T90" fmla="*/ 2147483646 w 423"/>
              <a:gd name="T91" fmla="*/ 2147483646 h 326"/>
              <a:gd name="T92" fmla="*/ 2147483646 w 423"/>
              <a:gd name="T93" fmla="*/ 2147483646 h 326"/>
              <a:gd name="T94" fmla="*/ 2147483646 w 423"/>
              <a:gd name="T95" fmla="*/ 2147483646 h 326"/>
              <a:gd name="T96" fmla="*/ 2147483646 w 423"/>
              <a:gd name="T97" fmla="*/ 2147483646 h 326"/>
              <a:gd name="T98" fmla="*/ 2147483646 w 423"/>
              <a:gd name="T99" fmla="*/ 2147483646 h 326"/>
              <a:gd name="T100" fmla="*/ 2147483646 w 423"/>
              <a:gd name="T101" fmla="*/ 2147483646 h 326"/>
              <a:gd name="T102" fmla="*/ 2147483646 w 423"/>
              <a:gd name="T103" fmla="*/ 2147483646 h 326"/>
              <a:gd name="T104" fmla="*/ 2147483646 w 423"/>
              <a:gd name="T105" fmla="*/ 2147483646 h 326"/>
              <a:gd name="T106" fmla="*/ 2147483646 w 423"/>
              <a:gd name="T107" fmla="*/ 2147483646 h 326"/>
              <a:gd name="T108" fmla="*/ 2147483646 w 423"/>
              <a:gd name="T109" fmla="*/ 2147483646 h 326"/>
              <a:gd name="T110" fmla="*/ 2147483646 w 423"/>
              <a:gd name="T111" fmla="*/ 2147483646 h 326"/>
              <a:gd name="T112" fmla="*/ 2147483646 w 423"/>
              <a:gd name="T113" fmla="*/ 2147483646 h 3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23"/>
              <a:gd name="T172" fmla="*/ 0 h 326"/>
              <a:gd name="T173" fmla="*/ 423 w 423"/>
              <a:gd name="T174" fmla="*/ 326 h 32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23" h="326">
                <a:moveTo>
                  <a:pt x="263" y="312"/>
                </a:moveTo>
                <a:cubicBezTo>
                  <a:pt x="263" y="312"/>
                  <a:pt x="252" y="312"/>
                  <a:pt x="248" y="312"/>
                </a:cubicBezTo>
                <a:cubicBezTo>
                  <a:pt x="244" y="311"/>
                  <a:pt x="240" y="313"/>
                  <a:pt x="233" y="304"/>
                </a:cubicBezTo>
                <a:cubicBezTo>
                  <a:pt x="227" y="295"/>
                  <a:pt x="220" y="312"/>
                  <a:pt x="213" y="314"/>
                </a:cubicBezTo>
                <a:cubicBezTo>
                  <a:pt x="206" y="316"/>
                  <a:pt x="199" y="326"/>
                  <a:pt x="199" y="326"/>
                </a:cubicBezTo>
                <a:cubicBezTo>
                  <a:pt x="158" y="323"/>
                  <a:pt x="158" y="323"/>
                  <a:pt x="158" y="323"/>
                </a:cubicBezTo>
                <a:cubicBezTo>
                  <a:pt x="128" y="304"/>
                  <a:pt x="128" y="304"/>
                  <a:pt x="128" y="304"/>
                </a:cubicBezTo>
                <a:cubicBezTo>
                  <a:pt x="128" y="304"/>
                  <a:pt x="103" y="303"/>
                  <a:pt x="101" y="301"/>
                </a:cubicBezTo>
                <a:cubicBezTo>
                  <a:pt x="99" y="299"/>
                  <a:pt x="93" y="298"/>
                  <a:pt x="93" y="298"/>
                </a:cubicBezTo>
                <a:cubicBezTo>
                  <a:pt x="93" y="298"/>
                  <a:pt x="93" y="298"/>
                  <a:pt x="93" y="298"/>
                </a:cubicBezTo>
                <a:cubicBezTo>
                  <a:pt x="93" y="298"/>
                  <a:pt x="96" y="278"/>
                  <a:pt x="94" y="273"/>
                </a:cubicBezTo>
                <a:cubicBezTo>
                  <a:pt x="93" y="268"/>
                  <a:pt x="86" y="277"/>
                  <a:pt x="79" y="276"/>
                </a:cubicBezTo>
                <a:cubicBezTo>
                  <a:pt x="72" y="274"/>
                  <a:pt x="77" y="270"/>
                  <a:pt x="70" y="267"/>
                </a:cubicBezTo>
                <a:cubicBezTo>
                  <a:pt x="63" y="263"/>
                  <a:pt x="63" y="257"/>
                  <a:pt x="61" y="246"/>
                </a:cubicBezTo>
                <a:cubicBezTo>
                  <a:pt x="60" y="235"/>
                  <a:pt x="51" y="237"/>
                  <a:pt x="46" y="228"/>
                </a:cubicBezTo>
                <a:cubicBezTo>
                  <a:pt x="41" y="219"/>
                  <a:pt x="42" y="218"/>
                  <a:pt x="34" y="214"/>
                </a:cubicBezTo>
                <a:cubicBezTo>
                  <a:pt x="27" y="210"/>
                  <a:pt x="20" y="215"/>
                  <a:pt x="10" y="214"/>
                </a:cubicBezTo>
                <a:cubicBezTo>
                  <a:pt x="0" y="213"/>
                  <a:pt x="14" y="203"/>
                  <a:pt x="19" y="191"/>
                </a:cubicBezTo>
                <a:cubicBezTo>
                  <a:pt x="23" y="180"/>
                  <a:pt x="28" y="191"/>
                  <a:pt x="33" y="192"/>
                </a:cubicBezTo>
                <a:cubicBezTo>
                  <a:pt x="39" y="194"/>
                  <a:pt x="42" y="191"/>
                  <a:pt x="41" y="182"/>
                </a:cubicBezTo>
                <a:cubicBezTo>
                  <a:pt x="40" y="173"/>
                  <a:pt x="39" y="168"/>
                  <a:pt x="42" y="164"/>
                </a:cubicBezTo>
                <a:cubicBezTo>
                  <a:pt x="44" y="159"/>
                  <a:pt x="44" y="147"/>
                  <a:pt x="46" y="131"/>
                </a:cubicBezTo>
                <a:cubicBezTo>
                  <a:pt x="47" y="116"/>
                  <a:pt x="49" y="123"/>
                  <a:pt x="54" y="123"/>
                </a:cubicBezTo>
                <a:cubicBezTo>
                  <a:pt x="59" y="123"/>
                  <a:pt x="62" y="127"/>
                  <a:pt x="63" y="118"/>
                </a:cubicBezTo>
                <a:cubicBezTo>
                  <a:pt x="63" y="109"/>
                  <a:pt x="62" y="103"/>
                  <a:pt x="64" y="99"/>
                </a:cubicBezTo>
                <a:cubicBezTo>
                  <a:pt x="66" y="95"/>
                  <a:pt x="73" y="89"/>
                  <a:pt x="74" y="79"/>
                </a:cubicBezTo>
                <a:cubicBezTo>
                  <a:pt x="74" y="70"/>
                  <a:pt x="78" y="68"/>
                  <a:pt x="83" y="68"/>
                </a:cubicBezTo>
                <a:cubicBezTo>
                  <a:pt x="87" y="68"/>
                  <a:pt x="89" y="71"/>
                  <a:pt x="89" y="67"/>
                </a:cubicBezTo>
                <a:cubicBezTo>
                  <a:pt x="89" y="62"/>
                  <a:pt x="96" y="43"/>
                  <a:pt x="99" y="36"/>
                </a:cubicBezTo>
                <a:cubicBezTo>
                  <a:pt x="101" y="33"/>
                  <a:pt x="101" y="28"/>
                  <a:pt x="101" y="23"/>
                </a:cubicBezTo>
                <a:cubicBezTo>
                  <a:pt x="101" y="19"/>
                  <a:pt x="101" y="19"/>
                  <a:pt x="101" y="19"/>
                </a:cubicBezTo>
                <a:cubicBezTo>
                  <a:pt x="101" y="19"/>
                  <a:pt x="110" y="20"/>
                  <a:pt x="111" y="20"/>
                </a:cubicBezTo>
                <a:cubicBezTo>
                  <a:pt x="112" y="20"/>
                  <a:pt x="117" y="16"/>
                  <a:pt x="120" y="15"/>
                </a:cubicBezTo>
                <a:cubicBezTo>
                  <a:pt x="122" y="15"/>
                  <a:pt x="124" y="15"/>
                  <a:pt x="126" y="21"/>
                </a:cubicBezTo>
                <a:cubicBezTo>
                  <a:pt x="129" y="26"/>
                  <a:pt x="133" y="23"/>
                  <a:pt x="133" y="20"/>
                </a:cubicBezTo>
                <a:cubicBezTo>
                  <a:pt x="134" y="16"/>
                  <a:pt x="133" y="12"/>
                  <a:pt x="135" y="9"/>
                </a:cubicBezTo>
                <a:cubicBezTo>
                  <a:pt x="137" y="6"/>
                  <a:pt x="136" y="0"/>
                  <a:pt x="140" y="1"/>
                </a:cubicBezTo>
                <a:cubicBezTo>
                  <a:pt x="144" y="2"/>
                  <a:pt x="148" y="4"/>
                  <a:pt x="149" y="7"/>
                </a:cubicBezTo>
                <a:cubicBezTo>
                  <a:pt x="149" y="11"/>
                  <a:pt x="152" y="8"/>
                  <a:pt x="155" y="11"/>
                </a:cubicBezTo>
                <a:cubicBezTo>
                  <a:pt x="158" y="15"/>
                  <a:pt x="161" y="12"/>
                  <a:pt x="163" y="11"/>
                </a:cubicBezTo>
                <a:cubicBezTo>
                  <a:pt x="166" y="10"/>
                  <a:pt x="167" y="3"/>
                  <a:pt x="170" y="6"/>
                </a:cubicBezTo>
                <a:cubicBezTo>
                  <a:pt x="172" y="10"/>
                  <a:pt x="171" y="11"/>
                  <a:pt x="176" y="12"/>
                </a:cubicBezTo>
                <a:cubicBezTo>
                  <a:pt x="181" y="14"/>
                  <a:pt x="195" y="10"/>
                  <a:pt x="207" y="17"/>
                </a:cubicBezTo>
                <a:cubicBezTo>
                  <a:pt x="219" y="25"/>
                  <a:pt x="221" y="26"/>
                  <a:pt x="229" y="35"/>
                </a:cubicBezTo>
                <a:cubicBezTo>
                  <a:pt x="237" y="44"/>
                  <a:pt x="260" y="64"/>
                  <a:pt x="265" y="67"/>
                </a:cubicBezTo>
                <a:cubicBezTo>
                  <a:pt x="265" y="67"/>
                  <a:pt x="260" y="72"/>
                  <a:pt x="258" y="74"/>
                </a:cubicBezTo>
                <a:cubicBezTo>
                  <a:pt x="256" y="75"/>
                  <a:pt x="250" y="82"/>
                  <a:pt x="249" y="86"/>
                </a:cubicBezTo>
                <a:cubicBezTo>
                  <a:pt x="247" y="89"/>
                  <a:pt x="244" y="93"/>
                  <a:pt x="247" y="100"/>
                </a:cubicBezTo>
                <a:cubicBezTo>
                  <a:pt x="250" y="108"/>
                  <a:pt x="252" y="111"/>
                  <a:pt x="255" y="111"/>
                </a:cubicBezTo>
                <a:cubicBezTo>
                  <a:pt x="258" y="110"/>
                  <a:pt x="279" y="108"/>
                  <a:pt x="279" y="108"/>
                </a:cubicBezTo>
                <a:cubicBezTo>
                  <a:pt x="279" y="108"/>
                  <a:pt x="273" y="119"/>
                  <a:pt x="279" y="126"/>
                </a:cubicBezTo>
                <a:cubicBezTo>
                  <a:pt x="284" y="134"/>
                  <a:pt x="304" y="160"/>
                  <a:pt x="320" y="166"/>
                </a:cubicBezTo>
                <a:cubicBezTo>
                  <a:pt x="335" y="172"/>
                  <a:pt x="402" y="191"/>
                  <a:pt x="423" y="188"/>
                </a:cubicBezTo>
                <a:cubicBezTo>
                  <a:pt x="344" y="281"/>
                  <a:pt x="344" y="281"/>
                  <a:pt x="344" y="281"/>
                </a:cubicBezTo>
                <a:cubicBezTo>
                  <a:pt x="344" y="281"/>
                  <a:pt x="315" y="283"/>
                  <a:pt x="310" y="285"/>
                </a:cubicBezTo>
                <a:cubicBezTo>
                  <a:pt x="304" y="287"/>
                  <a:pt x="294" y="289"/>
                  <a:pt x="291" y="295"/>
                </a:cubicBezTo>
                <a:cubicBezTo>
                  <a:pt x="288" y="300"/>
                  <a:pt x="267" y="301"/>
                  <a:pt x="263" y="31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53" name="Freeform 689"/>
          <p:cNvSpPr>
            <a:spLocks/>
          </p:cNvSpPr>
          <p:nvPr userDrawn="1"/>
        </p:nvSpPr>
        <p:spPr bwMode="auto">
          <a:xfrm>
            <a:off x="6535914" y="4686379"/>
            <a:ext cx="45228" cy="50253"/>
          </a:xfrm>
          <a:custGeom>
            <a:avLst/>
            <a:gdLst>
              <a:gd name="T0" fmla="*/ 2147483646 w 49"/>
              <a:gd name="T1" fmla="*/ 2147483646 h 54"/>
              <a:gd name="T2" fmla="*/ 2147483646 w 49"/>
              <a:gd name="T3" fmla="*/ 2147483646 h 54"/>
              <a:gd name="T4" fmla="*/ 2147483646 w 49"/>
              <a:gd name="T5" fmla="*/ 2147483646 h 54"/>
              <a:gd name="T6" fmla="*/ 2147483646 w 49"/>
              <a:gd name="T7" fmla="*/ 2147483646 h 54"/>
              <a:gd name="T8" fmla="*/ 2147483646 w 49"/>
              <a:gd name="T9" fmla="*/ 2147483646 h 54"/>
              <a:gd name="T10" fmla="*/ 2147483646 w 49"/>
              <a:gd name="T11" fmla="*/ 2147483646 h 54"/>
              <a:gd name="T12" fmla="*/ 2147483646 w 49"/>
              <a:gd name="T13" fmla="*/ 2147483646 h 54"/>
              <a:gd name="T14" fmla="*/ 2147483646 w 49"/>
              <a:gd name="T15" fmla="*/ 2147483646 h 54"/>
              <a:gd name="T16" fmla="*/ 2147483646 w 49"/>
              <a:gd name="T17" fmla="*/ 2147483646 h 54"/>
              <a:gd name="T18" fmla="*/ 2147483646 w 49"/>
              <a:gd name="T19" fmla="*/ 2147483646 h 54"/>
              <a:gd name="T20" fmla="*/ 2147483646 w 49"/>
              <a:gd name="T21" fmla="*/ 2147483646 h 54"/>
              <a:gd name="T22" fmla="*/ 2147483646 w 49"/>
              <a:gd name="T23" fmla="*/ 2147483646 h 54"/>
              <a:gd name="T24" fmla="*/ 2147483646 w 49"/>
              <a:gd name="T25" fmla="*/ 2147483646 h 54"/>
              <a:gd name="T26" fmla="*/ 2147483646 w 49"/>
              <a:gd name="T27" fmla="*/ 2147483646 h 54"/>
              <a:gd name="T28" fmla="*/ 2147483646 w 49"/>
              <a:gd name="T29" fmla="*/ 2147483646 h 5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9"/>
              <a:gd name="T46" fmla="*/ 0 h 54"/>
              <a:gd name="T47" fmla="*/ 49 w 49"/>
              <a:gd name="T48" fmla="*/ 54 h 5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9" h="54">
                <a:moveTo>
                  <a:pt x="35" y="51"/>
                </a:moveTo>
                <a:cubicBezTo>
                  <a:pt x="35" y="51"/>
                  <a:pt x="14" y="53"/>
                  <a:pt x="11" y="54"/>
                </a:cubicBezTo>
                <a:cubicBezTo>
                  <a:pt x="8" y="54"/>
                  <a:pt x="6" y="51"/>
                  <a:pt x="3" y="43"/>
                </a:cubicBezTo>
                <a:cubicBezTo>
                  <a:pt x="0" y="36"/>
                  <a:pt x="3" y="32"/>
                  <a:pt x="5" y="29"/>
                </a:cubicBezTo>
                <a:cubicBezTo>
                  <a:pt x="6" y="25"/>
                  <a:pt x="12" y="18"/>
                  <a:pt x="14" y="17"/>
                </a:cubicBezTo>
                <a:cubicBezTo>
                  <a:pt x="16" y="15"/>
                  <a:pt x="21" y="10"/>
                  <a:pt x="21" y="10"/>
                </a:cubicBezTo>
                <a:cubicBezTo>
                  <a:pt x="26" y="12"/>
                  <a:pt x="35" y="4"/>
                  <a:pt x="34" y="1"/>
                </a:cubicBezTo>
                <a:cubicBezTo>
                  <a:pt x="34" y="1"/>
                  <a:pt x="39" y="0"/>
                  <a:pt x="41" y="5"/>
                </a:cubicBezTo>
                <a:cubicBezTo>
                  <a:pt x="44" y="9"/>
                  <a:pt x="46" y="14"/>
                  <a:pt x="47" y="15"/>
                </a:cubicBezTo>
                <a:cubicBezTo>
                  <a:pt x="47" y="17"/>
                  <a:pt x="46" y="21"/>
                  <a:pt x="43" y="23"/>
                </a:cubicBezTo>
                <a:cubicBezTo>
                  <a:pt x="39" y="24"/>
                  <a:pt x="35" y="26"/>
                  <a:pt x="37" y="28"/>
                </a:cubicBezTo>
                <a:cubicBezTo>
                  <a:pt x="39" y="30"/>
                  <a:pt x="43" y="29"/>
                  <a:pt x="44" y="31"/>
                </a:cubicBezTo>
                <a:cubicBezTo>
                  <a:pt x="46" y="34"/>
                  <a:pt x="45" y="35"/>
                  <a:pt x="47" y="36"/>
                </a:cubicBezTo>
                <a:cubicBezTo>
                  <a:pt x="48" y="37"/>
                  <a:pt x="49" y="38"/>
                  <a:pt x="49" y="39"/>
                </a:cubicBezTo>
                <a:cubicBezTo>
                  <a:pt x="48" y="41"/>
                  <a:pt x="35" y="51"/>
                  <a:pt x="35" y="5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54" name="Freeform 690"/>
          <p:cNvSpPr>
            <a:spLocks/>
          </p:cNvSpPr>
          <p:nvPr userDrawn="1"/>
        </p:nvSpPr>
        <p:spPr bwMode="auto">
          <a:xfrm>
            <a:off x="6530889" y="4683029"/>
            <a:ext cx="256288" cy="390296"/>
          </a:xfrm>
          <a:custGeom>
            <a:avLst/>
            <a:gdLst>
              <a:gd name="T0" fmla="*/ 2147483646 w 274"/>
              <a:gd name="T1" fmla="*/ 2147483646 h 418"/>
              <a:gd name="T2" fmla="*/ 2147483646 w 274"/>
              <a:gd name="T3" fmla="*/ 2147483646 h 418"/>
              <a:gd name="T4" fmla="*/ 0 w 274"/>
              <a:gd name="T5" fmla="*/ 2147483646 h 418"/>
              <a:gd name="T6" fmla="*/ 2147483646 w 274"/>
              <a:gd name="T7" fmla="*/ 2147483646 h 418"/>
              <a:gd name="T8" fmla="*/ 2147483646 w 274"/>
              <a:gd name="T9" fmla="*/ 2147483646 h 418"/>
              <a:gd name="T10" fmla="*/ 2147483646 w 274"/>
              <a:gd name="T11" fmla="*/ 2147483646 h 418"/>
              <a:gd name="T12" fmla="*/ 2147483646 w 274"/>
              <a:gd name="T13" fmla="*/ 2147483646 h 418"/>
              <a:gd name="T14" fmla="*/ 2147483646 w 274"/>
              <a:gd name="T15" fmla="*/ 2147483646 h 418"/>
              <a:gd name="T16" fmla="*/ 2147483646 w 274"/>
              <a:gd name="T17" fmla="*/ 2147483646 h 418"/>
              <a:gd name="T18" fmla="*/ 2147483646 w 274"/>
              <a:gd name="T19" fmla="*/ 2147483646 h 418"/>
              <a:gd name="T20" fmla="*/ 2147483646 w 274"/>
              <a:gd name="T21" fmla="*/ 2147483646 h 418"/>
              <a:gd name="T22" fmla="*/ 2147483646 w 274"/>
              <a:gd name="T23" fmla="*/ 2147483646 h 418"/>
              <a:gd name="T24" fmla="*/ 2147483646 w 274"/>
              <a:gd name="T25" fmla="*/ 2147483646 h 418"/>
              <a:gd name="T26" fmla="*/ 2147483646 w 274"/>
              <a:gd name="T27" fmla="*/ 2147483646 h 418"/>
              <a:gd name="T28" fmla="*/ 2147483646 w 274"/>
              <a:gd name="T29" fmla="*/ 2147483646 h 418"/>
              <a:gd name="T30" fmla="*/ 2147483646 w 274"/>
              <a:gd name="T31" fmla="*/ 2147483646 h 418"/>
              <a:gd name="T32" fmla="*/ 2147483646 w 274"/>
              <a:gd name="T33" fmla="*/ 2147483646 h 418"/>
              <a:gd name="T34" fmla="*/ 2147483646 w 274"/>
              <a:gd name="T35" fmla="*/ 2147483646 h 418"/>
              <a:gd name="T36" fmla="*/ 2147483646 w 274"/>
              <a:gd name="T37" fmla="*/ 2147483646 h 418"/>
              <a:gd name="T38" fmla="*/ 2147483646 w 274"/>
              <a:gd name="T39" fmla="*/ 2147483646 h 418"/>
              <a:gd name="T40" fmla="*/ 2147483646 w 274"/>
              <a:gd name="T41" fmla="*/ 2147483646 h 418"/>
              <a:gd name="T42" fmla="*/ 2147483646 w 274"/>
              <a:gd name="T43" fmla="*/ 2147483646 h 418"/>
              <a:gd name="T44" fmla="*/ 2147483646 w 274"/>
              <a:gd name="T45" fmla="*/ 2147483646 h 418"/>
              <a:gd name="T46" fmla="*/ 2147483646 w 274"/>
              <a:gd name="T47" fmla="*/ 2147483646 h 418"/>
              <a:gd name="T48" fmla="*/ 2147483646 w 274"/>
              <a:gd name="T49" fmla="*/ 2147483646 h 418"/>
              <a:gd name="T50" fmla="*/ 2147483646 w 274"/>
              <a:gd name="T51" fmla="*/ 2147483646 h 418"/>
              <a:gd name="T52" fmla="*/ 2147483646 w 274"/>
              <a:gd name="T53" fmla="*/ 2147483646 h 418"/>
              <a:gd name="T54" fmla="*/ 2147483646 w 274"/>
              <a:gd name="T55" fmla="*/ 2147483646 h 418"/>
              <a:gd name="T56" fmla="*/ 2147483646 w 274"/>
              <a:gd name="T57" fmla="*/ 2147483646 h 418"/>
              <a:gd name="T58" fmla="*/ 2147483646 w 274"/>
              <a:gd name="T59" fmla="*/ 2147483646 h 418"/>
              <a:gd name="T60" fmla="*/ 2147483646 w 274"/>
              <a:gd name="T61" fmla="*/ 2147483646 h 418"/>
              <a:gd name="T62" fmla="*/ 2147483646 w 274"/>
              <a:gd name="T63" fmla="*/ 2147483646 h 418"/>
              <a:gd name="T64" fmla="*/ 2147483646 w 274"/>
              <a:gd name="T65" fmla="*/ 2147483646 h 41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74"/>
              <a:gd name="T100" fmla="*/ 0 h 418"/>
              <a:gd name="T101" fmla="*/ 274 w 274"/>
              <a:gd name="T102" fmla="*/ 418 h 41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74" h="418">
                <a:moveTo>
                  <a:pt x="18" y="418"/>
                </a:moveTo>
                <a:cubicBezTo>
                  <a:pt x="2" y="398"/>
                  <a:pt x="2" y="398"/>
                  <a:pt x="2" y="398"/>
                </a:cubicBezTo>
                <a:cubicBezTo>
                  <a:pt x="0" y="291"/>
                  <a:pt x="0" y="291"/>
                  <a:pt x="0" y="291"/>
                </a:cubicBezTo>
                <a:cubicBezTo>
                  <a:pt x="5" y="288"/>
                  <a:pt x="24" y="258"/>
                  <a:pt x="24" y="258"/>
                </a:cubicBezTo>
                <a:cubicBezTo>
                  <a:pt x="28" y="247"/>
                  <a:pt x="49" y="246"/>
                  <a:pt x="52" y="241"/>
                </a:cubicBezTo>
                <a:cubicBezTo>
                  <a:pt x="55" y="235"/>
                  <a:pt x="65" y="233"/>
                  <a:pt x="71" y="231"/>
                </a:cubicBezTo>
                <a:cubicBezTo>
                  <a:pt x="76" y="229"/>
                  <a:pt x="105" y="227"/>
                  <a:pt x="105" y="227"/>
                </a:cubicBezTo>
                <a:cubicBezTo>
                  <a:pt x="184" y="134"/>
                  <a:pt x="184" y="134"/>
                  <a:pt x="184" y="134"/>
                </a:cubicBezTo>
                <a:cubicBezTo>
                  <a:pt x="163" y="137"/>
                  <a:pt x="96" y="118"/>
                  <a:pt x="81" y="112"/>
                </a:cubicBezTo>
                <a:cubicBezTo>
                  <a:pt x="65" y="106"/>
                  <a:pt x="45" y="80"/>
                  <a:pt x="40" y="72"/>
                </a:cubicBezTo>
                <a:cubicBezTo>
                  <a:pt x="34" y="65"/>
                  <a:pt x="40" y="54"/>
                  <a:pt x="40" y="54"/>
                </a:cubicBezTo>
                <a:cubicBezTo>
                  <a:pt x="40" y="54"/>
                  <a:pt x="53" y="44"/>
                  <a:pt x="54" y="42"/>
                </a:cubicBezTo>
                <a:cubicBezTo>
                  <a:pt x="54" y="42"/>
                  <a:pt x="70" y="73"/>
                  <a:pt x="84" y="71"/>
                </a:cubicBezTo>
                <a:cubicBezTo>
                  <a:pt x="97" y="70"/>
                  <a:pt x="109" y="63"/>
                  <a:pt x="115" y="59"/>
                </a:cubicBezTo>
                <a:cubicBezTo>
                  <a:pt x="121" y="54"/>
                  <a:pt x="124" y="50"/>
                  <a:pt x="133" y="56"/>
                </a:cubicBezTo>
                <a:cubicBezTo>
                  <a:pt x="142" y="62"/>
                  <a:pt x="148" y="53"/>
                  <a:pt x="151" y="52"/>
                </a:cubicBezTo>
                <a:cubicBezTo>
                  <a:pt x="154" y="51"/>
                  <a:pt x="153" y="46"/>
                  <a:pt x="159" y="43"/>
                </a:cubicBezTo>
                <a:cubicBezTo>
                  <a:pt x="165" y="40"/>
                  <a:pt x="163" y="35"/>
                  <a:pt x="173" y="39"/>
                </a:cubicBezTo>
                <a:cubicBezTo>
                  <a:pt x="184" y="44"/>
                  <a:pt x="185" y="36"/>
                  <a:pt x="193" y="35"/>
                </a:cubicBezTo>
                <a:cubicBezTo>
                  <a:pt x="201" y="33"/>
                  <a:pt x="210" y="28"/>
                  <a:pt x="213" y="32"/>
                </a:cubicBezTo>
                <a:cubicBezTo>
                  <a:pt x="216" y="35"/>
                  <a:pt x="225" y="32"/>
                  <a:pt x="231" y="30"/>
                </a:cubicBezTo>
                <a:cubicBezTo>
                  <a:pt x="237" y="29"/>
                  <a:pt x="240" y="24"/>
                  <a:pt x="243" y="19"/>
                </a:cubicBezTo>
                <a:cubicBezTo>
                  <a:pt x="246" y="15"/>
                  <a:pt x="251" y="12"/>
                  <a:pt x="255" y="16"/>
                </a:cubicBezTo>
                <a:cubicBezTo>
                  <a:pt x="258" y="19"/>
                  <a:pt x="274" y="0"/>
                  <a:pt x="267" y="18"/>
                </a:cubicBezTo>
                <a:cubicBezTo>
                  <a:pt x="259" y="36"/>
                  <a:pt x="263" y="43"/>
                  <a:pt x="263" y="49"/>
                </a:cubicBezTo>
                <a:cubicBezTo>
                  <a:pt x="263" y="55"/>
                  <a:pt x="255" y="55"/>
                  <a:pt x="255" y="67"/>
                </a:cubicBezTo>
                <a:cubicBezTo>
                  <a:pt x="256" y="78"/>
                  <a:pt x="257" y="90"/>
                  <a:pt x="253" y="99"/>
                </a:cubicBezTo>
                <a:cubicBezTo>
                  <a:pt x="249" y="108"/>
                  <a:pt x="242" y="117"/>
                  <a:pt x="235" y="134"/>
                </a:cubicBezTo>
                <a:cubicBezTo>
                  <a:pt x="228" y="151"/>
                  <a:pt x="224" y="169"/>
                  <a:pt x="218" y="187"/>
                </a:cubicBezTo>
                <a:cubicBezTo>
                  <a:pt x="212" y="204"/>
                  <a:pt x="203" y="222"/>
                  <a:pt x="179" y="254"/>
                </a:cubicBezTo>
                <a:cubicBezTo>
                  <a:pt x="154" y="287"/>
                  <a:pt x="138" y="307"/>
                  <a:pt x="118" y="316"/>
                </a:cubicBezTo>
                <a:cubicBezTo>
                  <a:pt x="97" y="324"/>
                  <a:pt x="87" y="334"/>
                  <a:pt x="70" y="355"/>
                </a:cubicBezTo>
                <a:cubicBezTo>
                  <a:pt x="53" y="375"/>
                  <a:pt x="26" y="393"/>
                  <a:pt x="18" y="4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55" name="Freeform 691"/>
          <p:cNvSpPr>
            <a:spLocks/>
          </p:cNvSpPr>
          <p:nvPr userDrawn="1"/>
        </p:nvSpPr>
        <p:spPr bwMode="auto">
          <a:xfrm>
            <a:off x="6031713" y="5252561"/>
            <a:ext cx="311567" cy="259639"/>
          </a:xfrm>
          <a:custGeom>
            <a:avLst/>
            <a:gdLst>
              <a:gd name="T0" fmla="*/ 2147483646 w 333"/>
              <a:gd name="T1" fmla="*/ 2147483646 h 279"/>
              <a:gd name="T2" fmla="*/ 2147483646 w 333"/>
              <a:gd name="T3" fmla="*/ 2147483646 h 279"/>
              <a:gd name="T4" fmla="*/ 2147483646 w 333"/>
              <a:gd name="T5" fmla="*/ 2147483646 h 279"/>
              <a:gd name="T6" fmla="*/ 2147483646 w 333"/>
              <a:gd name="T7" fmla="*/ 2147483646 h 279"/>
              <a:gd name="T8" fmla="*/ 2147483646 w 333"/>
              <a:gd name="T9" fmla="*/ 2147483646 h 279"/>
              <a:gd name="T10" fmla="*/ 2147483646 w 333"/>
              <a:gd name="T11" fmla="*/ 2147483646 h 279"/>
              <a:gd name="T12" fmla="*/ 2147483646 w 333"/>
              <a:gd name="T13" fmla="*/ 2147483646 h 279"/>
              <a:gd name="T14" fmla="*/ 2147483646 w 333"/>
              <a:gd name="T15" fmla="*/ 2147483646 h 279"/>
              <a:gd name="T16" fmla="*/ 2147483646 w 333"/>
              <a:gd name="T17" fmla="*/ 2147483646 h 279"/>
              <a:gd name="T18" fmla="*/ 2147483646 w 333"/>
              <a:gd name="T19" fmla="*/ 2147483646 h 279"/>
              <a:gd name="T20" fmla="*/ 2147483646 w 333"/>
              <a:gd name="T21" fmla="*/ 2147483646 h 279"/>
              <a:gd name="T22" fmla="*/ 2147483646 w 333"/>
              <a:gd name="T23" fmla="*/ 2147483646 h 279"/>
              <a:gd name="T24" fmla="*/ 2147483646 w 333"/>
              <a:gd name="T25" fmla="*/ 2147483646 h 279"/>
              <a:gd name="T26" fmla="*/ 2147483646 w 333"/>
              <a:gd name="T27" fmla="*/ 2147483646 h 279"/>
              <a:gd name="T28" fmla="*/ 2147483646 w 333"/>
              <a:gd name="T29" fmla="*/ 2147483646 h 279"/>
              <a:gd name="T30" fmla="*/ 2147483646 w 333"/>
              <a:gd name="T31" fmla="*/ 2147483646 h 279"/>
              <a:gd name="T32" fmla="*/ 2147483646 w 333"/>
              <a:gd name="T33" fmla="*/ 2147483646 h 279"/>
              <a:gd name="T34" fmla="*/ 2147483646 w 333"/>
              <a:gd name="T35" fmla="*/ 2147483646 h 279"/>
              <a:gd name="T36" fmla="*/ 2147483646 w 333"/>
              <a:gd name="T37" fmla="*/ 2147483646 h 279"/>
              <a:gd name="T38" fmla="*/ 2147483646 w 333"/>
              <a:gd name="T39" fmla="*/ 2147483646 h 279"/>
              <a:gd name="T40" fmla="*/ 2147483646 w 333"/>
              <a:gd name="T41" fmla="*/ 2147483646 h 279"/>
              <a:gd name="T42" fmla="*/ 2147483646 w 333"/>
              <a:gd name="T43" fmla="*/ 2147483646 h 279"/>
              <a:gd name="T44" fmla="*/ 2147483646 w 333"/>
              <a:gd name="T45" fmla="*/ 2147483646 h 279"/>
              <a:gd name="T46" fmla="*/ 2147483646 w 333"/>
              <a:gd name="T47" fmla="*/ 2147483646 h 279"/>
              <a:gd name="T48" fmla="*/ 2147483646 w 333"/>
              <a:gd name="T49" fmla="*/ 2147483646 h 279"/>
              <a:gd name="T50" fmla="*/ 2147483646 w 333"/>
              <a:gd name="T51" fmla="*/ 2147483646 h 279"/>
              <a:gd name="T52" fmla="*/ 2147483646 w 333"/>
              <a:gd name="T53" fmla="*/ 2147483646 h 279"/>
              <a:gd name="T54" fmla="*/ 2147483646 w 333"/>
              <a:gd name="T55" fmla="*/ 2147483646 h 279"/>
              <a:gd name="T56" fmla="*/ 2147483646 w 333"/>
              <a:gd name="T57" fmla="*/ 2147483646 h 279"/>
              <a:gd name="T58" fmla="*/ 2147483646 w 333"/>
              <a:gd name="T59" fmla="*/ 2147483646 h 279"/>
              <a:gd name="T60" fmla="*/ 2147483646 w 333"/>
              <a:gd name="T61" fmla="*/ 2147483646 h 279"/>
              <a:gd name="T62" fmla="*/ 2147483646 w 333"/>
              <a:gd name="T63" fmla="*/ 2147483646 h 279"/>
              <a:gd name="T64" fmla="*/ 2147483646 w 333"/>
              <a:gd name="T65" fmla="*/ 2147483646 h 279"/>
              <a:gd name="T66" fmla="*/ 2147483646 w 333"/>
              <a:gd name="T67" fmla="*/ 2147483646 h 279"/>
              <a:gd name="T68" fmla="*/ 2147483646 w 333"/>
              <a:gd name="T69" fmla="*/ 2147483646 h 27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33"/>
              <a:gd name="T106" fmla="*/ 0 h 279"/>
              <a:gd name="T107" fmla="*/ 333 w 333"/>
              <a:gd name="T108" fmla="*/ 279 h 27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33" h="279">
                <a:moveTo>
                  <a:pt x="37" y="264"/>
                </a:moveTo>
                <a:cubicBezTo>
                  <a:pt x="37" y="264"/>
                  <a:pt x="14" y="242"/>
                  <a:pt x="7" y="234"/>
                </a:cubicBezTo>
                <a:cubicBezTo>
                  <a:pt x="0" y="227"/>
                  <a:pt x="1" y="222"/>
                  <a:pt x="1" y="222"/>
                </a:cubicBezTo>
                <a:cubicBezTo>
                  <a:pt x="1" y="135"/>
                  <a:pt x="1" y="135"/>
                  <a:pt x="1" y="135"/>
                </a:cubicBezTo>
                <a:cubicBezTo>
                  <a:pt x="55" y="133"/>
                  <a:pt x="55" y="133"/>
                  <a:pt x="55" y="133"/>
                </a:cubicBezTo>
                <a:cubicBezTo>
                  <a:pt x="54" y="80"/>
                  <a:pt x="54" y="80"/>
                  <a:pt x="54" y="80"/>
                </a:cubicBezTo>
                <a:cubicBezTo>
                  <a:pt x="54" y="80"/>
                  <a:pt x="65" y="79"/>
                  <a:pt x="68" y="82"/>
                </a:cubicBezTo>
                <a:cubicBezTo>
                  <a:pt x="71" y="86"/>
                  <a:pt x="74" y="86"/>
                  <a:pt x="77" y="87"/>
                </a:cubicBezTo>
                <a:cubicBezTo>
                  <a:pt x="80" y="88"/>
                  <a:pt x="83" y="88"/>
                  <a:pt x="83" y="88"/>
                </a:cubicBezTo>
                <a:cubicBezTo>
                  <a:pt x="83" y="88"/>
                  <a:pt x="91" y="85"/>
                  <a:pt x="94" y="82"/>
                </a:cubicBezTo>
                <a:cubicBezTo>
                  <a:pt x="97" y="80"/>
                  <a:pt x="97" y="90"/>
                  <a:pt x="98" y="93"/>
                </a:cubicBezTo>
                <a:cubicBezTo>
                  <a:pt x="99" y="96"/>
                  <a:pt x="100" y="97"/>
                  <a:pt x="104" y="99"/>
                </a:cubicBezTo>
                <a:cubicBezTo>
                  <a:pt x="108" y="100"/>
                  <a:pt x="112" y="99"/>
                  <a:pt x="118" y="95"/>
                </a:cubicBezTo>
                <a:cubicBezTo>
                  <a:pt x="124" y="90"/>
                  <a:pt x="126" y="104"/>
                  <a:pt x="132" y="101"/>
                </a:cubicBezTo>
                <a:cubicBezTo>
                  <a:pt x="139" y="98"/>
                  <a:pt x="140" y="103"/>
                  <a:pt x="140" y="97"/>
                </a:cubicBezTo>
                <a:cubicBezTo>
                  <a:pt x="140" y="91"/>
                  <a:pt x="144" y="89"/>
                  <a:pt x="147" y="89"/>
                </a:cubicBezTo>
                <a:cubicBezTo>
                  <a:pt x="150" y="89"/>
                  <a:pt x="151" y="96"/>
                  <a:pt x="152" y="103"/>
                </a:cubicBezTo>
                <a:cubicBezTo>
                  <a:pt x="152" y="110"/>
                  <a:pt x="157" y="112"/>
                  <a:pt x="160" y="112"/>
                </a:cubicBezTo>
                <a:cubicBezTo>
                  <a:pt x="163" y="112"/>
                  <a:pt x="168" y="111"/>
                  <a:pt x="168" y="111"/>
                </a:cubicBezTo>
                <a:cubicBezTo>
                  <a:pt x="168" y="111"/>
                  <a:pt x="174" y="118"/>
                  <a:pt x="177" y="118"/>
                </a:cubicBezTo>
                <a:cubicBezTo>
                  <a:pt x="180" y="118"/>
                  <a:pt x="182" y="123"/>
                  <a:pt x="184" y="123"/>
                </a:cubicBezTo>
                <a:cubicBezTo>
                  <a:pt x="187" y="123"/>
                  <a:pt x="186" y="131"/>
                  <a:pt x="187" y="135"/>
                </a:cubicBezTo>
                <a:cubicBezTo>
                  <a:pt x="189" y="140"/>
                  <a:pt x="193" y="137"/>
                  <a:pt x="196" y="134"/>
                </a:cubicBezTo>
                <a:cubicBezTo>
                  <a:pt x="200" y="131"/>
                  <a:pt x="203" y="142"/>
                  <a:pt x="206" y="144"/>
                </a:cubicBezTo>
                <a:cubicBezTo>
                  <a:pt x="209" y="146"/>
                  <a:pt x="215" y="142"/>
                  <a:pt x="220" y="139"/>
                </a:cubicBezTo>
                <a:cubicBezTo>
                  <a:pt x="224" y="135"/>
                  <a:pt x="221" y="133"/>
                  <a:pt x="221" y="128"/>
                </a:cubicBezTo>
                <a:cubicBezTo>
                  <a:pt x="221" y="123"/>
                  <a:pt x="218" y="116"/>
                  <a:pt x="218" y="116"/>
                </a:cubicBezTo>
                <a:cubicBezTo>
                  <a:pt x="209" y="114"/>
                  <a:pt x="209" y="114"/>
                  <a:pt x="209" y="114"/>
                </a:cubicBezTo>
                <a:cubicBezTo>
                  <a:pt x="209" y="114"/>
                  <a:pt x="206" y="117"/>
                  <a:pt x="203" y="112"/>
                </a:cubicBezTo>
                <a:cubicBezTo>
                  <a:pt x="200" y="108"/>
                  <a:pt x="193" y="108"/>
                  <a:pt x="190" y="102"/>
                </a:cubicBezTo>
                <a:cubicBezTo>
                  <a:pt x="187" y="96"/>
                  <a:pt x="180" y="97"/>
                  <a:pt x="181" y="91"/>
                </a:cubicBezTo>
                <a:cubicBezTo>
                  <a:pt x="182" y="85"/>
                  <a:pt x="181" y="91"/>
                  <a:pt x="182" y="87"/>
                </a:cubicBezTo>
                <a:cubicBezTo>
                  <a:pt x="184" y="82"/>
                  <a:pt x="187" y="79"/>
                  <a:pt x="190" y="73"/>
                </a:cubicBezTo>
                <a:cubicBezTo>
                  <a:pt x="193" y="67"/>
                  <a:pt x="187" y="64"/>
                  <a:pt x="187" y="57"/>
                </a:cubicBezTo>
                <a:cubicBezTo>
                  <a:pt x="186" y="49"/>
                  <a:pt x="190" y="47"/>
                  <a:pt x="188" y="41"/>
                </a:cubicBezTo>
                <a:cubicBezTo>
                  <a:pt x="187" y="35"/>
                  <a:pt x="184" y="28"/>
                  <a:pt x="184" y="28"/>
                </a:cubicBezTo>
                <a:cubicBezTo>
                  <a:pt x="188" y="28"/>
                  <a:pt x="198" y="19"/>
                  <a:pt x="198" y="19"/>
                </a:cubicBezTo>
                <a:cubicBezTo>
                  <a:pt x="198" y="19"/>
                  <a:pt x="196" y="8"/>
                  <a:pt x="199" y="4"/>
                </a:cubicBezTo>
                <a:cubicBezTo>
                  <a:pt x="202" y="0"/>
                  <a:pt x="249" y="1"/>
                  <a:pt x="249" y="1"/>
                </a:cubicBezTo>
                <a:cubicBezTo>
                  <a:pt x="249" y="1"/>
                  <a:pt x="261" y="11"/>
                  <a:pt x="269" y="11"/>
                </a:cubicBezTo>
                <a:cubicBezTo>
                  <a:pt x="276" y="12"/>
                  <a:pt x="281" y="8"/>
                  <a:pt x="285" y="17"/>
                </a:cubicBezTo>
                <a:cubicBezTo>
                  <a:pt x="288" y="26"/>
                  <a:pt x="295" y="25"/>
                  <a:pt x="301" y="29"/>
                </a:cubicBezTo>
                <a:cubicBezTo>
                  <a:pt x="307" y="33"/>
                  <a:pt x="316" y="35"/>
                  <a:pt x="320" y="36"/>
                </a:cubicBezTo>
                <a:cubicBezTo>
                  <a:pt x="320" y="36"/>
                  <a:pt x="319" y="48"/>
                  <a:pt x="321" y="52"/>
                </a:cubicBezTo>
                <a:cubicBezTo>
                  <a:pt x="323" y="57"/>
                  <a:pt x="333" y="67"/>
                  <a:pt x="326" y="71"/>
                </a:cubicBezTo>
                <a:cubicBezTo>
                  <a:pt x="319" y="75"/>
                  <a:pt x="311" y="79"/>
                  <a:pt x="313" y="84"/>
                </a:cubicBezTo>
                <a:cubicBezTo>
                  <a:pt x="316" y="88"/>
                  <a:pt x="320" y="90"/>
                  <a:pt x="320" y="95"/>
                </a:cubicBezTo>
                <a:cubicBezTo>
                  <a:pt x="320" y="99"/>
                  <a:pt x="310" y="99"/>
                  <a:pt x="313" y="103"/>
                </a:cubicBezTo>
                <a:cubicBezTo>
                  <a:pt x="316" y="107"/>
                  <a:pt x="322" y="108"/>
                  <a:pt x="322" y="111"/>
                </a:cubicBezTo>
                <a:cubicBezTo>
                  <a:pt x="322" y="114"/>
                  <a:pt x="313" y="117"/>
                  <a:pt x="313" y="120"/>
                </a:cubicBezTo>
                <a:cubicBezTo>
                  <a:pt x="312" y="123"/>
                  <a:pt x="313" y="119"/>
                  <a:pt x="310" y="124"/>
                </a:cubicBezTo>
                <a:cubicBezTo>
                  <a:pt x="307" y="129"/>
                  <a:pt x="301" y="124"/>
                  <a:pt x="301" y="131"/>
                </a:cubicBezTo>
                <a:cubicBezTo>
                  <a:pt x="301" y="138"/>
                  <a:pt x="306" y="138"/>
                  <a:pt x="303" y="142"/>
                </a:cubicBezTo>
                <a:cubicBezTo>
                  <a:pt x="301" y="147"/>
                  <a:pt x="294" y="146"/>
                  <a:pt x="298" y="151"/>
                </a:cubicBezTo>
                <a:cubicBezTo>
                  <a:pt x="302" y="156"/>
                  <a:pt x="308" y="157"/>
                  <a:pt x="307" y="162"/>
                </a:cubicBezTo>
                <a:cubicBezTo>
                  <a:pt x="306" y="167"/>
                  <a:pt x="240" y="183"/>
                  <a:pt x="232" y="189"/>
                </a:cubicBezTo>
                <a:cubicBezTo>
                  <a:pt x="224" y="196"/>
                  <a:pt x="228" y="196"/>
                  <a:pt x="229" y="200"/>
                </a:cubicBezTo>
                <a:cubicBezTo>
                  <a:pt x="231" y="203"/>
                  <a:pt x="230" y="213"/>
                  <a:pt x="230" y="213"/>
                </a:cubicBezTo>
                <a:cubicBezTo>
                  <a:pt x="230" y="213"/>
                  <a:pt x="208" y="206"/>
                  <a:pt x="201" y="212"/>
                </a:cubicBezTo>
                <a:cubicBezTo>
                  <a:pt x="193" y="218"/>
                  <a:pt x="186" y="219"/>
                  <a:pt x="188" y="228"/>
                </a:cubicBezTo>
                <a:cubicBezTo>
                  <a:pt x="190" y="237"/>
                  <a:pt x="180" y="238"/>
                  <a:pt x="176" y="238"/>
                </a:cubicBezTo>
                <a:cubicBezTo>
                  <a:pt x="172" y="238"/>
                  <a:pt x="154" y="242"/>
                  <a:pt x="153" y="251"/>
                </a:cubicBezTo>
                <a:cubicBezTo>
                  <a:pt x="152" y="260"/>
                  <a:pt x="152" y="260"/>
                  <a:pt x="145" y="267"/>
                </a:cubicBezTo>
                <a:cubicBezTo>
                  <a:pt x="138" y="274"/>
                  <a:pt x="132" y="279"/>
                  <a:pt x="129" y="275"/>
                </a:cubicBezTo>
                <a:cubicBezTo>
                  <a:pt x="126" y="270"/>
                  <a:pt x="122" y="264"/>
                  <a:pt x="120" y="270"/>
                </a:cubicBezTo>
                <a:cubicBezTo>
                  <a:pt x="118" y="275"/>
                  <a:pt x="113" y="273"/>
                  <a:pt x="113" y="273"/>
                </a:cubicBezTo>
                <a:cubicBezTo>
                  <a:pt x="113" y="273"/>
                  <a:pt x="109" y="267"/>
                  <a:pt x="108" y="270"/>
                </a:cubicBezTo>
                <a:cubicBezTo>
                  <a:pt x="107" y="274"/>
                  <a:pt x="101" y="270"/>
                  <a:pt x="101" y="270"/>
                </a:cubicBezTo>
                <a:cubicBezTo>
                  <a:pt x="101" y="270"/>
                  <a:pt x="92" y="267"/>
                  <a:pt x="90" y="268"/>
                </a:cubicBezTo>
                <a:cubicBezTo>
                  <a:pt x="90" y="268"/>
                  <a:pt x="89" y="261"/>
                  <a:pt x="79" y="260"/>
                </a:cubicBezTo>
                <a:cubicBezTo>
                  <a:pt x="68" y="259"/>
                  <a:pt x="40" y="259"/>
                  <a:pt x="37" y="26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56" name="Freeform 692"/>
          <p:cNvSpPr>
            <a:spLocks/>
          </p:cNvSpPr>
          <p:nvPr userDrawn="1"/>
        </p:nvSpPr>
        <p:spPr bwMode="auto">
          <a:xfrm>
            <a:off x="6306427" y="5284387"/>
            <a:ext cx="83755" cy="206037"/>
          </a:xfrm>
          <a:custGeom>
            <a:avLst/>
            <a:gdLst>
              <a:gd name="T0" fmla="*/ 2147483646 w 90"/>
              <a:gd name="T1" fmla="*/ 2147483646 h 220"/>
              <a:gd name="T2" fmla="*/ 2147483646 w 90"/>
              <a:gd name="T3" fmla="*/ 2147483646 h 220"/>
              <a:gd name="T4" fmla="*/ 2147483646 w 90"/>
              <a:gd name="T5" fmla="*/ 2147483646 h 220"/>
              <a:gd name="T6" fmla="*/ 2147483646 w 90"/>
              <a:gd name="T7" fmla="*/ 2147483646 h 220"/>
              <a:gd name="T8" fmla="*/ 2147483646 w 90"/>
              <a:gd name="T9" fmla="*/ 2147483646 h 220"/>
              <a:gd name="T10" fmla="*/ 2147483646 w 90"/>
              <a:gd name="T11" fmla="*/ 2147483646 h 220"/>
              <a:gd name="T12" fmla="*/ 2147483646 w 90"/>
              <a:gd name="T13" fmla="*/ 2147483646 h 220"/>
              <a:gd name="T14" fmla="*/ 2147483646 w 90"/>
              <a:gd name="T15" fmla="*/ 2147483646 h 220"/>
              <a:gd name="T16" fmla="*/ 2147483646 w 90"/>
              <a:gd name="T17" fmla="*/ 2147483646 h 220"/>
              <a:gd name="T18" fmla="*/ 2147483646 w 90"/>
              <a:gd name="T19" fmla="*/ 2147483646 h 220"/>
              <a:gd name="T20" fmla="*/ 2147483646 w 90"/>
              <a:gd name="T21" fmla="*/ 2147483646 h 220"/>
              <a:gd name="T22" fmla="*/ 2147483646 w 90"/>
              <a:gd name="T23" fmla="*/ 2147483646 h 220"/>
              <a:gd name="T24" fmla="*/ 2147483646 w 90"/>
              <a:gd name="T25" fmla="*/ 2147483646 h 220"/>
              <a:gd name="T26" fmla="*/ 2147483646 w 90"/>
              <a:gd name="T27" fmla="*/ 2147483646 h 220"/>
              <a:gd name="T28" fmla="*/ 2147483646 w 90"/>
              <a:gd name="T29" fmla="*/ 2147483646 h 220"/>
              <a:gd name="T30" fmla="*/ 2147483646 w 90"/>
              <a:gd name="T31" fmla="*/ 2147483646 h 220"/>
              <a:gd name="T32" fmla="*/ 2147483646 w 90"/>
              <a:gd name="T33" fmla="*/ 2147483646 h 220"/>
              <a:gd name="T34" fmla="*/ 2147483646 w 90"/>
              <a:gd name="T35" fmla="*/ 2147483646 h 220"/>
              <a:gd name="T36" fmla="*/ 2147483646 w 90"/>
              <a:gd name="T37" fmla="*/ 2147483646 h 220"/>
              <a:gd name="T38" fmla="*/ 2147483646 w 90"/>
              <a:gd name="T39" fmla="*/ 2147483646 h 220"/>
              <a:gd name="T40" fmla="*/ 2147483646 w 90"/>
              <a:gd name="T41" fmla="*/ 2147483646 h 220"/>
              <a:gd name="T42" fmla="*/ 2147483646 w 90"/>
              <a:gd name="T43" fmla="*/ 2147483646 h 220"/>
              <a:gd name="T44" fmla="*/ 2147483646 w 90"/>
              <a:gd name="T45" fmla="*/ 2147483646 h 220"/>
              <a:gd name="T46" fmla="*/ 2147483646 w 90"/>
              <a:gd name="T47" fmla="*/ 2147483646 h 220"/>
              <a:gd name="T48" fmla="*/ 2147483646 w 90"/>
              <a:gd name="T49" fmla="*/ 2147483646 h 220"/>
              <a:gd name="T50" fmla="*/ 2147483646 w 90"/>
              <a:gd name="T51" fmla="*/ 2147483646 h 220"/>
              <a:gd name="T52" fmla="*/ 2147483646 w 90"/>
              <a:gd name="T53" fmla="*/ 2147483646 h 220"/>
              <a:gd name="T54" fmla="*/ 2147483646 w 90"/>
              <a:gd name="T55" fmla="*/ 2147483646 h 220"/>
              <a:gd name="T56" fmla="*/ 2147483646 w 90"/>
              <a:gd name="T57" fmla="*/ 2147483646 h 220"/>
              <a:gd name="T58" fmla="*/ 2147483646 w 90"/>
              <a:gd name="T59" fmla="*/ 2147483646 h 220"/>
              <a:gd name="T60" fmla="*/ 2147483646 w 90"/>
              <a:gd name="T61" fmla="*/ 2147483646 h 220"/>
              <a:gd name="T62" fmla="*/ 2147483646 w 90"/>
              <a:gd name="T63" fmla="*/ 2147483646 h 220"/>
              <a:gd name="T64" fmla="*/ 2147483646 w 90"/>
              <a:gd name="T65" fmla="*/ 2147483646 h 220"/>
              <a:gd name="T66" fmla="*/ 2147483646 w 90"/>
              <a:gd name="T67" fmla="*/ 2147483646 h 220"/>
              <a:gd name="T68" fmla="*/ 2147483646 w 90"/>
              <a:gd name="T69" fmla="*/ 2147483646 h 220"/>
              <a:gd name="T70" fmla="*/ 2147483646 w 90"/>
              <a:gd name="T71" fmla="*/ 2147483646 h 220"/>
              <a:gd name="T72" fmla="*/ 2147483646 w 90"/>
              <a:gd name="T73" fmla="*/ 2147483646 h 220"/>
              <a:gd name="T74" fmla="*/ 2147483646 w 90"/>
              <a:gd name="T75" fmla="*/ 2147483646 h 22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90"/>
              <a:gd name="T115" fmla="*/ 0 h 220"/>
              <a:gd name="T116" fmla="*/ 90 w 90"/>
              <a:gd name="T117" fmla="*/ 220 h 22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90" h="220">
                <a:moveTo>
                  <a:pt x="43" y="1"/>
                </a:moveTo>
                <a:cubicBezTo>
                  <a:pt x="41" y="0"/>
                  <a:pt x="30" y="3"/>
                  <a:pt x="26" y="1"/>
                </a:cubicBezTo>
                <a:cubicBezTo>
                  <a:pt x="26" y="1"/>
                  <a:pt x="25" y="13"/>
                  <a:pt x="27" y="17"/>
                </a:cubicBezTo>
                <a:cubicBezTo>
                  <a:pt x="29" y="22"/>
                  <a:pt x="39" y="32"/>
                  <a:pt x="32" y="36"/>
                </a:cubicBezTo>
                <a:cubicBezTo>
                  <a:pt x="25" y="40"/>
                  <a:pt x="17" y="44"/>
                  <a:pt x="19" y="49"/>
                </a:cubicBezTo>
                <a:cubicBezTo>
                  <a:pt x="22" y="53"/>
                  <a:pt x="26" y="55"/>
                  <a:pt x="26" y="60"/>
                </a:cubicBezTo>
                <a:cubicBezTo>
                  <a:pt x="26" y="64"/>
                  <a:pt x="16" y="64"/>
                  <a:pt x="19" y="68"/>
                </a:cubicBezTo>
                <a:cubicBezTo>
                  <a:pt x="22" y="72"/>
                  <a:pt x="28" y="73"/>
                  <a:pt x="28" y="76"/>
                </a:cubicBezTo>
                <a:cubicBezTo>
                  <a:pt x="28" y="79"/>
                  <a:pt x="19" y="82"/>
                  <a:pt x="19" y="85"/>
                </a:cubicBezTo>
                <a:cubicBezTo>
                  <a:pt x="18" y="88"/>
                  <a:pt x="19" y="84"/>
                  <a:pt x="16" y="89"/>
                </a:cubicBezTo>
                <a:cubicBezTo>
                  <a:pt x="13" y="94"/>
                  <a:pt x="7" y="89"/>
                  <a:pt x="7" y="96"/>
                </a:cubicBezTo>
                <a:cubicBezTo>
                  <a:pt x="7" y="103"/>
                  <a:pt x="12" y="103"/>
                  <a:pt x="9" y="107"/>
                </a:cubicBezTo>
                <a:cubicBezTo>
                  <a:pt x="7" y="112"/>
                  <a:pt x="0" y="111"/>
                  <a:pt x="4" y="116"/>
                </a:cubicBezTo>
                <a:cubicBezTo>
                  <a:pt x="8" y="121"/>
                  <a:pt x="14" y="122"/>
                  <a:pt x="13" y="127"/>
                </a:cubicBezTo>
                <a:cubicBezTo>
                  <a:pt x="13" y="127"/>
                  <a:pt x="18" y="128"/>
                  <a:pt x="20" y="132"/>
                </a:cubicBezTo>
                <a:cubicBezTo>
                  <a:pt x="22" y="136"/>
                  <a:pt x="24" y="143"/>
                  <a:pt x="32" y="143"/>
                </a:cubicBezTo>
                <a:cubicBezTo>
                  <a:pt x="40" y="142"/>
                  <a:pt x="47" y="141"/>
                  <a:pt x="49" y="143"/>
                </a:cubicBezTo>
                <a:cubicBezTo>
                  <a:pt x="51" y="146"/>
                  <a:pt x="60" y="152"/>
                  <a:pt x="52" y="165"/>
                </a:cubicBezTo>
                <a:cubicBezTo>
                  <a:pt x="44" y="177"/>
                  <a:pt x="38" y="177"/>
                  <a:pt x="48" y="190"/>
                </a:cubicBezTo>
                <a:cubicBezTo>
                  <a:pt x="58" y="203"/>
                  <a:pt x="57" y="197"/>
                  <a:pt x="60" y="205"/>
                </a:cubicBezTo>
                <a:cubicBezTo>
                  <a:pt x="63" y="213"/>
                  <a:pt x="70" y="220"/>
                  <a:pt x="70" y="220"/>
                </a:cubicBezTo>
                <a:cubicBezTo>
                  <a:pt x="70" y="220"/>
                  <a:pt x="72" y="211"/>
                  <a:pt x="69" y="206"/>
                </a:cubicBezTo>
                <a:cubicBezTo>
                  <a:pt x="66" y="200"/>
                  <a:pt x="65" y="198"/>
                  <a:pt x="70" y="195"/>
                </a:cubicBezTo>
                <a:cubicBezTo>
                  <a:pt x="74" y="191"/>
                  <a:pt x="86" y="189"/>
                  <a:pt x="87" y="183"/>
                </a:cubicBezTo>
                <a:cubicBezTo>
                  <a:pt x="88" y="177"/>
                  <a:pt x="90" y="151"/>
                  <a:pt x="81" y="138"/>
                </a:cubicBezTo>
                <a:cubicBezTo>
                  <a:pt x="72" y="124"/>
                  <a:pt x="70" y="122"/>
                  <a:pt x="70" y="122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3" y="142"/>
                  <a:pt x="65" y="129"/>
                  <a:pt x="64" y="132"/>
                </a:cubicBezTo>
                <a:cubicBezTo>
                  <a:pt x="62" y="134"/>
                  <a:pt x="51" y="138"/>
                  <a:pt x="53" y="130"/>
                </a:cubicBezTo>
                <a:cubicBezTo>
                  <a:pt x="55" y="123"/>
                  <a:pt x="55" y="118"/>
                  <a:pt x="52" y="115"/>
                </a:cubicBezTo>
                <a:cubicBezTo>
                  <a:pt x="48" y="112"/>
                  <a:pt x="47" y="109"/>
                  <a:pt x="47" y="105"/>
                </a:cubicBezTo>
                <a:cubicBezTo>
                  <a:pt x="47" y="101"/>
                  <a:pt x="46" y="106"/>
                  <a:pt x="45" y="94"/>
                </a:cubicBezTo>
                <a:cubicBezTo>
                  <a:pt x="44" y="81"/>
                  <a:pt x="40" y="76"/>
                  <a:pt x="41" y="73"/>
                </a:cubicBezTo>
                <a:cubicBezTo>
                  <a:pt x="41" y="70"/>
                  <a:pt x="44" y="62"/>
                  <a:pt x="47" y="64"/>
                </a:cubicBezTo>
                <a:cubicBezTo>
                  <a:pt x="49" y="65"/>
                  <a:pt x="52" y="61"/>
                  <a:pt x="52" y="59"/>
                </a:cubicBezTo>
                <a:cubicBezTo>
                  <a:pt x="51" y="57"/>
                  <a:pt x="52" y="42"/>
                  <a:pt x="51" y="38"/>
                </a:cubicBezTo>
                <a:cubicBezTo>
                  <a:pt x="50" y="33"/>
                  <a:pt x="45" y="26"/>
                  <a:pt x="43" y="17"/>
                </a:cubicBezTo>
                <a:cubicBezTo>
                  <a:pt x="41" y="9"/>
                  <a:pt x="43" y="1"/>
                  <a:pt x="43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57" name="Freeform 693"/>
          <p:cNvSpPr>
            <a:spLocks/>
          </p:cNvSpPr>
          <p:nvPr userDrawn="1"/>
        </p:nvSpPr>
        <p:spPr bwMode="auto">
          <a:xfrm>
            <a:off x="6241098" y="5312865"/>
            <a:ext cx="276391" cy="425473"/>
          </a:xfrm>
          <a:custGeom>
            <a:avLst/>
            <a:gdLst>
              <a:gd name="T0" fmla="*/ 2147483646 w 297"/>
              <a:gd name="T1" fmla="*/ 2147483646 h 457"/>
              <a:gd name="T2" fmla="*/ 2147483646 w 297"/>
              <a:gd name="T3" fmla="*/ 2147483646 h 457"/>
              <a:gd name="T4" fmla="*/ 2147483646 w 297"/>
              <a:gd name="T5" fmla="*/ 2147483646 h 457"/>
              <a:gd name="T6" fmla="*/ 2147483646 w 297"/>
              <a:gd name="T7" fmla="*/ 2147483646 h 457"/>
              <a:gd name="T8" fmla="*/ 2147483646 w 297"/>
              <a:gd name="T9" fmla="*/ 2147483646 h 457"/>
              <a:gd name="T10" fmla="*/ 2147483646 w 297"/>
              <a:gd name="T11" fmla="*/ 2147483646 h 457"/>
              <a:gd name="T12" fmla="*/ 2147483646 w 297"/>
              <a:gd name="T13" fmla="*/ 2147483646 h 457"/>
              <a:gd name="T14" fmla="*/ 2147483646 w 297"/>
              <a:gd name="T15" fmla="*/ 2147483646 h 457"/>
              <a:gd name="T16" fmla="*/ 2147483646 w 297"/>
              <a:gd name="T17" fmla="*/ 2147483646 h 457"/>
              <a:gd name="T18" fmla="*/ 2147483646 w 297"/>
              <a:gd name="T19" fmla="*/ 2147483646 h 457"/>
              <a:gd name="T20" fmla="*/ 2147483646 w 297"/>
              <a:gd name="T21" fmla="*/ 2147483646 h 457"/>
              <a:gd name="T22" fmla="*/ 2147483646 w 297"/>
              <a:gd name="T23" fmla="*/ 2147483646 h 457"/>
              <a:gd name="T24" fmla="*/ 2147483646 w 297"/>
              <a:gd name="T25" fmla="*/ 2147483646 h 457"/>
              <a:gd name="T26" fmla="*/ 2147483646 w 297"/>
              <a:gd name="T27" fmla="*/ 2147483646 h 457"/>
              <a:gd name="T28" fmla="*/ 2147483646 w 297"/>
              <a:gd name="T29" fmla="*/ 2147483646 h 457"/>
              <a:gd name="T30" fmla="*/ 2147483646 w 297"/>
              <a:gd name="T31" fmla="*/ 2147483646 h 457"/>
              <a:gd name="T32" fmla="*/ 2147483646 w 297"/>
              <a:gd name="T33" fmla="*/ 2147483646 h 457"/>
              <a:gd name="T34" fmla="*/ 2147483646 w 297"/>
              <a:gd name="T35" fmla="*/ 2147483646 h 457"/>
              <a:gd name="T36" fmla="*/ 2147483646 w 297"/>
              <a:gd name="T37" fmla="*/ 2147483646 h 457"/>
              <a:gd name="T38" fmla="*/ 2147483646 w 297"/>
              <a:gd name="T39" fmla="*/ 2147483646 h 457"/>
              <a:gd name="T40" fmla="*/ 2147483646 w 297"/>
              <a:gd name="T41" fmla="*/ 2147483646 h 457"/>
              <a:gd name="T42" fmla="*/ 2147483646 w 297"/>
              <a:gd name="T43" fmla="*/ 2147483646 h 457"/>
              <a:gd name="T44" fmla="*/ 2147483646 w 297"/>
              <a:gd name="T45" fmla="*/ 2147483646 h 457"/>
              <a:gd name="T46" fmla="*/ 2147483646 w 297"/>
              <a:gd name="T47" fmla="*/ 2147483646 h 457"/>
              <a:gd name="T48" fmla="*/ 2147483646 w 297"/>
              <a:gd name="T49" fmla="*/ 2147483646 h 457"/>
              <a:gd name="T50" fmla="*/ 2147483646 w 297"/>
              <a:gd name="T51" fmla="*/ 2147483646 h 457"/>
              <a:gd name="T52" fmla="*/ 2147483646 w 297"/>
              <a:gd name="T53" fmla="*/ 2147483646 h 457"/>
              <a:gd name="T54" fmla="*/ 2147483646 w 297"/>
              <a:gd name="T55" fmla="*/ 2147483646 h 457"/>
              <a:gd name="T56" fmla="*/ 2147483646 w 297"/>
              <a:gd name="T57" fmla="*/ 2147483646 h 457"/>
              <a:gd name="T58" fmla="*/ 2147483646 w 297"/>
              <a:gd name="T59" fmla="*/ 2147483646 h 457"/>
              <a:gd name="T60" fmla="*/ 2147483646 w 297"/>
              <a:gd name="T61" fmla="*/ 2147483646 h 457"/>
              <a:gd name="T62" fmla="*/ 2147483646 w 297"/>
              <a:gd name="T63" fmla="*/ 2147483646 h 457"/>
              <a:gd name="T64" fmla="*/ 2147483646 w 297"/>
              <a:gd name="T65" fmla="*/ 2147483646 h 457"/>
              <a:gd name="T66" fmla="*/ 2147483646 w 297"/>
              <a:gd name="T67" fmla="*/ 2147483646 h 457"/>
              <a:gd name="T68" fmla="*/ 2147483646 w 297"/>
              <a:gd name="T69" fmla="*/ 2147483646 h 457"/>
              <a:gd name="T70" fmla="*/ 2147483646 w 297"/>
              <a:gd name="T71" fmla="*/ 2147483646 h 457"/>
              <a:gd name="T72" fmla="*/ 2147483646 w 297"/>
              <a:gd name="T73" fmla="*/ 2147483646 h 457"/>
              <a:gd name="T74" fmla="*/ 2147483646 w 297"/>
              <a:gd name="T75" fmla="*/ 2147483646 h 457"/>
              <a:gd name="T76" fmla="*/ 2147483646 w 297"/>
              <a:gd name="T77" fmla="*/ 2147483646 h 457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97"/>
              <a:gd name="T118" fmla="*/ 0 h 457"/>
              <a:gd name="T119" fmla="*/ 297 w 297"/>
              <a:gd name="T120" fmla="*/ 457 h 457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97" h="457">
                <a:moveTo>
                  <a:pt x="6" y="149"/>
                </a:moveTo>
                <a:cubicBezTo>
                  <a:pt x="6" y="149"/>
                  <a:pt x="7" y="139"/>
                  <a:pt x="5" y="136"/>
                </a:cubicBezTo>
                <a:cubicBezTo>
                  <a:pt x="4" y="132"/>
                  <a:pt x="0" y="132"/>
                  <a:pt x="8" y="125"/>
                </a:cubicBezTo>
                <a:cubicBezTo>
                  <a:pt x="16" y="119"/>
                  <a:pt x="82" y="103"/>
                  <a:pt x="83" y="98"/>
                </a:cubicBezTo>
                <a:cubicBezTo>
                  <a:pt x="83" y="98"/>
                  <a:pt x="88" y="99"/>
                  <a:pt x="90" y="103"/>
                </a:cubicBezTo>
                <a:cubicBezTo>
                  <a:pt x="92" y="107"/>
                  <a:pt x="94" y="114"/>
                  <a:pt x="102" y="114"/>
                </a:cubicBezTo>
                <a:cubicBezTo>
                  <a:pt x="110" y="113"/>
                  <a:pt x="117" y="112"/>
                  <a:pt x="119" y="114"/>
                </a:cubicBezTo>
                <a:cubicBezTo>
                  <a:pt x="121" y="117"/>
                  <a:pt x="130" y="123"/>
                  <a:pt x="122" y="136"/>
                </a:cubicBezTo>
                <a:cubicBezTo>
                  <a:pt x="114" y="148"/>
                  <a:pt x="108" y="148"/>
                  <a:pt x="118" y="161"/>
                </a:cubicBezTo>
                <a:cubicBezTo>
                  <a:pt x="128" y="174"/>
                  <a:pt x="127" y="168"/>
                  <a:pt x="130" y="176"/>
                </a:cubicBezTo>
                <a:cubicBezTo>
                  <a:pt x="133" y="184"/>
                  <a:pt x="140" y="191"/>
                  <a:pt x="140" y="191"/>
                </a:cubicBezTo>
                <a:cubicBezTo>
                  <a:pt x="140" y="191"/>
                  <a:pt x="142" y="182"/>
                  <a:pt x="139" y="177"/>
                </a:cubicBezTo>
                <a:cubicBezTo>
                  <a:pt x="136" y="171"/>
                  <a:pt x="135" y="169"/>
                  <a:pt x="140" y="166"/>
                </a:cubicBezTo>
                <a:cubicBezTo>
                  <a:pt x="144" y="162"/>
                  <a:pt x="156" y="160"/>
                  <a:pt x="157" y="154"/>
                </a:cubicBezTo>
                <a:cubicBezTo>
                  <a:pt x="158" y="148"/>
                  <a:pt x="160" y="122"/>
                  <a:pt x="151" y="109"/>
                </a:cubicBezTo>
                <a:cubicBezTo>
                  <a:pt x="142" y="95"/>
                  <a:pt x="140" y="93"/>
                  <a:pt x="140" y="93"/>
                </a:cubicBezTo>
                <a:cubicBezTo>
                  <a:pt x="140" y="93"/>
                  <a:pt x="134" y="92"/>
                  <a:pt x="130" y="82"/>
                </a:cubicBezTo>
                <a:cubicBezTo>
                  <a:pt x="127" y="72"/>
                  <a:pt x="127" y="61"/>
                  <a:pt x="127" y="57"/>
                </a:cubicBezTo>
                <a:cubicBezTo>
                  <a:pt x="127" y="52"/>
                  <a:pt x="134" y="33"/>
                  <a:pt x="138" y="31"/>
                </a:cubicBezTo>
                <a:cubicBezTo>
                  <a:pt x="158" y="32"/>
                  <a:pt x="158" y="32"/>
                  <a:pt x="158" y="32"/>
                </a:cubicBezTo>
                <a:cubicBezTo>
                  <a:pt x="158" y="32"/>
                  <a:pt x="166" y="22"/>
                  <a:pt x="169" y="27"/>
                </a:cubicBezTo>
                <a:cubicBezTo>
                  <a:pt x="172" y="32"/>
                  <a:pt x="178" y="35"/>
                  <a:pt x="182" y="35"/>
                </a:cubicBezTo>
                <a:cubicBezTo>
                  <a:pt x="187" y="34"/>
                  <a:pt x="184" y="29"/>
                  <a:pt x="193" y="29"/>
                </a:cubicBezTo>
                <a:cubicBezTo>
                  <a:pt x="203" y="30"/>
                  <a:pt x="203" y="35"/>
                  <a:pt x="209" y="34"/>
                </a:cubicBezTo>
                <a:cubicBezTo>
                  <a:pt x="215" y="33"/>
                  <a:pt x="223" y="27"/>
                  <a:pt x="223" y="27"/>
                </a:cubicBezTo>
                <a:cubicBezTo>
                  <a:pt x="223" y="27"/>
                  <a:pt x="220" y="21"/>
                  <a:pt x="224" y="19"/>
                </a:cubicBezTo>
                <a:cubicBezTo>
                  <a:pt x="228" y="18"/>
                  <a:pt x="229" y="11"/>
                  <a:pt x="237" y="17"/>
                </a:cubicBezTo>
                <a:cubicBezTo>
                  <a:pt x="244" y="23"/>
                  <a:pt x="245" y="18"/>
                  <a:pt x="253" y="17"/>
                </a:cubicBezTo>
                <a:cubicBezTo>
                  <a:pt x="260" y="16"/>
                  <a:pt x="285" y="0"/>
                  <a:pt x="291" y="2"/>
                </a:cubicBezTo>
                <a:cubicBezTo>
                  <a:pt x="291" y="2"/>
                  <a:pt x="297" y="14"/>
                  <a:pt x="293" y="19"/>
                </a:cubicBezTo>
                <a:cubicBezTo>
                  <a:pt x="288" y="25"/>
                  <a:pt x="286" y="26"/>
                  <a:pt x="287" y="38"/>
                </a:cubicBezTo>
                <a:cubicBezTo>
                  <a:pt x="288" y="50"/>
                  <a:pt x="287" y="53"/>
                  <a:pt x="288" y="69"/>
                </a:cubicBezTo>
                <a:cubicBezTo>
                  <a:pt x="289" y="85"/>
                  <a:pt x="291" y="94"/>
                  <a:pt x="291" y="98"/>
                </a:cubicBezTo>
                <a:cubicBezTo>
                  <a:pt x="291" y="102"/>
                  <a:pt x="291" y="104"/>
                  <a:pt x="292" y="107"/>
                </a:cubicBezTo>
                <a:cubicBezTo>
                  <a:pt x="293" y="110"/>
                  <a:pt x="285" y="123"/>
                  <a:pt x="287" y="127"/>
                </a:cubicBezTo>
                <a:cubicBezTo>
                  <a:pt x="289" y="132"/>
                  <a:pt x="291" y="136"/>
                  <a:pt x="289" y="138"/>
                </a:cubicBezTo>
                <a:cubicBezTo>
                  <a:pt x="287" y="141"/>
                  <a:pt x="281" y="145"/>
                  <a:pt x="278" y="149"/>
                </a:cubicBezTo>
                <a:cubicBezTo>
                  <a:pt x="274" y="153"/>
                  <a:pt x="262" y="173"/>
                  <a:pt x="246" y="181"/>
                </a:cubicBezTo>
                <a:cubicBezTo>
                  <a:pt x="230" y="189"/>
                  <a:pt x="218" y="194"/>
                  <a:pt x="207" y="200"/>
                </a:cubicBezTo>
                <a:cubicBezTo>
                  <a:pt x="196" y="205"/>
                  <a:pt x="184" y="208"/>
                  <a:pt x="179" y="216"/>
                </a:cubicBezTo>
                <a:cubicBezTo>
                  <a:pt x="173" y="225"/>
                  <a:pt x="165" y="234"/>
                  <a:pt x="160" y="235"/>
                </a:cubicBezTo>
                <a:cubicBezTo>
                  <a:pt x="155" y="236"/>
                  <a:pt x="149" y="238"/>
                  <a:pt x="143" y="248"/>
                </a:cubicBezTo>
                <a:cubicBezTo>
                  <a:pt x="137" y="258"/>
                  <a:pt x="126" y="265"/>
                  <a:pt x="121" y="260"/>
                </a:cubicBezTo>
                <a:cubicBezTo>
                  <a:pt x="121" y="260"/>
                  <a:pt x="120" y="259"/>
                  <a:pt x="118" y="269"/>
                </a:cubicBezTo>
                <a:cubicBezTo>
                  <a:pt x="117" y="278"/>
                  <a:pt x="117" y="283"/>
                  <a:pt x="122" y="288"/>
                </a:cubicBezTo>
                <a:cubicBezTo>
                  <a:pt x="126" y="292"/>
                  <a:pt x="124" y="294"/>
                  <a:pt x="123" y="304"/>
                </a:cubicBezTo>
                <a:cubicBezTo>
                  <a:pt x="123" y="314"/>
                  <a:pt x="126" y="311"/>
                  <a:pt x="128" y="324"/>
                </a:cubicBezTo>
                <a:cubicBezTo>
                  <a:pt x="131" y="337"/>
                  <a:pt x="136" y="332"/>
                  <a:pt x="136" y="337"/>
                </a:cubicBezTo>
                <a:cubicBezTo>
                  <a:pt x="136" y="342"/>
                  <a:pt x="131" y="345"/>
                  <a:pt x="131" y="350"/>
                </a:cubicBezTo>
                <a:cubicBezTo>
                  <a:pt x="131" y="355"/>
                  <a:pt x="127" y="360"/>
                  <a:pt x="127" y="367"/>
                </a:cubicBezTo>
                <a:cubicBezTo>
                  <a:pt x="128" y="375"/>
                  <a:pt x="130" y="378"/>
                  <a:pt x="130" y="381"/>
                </a:cubicBezTo>
                <a:cubicBezTo>
                  <a:pt x="130" y="383"/>
                  <a:pt x="123" y="385"/>
                  <a:pt x="120" y="390"/>
                </a:cubicBezTo>
                <a:cubicBezTo>
                  <a:pt x="117" y="396"/>
                  <a:pt x="111" y="399"/>
                  <a:pt x="104" y="400"/>
                </a:cubicBezTo>
                <a:cubicBezTo>
                  <a:pt x="97" y="401"/>
                  <a:pt x="95" y="403"/>
                  <a:pt x="94" y="405"/>
                </a:cubicBezTo>
                <a:cubicBezTo>
                  <a:pt x="92" y="406"/>
                  <a:pt x="85" y="409"/>
                  <a:pt x="78" y="409"/>
                </a:cubicBezTo>
                <a:cubicBezTo>
                  <a:pt x="71" y="410"/>
                  <a:pt x="68" y="411"/>
                  <a:pt x="64" y="416"/>
                </a:cubicBezTo>
                <a:cubicBezTo>
                  <a:pt x="60" y="421"/>
                  <a:pt x="58" y="420"/>
                  <a:pt x="55" y="424"/>
                </a:cubicBezTo>
                <a:cubicBezTo>
                  <a:pt x="51" y="428"/>
                  <a:pt x="48" y="427"/>
                  <a:pt x="52" y="433"/>
                </a:cubicBezTo>
                <a:cubicBezTo>
                  <a:pt x="56" y="440"/>
                  <a:pt x="59" y="439"/>
                  <a:pt x="55" y="448"/>
                </a:cubicBezTo>
                <a:cubicBezTo>
                  <a:pt x="51" y="457"/>
                  <a:pt x="51" y="456"/>
                  <a:pt x="46" y="455"/>
                </a:cubicBezTo>
                <a:cubicBezTo>
                  <a:pt x="41" y="453"/>
                  <a:pt x="33" y="455"/>
                  <a:pt x="33" y="455"/>
                </a:cubicBezTo>
                <a:cubicBezTo>
                  <a:pt x="31" y="432"/>
                  <a:pt x="31" y="432"/>
                  <a:pt x="31" y="432"/>
                </a:cubicBezTo>
                <a:cubicBezTo>
                  <a:pt x="31" y="432"/>
                  <a:pt x="33" y="410"/>
                  <a:pt x="34" y="397"/>
                </a:cubicBezTo>
                <a:cubicBezTo>
                  <a:pt x="34" y="384"/>
                  <a:pt x="35" y="379"/>
                  <a:pt x="29" y="367"/>
                </a:cubicBezTo>
                <a:cubicBezTo>
                  <a:pt x="24" y="355"/>
                  <a:pt x="23" y="332"/>
                  <a:pt x="23" y="332"/>
                </a:cubicBezTo>
                <a:cubicBezTo>
                  <a:pt x="23" y="332"/>
                  <a:pt x="33" y="323"/>
                  <a:pt x="42" y="315"/>
                </a:cubicBezTo>
                <a:cubicBezTo>
                  <a:pt x="50" y="306"/>
                  <a:pt x="53" y="299"/>
                  <a:pt x="55" y="291"/>
                </a:cubicBezTo>
                <a:cubicBezTo>
                  <a:pt x="56" y="283"/>
                  <a:pt x="62" y="283"/>
                  <a:pt x="66" y="276"/>
                </a:cubicBezTo>
                <a:cubicBezTo>
                  <a:pt x="71" y="268"/>
                  <a:pt x="70" y="259"/>
                  <a:pt x="67" y="250"/>
                </a:cubicBezTo>
                <a:cubicBezTo>
                  <a:pt x="64" y="241"/>
                  <a:pt x="61" y="236"/>
                  <a:pt x="66" y="233"/>
                </a:cubicBezTo>
                <a:cubicBezTo>
                  <a:pt x="70" y="230"/>
                  <a:pt x="64" y="229"/>
                  <a:pt x="68" y="226"/>
                </a:cubicBezTo>
                <a:cubicBezTo>
                  <a:pt x="73" y="222"/>
                  <a:pt x="74" y="208"/>
                  <a:pt x="75" y="205"/>
                </a:cubicBezTo>
                <a:cubicBezTo>
                  <a:pt x="75" y="202"/>
                  <a:pt x="78" y="206"/>
                  <a:pt x="75" y="191"/>
                </a:cubicBezTo>
                <a:cubicBezTo>
                  <a:pt x="72" y="176"/>
                  <a:pt x="68" y="170"/>
                  <a:pt x="65" y="170"/>
                </a:cubicBezTo>
                <a:cubicBezTo>
                  <a:pt x="61" y="169"/>
                  <a:pt x="58" y="170"/>
                  <a:pt x="53" y="166"/>
                </a:cubicBezTo>
                <a:cubicBezTo>
                  <a:pt x="47" y="162"/>
                  <a:pt x="44" y="158"/>
                  <a:pt x="39" y="157"/>
                </a:cubicBezTo>
                <a:cubicBezTo>
                  <a:pt x="33" y="156"/>
                  <a:pt x="29" y="155"/>
                  <a:pt x="26" y="154"/>
                </a:cubicBezTo>
                <a:cubicBezTo>
                  <a:pt x="23" y="154"/>
                  <a:pt x="19" y="153"/>
                  <a:pt x="16" y="154"/>
                </a:cubicBezTo>
                <a:cubicBezTo>
                  <a:pt x="12" y="154"/>
                  <a:pt x="6" y="149"/>
                  <a:pt x="6" y="14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58" name="Freeform 694"/>
          <p:cNvSpPr>
            <a:spLocks/>
          </p:cNvSpPr>
          <p:nvPr userDrawn="1"/>
        </p:nvSpPr>
        <p:spPr bwMode="auto">
          <a:xfrm>
            <a:off x="6112116" y="5445196"/>
            <a:ext cx="201011" cy="177560"/>
          </a:xfrm>
          <a:custGeom>
            <a:avLst/>
            <a:gdLst>
              <a:gd name="T0" fmla="*/ 2147483646 w 217"/>
              <a:gd name="T1" fmla="*/ 2147483646 h 190"/>
              <a:gd name="T2" fmla="*/ 2147483646 w 217"/>
              <a:gd name="T3" fmla="*/ 2147483646 h 190"/>
              <a:gd name="T4" fmla="*/ 2147483646 w 217"/>
              <a:gd name="T5" fmla="*/ 2147483646 h 190"/>
              <a:gd name="T6" fmla="*/ 2147483646 w 217"/>
              <a:gd name="T7" fmla="*/ 2147483646 h 190"/>
              <a:gd name="T8" fmla="*/ 2147483646 w 217"/>
              <a:gd name="T9" fmla="*/ 2147483646 h 190"/>
              <a:gd name="T10" fmla="*/ 2147483646 w 217"/>
              <a:gd name="T11" fmla="*/ 2147483646 h 190"/>
              <a:gd name="T12" fmla="*/ 2147483646 w 217"/>
              <a:gd name="T13" fmla="*/ 2147483646 h 190"/>
              <a:gd name="T14" fmla="*/ 2147483646 w 217"/>
              <a:gd name="T15" fmla="*/ 2147483646 h 190"/>
              <a:gd name="T16" fmla="*/ 2147483646 w 217"/>
              <a:gd name="T17" fmla="*/ 2147483646 h 190"/>
              <a:gd name="T18" fmla="*/ 2147483646 w 217"/>
              <a:gd name="T19" fmla="*/ 2147483646 h 190"/>
              <a:gd name="T20" fmla="*/ 2147483646 w 217"/>
              <a:gd name="T21" fmla="*/ 2147483646 h 190"/>
              <a:gd name="T22" fmla="*/ 2147483646 w 217"/>
              <a:gd name="T23" fmla="*/ 2147483646 h 190"/>
              <a:gd name="T24" fmla="*/ 2147483646 w 217"/>
              <a:gd name="T25" fmla="*/ 2147483646 h 190"/>
              <a:gd name="T26" fmla="*/ 2147483646 w 217"/>
              <a:gd name="T27" fmla="*/ 2147483646 h 190"/>
              <a:gd name="T28" fmla="*/ 2147483646 w 217"/>
              <a:gd name="T29" fmla="*/ 2147483646 h 190"/>
              <a:gd name="T30" fmla="*/ 2147483646 w 217"/>
              <a:gd name="T31" fmla="*/ 2147483646 h 190"/>
              <a:gd name="T32" fmla="*/ 2147483646 w 217"/>
              <a:gd name="T33" fmla="*/ 2147483646 h 190"/>
              <a:gd name="T34" fmla="*/ 2147483646 w 217"/>
              <a:gd name="T35" fmla="*/ 2147483646 h 190"/>
              <a:gd name="T36" fmla="*/ 2147483646 w 217"/>
              <a:gd name="T37" fmla="*/ 2147483646 h 190"/>
              <a:gd name="T38" fmla="*/ 2147483646 w 217"/>
              <a:gd name="T39" fmla="*/ 2147483646 h 190"/>
              <a:gd name="T40" fmla="*/ 2147483646 w 217"/>
              <a:gd name="T41" fmla="*/ 2147483646 h 190"/>
              <a:gd name="T42" fmla="*/ 2147483646 w 217"/>
              <a:gd name="T43" fmla="*/ 2147483646 h 190"/>
              <a:gd name="T44" fmla="*/ 2147483646 w 217"/>
              <a:gd name="T45" fmla="*/ 2147483646 h 190"/>
              <a:gd name="T46" fmla="*/ 2147483646 w 217"/>
              <a:gd name="T47" fmla="*/ 2147483646 h 190"/>
              <a:gd name="T48" fmla="*/ 2147483646 w 217"/>
              <a:gd name="T49" fmla="*/ 2147483646 h 190"/>
              <a:gd name="T50" fmla="*/ 2147483646 w 217"/>
              <a:gd name="T51" fmla="*/ 2147483646 h 190"/>
              <a:gd name="T52" fmla="*/ 2147483646 w 217"/>
              <a:gd name="T53" fmla="*/ 2147483646 h 190"/>
              <a:gd name="T54" fmla="*/ 2147483646 w 217"/>
              <a:gd name="T55" fmla="*/ 2147483646 h 190"/>
              <a:gd name="T56" fmla="*/ 2147483646 w 217"/>
              <a:gd name="T57" fmla="*/ 2147483646 h 190"/>
              <a:gd name="T58" fmla="*/ 2147483646 w 217"/>
              <a:gd name="T59" fmla="*/ 2147483646 h 190"/>
              <a:gd name="T60" fmla="*/ 2147483646 w 217"/>
              <a:gd name="T61" fmla="*/ 2147483646 h 190"/>
              <a:gd name="T62" fmla="*/ 2147483646 w 217"/>
              <a:gd name="T63" fmla="*/ 2147483646 h 190"/>
              <a:gd name="T64" fmla="*/ 2147483646 w 217"/>
              <a:gd name="T65" fmla="*/ 2147483646 h 190"/>
              <a:gd name="T66" fmla="*/ 2147483646 w 217"/>
              <a:gd name="T67" fmla="*/ 2147483646 h 190"/>
              <a:gd name="T68" fmla="*/ 2147483646 w 217"/>
              <a:gd name="T69" fmla="*/ 2147483646 h 190"/>
              <a:gd name="T70" fmla="*/ 2147483646 w 217"/>
              <a:gd name="T71" fmla="*/ 2147483646 h 190"/>
              <a:gd name="T72" fmla="*/ 2147483646 w 217"/>
              <a:gd name="T73" fmla="*/ 2147483646 h 190"/>
              <a:gd name="T74" fmla="*/ 2147483646 w 217"/>
              <a:gd name="T75" fmla="*/ 2147483646 h 1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17"/>
              <a:gd name="T115" fmla="*/ 0 h 190"/>
              <a:gd name="T116" fmla="*/ 217 w 217"/>
              <a:gd name="T117" fmla="*/ 190 h 19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17" h="190">
                <a:moveTo>
                  <a:pt x="162" y="190"/>
                </a:moveTo>
                <a:cubicBezTo>
                  <a:pt x="162" y="190"/>
                  <a:pt x="172" y="181"/>
                  <a:pt x="181" y="173"/>
                </a:cubicBezTo>
                <a:cubicBezTo>
                  <a:pt x="189" y="164"/>
                  <a:pt x="192" y="157"/>
                  <a:pt x="194" y="149"/>
                </a:cubicBezTo>
                <a:cubicBezTo>
                  <a:pt x="195" y="141"/>
                  <a:pt x="201" y="141"/>
                  <a:pt x="205" y="134"/>
                </a:cubicBezTo>
                <a:cubicBezTo>
                  <a:pt x="210" y="126"/>
                  <a:pt x="209" y="117"/>
                  <a:pt x="206" y="108"/>
                </a:cubicBezTo>
                <a:cubicBezTo>
                  <a:pt x="203" y="99"/>
                  <a:pt x="200" y="94"/>
                  <a:pt x="205" y="91"/>
                </a:cubicBezTo>
                <a:cubicBezTo>
                  <a:pt x="209" y="88"/>
                  <a:pt x="203" y="87"/>
                  <a:pt x="207" y="84"/>
                </a:cubicBezTo>
                <a:cubicBezTo>
                  <a:pt x="212" y="80"/>
                  <a:pt x="213" y="66"/>
                  <a:pt x="214" y="63"/>
                </a:cubicBezTo>
                <a:cubicBezTo>
                  <a:pt x="214" y="60"/>
                  <a:pt x="217" y="64"/>
                  <a:pt x="214" y="49"/>
                </a:cubicBezTo>
                <a:cubicBezTo>
                  <a:pt x="211" y="34"/>
                  <a:pt x="207" y="28"/>
                  <a:pt x="204" y="28"/>
                </a:cubicBezTo>
                <a:cubicBezTo>
                  <a:pt x="200" y="27"/>
                  <a:pt x="197" y="28"/>
                  <a:pt x="192" y="24"/>
                </a:cubicBezTo>
                <a:cubicBezTo>
                  <a:pt x="186" y="20"/>
                  <a:pt x="183" y="16"/>
                  <a:pt x="178" y="15"/>
                </a:cubicBezTo>
                <a:cubicBezTo>
                  <a:pt x="172" y="14"/>
                  <a:pt x="168" y="13"/>
                  <a:pt x="165" y="12"/>
                </a:cubicBezTo>
                <a:cubicBezTo>
                  <a:pt x="162" y="12"/>
                  <a:pt x="158" y="11"/>
                  <a:pt x="155" y="12"/>
                </a:cubicBezTo>
                <a:cubicBezTo>
                  <a:pt x="151" y="12"/>
                  <a:pt x="145" y="7"/>
                  <a:pt x="145" y="7"/>
                </a:cubicBezTo>
                <a:cubicBezTo>
                  <a:pt x="145" y="7"/>
                  <a:pt x="123" y="0"/>
                  <a:pt x="116" y="6"/>
                </a:cubicBezTo>
                <a:cubicBezTo>
                  <a:pt x="108" y="12"/>
                  <a:pt x="101" y="13"/>
                  <a:pt x="103" y="22"/>
                </a:cubicBezTo>
                <a:cubicBezTo>
                  <a:pt x="105" y="31"/>
                  <a:pt x="95" y="32"/>
                  <a:pt x="91" y="32"/>
                </a:cubicBezTo>
                <a:cubicBezTo>
                  <a:pt x="87" y="32"/>
                  <a:pt x="69" y="36"/>
                  <a:pt x="68" y="45"/>
                </a:cubicBezTo>
                <a:cubicBezTo>
                  <a:pt x="67" y="54"/>
                  <a:pt x="67" y="54"/>
                  <a:pt x="60" y="61"/>
                </a:cubicBezTo>
                <a:cubicBezTo>
                  <a:pt x="53" y="68"/>
                  <a:pt x="47" y="73"/>
                  <a:pt x="44" y="69"/>
                </a:cubicBezTo>
                <a:cubicBezTo>
                  <a:pt x="41" y="64"/>
                  <a:pt x="37" y="58"/>
                  <a:pt x="35" y="64"/>
                </a:cubicBezTo>
                <a:cubicBezTo>
                  <a:pt x="33" y="69"/>
                  <a:pt x="28" y="67"/>
                  <a:pt x="28" y="67"/>
                </a:cubicBezTo>
                <a:cubicBezTo>
                  <a:pt x="28" y="67"/>
                  <a:pt x="24" y="61"/>
                  <a:pt x="23" y="64"/>
                </a:cubicBezTo>
                <a:cubicBezTo>
                  <a:pt x="22" y="68"/>
                  <a:pt x="16" y="64"/>
                  <a:pt x="16" y="64"/>
                </a:cubicBezTo>
                <a:cubicBezTo>
                  <a:pt x="16" y="64"/>
                  <a:pt x="7" y="61"/>
                  <a:pt x="5" y="62"/>
                </a:cubicBezTo>
                <a:cubicBezTo>
                  <a:pt x="5" y="62"/>
                  <a:pt x="0" y="73"/>
                  <a:pt x="8" y="79"/>
                </a:cubicBezTo>
                <a:cubicBezTo>
                  <a:pt x="15" y="85"/>
                  <a:pt x="28" y="95"/>
                  <a:pt x="30" y="109"/>
                </a:cubicBezTo>
                <a:cubicBezTo>
                  <a:pt x="32" y="123"/>
                  <a:pt x="43" y="126"/>
                  <a:pt x="48" y="128"/>
                </a:cubicBezTo>
                <a:cubicBezTo>
                  <a:pt x="53" y="131"/>
                  <a:pt x="60" y="133"/>
                  <a:pt x="61" y="136"/>
                </a:cubicBezTo>
                <a:cubicBezTo>
                  <a:pt x="61" y="139"/>
                  <a:pt x="65" y="128"/>
                  <a:pt x="66" y="133"/>
                </a:cubicBezTo>
                <a:cubicBezTo>
                  <a:pt x="67" y="139"/>
                  <a:pt x="62" y="140"/>
                  <a:pt x="63" y="144"/>
                </a:cubicBezTo>
                <a:cubicBezTo>
                  <a:pt x="63" y="149"/>
                  <a:pt x="70" y="148"/>
                  <a:pt x="71" y="151"/>
                </a:cubicBezTo>
                <a:cubicBezTo>
                  <a:pt x="71" y="154"/>
                  <a:pt x="63" y="159"/>
                  <a:pt x="66" y="162"/>
                </a:cubicBezTo>
                <a:cubicBezTo>
                  <a:pt x="70" y="164"/>
                  <a:pt x="72" y="163"/>
                  <a:pt x="76" y="164"/>
                </a:cubicBezTo>
                <a:cubicBezTo>
                  <a:pt x="80" y="164"/>
                  <a:pt x="80" y="164"/>
                  <a:pt x="83" y="167"/>
                </a:cubicBezTo>
                <a:cubicBezTo>
                  <a:pt x="86" y="171"/>
                  <a:pt x="102" y="175"/>
                  <a:pt x="103" y="183"/>
                </a:cubicBezTo>
                <a:cubicBezTo>
                  <a:pt x="103" y="183"/>
                  <a:pt x="153" y="185"/>
                  <a:pt x="162" y="19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59" name="Freeform 695"/>
          <p:cNvSpPr>
            <a:spLocks/>
          </p:cNvSpPr>
          <p:nvPr userDrawn="1"/>
        </p:nvSpPr>
        <p:spPr bwMode="auto">
          <a:xfrm>
            <a:off x="5767047" y="5477023"/>
            <a:ext cx="348419" cy="309892"/>
          </a:xfrm>
          <a:custGeom>
            <a:avLst/>
            <a:gdLst>
              <a:gd name="T0" fmla="*/ 2147483646 w 375"/>
              <a:gd name="T1" fmla="*/ 2147483646 h 332"/>
              <a:gd name="T2" fmla="*/ 2147483646 w 375"/>
              <a:gd name="T3" fmla="*/ 2147483646 h 332"/>
              <a:gd name="T4" fmla="*/ 2147483646 w 375"/>
              <a:gd name="T5" fmla="*/ 2147483646 h 332"/>
              <a:gd name="T6" fmla="*/ 2147483646 w 375"/>
              <a:gd name="T7" fmla="*/ 2147483646 h 332"/>
              <a:gd name="T8" fmla="*/ 2147483646 w 375"/>
              <a:gd name="T9" fmla="*/ 2147483646 h 332"/>
              <a:gd name="T10" fmla="*/ 2147483646 w 375"/>
              <a:gd name="T11" fmla="*/ 2147483646 h 332"/>
              <a:gd name="T12" fmla="*/ 2147483646 w 375"/>
              <a:gd name="T13" fmla="*/ 2147483646 h 332"/>
              <a:gd name="T14" fmla="*/ 2147483646 w 375"/>
              <a:gd name="T15" fmla="*/ 2147483646 h 332"/>
              <a:gd name="T16" fmla="*/ 2147483646 w 375"/>
              <a:gd name="T17" fmla="*/ 2147483646 h 332"/>
              <a:gd name="T18" fmla="*/ 2147483646 w 375"/>
              <a:gd name="T19" fmla="*/ 2147483646 h 332"/>
              <a:gd name="T20" fmla="*/ 2147483646 w 375"/>
              <a:gd name="T21" fmla="*/ 2147483646 h 332"/>
              <a:gd name="T22" fmla="*/ 2147483646 w 375"/>
              <a:gd name="T23" fmla="*/ 2147483646 h 332"/>
              <a:gd name="T24" fmla="*/ 2147483646 w 375"/>
              <a:gd name="T25" fmla="*/ 2147483646 h 332"/>
              <a:gd name="T26" fmla="*/ 2147483646 w 375"/>
              <a:gd name="T27" fmla="*/ 2147483646 h 332"/>
              <a:gd name="T28" fmla="*/ 2147483646 w 375"/>
              <a:gd name="T29" fmla="*/ 2147483646 h 332"/>
              <a:gd name="T30" fmla="*/ 2147483646 w 375"/>
              <a:gd name="T31" fmla="*/ 2147483646 h 332"/>
              <a:gd name="T32" fmla="*/ 2147483646 w 375"/>
              <a:gd name="T33" fmla="*/ 2147483646 h 332"/>
              <a:gd name="T34" fmla="*/ 2147483646 w 375"/>
              <a:gd name="T35" fmla="*/ 2147483646 h 332"/>
              <a:gd name="T36" fmla="*/ 2147483646 w 375"/>
              <a:gd name="T37" fmla="*/ 2147483646 h 332"/>
              <a:gd name="T38" fmla="*/ 2147483646 w 375"/>
              <a:gd name="T39" fmla="*/ 2147483646 h 332"/>
              <a:gd name="T40" fmla="*/ 2147483646 w 375"/>
              <a:gd name="T41" fmla="*/ 2147483646 h 332"/>
              <a:gd name="T42" fmla="*/ 2147483646 w 375"/>
              <a:gd name="T43" fmla="*/ 2147483646 h 332"/>
              <a:gd name="T44" fmla="*/ 2147483646 w 375"/>
              <a:gd name="T45" fmla="*/ 2147483646 h 332"/>
              <a:gd name="T46" fmla="*/ 2147483646 w 375"/>
              <a:gd name="T47" fmla="*/ 2147483646 h 332"/>
              <a:gd name="T48" fmla="*/ 2147483646 w 375"/>
              <a:gd name="T49" fmla="*/ 2147483646 h 332"/>
              <a:gd name="T50" fmla="*/ 2147483646 w 375"/>
              <a:gd name="T51" fmla="*/ 2147483646 h 332"/>
              <a:gd name="T52" fmla="*/ 2147483646 w 375"/>
              <a:gd name="T53" fmla="*/ 2147483646 h 332"/>
              <a:gd name="T54" fmla="*/ 2147483646 w 375"/>
              <a:gd name="T55" fmla="*/ 2147483646 h 332"/>
              <a:gd name="T56" fmla="*/ 2147483646 w 375"/>
              <a:gd name="T57" fmla="*/ 2147483646 h 332"/>
              <a:gd name="T58" fmla="*/ 2147483646 w 375"/>
              <a:gd name="T59" fmla="*/ 2147483646 h 332"/>
              <a:gd name="T60" fmla="*/ 2147483646 w 375"/>
              <a:gd name="T61" fmla="*/ 2147483646 h 332"/>
              <a:gd name="T62" fmla="*/ 2147483646 w 375"/>
              <a:gd name="T63" fmla="*/ 2147483646 h 332"/>
              <a:gd name="T64" fmla="*/ 2147483646 w 375"/>
              <a:gd name="T65" fmla="*/ 2147483646 h 332"/>
              <a:gd name="T66" fmla="*/ 2147483646 w 375"/>
              <a:gd name="T67" fmla="*/ 2147483646 h 332"/>
              <a:gd name="T68" fmla="*/ 2147483646 w 375"/>
              <a:gd name="T69" fmla="*/ 2147483646 h 332"/>
              <a:gd name="T70" fmla="*/ 2147483646 w 375"/>
              <a:gd name="T71" fmla="*/ 2147483646 h 332"/>
              <a:gd name="T72" fmla="*/ 2147483646 w 375"/>
              <a:gd name="T73" fmla="*/ 2147483646 h 33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375"/>
              <a:gd name="T112" fmla="*/ 0 h 332"/>
              <a:gd name="T113" fmla="*/ 375 w 375"/>
              <a:gd name="T114" fmla="*/ 332 h 33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375" h="332">
                <a:moveTo>
                  <a:pt x="4" y="11"/>
                </a:moveTo>
                <a:cubicBezTo>
                  <a:pt x="4" y="9"/>
                  <a:pt x="17" y="9"/>
                  <a:pt x="24" y="10"/>
                </a:cubicBezTo>
                <a:cubicBezTo>
                  <a:pt x="32" y="11"/>
                  <a:pt x="35" y="5"/>
                  <a:pt x="44" y="3"/>
                </a:cubicBezTo>
                <a:cubicBezTo>
                  <a:pt x="52" y="0"/>
                  <a:pt x="66" y="14"/>
                  <a:pt x="66" y="14"/>
                </a:cubicBezTo>
                <a:cubicBezTo>
                  <a:pt x="189" y="16"/>
                  <a:pt x="189" y="16"/>
                  <a:pt x="189" y="16"/>
                </a:cubicBezTo>
                <a:cubicBezTo>
                  <a:pt x="188" y="24"/>
                  <a:pt x="199" y="27"/>
                  <a:pt x="206" y="28"/>
                </a:cubicBezTo>
                <a:cubicBezTo>
                  <a:pt x="213" y="29"/>
                  <a:pt x="228" y="26"/>
                  <a:pt x="247" y="34"/>
                </a:cubicBezTo>
                <a:cubicBezTo>
                  <a:pt x="266" y="42"/>
                  <a:pt x="322" y="23"/>
                  <a:pt x="322" y="23"/>
                </a:cubicBezTo>
                <a:cubicBezTo>
                  <a:pt x="325" y="18"/>
                  <a:pt x="353" y="18"/>
                  <a:pt x="364" y="19"/>
                </a:cubicBezTo>
                <a:cubicBezTo>
                  <a:pt x="374" y="20"/>
                  <a:pt x="375" y="27"/>
                  <a:pt x="375" y="27"/>
                </a:cubicBezTo>
                <a:cubicBezTo>
                  <a:pt x="375" y="27"/>
                  <a:pt x="374" y="27"/>
                  <a:pt x="368" y="28"/>
                </a:cubicBezTo>
                <a:cubicBezTo>
                  <a:pt x="361" y="30"/>
                  <a:pt x="361" y="38"/>
                  <a:pt x="355" y="35"/>
                </a:cubicBezTo>
                <a:cubicBezTo>
                  <a:pt x="349" y="33"/>
                  <a:pt x="347" y="28"/>
                  <a:pt x="341" y="34"/>
                </a:cubicBezTo>
                <a:cubicBezTo>
                  <a:pt x="335" y="40"/>
                  <a:pt x="328" y="43"/>
                  <a:pt x="328" y="43"/>
                </a:cubicBezTo>
                <a:cubicBezTo>
                  <a:pt x="320" y="34"/>
                  <a:pt x="320" y="34"/>
                  <a:pt x="320" y="34"/>
                </a:cubicBezTo>
                <a:cubicBezTo>
                  <a:pt x="320" y="34"/>
                  <a:pt x="268" y="45"/>
                  <a:pt x="259" y="43"/>
                </a:cubicBezTo>
                <a:cubicBezTo>
                  <a:pt x="254" y="142"/>
                  <a:pt x="254" y="142"/>
                  <a:pt x="254" y="142"/>
                </a:cubicBezTo>
                <a:cubicBezTo>
                  <a:pt x="229" y="144"/>
                  <a:pt x="229" y="144"/>
                  <a:pt x="229" y="144"/>
                </a:cubicBezTo>
                <a:cubicBezTo>
                  <a:pt x="227" y="315"/>
                  <a:pt x="227" y="315"/>
                  <a:pt x="227" y="315"/>
                </a:cubicBezTo>
                <a:cubicBezTo>
                  <a:pt x="227" y="315"/>
                  <a:pt x="212" y="320"/>
                  <a:pt x="210" y="325"/>
                </a:cubicBezTo>
                <a:cubicBezTo>
                  <a:pt x="208" y="330"/>
                  <a:pt x="204" y="331"/>
                  <a:pt x="199" y="329"/>
                </a:cubicBezTo>
                <a:cubicBezTo>
                  <a:pt x="193" y="328"/>
                  <a:pt x="189" y="325"/>
                  <a:pt x="186" y="328"/>
                </a:cubicBezTo>
                <a:cubicBezTo>
                  <a:pt x="183" y="330"/>
                  <a:pt x="177" y="332"/>
                  <a:pt x="174" y="330"/>
                </a:cubicBezTo>
                <a:cubicBezTo>
                  <a:pt x="171" y="328"/>
                  <a:pt x="169" y="321"/>
                  <a:pt x="166" y="323"/>
                </a:cubicBezTo>
                <a:cubicBezTo>
                  <a:pt x="163" y="325"/>
                  <a:pt x="157" y="323"/>
                  <a:pt x="156" y="320"/>
                </a:cubicBezTo>
                <a:cubicBezTo>
                  <a:pt x="155" y="318"/>
                  <a:pt x="152" y="305"/>
                  <a:pt x="149" y="306"/>
                </a:cubicBezTo>
                <a:cubicBezTo>
                  <a:pt x="147" y="308"/>
                  <a:pt x="136" y="325"/>
                  <a:pt x="136" y="325"/>
                </a:cubicBezTo>
                <a:cubicBezTo>
                  <a:pt x="136" y="325"/>
                  <a:pt x="103" y="304"/>
                  <a:pt x="101" y="284"/>
                </a:cubicBezTo>
                <a:cubicBezTo>
                  <a:pt x="100" y="265"/>
                  <a:pt x="99" y="259"/>
                  <a:pt x="95" y="251"/>
                </a:cubicBezTo>
                <a:cubicBezTo>
                  <a:pt x="92" y="243"/>
                  <a:pt x="91" y="234"/>
                  <a:pt x="92" y="227"/>
                </a:cubicBezTo>
                <a:cubicBezTo>
                  <a:pt x="92" y="221"/>
                  <a:pt x="95" y="213"/>
                  <a:pt x="90" y="211"/>
                </a:cubicBezTo>
                <a:cubicBezTo>
                  <a:pt x="86" y="210"/>
                  <a:pt x="78" y="224"/>
                  <a:pt x="81" y="202"/>
                </a:cubicBezTo>
                <a:cubicBezTo>
                  <a:pt x="84" y="179"/>
                  <a:pt x="91" y="171"/>
                  <a:pt x="80" y="155"/>
                </a:cubicBezTo>
                <a:cubicBezTo>
                  <a:pt x="69" y="139"/>
                  <a:pt x="64" y="127"/>
                  <a:pt x="54" y="111"/>
                </a:cubicBezTo>
                <a:cubicBezTo>
                  <a:pt x="43" y="95"/>
                  <a:pt x="32" y="91"/>
                  <a:pt x="30" y="74"/>
                </a:cubicBezTo>
                <a:cubicBezTo>
                  <a:pt x="28" y="56"/>
                  <a:pt x="27" y="64"/>
                  <a:pt x="16" y="51"/>
                </a:cubicBezTo>
                <a:cubicBezTo>
                  <a:pt x="5" y="38"/>
                  <a:pt x="0" y="25"/>
                  <a:pt x="4" y="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60" name="Freeform 696"/>
          <p:cNvSpPr>
            <a:spLocks/>
          </p:cNvSpPr>
          <p:nvPr userDrawn="1"/>
        </p:nvSpPr>
        <p:spPr bwMode="auto">
          <a:xfrm>
            <a:off x="5979783" y="5502149"/>
            <a:ext cx="229488" cy="236188"/>
          </a:xfrm>
          <a:custGeom>
            <a:avLst/>
            <a:gdLst>
              <a:gd name="T0" fmla="*/ 0 w 246"/>
              <a:gd name="T1" fmla="*/ 2147483646 h 253"/>
              <a:gd name="T2" fmla="*/ 2147483646 w 246"/>
              <a:gd name="T3" fmla="*/ 2147483646 h 253"/>
              <a:gd name="T4" fmla="*/ 2147483646 w 246"/>
              <a:gd name="T5" fmla="*/ 2147483646 h 253"/>
              <a:gd name="T6" fmla="*/ 2147483646 w 246"/>
              <a:gd name="T7" fmla="*/ 2147483646 h 253"/>
              <a:gd name="T8" fmla="*/ 2147483646 w 246"/>
              <a:gd name="T9" fmla="*/ 2147483646 h 253"/>
              <a:gd name="T10" fmla="*/ 2147483646 w 246"/>
              <a:gd name="T11" fmla="*/ 2147483646 h 253"/>
              <a:gd name="T12" fmla="*/ 2147483646 w 246"/>
              <a:gd name="T13" fmla="*/ 2147483646 h 253"/>
              <a:gd name="T14" fmla="*/ 2147483646 w 246"/>
              <a:gd name="T15" fmla="*/ 2147483646 h 253"/>
              <a:gd name="T16" fmla="*/ 2147483646 w 246"/>
              <a:gd name="T17" fmla="*/ 2147483646 h 253"/>
              <a:gd name="T18" fmla="*/ 2147483646 w 246"/>
              <a:gd name="T19" fmla="*/ 0 h 253"/>
              <a:gd name="T20" fmla="*/ 2147483646 w 246"/>
              <a:gd name="T21" fmla="*/ 2147483646 h 253"/>
              <a:gd name="T22" fmla="*/ 2147483646 w 246"/>
              <a:gd name="T23" fmla="*/ 2147483646 h 253"/>
              <a:gd name="T24" fmla="*/ 2147483646 w 246"/>
              <a:gd name="T25" fmla="*/ 2147483646 h 253"/>
              <a:gd name="T26" fmla="*/ 2147483646 w 246"/>
              <a:gd name="T27" fmla="*/ 2147483646 h 253"/>
              <a:gd name="T28" fmla="*/ 2147483646 w 246"/>
              <a:gd name="T29" fmla="*/ 2147483646 h 253"/>
              <a:gd name="T30" fmla="*/ 2147483646 w 246"/>
              <a:gd name="T31" fmla="*/ 2147483646 h 253"/>
              <a:gd name="T32" fmla="*/ 2147483646 w 246"/>
              <a:gd name="T33" fmla="*/ 2147483646 h 253"/>
              <a:gd name="T34" fmla="*/ 2147483646 w 246"/>
              <a:gd name="T35" fmla="*/ 2147483646 h 253"/>
              <a:gd name="T36" fmla="*/ 2147483646 w 246"/>
              <a:gd name="T37" fmla="*/ 2147483646 h 253"/>
              <a:gd name="T38" fmla="*/ 2147483646 w 246"/>
              <a:gd name="T39" fmla="*/ 2147483646 h 253"/>
              <a:gd name="T40" fmla="*/ 2147483646 w 246"/>
              <a:gd name="T41" fmla="*/ 2147483646 h 253"/>
              <a:gd name="T42" fmla="*/ 2147483646 w 246"/>
              <a:gd name="T43" fmla="*/ 2147483646 h 253"/>
              <a:gd name="T44" fmla="*/ 2147483646 w 246"/>
              <a:gd name="T45" fmla="*/ 2147483646 h 253"/>
              <a:gd name="T46" fmla="*/ 2147483646 w 246"/>
              <a:gd name="T47" fmla="*/ 2147483646 h 253"/>
              <a:gd name="T48" fmla="*/ 2147483646 w 246"/>
              <a:gd name="T49" fmla="*/ 2147483646 h 253"/>
              <a:gd name="T50" fmla="*/ 2147483646 w 246"/>
              <a:gd name="T51" fmla="*/ 2147483646 h 253"/>
              <a:gd name="T52" fmla="*/ 2147483646 w 246"/>
              <a:gd name="T53" fmla="*/ 2147483646 h 253"/>
              <a:gd name="T54" fmla="*/ 2147483646 w 246"/>
              <a:gd name="T55" fmla="*/ 2147483646 h 253"/>
              <a:gd name="T56" fmla="*/ 2147483646 w 246"/>
              <a:gd name="T57" fmla="*/ 2147483646 h 253"/>
              <a:gd name="T58" fmla="*/ 2147483646 w 246"/>
              <a:gd name="T59" fmla="*/ 2147483646 h 253"/>
              <a:gd name="T60" fmla="*/ 2147483646 w 246"/>
              <a:gd name="T61" fmla="*/ 2147483646 h 253"/>
              <a:gd name="T62" fmla="*/ 2147483646 w 246"/>
              <a:gd name="T63" fmla="*/ 2147483646 h 253"/>
              <a:gd name="T64" fmla="*/ 2147483646 w 246"/>
              <a:gd name="T65" fmla="*/ 2147483646 h 253"/>
              <a:gd name="T66" fmla="*/ 2147483646 w 246"/>
              <a:gd name="T67" fmla="*/ 2147483646 h 253"/>
              <a:gd name="T68" fmla="*/ 2147483646 w 246"/>
              <a:gd name="T69" fmla="*/ 2147483646 h 253"/>
              <a:gd name="T70" fmla="*/ 2147483646 w 246"/>
              <a:gd name="T71" fmla="*/ 2147483646 h 253"/>
              <a:gd name="T72" fmla="*/ 2147483646 w 246"/>
              <a:gd name="T73" fmla="*/ 2147483646 h 253"/>
              <a:gd name="T74" fmla="*/ 2147483646 w 246"/>
              <a:gd name="T75" fmla="*/ 2147483646 h 253"/>
              <a:gd name="T76" fmla="*/ 2147483646 w 246"/>
              <a:gd name="T77" fmla="*/ 2147483646 h 253"/>
              <a:gd name="T78" fmla="*/ 0 w 246"/>
              <a:gd name="T79" fmla="*/ 2147483646 h 253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46"/>
              <a:gd name="T121" fmla="*/ 0 h 253"/>
              <a:gd name="T122" fmla="*/ 246 w 246"/>
              <a:gd name="T123" fmla="*/ 253 h 253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46" h="253">
                <a:moveTo>
                  <a:pt x="0" y="193"/>
                </a:moveTo>
                <a:cubicBezTo>
                  <a:pt x="1" y="117"/>
                  <a:pt x="1" y="117"/>
                  <a:pt x="1" y="117"/>
                </a:cubicBezTo>
                <a:cubicBezTo>
                  <a:pt x="26" y="115"/>
                  <a:pt x="26" y="115"/>
                  <a:pt x="26" y="115"/>
                </a:cubicBezTo>
                <a:cubicBezTo>
                  <a:pt x="31" y="16"/>
                  <a:pt x="31" y="16"/>
                  <a:pt x="31" y="16"/>
                </a:cubicBezTo>
                <a:cubicBezTo>
                  <a:pt x="40" y="18"/>
                  <a:pt x="92" y="7"/>
                  <a:pt x="92" y="7"/>
                </a:cubicBezTo>
                <a:cubicBezTo>
                  <a:pt x="100" y="16"/>
                  <a:pt x="100" y="16"/>
                  <a:pt x="100" y="16"/>
                </a:cubicBezTo>
                <a:cubicBezTo>
                  <a:pt x="100" y="16"/>
                  <a:pt x="107" y="13"/>
                  <a:pt x="113" y="7"/>
                </a:cubicBezTo>
                <a:cubicBezTo>
                  <a:pt x="119" y="1"/>
                  <a:pt x="121" y="6"/>
                  <a:pt x="127" y="8"/>
                </a:cubicBezTo>
                <a:cubicBezTo>
                  <a:pt x="133" y="11"/>
                  <a:pt x="133" y="3"/>
                  <a:pt x="140" y="1"/>
                </a:cubicBezTo>
                <a:cubicBezTo>
                  <a:pt x="142" y="1"/>
                  <a:pt x="144" y="0"/>
                  <a:pt x="145" y="0"/>
                </a:cubicBezTo>
                <a:cubicBezTo>
                  <a:pt x="147" y="1"/>
                  <a:pt x="147" y="1"/>
                  <a:pt x="147" y="1"/>
                </a:cubicBezTo>
                <a:cubicBezTo>
                  <a:pt x="147" y="1"/>
                  <a:pt x="142" y="11"/>
                  <a:pt x="150" y="17"/>
                </a:cubicBezTo>
                <a:cubicBezTo>
                  <a:pt x="157" y="23"/>
                  <a:pt x="170" y="33"/>
                  <a:pt x="172" y="47"/>
                </a:cubicBezTo>
                <a:cubicBezTo>
                  <a:pt x="174" y="61"/>
                  <a:pt x="185" y="64"/>
                  <a:pt x="190" y="66"/>
                </a:cubicBezTo>
                <a:cubicBezTo>
                  <a:pt x="195" y="69"/>
                  <a:pt x="202" y="71"/>
                  <a:pt x="203" y="74"/>
                </a:cubicBezTo>
                <a:cubicBezTo>
                  <a:pt x="203" y="77"/>
                  <a:pt x="207" y="66"/>
                  <a:pt x="208" y="71"/>
                </a:cubicBezTo>
                <a:cubicBezTo>
                  <a:pt x="209" y="77"/>
                  <a:pt x="204" y="78"/>
                  <a:pt x="205" y="82"/>
                </a:cubicBezTo>
                <a:cubicBezTo>
                  <a:pt x="205" y="87"/>
                  <a:pt x="212" y="86"/>
                  <a:pt x="213" y="89"/>
                </a:cubicBezTo>
                <a:cubicBezTo>
                  <a:pt x="213" y="92"/>
                  <a:pt x="205" y="97"/>
                  <a:pt x="208" y="100"/>
                </a:cubicBezTo>
                <a:cubicBezTo>
                  <a:pt x="212" y="102"/>
                  <a:pt x="214" y="101"/>
                  <a:pt x="218" y="102"/>
                </a:cubicBezTo>
                <a:cubicBezTo>
                  <a:pt x="222" y="102"/>
                  <a:pt x="222" y="102"/>
                  <a:pt x="225" y="105"/>
                </a:cubicBezTo>
                <a:cubicBezTo>
                  <a:pt x="228" y="109"/>
                  <a:pt x="244" y="113"/>
                  <a:pt x="245" y="121"/>
                </a:cubicBezTo>
                <a:cubicBezTo>
                  <a:pt x="245" y="121"/>
                  <a:pt x="246" y="122"/>
                  <a:pt x="241" y="124"/>
                </a:cubicBezTo>
                <a:cubicBezTo>
                  <a:pt x="236" y="125"/>
                  <a:pt x="235" y="129"/>
                  <a:pt x="231" y="133"/>
                </a:cubicBezTo>
                <a:cubicBezTo>
                  <a:pt x="227" y="136"/>
                  <a:pt x="219" y="133"/>
                  <a:pt x="217" y="134"/>
                </a:cubicBezTo>
                <a:cubicBezTo>
                  <a:pt x="214" y="135"/>
                  <a:pt x="212" y="135"/>
                  <a:pt x="210" y="141"/>
                </a:cubicBezTo>
                <a:cubicBezTo>
                  <a:pt x="207" y="148"/>
                  <a:pt x="198" y="153"/>
                  <a:pt x="194" y="155"/>
                </a:cubicBezTo>
                <a:cubicBezTo>
                  <a:pt x="190" y="157"/>
                  <a:pt x="182" y="164"/>
                  <a:pt x="180" y="168"/>
                </a:cubicBezTo>
                <a:cubicBezTo>
                  <a:pt x="178" y="172"/>
                  <a:pt x="181" y="183"/>
                  <a:pt x="170" y="185"/>
                </a:cubicBezTo>
                <a:cubicBezTo>
                  <a:pt x="160" y="188"/>
                  <a:pt x="157" y="181"/>
                  <a:pt x="153" y="189"/>
                </a:cubicBezTo>
                <a:cubicBezTo>
                  <a:pt x="149" y="198"/>
                  <a:pt x="152" y="209"/>
                  <a:pt x="146" y="212"/>
                </a:cubicBezTo>
                <a:cubicBezTo>
                  <a:pt x="141" y="215"/>
                  <a:pt x="147" y="217"/>
                  <a:pt x="136" y="217"/>
                </a:cubicBezTo>
                <a:cubicBezTo>
                  <a:pt x="125" y="218"/>
                  <a:pt x="103" y="225"/>
                  <a:pt x="96" y="211"/>
                </a:cubicBezTo>
                <a:cubicBezTo>
                  <a:pt x="90" y="196"/>
                  <a:pt x="76" y="203"/>
                  <a:pt x="72" y="216"/>
                </a:cubicBezTo>
                <a:cubicBezTo>
                  <a:pt x="67" y="229"/>
                  <a:pt x="58" y="235"/>
                  <a:pt x="55" y="236"/>
                </a:cubicBezTo>
                <a:cubicBezTo>
                  <a:pt x="51" y="238"/>
                  <a:pt x="51" y="240"/>
                  <a:pt x="44" y="246"/>
                </a:cubicBezTo>
                <a:cubicBezTo>
                  <a:pt x="36" y="253"/>
                  <a:pt x="19" y="252"/>
                  <a:pt x="16" y="248"/>
                </a:cubicBezTo>
                <a:cubicBezTo>
                  <a:pt x="13" y="244"/>
                  <a:pt x="16" y="239"/>
                  <a:pt x="19" y="233"/>
                </a:cubicBezTo>
                <a:cubicBezTo>
                  <a:pt x="23" y="227"/>
                  <a:pt x="25" y="222"/>
                  <a:pt x="19" y="214"/>
                </a:cubicBezTo>
                <a:cubicBezTo>
                  <a:pt x="14" y="207"/>
                  <a:pt x="9" y="193"/>
                  <a:pt x="0" y="19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61" name="Freeform 697"/>
          <p:cNvSpPr>
            <a:spLocks/>
          </p:cNvSpPr>
          <p:nvPr userDrawn="1"/>
        </p:nvSpPr>
        <p:spPr bwMode="auto">
          <a:xfrm>
            <a:off x="5892679" y="5616056"/>
            <a:ext cx="393647" cy="329993"/>
          </a:xfrm>
          <a:custGeom>
            <a:avLst/>
            <a:gdLst>
              <a:gd name="T0" fmla="*/ 0 w 422"/>
              <a:gd name="T1" fmla="*/ 2147483646 h 355"/>
              <a:gd name="T2" fmla="*/ 2147483646 w 422"/>
              <a:gd name="T3" fmla="*/ 2147483646 h 355"/>
              <a:gd name="T4" fmla="*/ 2147483646 w 422"/>
              <a:gd name="T5" fmla="*/ 2147483646 h 355"/>
              <a:gd name="T6" fmla="*/ 2147483646 w 422"/>
              <a:gd name="T7" fmla="*/ 2147483646 h 355"/>
              <a:gd name="T8" fmla="*/ 2147483646 w 422"/>
              <a:gd name="T9" fmla="*/ 2147483646 h 355"/>
              <a:gd name="T10" fmla="*/ 2147483646 w 422"/>
              <a:gd name="T11" fmla="*/ 2147483646 h 355"/>
              <a:gd name="T12" fmla="*/ 2147483646 w 422"/>
              <a:gd name="T13" fmla="*/ 2147483646 h 355"/>
              <a:gd name="T14" fmla="*/ 2147483646 w 422"/>
              <a:gd name="T15" fmla="*/ 2147483646 h 355"/>
              <a:gd name="T16" fmla="*/ 2147483646 w 422"/>
              <a:gd name="T17" fmla="*/ 2147483646 h 355"/>
              <a:gd name="T18" fmla="*/ 2147483646 w 422"/>
              <a:gd name="T19" fmla="*/ 2147483646 h 355"/>
              <a:gd name="T20" fmla="*/ 2147483646 w 422"/>
              <a:gd name="T21" fmla="*/ 2147483646 h 355"/>
              <a:gd name="T22" fmla="*/ 2147483646 w 422"/>
              <a:gd name="T23" fmla="*/ 2147483646 h 355"/>
              <a:gd name="T24" fmla="*/ 2147483646 w 422"/>
              <a:gd name="T25" fmla="*/ 2147483646 h 355"/>
              <a:gd name="T26" fmla="*/ 2147483646 w 422"/>
              <a:gd name="T27" fmla="*/ 2147483646 h 355"/>
              <a:gd name="T28" fmla="*/ 2147483646 w 422"/>
              <a:gd name="T29" fmla="*/ 2147483646 h 355"/>
              <a:gd name="T30" fmla="*/ 2147483646 w 422"/>
              <a:gd name="T31" fmla="*/ 2147483646 h 355"/>
              <a:gd name="T32" fmla="*/ 2147483646 w 422"/>
              <a:gd name="T33" fmla="*/ 2147483646 h 355"/>
              <a:gd name="T34" fmla="*/ 2147483646 w 422"/>
              <a:gd name="T35" fmla="*/ 2147483646 h 355"/>
              <a:gd name="T36" fmla="*/ 2147483646 w 422"/>
              <a:gd name="T37" fmla="*/ 2147483646 h 355"/>
              <a:gd name="T38" fmla="*/ 2147483646 w 422"/>
              <a:gd name="T39" fmla="*/ 2147483646 h 355"/>
              <a:gd name="T40" fmla="*/ 2147483646 w 422"/>
              <a:gd name="T41" fmla="*/ 2147483646 h 355"/>
              <a:gd name="T42" fmla="*/ 2147483646 w 422"/>
              <a:gd name="T43" fmla="*/ 2147483646 h 355"/>
              <a:gd name="T44" fmla="*/ 2147483646 w 422"/>
              <a:gd name="T45" fmla="*/ 2147483646 h 355"/>
              <a:gd name="T46" fmla="*/ 2147483646 w 422"/>
              <a:gd name="T47" fmla="*/ 2147483646 h 355"/>
              <a:gd name="T48" fmla="*/ 2147483646 w 422"/>
              <a:gd name="T49" fmla="*/ 2147483646 h 355"/>
              <a:gd name="T50" fmla="*/ 2147483646 w 422"/>
              <a:gd name="T51" fmla="*/ 2147483646 h 355"/>
              <a:gd name="T52" fmla="*/ 2147483646 w 422"/>
              <a:gd name="T53" fmla="*/ 2147483646 h 355"/>
              <a:gd name="T54" fmla="*/ 2147483646 w 422"/>
              <a:gd name="T55" fmla="*/ 2147483646 h 355"/>
              <a:gd name="T56" fmla="*/ 2147483646 w 422"/>
              <a:gd name="T57" fmla="*/ 0 h 355"/>
              <a:gd name="T58" fmla="*/ 2147483646 w 422"/>
              <a:gd name="T59" fmla="*/ 2147483646 h 355"/>
              <a:gd name="T60" fmla="*/ 2147483646 w 422"/>
              <a:gd name="T61" fmla="*/ 2147483646 h 355"/>
              <a:gd name="T62" fmla="*/ 2147483646 w 422"/>
              <a:gd name="T63" fmla="*/ 2147483646 h 355"/>
              <a:gd name="T64" fmla="*/ 2147483646 w 422"/>
              <a:gd name="T65" fmla="*/ 2147483646 h 355"/>
              <a:gd name="T66" fmla="*/ 2147483646 w 422"/>
              <a:gd name="T67" fmla="*/ 2147483646 h 355"/>
              <a:gd name="T68" fmla="*/ 2147483646 w 422"/>
              <a:gd name="T69" fmla="*/ 2147483646 h 355"/>
              <a:gd name="T70" fmla="*/ 2147483646 w 422"/>
              <a:gd name="T71" fmla="*/ 2147483646 h 355"/>
              <a:gd name="T72" fmla="*/ 2147483646 w 422"/>
              <a:gd name="T73" fmla="*/ 2147483646 h 355"/>
              <a:gd name="T74" fmla="*/ 2147483646 w 422"/>
              <a:gd name="T75" fmla="*/ 2147483646 h 355"/>
              <a:gd name="T76" fmla="*/ 2147483646 w 422"/>
              <a:gd name="T77" fmla="*/ 2147483646 h 355"/>
              <a:gd name="T78" fmla="*/ 2147483646 w 422"/>
              <a:gd name="T79" fmla="*/ 2147483646 h 355"/>
              <a:gd name="T80" fmla="*/ 2147483646 w 422"/>
              <a:gd name="T81" fmla="*/ 2147483646 h 355"/>
              <a:gd name="T82" fmla="*/ 2147483646 w 422"/>
              <a:gd name="T83" fmla="*/ 2147483646 h 355"/>
              <a:gd name="T84" fmla="*/ 2147483646 w 422"/>
              <a:gd name="T85" fmla="*/ 2147483646 h 355"/>
              <a:gd name="T86" fmla="*/ 2147483646 w 422"/>
              <a:gd name="T87" fmla="*/ 2147483646 h 355"/>
              <a:gd name="T88" fmla="*/ 2147483646 w 422"/>
              <a:gd name="T89" fmla="*/ 2147483646 h 355"/>
              <a:gd name="T90" fmla="*/ 2147483646 w 422"/>
              <a:gd name="T91" fmla="*/ 2147483646 h 355"/>
              <a:gd name="T92" fmla="*/ 2147483646 w 422"/>
              <a:gd name="T93" fmla="*/ 2147483646 h 355"/>
              <a:gd name="T94" fmla="*/ 2147483646 w 422"/>
              <a:gd name="T95" fmla="*/ 2147483646 h 355"/>
              <a:gd name="T96" fmla="*/ 2147483646 w 422"/>
              <a:gd name="T97" fmla="*/ 2147483646 h 355"/>
              <a:gd name="T98" fmla="*/ 2147483646 w 422"/>
              <a:gd name="T99" fmla="*/ 2147483646 h 355"/>
              <a:gd name="T100" fmla="*/ 2147483646 w 422"/>
              <a:gd name="T101" fmla="*/ 2147483646 h 355"/>
              <a:gd name="T102" fmla="*/ 2147483646 w 422"/>
              <a:gd name="T103" fmla="*/ 2147483646 h 355"/>
              <a:gd name="T104" fmla="*/ 2147483646 w 422"/>
              <a:gd name="T105" fmla="*/ 2147483646 h 355"/>
              <a:gd name="T106" fmla="*/ 2147483646 w 422"/>
              <a:gd name="T107" fmla="*/ 2147483646 h 355"/>
              <a:gd name="T108" fmla="*/ 2147483646 w 422"/>
              <a:gd name="T109" fmla="*/ 2147483646 h 355"/>
              <a:gd name="T110" fmla="*/ 2147483646 w 422"/>
              <a:gd name="T111" fmla="*/ 2147483646 h 355"/>
              <a:gd name="T112" fmla="*/ 2147483646 w 422"/>
              <a:gd name="T113" fmla="*/ 2147483646 h 355"/>
              <a:gd name="T114" fmla="*/ 2147483646 w 422"/>
              <a:gd name="T115" fmla="*/ 2147483646 h 355"/>
              <a:gd name="T116" fmla="*/ 2147483646 w 422"/>
              <a:gd name="T117" fmla="*/ 2147483646 h 355"/>
              <a:gd name="T118" fmla="*/ 2147483646 w 422"/>
              <a:gd name="T119" fmla="*/ 2147483646 h 355"/>
              <a:gd name="T120" fmla="*/ 2147483646 w 422"/>
              <a:gd name="T121" fmla="*/ 2147483646 h 355"/>
              <a:gd name="T122" fmla="*/ 2147483646 w 422"/>
              <a:gd name="T123" fmla="*/ 2147483646 h 355"/>
              <a:gd name="T124" fmla="*/ 0 w 422"/>
              <a:gd name="T125" fmla="*/ 2147483646 h 3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22"/>
              <a:gd name="T190" fmla="*/ 0 h 355"/>
              <a:gd name="T191" fmla="*/ 422 w 422"/>
              <a:gd name="T192" fmla="*/ 355 h 35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22" h="355">
                <a:moveTo>
                  <a:pt x="0" y="177"/>
                </a:moveTo>
                <a:cubicBezTo>
                  <a:pt x="0" y="177"/>
                  <a:pt x="11" y="160"/>
                  <a:pt x="13" y="158"/>
                </a:cubicBezTo>
                <a:cubicBezTo>
                  <a:pt x="16" y="157"/>
                  <a:pt x="19" y="170"/>
                  <a:pt x="20" y="172"/>
                </a:cubicBezTo>
                <a:cubicBezTo>
                  <a:pt x="21" y="175"/>
                  <a:pt x="27" y="177"/>
                  <a:pt x="30" y="175"/>
                </a:cubicBezTo>
                <a:cubicBezTo>
                  <a:pt x="33" y="173"/>
                  <a:pt x="35" y="180"/>
                  <a:pt x="38" y="182"/>
                </a:cubicBezTo>
                <a:cubicBezTo>
                  <a:pt x="41" y="184"/>
                  <a:pt x="47" y="182"/>
                  <a:pt x="50" y="180"/>
                </a:cubicBezTo>
                <a:cubicBezTo>
                  <a:pt x="53" y="177"/>
                  <a:pt x="57" y="180"/>
                  <a:pt x="63" y="181"/>
                </a:cubicBezTo>
                <a:cubicBezTo>
                  <a:pt x="68" y="183"/>
                  <a:pt x="72" y="182"/>
                  <a:pt x="74" y="177"/>
                </a:cubicBezTo>
                <a:cubicBezTo>
                  <a:pt x="76" y="172"/>
                  <a:pt x="91" y="167"/>
                  <a:pt x="91" y="167"/>
                </a:cubicBezTo>
                <a:cubicBezTo>
                  <a:pt x="92" y="77"/>
                  <a:pt x="92" y="77"/>
                  <a:pt x="92" y="77"/>
                </a:cubicBezTo>
                <a:cubicBezTo>
                  <a:pt x="92" y="72"/>
                  <a:pt x="92" y="72"/>
                  <a:pt x="92" y="72"/>
                </a:cubicBezTo>
                <a:cubicBezTo>
                  <a:pt x="101" y="72"/>
                  <a:pt x="106" y="86"/>
                  <a:pt x="111" y="93"/>
                </a:cubicBezTo>
                <a:cubicBezTo>
                  <a:pt x="117" y="101"/>
                  <a:pt x="115" y="106"/>
                  <a:pt x="111" y="112"/>
                </a:cubicBezTo>
                <a:cubicBezTo>
                  <a:pt x="108" y="118"/>
                  <a:pt x="105" y="123"/>
                  <a:pt x="108" y="127"/>
                </a:cubicBezTo>
                <a:cubicBezTo>
                  <a:pt x="111" y="131"/>
                  <a:pt x="128" y="132"/>
                  <a:pt x="136" y="125"/>
                </a:cubicBezTo>
                <a:cubicBezTo>
                  <a:pt x="143" y="119"/>
                  <a:pt x="143" y="117"/>
                  <a:pt x="147" y="115"/>
                </a:cubicBezTo>
                <a:cubicBezTo>
                  <a:pt x="150" y="114"/>
                  <a:pt x="159" y="108"/>
                  <a:pt x="164" y="95"/>
                </a:cubicBezTo>
                <a:cubicBezTo>
                  <a:pt x="168" y="82"/>
                  <a:pt x="182" y="75"/>
                  <a:pt x="188" y="90"/>
                </a:cubicBezTo>
                <a:cubicBezTo>
                  <a:pt x="195" y="104"/>
                  <a:pt x="217" y="97"/>
                  <a:pt x="228" y="96"/>
                </a:cubicBezTo>
                <a:cubicBezTo>
                  <a:pt x="239" y="96"/>
                  <a:pt x="233" y="94"/>
                  <a:pt x="238" y="91"/>
                </a:cubicBezTo>
                <a:cubicBezTo>
                  <a:pt x="244" y="88"/>
                  <a:pt x="241" y="77"/>
                  <a:pt x="245" y="68"/>
                </a:cubicBezTo>
                <a:cubicBezTo>
                  <a:pt x="249" y="60"/>
                  <a:pt x="252" y="67"/>
                  <a:pt x="262" y="64"/>
                </a:cubicBezTo>
                <a:cubicBezTo>
                  <a:pt x="273" y="62"/>
                  <a:pt x="270" y="51"/>
                  <a:pt x="272" y="47"/>
                </a:cubicBezTo>
                <a:cubicBezTo>
                  <a:pt x="274" y="43"/>
                  <a:pt x="282" y="36"/>
                  <a:pt x="286" y="34"/>
                </a:cubicBezTo>
                <a:cubicBezTo>
                  <a:pt x="290" y="32"/>
                  <a:pt x="299" y="27"/>
                  <a:pt x="302" y="20"/>
                </a:cubicBezTo>
                <a:cubicBezTo>
                  <a:pt x="304" y="14"/>
                  <a:pt x="306" y="14"/>
                  <a:pt x="309" y="13"/>
                </a:cubicBezTo>
                <a:cubicBezTo>
                  <a:pt x="311" y="12"/>
                  <a:pt x="319" y="15"/>
                  <a:pt x="323" y="12"/>
                </a:cubicBezTo>
                <a:cubicBezTo>
                  <a:pt x="327" y="8"/>
                  <a:pt x="328" y="4"/>
                  <a:pt x="333" y="3"/>
                </a:cubicBezTo>
                <a:cubicBezTo>
                  <a:pt x="338" y="1"/>
                  <a:pt x="337" y="0"/>
                  <a:pt x="337" y="0"/>
                </a:cubicBezTo>
                <a:cubicBezTo>
                  <a:pt x="337" y="0"/>
                  <a:pt x="387" y="2"/>
                  <a:pt x="396" y="7"/>
                </a:cubicBezTo>
                <a:cubicBezTo>
                  <a:pt x="396" y="7"/>
                  <a:pt x="397" y="30"/>
                  <a:pt x="402" y="42"/>
                </a:cubicBezTo>
                <a:cubicBezTo>
                  <a:pt x="408" y="54"/>
                  <a:pt x="407" y="59"/>
                  <a:pt x="407" y="72"/>
                </a:cubicBezTo>
                <a:cubicBezTo>
                  <a:pt x="406" y="85"/>
                  <a:pt x="404" y="107"/>
                  <a:pt x="404" y="107"/>
                </a:cubicBezTo>
                <a:cubicBezTo>
                  <a:pt x="404" y="107"/>
                  <a:pt x="397" y="106"/>
                  <a:pt x="395" y="104"/>
                </a:cubicBezTo>
                <a:cubicBezTo>
                  <a:pt x="393" y="102"/>
                  <a:pt x="387" y="97"/>
                  <a:pt x="385" y="99"/>
                </a:cubicBezTo>
                <a:cubicBezTo>
                  <a:pt x="382" y="101"/>
                  <a:pt x="379" y="99"/>
                  <a:pt x="378" y="106"/>
                </a:cubicBezTo>
                <a:cubicBezTo>
                  <a:pt x="378" y="112"/>
                  <a:pt x="380" y="113"/>
                  <a:pt x="379" y="116"/>
                </a:cubicBezTo>
                <a:cubicBezTo>
                  <a:pt x="378" y="119"/>
                  <a:pt x="371" y="121"/>
                  <a:pt x="372" y="123"/>
                </a:cubicBezTo>
                <a:cubicBezTo>
                  <a:pt x="374" y="126"/>
                  <a:pt x="378" y="130"/>
                  <a:pt x="381" y="133"/>
                </a:cubicBezTo>
                <a:cubicBezTo>
                  <a:pt x="384" y="136"/>
                  <a:pt x="388" y="141"/>
                  <a:pt x="392" y="142"/>
                </a:cubicBezTo>
                <a:cubicBezTo>
                  <a:pt x="397" y="144"/>
                  <a:pt x="400" y="139"/>
                  <a:pt x="402" y="136"/>
                </a:cubicBezTo>
                <a:cubicBezTo>
                  <a:pt x="403" y="134"/>
                  <a:pt x="406" y="130"/>
                  <a:pt x="406" y="130"/>
                </a:cubicBezTo>
                <a:cubicBezTo>
                  <a:pt x="406" y="130"/>
                  <a:pt x="415" y="127"/>
                  <a:pt x="422" y="131"/>
                </a:cubicBezTo>
                <a:cubicBezTo>
                  <a:pt x="422" y="131"/>
                  <a:pt x="421" y="135"/>
                  <a:pt x="418" y="147"/>
                </a:cubicBezTo>
                <a:cubicBezTo>
                  <a:pt x="416" y="160"/>
                  <a:pt x="419" y="178"/>
                  <a:pt x="399" y="188"/>
                </a:cubicBezTo>
                <a:cubicBezTo>
                  <a:pt x="380" y="197"/>
                  <a:pt x="377" y="205"/>
                  <a:pt x="362" y="224"/>
                </a:cubicBezTo>
                <a:cubicBezTo>
                  <a:pt x="347" y="243"/>
                  <a:pt x="328" y="258"/>
                  <a:pt x="311" y="274"/>
                </a:cubicBezTo>
                <a:cubicBezTo>
                  <a:pt x="295" y="290"/>
                  <a:pt x="261" y="317"/>
                  <a:pt x="240" y="314"/>
                </a:cubicBezTo>
                <a:cubicBezTo>
                  <a:pt x="218" y="311"/>
                  <a:pt x="224" y="322"/>
                  <a:pt x="214" y="323"/>
                </a:cubicBezTo>
                <a:cubicBezTo>
                  <a:pt x="204" y="325"/>
                  <a:pt x="199" y="329"/>
                  <a:pt x="194" y="324"/>
                </a:cubicBezTo>
                <a:cubicBezTo>
                  <a:pt x="188" y="319"/>
                  <a:pt x="186" y="317"/>
                  <a:pt x="180" y="321"/>
                </a:cubicBezTo>
                <a:cubicBezTo>
                  <a:pt x="175" y="325"/>
                  <a:pt x="173" y="325"/>
                  <a:pt x="166" y="322"/>
                </a:cubicBezTo>
                <a:cubicBezTo>
                  <a:pt x="158" y="320"/>
                  <a:pt x="156" y="319"/>
                  <a:pt x="151" y="322"/>
                </a:cubicBezTo>
                <a:cubicBezTo>
                  <a:pt x="147" y="325"/>
                  <a:pt x="143" y="316"/>
                  <a:pt x="139" y="319"/>
                </a:cubicBezTo>
                <a:cubicBezTo>
                  <a:pt x="136" y="322"/>
                  <a:pt x="137" y="322"/>
                  <a:pt x="134" y="326"/>
                </a:cubicBezTo>
                <a:cubicBezTo>
                  <a:pt x="130" y="330"/>
                  <a:pt x="126" y="333"/>
                  <a:pt x="112" y="332"/>
                </a:cubicBezTo>
                <a:cubicBezTo>
                  <a:pt x="97" y="331"/>
                  <a:pt x="93" y="355"/>
                  <a:pt x="79" y="342"/>
                </a:cubicBezTo>
                <a:cubicBezTo>
                  <a:pt x="64" y="328"/>
                  <a:pt x="57" y="327"/>
                  <a:pt x="49" y="319"/>
                </a:cubicBezTo>
                <a:cubicBezTo>
                  <a:pt x="40" y="311"/>
                  <a:pt x="27" y="284"/>
                  <a:pt x="36" y="284"/>
                </a:cubicBezTo>
                <a:cubicBezTo>
                  <a:pt x="46" y="285"/>
                  <a:pt x="49" y="276"/>
                  <a:pt x="42" y="263"/>
                </a:cubicBezTo>
                <a:cubicBezTo>
                  <a:pt x="35" y="250"/>
                  <a:pt x="23" y="240"/>
                  <a:pt x="17" y="220"/>
                </a:cubicBezTo>
                <a:cubicBezTo>
                  <a:pt x="11" y="200"/>
                  <a:pt x="12" y="194"/>
                  <a:pt x="6" y="187"/>
                </a:cubicBezTo>
                <a:lnTo>
                  <a:pt x="0" y="17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62" name="Freeform 698"/>
          <p:cNvSpPr>
            <a:spLocks/>
          </p:cNvSpPr>
          <p:nvPr userDrawn="1"/>
        </p:nvSpPr>
        <p:spPr bwMode="auto">
          <a:xfrm>
            <a:off x="6239423" y="5706509"/>
            <a:ext cx="31827" cy="43552"/>
          </a:xfrm>
          <a:custGeom>
            <a:avLst/>
            <a:gdLst>
              <a:gd name="T0" fmla="*/ 2147483646 w 35"/>
              <a:gd name="T1" fmla="*/ 2147483646 h 47"/>
              <a:gd name="T2" fmla="*/ 2147483646 w 35"/>
              <a:gd name="T3" fmla="*/ 2147483646 h 47"/>
              <a:gd name="T4" fmla="*/ 2147483646 w 35"/>
              <a:gd name="T5" fmla="*/ 2147483646 h 47"/>
              <a:gd name="T6" fmla="*/ 2147483646 w 35"/>
              <a:gd name="T7" fmla="*/ 2147483646 h 47"/>
              <a:gd name="T8" fmla="*/ 2147483646 w 35"/>
              <a:gd name="T9" fmla="*/ 2147483646 h 47"/>
              <a:gd name="T10" fmla="*/ 2147483646 w 35"/>
              <a:gd name="T11" fmla="*/ 2147483646 h 47"/>
              <a:gd name="T12" fmla="*/ 2147483646 w 35"/>
              <a:gd name="T13" fmla="*/ 2147483646 h 47"/>
              <a:gd name="T14" fmla="*/ 2147483646 w 35"/>
              <a:gd name="T15" fmla="*/ 2147483646 h 47"/>
              <a:gd name="T16" fmla="*/ 2147483646 w 35"/>
              <a:gd name="T17" fmla="*/ 2147483646 h 47"/>
              <a:gd name="T18" fmla="*/ 2147483646 w 35"/>
              <a:gd name="T19" fmla="*/ 2147483646 h 47"/>
              <a:gd name="T20" fmla="*/ 2147483646 w 35"/>
              <a:gd name="T21" fmla="*/ 2147483646 h 4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5"/>
              <a:gd name="T34" fmla="*/ 0 h 47"/>
              <a:gd name="T35" fmla="*/ 35 w 35"/>
              <a:gd name="T36" fmla="*/ 47 h 4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5" h="47">
                <a:moveTo>
                  <a:pt x="35" y="33"/>
                </a:moveTo>
                <a:cubicBezTo>
                  <a:pt x="33" y="10"/>
                  <a:pt x="33" y="10"/>
                  <a:pt x="33" y="10"/>
                </a:cubicBezTo>
                <a:cubicBezTo>
                  <a:pt x="33" y="10"/>
                  <a:pt x="26" y="9"/>
                  <a:pt x="24" y="7"/>
                </a:cubicBezTo>
                <a:cubicBezTo>
                  <a:pt x="22" y="5"/>
                  <a:pt x="16" y="0"/>
                  <a:pt x="14" y="2"/>
                </a:cubicBezTo>
                <a:cubicBezTo>
                  <a:pt x="11" y="4"/>
                  <a:pt x="8" y="2"/>
                  <a:pt x="7" y="9"/>
                </a:cubicBezTo>
                <a:cubicBezTo>
                  <a:pt x="7" y="15"/>
                  <a:pt x="9" y="16"/>
                  <a:pt x="8" y="19"/>
                </a:cubicBezTo>
                <a:cubicBezTo>
                  <a:pt x="7" y="22"/>
                  <a:pt x="0" y="24"/>
                  <a:pt x="1" y="26"/>
                </a:cubicBezTo>
                <a:cubicBezTo>
                  <a:pt x="3" y="29"/>
                  <a:pt x="7" y="33"/>
                  <a:pt x="10" y="36"/>
                </a:cubicBezTo>
                <a:cubicBezTo>
                  <a:pt x="13" y="39"/>
                  <a:pt x="17" y="44"/>
                  <a:pt x="21" y="45"/>
                </a:cubicBezTo>
                <a:cubicBezTo>
                  <a:pt x="26" y="47"/>
                  <a:pt x="29" y="42"/>
                  <a:pt x="31" y="39"/>
                </a:cubicBezTo>
                <a:cubicBezTo>
                  <a:pt x="32" y="37"/>
                  <a:pt x="35" y="33"/>
                  <a:pt x="35" y="3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63" name="Freeform 699"/>
          <p:cNvSpPr>
            <a:spLocks/>
          </p:cNvSpPr>
          <p:nvPr userDrawn="1"/>
        </p:nvSpPr>
        <p:spPr bwMode="auto">
          <a:xfrm>
            <a:off x="6549316" y="5349716"/>
            <a:ext cx="204361" cy="366845"/>
          </a:xfrm>
          <a:custGeom>
            <a:avLst/>
            <a:gdLst>
              <a:gd name="T0" fmla="*/ 2147483646 w 219"/>
              <a:gd name="T1" fmla="*/ 2147483646 h 392"/>
              <a:gd name="T2" fmla="*/ 2147483646 w 219"/>
              <a:gd name="T3" fmla="*/ 2147483646 h 392"/>
              <a:gd name="T4" fmla="*/ 2147483646 w 219"/>
              <a:gd name="T5" fmla="*/ 2147483646 h 392"/>
              <a:gd name="T6" fmla="*/ 2147483646 w 219"/>
              <a:gd name="T7" fmla="*/ 2147483646 h 392"/>
              <a:gd name="T8" fmla="*/ 2147483646 w 219"/>
              <a:gd name="T9" fmla="*/ 2147483646 h 392"/>
              <a:gd name="T10" fmla="*/ 2147483646 w 219"/>
              <a:gd name="T11" fmla="*/ 2147483646 h 392"/>
              <a:gd name="T12" fmla="*/ 2147483646 w 219"/>
              <a:gd name="T13" fmla="*/ 2147483646 h 392"/>
              <a:gd name="T14" fmla="*/ 2147483646 w 219"/>
              <a:gd name="T15" fmla="*/ 2147483646 h 392"/>
              <a:gd name="T16" fmla="*/ 2147483646 w 219"/>
              <a:gd name="T17" fmla="*/ 2147483646 h 392"/>
              <a:gd name="T18" fmla="*/ 2147483646 w 219"/>
              <a:gd name="T19" fmla="*/ 2147483646 h 392"/>
              <a:gd name="T20" fmla="*/ 2147483646 w 219"/>
              <a:gd name="T21" fmla="*/ 2147483646 h 392"/>
              <a:gd name="T22" fmla="*/ 2147483646 w 219"/>
              <a:gd name="T23" fmla="*/ 2147483646 h 392"/>
              <a:gd name="T24" fmla="*/ 2147483646 w 219"/>
              <a:gd name="T25" fmla="*/ 2147483646 h 392"/>
              <a:gd name="T26" fmla="*/ 2147483646 w 219"/>
              <a:gd name="T27" fmla="*/ 2147483646 h 392"/>
              <a:gd name="T28" fmla="*/ 2147483646 w 219"/>
              <a:gd name="T29" fmla="*/ 2147483646 h 392"/>
              <a:gd name="T30" fmla="*/ 2147483646 w 219"/>
              <a:gd name="T31" fmla="*/ 2147483646 h 392"/>
              <a:gd name="T32" fmla="*/ 2147483646 w 219"/>
              <a:gd name="T33" fmla="*/ 2147483646 h 392"/>
              <a:gd name="T34" fmla="*/ 2147483646 w 219"/>
              <a:gd name="T35" fmla="*/ 2147483646 h 392"/>
              <a:gd name="T36" fmla="*/ 2147483646 w 219"/>
              <a:gd name="T37" fmla="*/ 2147483646 h 392"/>
              <a:gd name="T38" fmla="*/ 2147483646 w 219"/>
              <a:gd name="T39" fmla="*/ 2147483646 h 392"/>
              <a:gd name="T40" fmla="*/ 2147483646 w 219"/>
              <a:gd name="T41" fmla="*/ 2147483646 h 392"/>
              <a:gd name="T42" fmla="*/ 2147483646 w 219"/>
              <a:gd name="T43" fmla="*/ 2147483646 h 392"/>
              <a:gd name="T44" fmla="*/ 2147483646 w 219"/>
              <a:gd name="T45" fmla="*/ 2147483646 h 392"/>
              <a:gd name="T46" fmla="*/ 2147483646 w 219"/>
              <a:gd name="T47" fmla="*/ 2147483646 h 392"/>
              <a:gd name="T48" fmla="*/ 2147483646 w 219"/>
              <a:gd name="T49" fmla="*/ 2147483646 h 392"/>
              <a:gd name="T50" fmla="*/ 2147483646 w 219"/>
              <a:gd name="T51" fmla="*/ 2147483646 h 392"/>
              <a:gd name="T52" fmla="*/ 2147483646 w 219"/>
              <a:gd name="T53" fmla="*/ 2147483646 h 392"/>
              <a:gd name="T54" fmla="*/ 2147483646 w 219"/>
              <a:gd name="T55" fmla="*/ 2147483646 h 392"/>
              <a:gd name="T56" fmla="*/ 2147483646 w 219"/>
              <a:gd name="T57" fmla="*/ 2147483646 h 392"/>
              <a:gd name="T58" fmla="*/ 2147483646 w 219"/>
              <a:gd name="T59" fmla="*/ 0 h 392"/>
              <a:gd name="T60" fmla="*/ 2147483646 w 219"/>
              <a:gd name="T61" fmla="*/ 2147483646 h 392"/>
              <a:gd name="T62" fmla="*/ 2147483646 w 219"/>
              <a:gd name="T63" fmla="*/ 2147483646 h 392"/>
              <a:gd name="T64" fmla="*/ 2147483646 w 219"/>
              <a:gd name="T65" fmla="*/ 2147483646 h 392"/>
              <a:gd name="T66" fmla="*/ 2147483646 w 219"/>
              <a:gd name="T67" fmla="*/ 2147483646 h 392"/>
              <a:gd name="T68" fmla="*/ 2147483646 w 219"/>
              <a:gd name="T69" fmla="*/ 2147483646 h 392"/>
              <a:gd name="T70" fmla="*/ 2147483646 w 219"/>
              <a:gd name="T71" fmla="*/ 2147483646 h 392"/>
              <a:gd name="T72" fmla="*/ 2147483646 w 219"/>
              <a:gd name="T73" fmla="*/ 2147483646 h 392"/>
              <a:gd name="T74" fmla="*/ 2147483646 w 219"/>
              <a:gd name="T75" fmla="*/ 2147483646 h 392"/>
              <a:gd name="T76" fmla="*/ 2147483646 w 219"/>
              <a:gd name="T77" fmla="*/ 2147483646 h 392"/>
              <a:gd name="T78" fmla="*/ 2147483646 w 219"/>
              <a:gd name="T79" fmla="*/ 2147483646 h 392"/>
              <a:gd name="T80" fmla="*/ 2147483646 w 219"/>
              <a:gd name="T81" fmla="*/ 2147483646 h 392"/>
              <a:gd name="T82" fmla="*/ 2147483646 w 219"/>
              <a:gd name="T83" fmla="*/ 2147483646 h 392"/>
              <a:gd name="T84" fmla="*/ 2147483646 w 219"/>
              <a:gd name="T85" fmla="*/ 2147483646 h 392"/>
              <a:gd name="T86" fmla="*/ 2147483646 w 219"/>
              <a:gd name="T87" fmla="*/ 2147483646 h 392"/>
              <a:gd name="T88" fmla="*/ 2147483646 w 219"/>
              <a:gd name="T89" fmla="*/ 2147483646 h 392"/>
              <a:gd name="T90" fmla="*/ 2147483646 w 219"/>
              <a:gd name="T91" fmla="*/ 2147483646 h 392"/>
              <a:gd name="T92" fmla="*/ 2147483646 w 219"/>
              <a:gd name="T93" fmla="*/ 2147483646 h 392"/>
              <a:gd name="T94" fmla="*/ 2147483646 w 219"/>
              <a:gd name="T95" fmla="*/ 2147483646 h 392"/>
              <a:gd name="T96" fmla="*/ 2147483646 w 219"/>
              <a:gd name="T97" fmla="*/ 2147483646 h 392"/>
              <a:gd name="T98" fmla="*/ 2147483646 w 219"/>
              <a:gd name="T99" fmla="*/ 2147483646 h 392"/>
              <a:gd name="T100" fmla="*/ 2147483646 w 219"/>
              <a:gd name="T101" fmla="*/ 2147483646 h 392"/>
              <a:gd name="T102" fmla="*/ 2147483646 w 219"/>
              <a:gd name="T103" fmla="*/ 2147483646 h 392"/>
              <a:gd name="T104" fmla="*/ 2147483646 w 219"/>
              <a:gd name="T105" fmla="*/ 2147483646 h 392"/>
              <a:gd name="T106" fmla="*/ 2147483646 w 219"/>
              <a:gd name="T107" fmla="*/ 2147483646 h 392"/>
              <a:gd name="T108" fmla="*/ 2147483646 w 219"/>
              <a:gd name="T109" fmla="*/ 2147483646 h 392"/>
              <a:gd name="T110" fmla="*/ 2147483646 w 219"/>
              <a:gd name="T111" fmla="*/ 2147483646 h 3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19"/>
              <a:gd name="T169" fmla="*/ 0 h 392"/>
              <a:gd name="T170" fmla="*/ 219 w 219"/>
              <a:gd name="T171" fmla="*/ 392 h 39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19" h="392">
                <a:moveTo>
                  <a:pt x="63" y="122"/>
                </a:moveTo>
                <a:cubicBezTo>
                  <a:pt x="63" y="122"/>
                  <a:pt x="53" y="118"/>
                  <a:pt x="53" y="126"/>
                </a:cubicBezTo>
                <a:cubicBezTo>
                  <a:pt x="54" y="134"/>
                  <a:pt x="46" y="140"/>
                  <a:pt x="43" y="145"/>
                </a:cubicBezTo>
                <a:cubicBezTo>
                  <a:pt x="39" y="151"/>
                  <a:pt x="33" y="164"/>
                  <a:pt x="37" y="173"/>
                </a:cubicBezTo>
                <a:cubicBezTo>
                  <a:pt x="40" y="182"/>
                  <a:pt x="43" y="193"/>
                  <a:pt x="43" y="202"/>
                </a:cubicBezTo>
                <a:cubicBezTo>
                  <a:pt x="43" y="212"/>
                  <a:pt x="39" y="215"/>
                  <a:pt x="43" y="217"/>
                </a:cubicBezTo>
                <a:cubicBezTo>
                  <a:pt x="46" y="220"/>
                  <a:pt x="39" y="231"/>
                  <a:pt x="37" y="240"/>
                </a:cubicBezTo>
                <a:cubicBezTo>
                  <a:pt x="34" y="249"/>
                  <a:pt x="24" y="252"/>
                  <a:pt x="21" y="260"/>
                </a:cubicBezTo>
                <a:cubicBezTo>
                  <a:pt x="19" y="268"/>
                  <a:pt x="20" y="273"/>
                  <a:pt x="15" y="275"/>
                </a:cubicBezTo>
                <a:cubicBezTo>
                  <a:pt x="11" y="277"/>
                  <a:pt x="8" y="275"/>
                  <a:pt x="6" y="281"/>
                </a:cubicBezTo>
                <a:cubicBezTo>
                  <a:pt x="5" y="288"/>
                  <a:pt x="0" y="301"/>
                  <a:pt x="5" y="307"/>
                </a:cubicBezTo>
                <a:cubicBezTo>
                  <a:pt x="9" y="314"/>
                  <a:pt x="10" y="316"/>
                  <a:pt x="13" y="322"/>
                </a:cubicBezTo>
                <a:cubicBezTo>
                  <a:pt x="15" y="327"/>
                  <a:pt x="23" y="322"/>
                  <a:pt x="14" y="336"/>
                </a:cubicBezTo>
                <a:cubicBezTo>
                  <a:pt x="5" y="350"/>
                  <a:pt x="6" y="350"/>
                  <a:pt x="10" y="360"/>
                </a:cubicBezTo>
                <a:cubicBezTo>
                  <a:pt x="13" y="370"/>
                  <a:pt x="11" y="372"/>
                  <a:pt x="19" y="378"/>
                </a:cubicBezTo>
                <a:cubicBezTo>
                  <a:pt x="27" y="383"/>
                  <a:pt x="40" y="385"/>
                  <a:pt x="43" y="388"/>
                </a:cubicBezTo>
                <a:cubicBezTo>
                  <a:pt x="45" y="392"/>
                  <a:pt x="52" y="392"/>
                  <a:pt x="56" y="387"/>
                </a:cubicBezTo>
                <a:cubicBezTo>
                  <a:pt x="61" y="383"/>
                  <a:pt x="67" y="377"/>
                  <a:pt x="75" y="377"/>
                </a:cubicBezTo>
                <a:cubicBezTo>
                  <a:pt x="83" y="377"/>
                  <a:pt x="88" y="381"/>
                  <a:pt x="93" y="376"/>
                </a:cubicBezTo>
                <a:cubicBezTo>
                  <a:pt x="97" y="370"/>
                  <a:pt x="167" y="215"/>
                  <a:pt x="180" y="195"/>
                </a:cubicBezTo>
                <a:cubicBezTo>
                  <a:pt x="192" y="176"/>
                  <a:pt x="186" y="165"/>
                  <a:pt x="188" y="156"/>
                </a:cubicBezTo>
                <a:cubicBezTo>
                  <a:pt x="190" y="147"/>
                  <a:pt x="202" y="132"/>
                  <a:pt x="198" y="123"/>
                </a:cubicBezTo>
                <a:cubicBezTo>
                  <a:pt x="195" y="114"/>
                  <a:pt x="195" y="106"/>
                  <a:pt x="199" y="105"/>
                </a:cubicBezTo>
                <a:cubicBezTo>
                  <a:pt x="204" y="105"/>
                  <a:pt x="208" y="109"/>
                  <a:pt x="209" y="116"/>
                </a:cubicBezTo>
                <a:cubicBezTo>
                  <a:pt x="210" y="123"/>
                  <a:pt x="215" y="120"/>
                  <a:pt x="217" y="108"/>
                </a:cubicBezTo>
                <a:cubicBezTo>
                  <a:pt x="219" y="97"/>
                  <a:pt x="218" y="102"/>
                  <a:pt x="216" y="81"/>
                </a:cubicBezTo>
                <a:cubicBezTo>
                  <a:pt x="214" y="61"/>
                  <a:pt x="214" y="52"/>
                  <a:pt x="214" y="46"/>
                </a:cubicBezTo>
                <a:cubicBezTo>
                  <a:pt x="213" y="40"/>
                  <a:pt x="213" y="34"/>
                  <a:pt x="207" y="29"/>
                </a:cubicBezTo>
                <a:cubicBezTo>
                  <a:pt x="202" y="24"/>
                  <a:pt x="199" y="22"/>
                  <a:pt x="198" y="13"/>
                </a:cubicBezTo>
                <a:cubicBezTo>
                  <a:pt x="198" y="4"/>
                  <a:pt x="194" y="0"/>
                  <a:pt x="194" y="0"/>
                </a:cubicBezTo>
                <a:cubicBezTo>
                  <a:pt x="194" y="0"/>
                  <a:pt x="191" y="9"/>
                  <a:pt x="189" y="12"/>
                </a:cubicBezTo>
                <a:cubicBezTo>
                  <a:pt x="186" y="15"/>
                  <a:pt x="180" y="10"/>
                  <a:pt x="180" y="16"/>
                </a:cubicBezTo>
                <a:cubicBezTo>
                  <a:pt x="180" y="23"/>
                  <a:pt x="183" y="24"/>
                  <a:pt x="183" y="30"/>
                </a:cubicBezTo>
                <a:cubicBezTo>
                  <a:pt x="183" y="36"/>
                  <a:pt x="181" y="34"/>
                  <a:pt x="179" y="40"/>
                </a:cubicBezTo>
                <a:cubicBezTo>
                  <a:pt x="177" y="47"/>
                  <a:pt x="168" y="48"/>
                  <a:pt x="168" y="48"/>
                </a:cubicBezTo>
                <a:cubicBezTo>
                  <a:pt x="168" y="48"/>
                  <a:pt x="168" y="60"/>
                  <a:pt x="165" y="57"/>
                </a:cubicBezTo>
                <a:cubicBezTo>
                  <a:pt x="161" y="55"/>
                  <a:pt x="163" y="47"/>
                  <a:pt x="158" y="48"/>
                </a:cubicBezTo>
                <a:cubicBezTo>
                  <a:pt x="154" y="50"/>
                  <a:pt x="149" y="54"/>
                  <a:pt x="152" y="57"/>
                </a:cubicBezTo>
                <a:cubicBezTo>
                  <a:pt x="155" y="61"/>
                  <a:pt x="161" y="69"/>
                  <a:pt x="157" y="69"/>
                </a:cubicBezTo>
                <a:cubicBezTo>
                  <a:pt x="152" y="69"/>
                  <a:pt x="147" y="61"/>
                  <a:pt x="146" y="67"/>
                </a:cubicBezTo>
                <a:cubicBezTo>
                  <a:pt x="145" y="73"/>
                  <a:pt x="154" y="75"/>
                  <a:pt x="156" y="79"/>
                </a:cubicBezTo>
                <a:cubicBezTo>
                  <a:pt x="157" y="82"/>
                  <a:pt x="156" y="90"/>
                  <a:pt x="151" y="90"/>
                </a:cubicBezTo>
                <a:cubicBezTo>
                  <a:pt x="147" y="90"/>
                  <a:pt x="148" y="81"/>
                  <a:pt x="143" y="82"/>
                </a:cubicBezTo>
                <a:cubicBezTo>
                  <a:pt x="139" y="83"/>
                  <a:pt x="138" y="82"/>
                  <a:pt x="136" y="88"/>
                </a:cubicBezTo>
                <a:cubicBezTo>
                  <a:pt x="134" y="93"/>
                  <a:pt x="133" y="93"/>
                  <a:pt x="133" y="97"/>
                </a:cubicBezTo>
                <a:cubicBezTo>
                  <a:pt x="132" y="102"/>
                  <a:pt x="126" y="107"/>
                  <a:pt x="124" y="105"/>
                </a:cubicBezTo>
                <a:cubicBezTo>
                  <a:pt x="121" y="102"/>
                  <a:pt x="125" y="94"/>
                  <a:pt x="121" y="96"/>
                </a:cubicBezTo>
                <a:cubicBezTo>
                  <a:pt x="117" y="97"/>
                  <a:pt x="113" y="94"/>
                  <a:pt x="112" y="100"/>
                </a:cubicBezTo>
                <a:cubicBezTo>
                  <a:pt x="111" y="106"/>
                  <a:pt x="105" y="108"/>
                  <a:pt x="105" y="108"/>
                </a:cubicBezTo>
                <a:cubicBezTo>
                  <a:pt x="102" y="118"/>
                  <a:pt x="102" y="118"/>
                  <a:pt x="102" y="118"/>
                </a:cubicBezTo>
                <a:cubicBezTo>
                  <a:pt x="102" y="118"/>
                  <a:pt x="100" y="113"/>
                  <a:pt x="97" y="112"/>
                </a:cubicBezTo>
                <a:cubicBezTo>
                  <a:pt x="94" y="110"/>
                  <a:pt x="91" y="104"/>
                  <a:pt x="89" y="108"/>
                </a:cubicBezTo>
                <a:cubicBezTo>
                  <a:pt x="87" y="113"/>
                  <a:pt x="85" y="120"/>
                  <a:pt x="82" y="120"/>
                </a:cubicBezTo>
                <a:cubicBezTo>
                  <a:pt x="79" y="120"/>
                  <a:pt x="80" y="114"/>
                  <a:pt x="76" y="117"/>
                </a:cubicBezTo>
                <a:cubicBezTo>
                  <a:pt x="71" y="120"/>
                  <a:pt x="69" y="118"/>
                  <a:pt x="69" y="121"/>
                </a:cubicBezTo>
                <a:cubicBezTo>
                  <a:pt x="69" y="125"/>
                  <a:pt x="63" y="122"/>
                  <a:pt x="63" y="12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64" name="Freeform 700"/>
          <p:cNvSpPr>
            <a:spLocks/>
          </p:cNvSpPr>
          <p:nvPr userDrawn="1"/>
        </p:nvSpPr>
        <p:spPr bwMode="auto">
          <a:xfrm>
            <a:off x="6482311" y="5187231"/>
            <a:ext cx="16751" cy="18427"/>
          </a:xfrm>
          <a:custGeom>
            <a:avLst/>
            <a:gdLst>
              <a:gd name="T0" fmla="*/ 2147483646 w 18"/>
              <a:gd name="T1" fmla="*/ 0 h 19"/>
              <a:gd name="T2" fmla="*/ 2147483646 w 18"/>
              <a:gd name="T3" fmla="*/ 2147483646 h 19"/>
              <a:gd name="T4" fmla="*/ 2147483646 w 18"/>
              <a:gd name="T5" fmla="*/ 2147483646 h 19"/>
              <a:gd name="T6" fmla="*/ 2147483646 w 18"/>
              <a:gd name="T7" fmla="*/ 2147483646 h 19"/>
              <a:gd name="T8" fmla="*/ 2147483646 w 18"/>
              <a:gd name="T9" fmla="*/ 2147483646 h 19"/>
              <a:gd name="T10" fmla="*/ 2147483646 w 18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9"/>
              <a:gd name="T20" fmla="*/ 18 w 18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9">
                <a:moveTo>
                  <a:pt x="5" y="0"/>
                </a:moveTo>
                <a:cubicBezTo>
                  <a:pt x="0" y="3"/>
                  <a:pt x="0" y="9"/>
                  <a:pt x="3" y="12"/>
                </a:cubicBezTo>
                <a:cubicBezTo>
                  <a:pt x="5" y="15"/>
                  <a:pt x="8" y="19"/>
                  <a:pt x="11" y="18"/>
                </a:cubicBezTo>
                <a:cubicBezTo>
                  <a:pt x="15" y="18"/>
                  <a:pt x="18" y="12"/>
                  <a:pt x="18" y="10"/>
                </a:cubicBezTo>
                <a:cubicBezTo>
                  <a:pt x="18" y="9"/>
                  <a:pt x="17" y="4"/>
                  <a:pt x="14" y="4"/>
                </a:cubicBezTo>
                <a:cubicBezTo>
                  <a:pt x="11" y="4"/>
                  <a:pt x="5" y="0"/>
                  <a:pt x="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65" name="Freeform 701"/>
          <p:cNvSpPr>
            <a:spLocks/>
          </p:cNvSpPr>
          <p:nvPr userDrawn="1"/>
        </p:nvSpPr>
        <p:spPr bwMode="auto">
          <a:xfrm>
            <a:off x="6494038" y="5162105"/>
            <a:ext cx="13401" cy="15075"/>
          </a:xfrm>
          <a:custGeom>
            <a:avLst/>
            <a:gdLst>
              <a:gd name="T0" fmla="*/ 2147483646 w 13"/>
              <a:gd name="T1" fmla="*/ 0 h 16"/>
              <a:gd name="T2" fmla="*/ 2147483646 w 13"/>
              <a:gd name="T3" fmla="*/ 2147483646 h 16"/>
              <a:gd name="T4" fmla="*/ 2147483646 w 13"/>
              <a:gd name="T5" fmla="*/ 2147483646 h 16"/>
              <a:gd name="T6" fmla="*/ 2147483646 w 13"/>
              <a:gd name="T7" fmla="*/ 2147483646 h 16"/>
              <a:gd name="T8" fmla="*/ 2147483646 w 13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16"/>
              <a:gd name="T17" fmla="*/ 13 w 13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16">
                <a:moveTo>
                  <a:pt x="8" y="0"/>
                </a:moveTo>
                <a:cubicBezTo>
                  <a:pt x="4" y="1"/>
                  <a:pt x="0" y="8"/>
                  <a:pt x="2" y="12"/>
                </a:cubicBezTo>
                <a:cubicBezTo>
                  <a:pt x="5" y="16"/>
                  <a:pt x="9" y="16"/>
                  <a:pt x="10" y="14"/>
                </a:cubicBezTo>
                <a:cubicBezTo>
                  <a:pt x="10" y="11"/>
                  <a:pt x="13" y="6"/>
                  <a:pt x="12" y="4"/>
                </a:cubicBezTo>
                <a:cubicBezTo>
                  <a:pt x="11" y="3"/>
                  <a:pt x="8" y="0"/>
                  <a:pt x="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66" name="Freeform 702"/>
          <p:cNvSpPr>
            <a:spLocks/>
          </p:cNvSpPr>
          <p:nvPr userDrawn="1"/>
        </p:nvSpPr>
        <p:spPr bwMode="auto">
          <a:xfrm>
            <a:off x="6849158" y="5592604"/>
            <a:ext cx="13401" cy="18427"/>
          </a:xfrm>
          <a:custGeom>
            <a:avLst/>
            <a:gdLst>
              <a:gd name="T0" fmla="*/ 2147483646 w 15"/>
              <a:gd name="T1" fmla="*/ 2147483646 h 19"/>
              <a:gd name="T2" fmla="*/ 0 w 15"/>
              <a:gd name="T3" fmla="*/ 2147483646 h 19"/>
              <a:gd name="T4" fmla="*/ 2147483646 w 15"/>
              <a:gd name="T5" fmla="*/ 2147483646 h 19"/>
              <a:gd name="T6" fmla="*/ 2147483646 w 15"/>
              <a:gd name="T7" fmla="*/ 2147483646 h 19"/>
              <a:gd name="T8" fmla="*/ 2147483646 w 15"/>
              <a:gd name="T9" fmla="*/ 2147483646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"/>
              <a:gd name="T16" fmla="*/ 0 h 19"/>
              <a:gd name="T17" fmla="*/ 15 w 15"/>
              <a:gd name="T18" fmla="*/ 19 h 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" h="19">
                <a:moveTo>
                  <a:pt x="9" y="1"/>
                </a:moveTo>
                <a:cubicBezTo>
                  <a:pt x="5" y="2"/>
                  <a:pt x="0" y="0"/>
                  <a:pt x="0" y="7"/>
                </a:cubicBezTo>
                <a:cubicBezTo>
                  <a:pt x="0" y="14"/>
                  <a:pt x="3" y="17"/>
                  <a:pt x="5" y="18"/>
                </a:cubicBezTo>
                <a:cubicBezTo>
                  <a:pt x="8" y="19"/>
                  <a:pt x="13" y="16"/>
                  <a:pt x="14" y="13"/>
                </a:cubicBezTo>
                <a:cubicBezTo>
                  <a:pt x="15" y="11"/>
                  <a:pt x="9" y="1"/>
                  <a:pt x="9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67" name="Freeform 703"/>
          <p:cNvSpPr>
            <a:spLocks/>
          </p:cNvSpPr>
          <p:nvPr userDrawn="1"/>
        </p:nvSpPr>
        <p:spPr bwMode="auto">
          <a:xfrm>
            <a:off x="6899409" y="5577529"/>
            <a:ext cx="11725" cy="13401"/>
          </a:xfrm>
          <a:custGeom>
            <a:avLst/>
            <a:gdLst>
              <a:gd name="T0" fmla="*/ 2147483646 w 12"/>
              <a:gd name="T1" fmla="*/ 0 h 13"/>
              <a:gd name="T2" fmla="*/ 0 w 12"/>
              <a:gd name="T3" fmla="*/ 2147483646 h 13"/>
              <a:gd name="T4" fmla="*/ 2147483646 w 12"/>
              <a:gd name="T5" fmla="*/ 2147483646 h 13"/>
              <a:gd name="T6" fmla="*/ 2147483646 w 12"/>
              <a:gd name="T7" fmla="*/ 2147483646 h 13"/>
              <a:gd name="T8" fmla="*/ 2147483646 w 12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"/>
              <a:gd name="T16" fmla="*/ 0 h 13"/>
              <a:gd name="T17" fmla="*/ 12 w 12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" h="13">
                <a:moveTo>
                  <a:pt x="5" y="0"/>
                </a:moveTo>
                <a:cubicBezTo>
                  <a:pt x="2" y="0"/>
                  <a:pt x="0" y="0"/>
                  <a:pt x="0" y="6"/>
                </a:cubicBezTo>
                <a:cubicBezTo>
                  <a:pt x="1" y="11"/>
                  <a:pt x="5" y="13"/>
                  <a:pt x="7" y="13"/>
                </a:cubicBezTo>
                <a:cubicBezTo>
                  <a:pt x="9" y="12"/>
                  <a:pt x="12" y="6"/>
                  <a:pt x="12" y="6"/>
                </a:cubicBezTo>
                <a:lnTo>
                  <a:pt x="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68" name="Freeform 704"/>
          <p:cNvSpPr>
            <a:spLocks/>
          </p:cNvSpPr>
          <p:nvPr userDrawn="1"/>
        </p:nvSpPr>
        <p:spPr bwMode="auto">
          <a:xfrm>
            <a:off x="4874223" y="4545671"/>
            <a:ext cx="15076" cy="11725"/>
          </a:xfrm>
          <a:custGeom>
            <a:avLst/>
            <a:gdLst>
              <a:gd name="T0" fmla="*/ 2147483646 w 17"/>
              <a:gd name="T1" fmla="*/ 0 h 12"/>
              <a:gd name="T2" fmla="*/ 2147483646 w 17"/>
              <a:gd name="T3" fmla="*/ 2147483646 h 12"/>
              <a:gd name="T4" fmla="*/ 2147483646 w 17"/>
              <a:gd name="T5" fmla="*/ 2147483646 h 12"/>
              <a:gd name="T6" fmla="*/ 2147483646 w 17"/>
              <a:gd name="T7" fmla="*/ 0 h 12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2"/>
              <a:gd name="T14" fmla="*/ 17 w 17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2">
                <a:moveTo>
                  <a:pt x="11" y="0"/>
                </a:moveTo>
                <a:cubicBezTo>
                  <a:pt x="7" y="1"/>
                  <a:pt x="0" y="5"/>
                  <a:pt x="6" y="9"/>
                </a:cubicBezTo>
                <a:cubicBezTo>
                  <a:pt x="12" y="12"/>
                  <a:pt x="17" y="6"/>
                  <a:pt x="17" y="6"/>
                </a:cubicBezTo>
                <a:lnTo>
                  <a:pt x="1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69" name="Freeform 705"/>
          <p:cNvSpPr>
            <a:spLocks/>
          </p:cNvSpPr>
          <p:nvPr userDrawn="1"/>
        </p:nvSpPr>
        <p:spPr bwMode="auto">
          <a:xfrm>
            <a:off x="4909400" y="4564097"/>
            <a:ext cx="10051" cy="8376"/>
          </a:xfrm>
          <a:custGeom>
            <a:avLst/>
            <a:gdLst>
              <a:gd name="T0" fmla="*/ 2147483646 w 11"/>
              <a:gd name="T1" fmla="*/ 0 h 8"/>
              <a:gd name="T2" fmla="*/ 2147483646 w 11"/>
              <a:gd name="T3" fmla="*/ 2147483646 h 8"/>
              <a:gd name="T4" fmla="*/ 2147483646 w 11"/>
              <a:gd name="T5" fmla="*/ 2147483646 h 8"/>
              <a:gd name="T6" fmla="*/ 2147483646 w 11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  <a:gd name="T12" fmla="*/ 0 w 11"/>
              <a:gd name="T13" fmla="*/ 0 h 8"/>
              <a:gd name="T14" fmla="*/ 11 w 11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" h="8">
                <a:moveTo>
                  <a:pt x="8" y="0"/>
                </a:moveTo>
                <a:cubicBezTo>
                  <a:pt x="6" y="0"/>
                  <a:pt x="0" y="4"/>
                  <a:pt x="4" y="6"/>
                </a:cubicBezTo>
                <a:cubicBezTo>
                  <a:pt x="8" y="8"/>
                  <a:pt x="11" y="4"/>
                  <a:pt x="11" y="4"/>
                </a:cubicBezTo>
                <a:lnTo>
                  <a:pt x="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70" name="Freeform 706"/>
          <p:cNvSpPr>
            <a:spLocks/>
          </p:cNvSpPr>
          <p:nvPr userDrawn="1"/>
        </p:nvSpPr>
        <p:spPr bwMode="auto">
          <a:xfrm>
            <a:off x="6142268" y="5778540"/>
            <a:ext cx="63653" cy="56953"/>
          </a:xfrm>
          <a:custGeom>
            <a:avLst/>
            <a:gdLst>
              <a:gd name="T0" fmla="*/ 2147483646 w 69"/>
              <a:gd name="T1" fmla="*/ 2147483646 h 62"/>
              <a:gd name="T2" fmla="*/ 2147483646 w 69"/>
              <a:gd name="T3" fmla="*/ 2147483646 h 62"/>
              <a:gd name="T4" fmla="*/ 2147483646 w 69"/>
              <a:gd name="T5" fmla="*/ 2147483646 h 62"/>
              <a:gd name="T6" fmla="*/ 2147483646 w 69"/>
              <a:gd name="T7" fmla="*/ 2147483646 h 62"/>
              <a:gd name="T8" fmla="*/ 2147483646 w 69"/>
              <a:gd name="T9" fmla="*/ 2147483646 h 62"/>
              <a:gd name="T10" fmla="*/ 2147483646 w 69"/>
              <a:gd name="T11" fmla="*/ 2147483646 h 62"/>
              <a:gd name="T12" fmla="*/ 2147483646 w 69"/>
              <a:gd name="T13" fmla="*/ 2147483646 h 62"/>
              <a:gd name="T14" fmla="*/ 2147483646 w 69"/>
              <a:gd name="T15" fmla="*/ 2147483646 h 62"/>
              <a:gd name="T16" fmla="*/ 2147483646 w 69"/>
              <a:gd name="T17" fmla="*/ 2147483646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9"/>
              <a:gd name="T28" fmla="*/ 0 h 62"/>
              <a:gd name="T29" fmla="*/ 69 w 69"/>
              <a:gd name="T30" fmla="*/ 62 h 6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9" h="62">
                <a:moveTo>
                  <a:pt x="52" y="10"/>
                </a:moveTo>
                <a:cubicBezTo>
                  <a:pt x="48" y="3"/>
                  <a:pt x="48" y="0"/>
                  <a:pt x="36" y="3"/>
                </a:cubicBezTo>
                <a:cubicBezTo>
                  <a:pt x="25" y="6"/>
                  <a:pt x="6" y="16"/>
                  <a:pt x="7" y="20"/>
                </a:cubicBezTo>
                <a:cubicBezTo>
                  <a:pt x="8" y="24"/>
                  <a:pt x="2" y="29"/>
                  <a:pt x="1" y="32"/>
                </a:cubicBezTo>
                <a:cubicBezTo>
                  <a:pt x="0" y="35"/>
                  <a:pt x="3" y="48"/>
                  <a:pt x="8" y="55"/>
                </a:cubicBezTo>
                <a:cubicBezTo>
                  <a:pt x="14" y="61"/>
                  <a:pt x="23" y="62"/>
                  <a:pt x="31" y="53"/>
                </a:cubicBezTo>
                <a:cubicBezTo>
                  <a:pt x="38" y="44"/>
                  <a:pt x="45" y="49"/>
                  <a:pt x="52" y="44"/>
                </a:cubicBezTo>
                <a:cubicBezTo>
                  <a:pt x="59" y="39"/>
                  <a:pt x="69" y="30"/>
                  <a:pt x="66" y="26"/>
                </a:cubicBezTo>
                <a:cubicBezTo>
                  <a:pt x="64" y="22"/>
                  <a:pt x="52" y="10"/>
                  <a:pt x="52" y="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71" name="Freeform 707"/>
          <p:cNvSpPr>
            <a:spLocks/>
          </p:cNvSpPr>
          <p:nvPr userDrawn="1"/>
        </p:nvSpPr>
        <p:spPr bwMode="auto">
          <a:xfrm>
            <a:off x="6293026" y="4068270"/>
            <a:ext cx="60303" cy="46903"/>
          </a:xfrm>
          <a:custGeom>
            <a:avLst/>
            <a:gdLst>
              <a:gd name="T0" fmla="*/ 2147483646 w 66"/>
              <a:gd name="T1" fmla="*/ 2147483646 h 49"/>
              <a:gd name="T2" fmla="*/ 2147483646 w 66"/>
              <a:gd name="T3" fmla="*/ 2147483646 h 49"/>
              <a:gd name="T4" fmla="*/ 2147483646 w 66"/>
              <a:gd name="T5" fmla="*/ 2147483646 h 49"/>
              <a:gd name="T6" fmla="*/ 2147483646 w 66"/>
              <a:gd name="T7" fmla="*/ 2147483646 h 49"/>
              <a:gd name="T8" fmla="*/ 2147483646 w 66"/>
              <a:gd name="T9" fmla="*/ 2147483646 h 49"/>
              <a:gd name="T10" fmla="*/ 2147483646 w 66"/>
              <a:gd name="T11" fmla="*/ 2147483646 h 49"/>
              <a:gd name="T12" fmla="*/ 2147483646 w 66"/>
              <a:gd name="T13" fmla="*/ 2147483646 h 49"/>
              <a:gd name="T14" fmla="*/ 2147483646 w 66"/>
              <a:gd name="T15" fmla="*/ 2147483646 h 49"/>
              <a:gd name="T16" fmla="*/ 2147483646 w 66"/>
              <a:gd name="T17" fmla="*/ 2147483646 h 49"/>
              <a:gd name="T18" fmla="*/ 2147483646 w 66"/>
              <a:gd name="T19" fmla="*/ 2147483646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6"/>
              <a:gd name="T31" fmla="*/ 0 h 49"/>
              <a:gd name="T32" fmla="*/ 66 w 66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6" h="49">
                <a:moveTo>
                  <a:pt x="25" y="21"/>
                </a:moveTo>
                <a:cubicBezTo>
                  <a:pt x="21" y="21"/>
                  <a:pt x="20" y="24"/>
                  <a:pt x="16" y="24"/>
                </a:cubicBezTo>
                <a:cubicBezTo>
                  <a:pt x="11" y="24"/>
                  <a:pt x="7" y="20"/>
                  <a:pt x="5" y="26"/>
                </a:cubicBezTo>
                <a:cubicBezTo>
                  <a:pt x="3" y="33"/>
                  <a:pt x="0" y="34"/>
                  <a:pt x="5" y="37"/>
                </a:cubicBezTo>
                <a:cubicBezTo>
                  <a:pt x="11" y="40"/>
                  <a:pt x="14" y="49"/>
                  <a:pt x="20" y="44"/>
                </a:cubicBezTo>
                <a:cubicBezTo>
                  <a:pt x="27" y="38"/>
                  <a:pt x="41" y="30"/>
                  <a:pt x="44" y="31"/>
                </a:cubicBezTo>
                <a:cubicBezTo>
                  <a:pt x="53" y="34"/>
                  <a:pt x="48" y="21"/>
                  <a:pt x="48" y="21"/>
                </a:cubicBezTo>
                <a:cubicBezTo>
                  <a:pt x="48" y="21"/>
                  <a:pt x="66" y="10"/>
                  <a:pt x="64" y="5"/>
                </a:cubicBezTo>
                <a:cubicBezTo>
                  <a:pt x="62" y="0"/>
                  <a:pt x="52" y="14"/>
                  <a:pt x="43" y="15"/>
                </a:cubicBezTo>
                <a:cubicBezTo>
                  <a:pt x="35" y="16"/>
                  <a:pt x="25" y="21"/>
                  <a:pt x="25" y="2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72" name="Freeform 708"/>
          <p:cNvSpPr>
            <a:spLocks/>
          </p:cNvSpPr>
          <p:nvPr userDrawn="1"/>
        </p:nvSpPr>
        <p:spPr bwMode="auto">
          <a:xfrm>
            <a:off x="6177444" y="1878924"/>
            <a:ext cx="3913016" cy="2038587"/>
          </a:xfrm>
          <a:custGeom>
            <a:avLst/>
            <a:gdLst>
              <a:gd name="T0" fmla="*/ 2147483646 w 4194"/>
              <a:gd name="T1" fmla="*/ 2147483646 h 2184"/>
              <a:gd name="T2" fmla="*/ 2147483646 w 4194"/>
              <a:gd name="T3" fmla="*/ 2147483646 h 2184"/>
              <a:gd name="T4" fmla="*/ 2147483646 w 4194"/>
              <a:gd name="T5" fmla="*/ 2147483646 h 2184"/>
              <a:gd name="T6" fmla="*/ 2147483646 w 4194"/>
              <a:gd name="T7" fmla="*/ 2147483646 h 2184"/>
              <a:gd name="T8" fmla="*/ 2147483646 w 4194"/>
              <a:gd name="T9" fmla="*/ 2147483646 h 2184"/>
              <a:gd name="T10" fmla="*/ 2147483646 w 4194"/>
              <a:gd name="T11" fmla="*/ 2147483646 h 2184"/>
              <a:gd name="T12" fmla="*/ 2147483646 w 4194"/>
              <a:gd name="T13" fmla="*/ 2147483646 h 2184"/>
              <a:gd name="T14" fmla="*/ 2147483646 w 4194"/>
              <a:gd name="T15" fmla="*/ 2147483646 h 2184"/>
              <a:gd name="T16" fmla="*/ 2147483646 w 4194"/>
              <a:gd name="T17" fmla="*/ 2147483646 h 2184"/>
              <a:gd name="T18" fmla="*/ 2147483646 w 4194"/>
              <a:gd name="T19" fmla="*/ 2147483646 h 2184"/>
              <a:gd name="T20" fmla="*/ 2147483646 w 4194"/>
              <a:gd name="T21" fmla="*/ 2147483646 h 2184"/>
              <a:gd name="T22" fmla="*/ 2147483646 w 4194"/>
              <a:gd name="T23" fmla="*/ 2147483646 h 2184"/>
              <a:gd name="T24" fmla="*/ 2147483646 w 4194"/>
              <a:gd name="T25" fmla="*/ 2147483646 h 2184"/>
              <a:gd name="T26" fmla="*/ 2147483646 w 4194"/>
              <a:gd name="T27" fmla="*/ 2147483646 h 2184"/>
              <a:gd name="T28" fmla="*/ 2147483646 w 4194"/>
              <a:gd name="T29" fmla="*/ 2147483646 h 2184"/>
              <a:gd name="T30" fmla="*/ 2147483646 w 4194"/>
              <a:gd name="T31" fmla="*/ 2147483646 h 2184"/>
              <a:gd name="T32" fmla="*/ 2147483646 w 4194"/>
              <a:gd name="T33" fmla="*/ 2147483646 h 2184"/>
              <a:gd name="T34" fmla="*/ 2147483646 w 4194"/>
              <a:gd name="T35" fmla="*/ 2147483646 h 2184"/>
              <a:gd name="T36" fmla="*/ 2147483646 w 4194"/>
              <a:gd name="T37" fmla="*/ 2147483646 h 2184"/>
              <a:gd name="T38" fmla="*/ 2147483646 w 4194"/>
              <a:gd name="T39" fmla="*/ 2147483646 h 2184"/>
              <a:gd name="T40" fmla="*/ 2147483646 w 4194"/>
              <a:gd name="T41" fmla="*/ 2147483646 h 2184"/>
              <a:gd name="T42" fmla="*/ 2147483646 w 4194"/>
              <a:gd name="T43" fmla="*/ 2147483646 h 2184"/>
              <a:gd name="T44" fmla="*/ 2147483646 w 4194"/>
              <a:gd name="T45" fmla="*/ 2147483646 h 2184"/>
              <a:gd name="T46" fmla="*/ 2147483646 w 4194"/>
              <a:gd name="T47" fmla="*/ 2147483646 h 2184"/>
              <a:gd name="T48" fmla="*/ 2147483646 w 4194"/>
              <a:gd name="T49" fmla="*/ 2147483646 h 2184"/>
              <a:gd name="T50" fmla="*/ 2147483646 w 4194"/>
              <a:gd name="T51" fmla="*/ 2147483646 h 2184"/>
              <a:gd name="T52" fmla="*/ 2147483646 w 4194"/>
              <a:gd name="T53" fmla="*/ 2147483646 h 2184"/>
              <a:gd name="T54" fmla="*/ 2147483646 w 4194"/>
              <a:gd name="T55" fmla="*/ 2147483646 h 2184"/>
              <a:gd name="T56" fmla="*/ 2147483646 w 4194"/>
              <a:gd name="T57" fmla="*/ 2147483646 h 2184"/>
              <a:gd name="T58" fmla="*/ 2147483646 w 4194"/>
              <a:gd name="T59" fmla="*/ 2147483646 h 2184"/>
              <a:gd name="T60" fmla="*/ 2147483646 w 4194"/>
              <a:gd name="T61" fmla="*/ 2147483646 h 2184"/>
              <a:gd name="T62" fmla="*/ 2147483646 w 4194"/>
              <a:gd name="T63" fmla="*/ 2147483646 h 2184"/>
              <a:gd name="T64" fmla="*/ 2147483646 w 4194"/>
              <a:gd name="T65" fmla="*/ 2147483646 h 2184"/>
              <a:gd name="T66" fmla="*/ 2147483646 w 4194"/>
              <a:gd name="T67" fmla="*/ 2147483646 h 2184"/>
              <a:gd name="T68" fmla="*/ 2147483646 w 4194"/>
              <a:gd name="T69" fmla="*/ 2147483646 h 2184"/>
              <a:gd name="T70" fmla="*/ 2147483646 w 4194"/>
              <a:gd name="T71" fmla="*/ 2147483646 h 2184"/>
              <a:gd name="T72" fmla="*/ 2147483646 w 4194"/>
              <a:gd name="T73" fmla="*/ 2147483646 h 2184"/>
              <a:gd name="T74" fmla="*/ 2147483646 w 4194"/>
              <a:gd name="T75" fmla="*/ 2147483646 h 2184"/>
              <a:gd name="T76" fmla="*/ 2147483646 w 4194"/>
              <a:gd name="T77" fmla="*/ 2147483646 h 2184"/>
              <a:gd name="T78" fmla="*/ 2147483646 w 4194"/>
              <a:gd name="T79" fmla="*/ 2147483646 h 2184"/>
              <a:gd name="T80" fmla="*/ 2147483646 w 4194"/>
              <a:gd name="T81" fmla="*/ 2147483646 h 2184"/>
              <a:gd name="T82" fmla="*/ 2147483646 w 4194"/>
              <a:gd name="T83" fmla="*/ 2147483646 h 2184"/>
              <a:gd name="T84" fmla="*/ 2147483646 w 4194"/>
              <a:gd name="T85" fmla="*/ 2147483646 h 2184"/>
              <a:gd name="T86" fmla="*/ 2147483646 w 4194"/>
              <a:gd name="T87" fmla="*/ 2147483646 h 2184"/>
              <a:gd name="T88" fmla="*/ 2147483646 w 4194"/>
              <a:gd name="T89" fmla="*/ 2147483646 h 2184"/>
              <a:gd name="T90" fmla="*/ 2147483646 w 4194"/>
              <a:gd name="T91" fmla="*/ 2147483646 h 2184"/>
              <a:gd name="T92" fmla="*/ 2147483646 w 4194"/>
              <a:gd name="T93" fmla="*/ 2147483646 h 2184"/>
              <a:gd name="T94" fmla="*/ 2147483646 w 4194"/>
              <a:gd name="T95" fmla="*/ 2147483646 h 2184"/>
              <a:gd name="T96" fmla="*/ 2147483646 w 4194"/>
              <a:gd name="T97" fmla="*/ 2147483646 h 2184"/>
              <a:gd name="T98" fmla="*/ 2147483646 w 4194"/>
              <a:gd name="T99" fmla="*/ 2147483646 h 2184"/>
              <a:gd name="T100" fmla="*/ 2147483646 w 4194"/>
              <a:gd name="T101" fmla="*/ 2147483646 h 2184"/>
              <a:gd name="T102" fmla="*/ 2147483646 w 4194"/>
              <a:gd name="T103" fmla="*/ 2147483646 h 2184"/>
              <a:gd name="T104" fmla="*/ 2147483646 w 4194"/>
              <a:gd name="T105" fmla="*/ 2147483646 h 2184"/>
              <a:gd name="T106" fmla="*/ 2147483646 w 4194"/>
              <a:gd name="T107" fmla="*/ 2147483646 h 2184"/>
              <a:gd name="T108" fmla="*/ 2147483646 w 4194"/>
              <a:gd name="T109" fmla="*/ 2147483646 h 2184"/>
              <a:gd name="T110" fmla="*/ 2147483646 w 4194"/>
              <a:gd name="T111" fmla="*/ 2147483646 h 2184"/>
              <a:gd name="T112" fmla="*/ 2147483646 w 4194"/>
              <a:gd name="T113" fmla="*/ 2147483646 h 2184"/>
              <a:gd name="T114" fmla="*/ 2147483646 w 4194"/>
              <a:gd name="T115" fmla="*/ 2147483646 h 2184"/>
              <a:gd name="T116" fmla="*/ 2147483646 w 4194"/>
              <a:gd name="T117" fmla="*/ 2147483646 h 2184"/>
              <a:gd name="T118" fmla="*/ 2147483646 w 4194"/>
              <a:gd name="T119" fmla="*/ 2147483646 h 218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194"/>
              <a:gd name="T181" fmla="*/ 0 h 2184"/>
              <a:gd name="T182" fmla="*/ 4194 w 4194"/>
              <a:gd name="T183" fmla="*/ 2184 h 218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194" h="2184">
                <a:moveTo>
                  <a:pt x="328" y="2092"/>
                </a:moveTo>
                <a:cubicBezTo>
                  <a:pt x="356" y="2083"/>
                  <a:pt x="394" y="2111"/>
                  <a:pt x="405" y="2112"/>
                </a:cubicBezTo>
                <a:cubicBezTo>
                  <a:pt x="417" y="2114"/>
                  <a:pt x="452" y="2122"/>
                  <a:pt x="472" y="2124"/>
                </a:cubicBezTo>
                <a:cubicBezTo>
                  <a:pt x="491" y="2125"/>
                  <a:pt x="482" y="2138"/>
                  <a:pt x="508" y="2161"/>
                </a:cubicBezTo>
                <a:cubicBezTo>
                  <a:pt x="534" y="2184"/>
                  <a:pt x="548" y="2171"/>
                  <a:pt x="540" y="2161"/>
                </a:cubicBezTo>
                <a:cubicBezTo>
                  <a:pt x="532" y="2151"/>
                  <a:pt x="534" y="2124"/>
                  <a:pt x="534" y="2124"/>
                </a:cubicBezTo>
                <a:cubicBezTo>
                  <a:pt x="534" y="2124"/>
                  <a:pt x="539" y="2104"/>
                  <a:pt x="527" y="2093"/>
                </a:cubicBezTo>
                <a:cubicBezTo>
                  <a:pt x="516" y="2081"/>
                  <a:pt x="517" y="2067"/>
                  <a:pt x="508" y="2049"/>
                </a:cubicBezTo>
                <a:cubicBezTo>
                  <a:pt x="498" y="2031"/>
                  <a:pt x="517" y="2013"/>
                  <a:pt x="521" y="1997"/>
                </a:cubicBezTo>
                <a:cubicBezTo>
                  <a:pt x="524" y="1980"/>
                  <a:pt x="532" y="2008"/>
                  <a:pt x="532" y="2008"/>
                </a:cubicBezTo>
                <a:cubicBezTo>
                  <a:pt x="532" y="2008"/>
                  <a:pt x="545" y="2008"/>
                  <a:pt x="552" y="1979"/>
                </a:cubicBezTo>
                <a:cubicBezTo>
                  <a:pt x="558" y="1950"/>
                  <a:pt x="550" y="1956"/>
                  <a:pt x="550" y="1956"/>
                </a:cubicBezTo>
                <a:cubicBezTo>
                  <a:pt x="550" y="1956"/>
                  <a:pt x="542" y="1946"/>
                  <a:pt x="527" y="1933"/>
                </a:cubicBezTo>
                <a:cubicBezTo>
                  <a:pt x="513" y="1920"/>
                  <a:pt x="501" y="1889"/>
                  <a:pt x="501" y="1889"/>
                </a:cubicBezTo>
                <a:cubicBezTo>
                  <a:pt x="501" y="1889"/>
                  <a:pt x="503" y="1871"/>
                  <a:pt x="527" y="1854"/>
                </a:cubicBezTo>
                <a:cubicBezTo>
                  <a:pt x="552" y="1836"/>
                  <a:pt x="558" y="1875"/>
                  <a:pt x="558" y="1875"/>
                </a:cubicBezTo>
                <a:cubicBezTo>
                  <a:pt x="558" y="1875"/>
                  <a:pt x="563" y="1870"/>
                  <a:pt x="555" y="1849"/>
                </a:cubicBezTo>
                <a:cubicBezTo>
                  <a:pt x="547" y="1828"/>
                  <a:pt x="574" y="1824"/>
                  <a:pt x="591" y="1811"/>
                </a:cubicBezTo>
                <a:cubicBezTo>
                  <a:pt x="607" y="1798"/>
                  <a:pt x="628" y="1787"/>
                  <a:pt x="654" y="1787"/>
                </a:cubicBezTo>
                <a:cubicBezTo>
                  <a:pt x="680" y="1787"/>
                  <a:pt x="674" y="1800"/>
                  <a:pt x="692" y="1810"/>
                </a:cubicBezTo>
                <a:cubicBezTo>
                  <a:pt x="709" y="1819"/>
                  <a:pt x="724" y="1829"/>
                  <a:pt x="724" y="1829"/>
                </a:cubicBezTo>
                <a:cubicBezTo>
                  <a:pt x="724" y="1829"/>
                  <a:pt x="742" y="1821"/>
                  <a:pt x="760" y="1800"/>
                </a:cubicBezTo>
                <a:cubicBezTo>
                  <a:pt x="778" y="1779"/>
                  <a:pt x="773" y="1813"/>
                  <a:pt x="779" y="1819"/>
                </a:cubicBezTo>
                <a:cubicBezTo>
                  <a:pt x="786" y="1826"/>
                  <a:pt x="802" y="1823"/>
                  <a:pt x="814" y="1810"/>
                </a:cubicBezTo>
                <a:cubicBezTo>
                  <a:pt x="825" y="1797"/>
                  <a:pt x="835" y="1813"/>
                  <a:pt x="835" y="1813"/>
                </a:cubicBezTo>
                <a:cubicBezTo>
                  <a:pt x="835" y="1813"/>
                  <a:pt x="857" y="1816"/>
                  <a:pt x="869" y="1815"/>
                </a:cubicBezTo>
                <a:cubicBezTo>
                  <a:pt x="880" y="1813"/>
                  <a:pt x="879" y="1808"/>
                  <a:pt x="879" y="1792"/>
                </a:cubicBezTo>
                <a:cubicBezTo>
                  <a:pt x="879" y="1775"/>
                  <a:pt x="857" y="1779"/>
                  <a:pt x="857" y="1779"/>
                </a:cubicBezTo>
                <a:cubicBezTo>
                  <a:pt x="857" y="1779"/>
                  <a:pt x="849" y="1751"/>
                  <a:pt x="853" y="1740"/>
                </a:cubicBezTo>
                <a:cubicBezTo>
                  <a:pt x="856" y="1728"/>
                  <a:pt x="879" y="1735"/>
                  <a:pt x="879" y="1735"/>
                </a:cubicBezTo>
                <a:cubicBezTo>
                  <a:pt x="884" y="1719"/>
                  <a:pt x="884" y="1719"/>
                  <a:pt x="884" y="1719"/>
                </a:cubicBezTo>
                <a:cubicBezTo>
                  <a:pt x="884" y="1719"/>
                  <a:pt x="884" y="1719"/>
                  <a:pt x="875" y="1686"/>
                </a:cubicBezTo>
                <a:cubicBezTo>
                  <a:pt x="867" y="1653"/>
                  <a:pt x="897" y="1679"/>
                  <a:pt x="923" y="1673"/>
                </a:cubicBezTo>
                <a:cubicBezTo>
                  <a:pt x="949" y="1666"/>
                  <a:pt x="963" y="1665"/>
                  <a:pt x="989" y="1662"/>
                </a:cubicBezTo>
                <a:cubicBezTo>
                  <a:pt x="1015" y="1658"/>
                  <a:pt x="1032" y="1657"/>
                  <a:pt x="1045" y="1644"/>
                </a:cubicBezTo>
                <a:cubicBezTo>
                  <a:pt x="1058" y="1631"/>
                  <a:pt x="1067" y="1640"/>
                  <a:pt x="1084" y="1637"/>
                </a:cubicBezTo>
                <a:cubicBezTo>
                  <a:pt x="1100" y="1634"/>
                  <a:pt x="1113" y="1631"/>
                  <a:pt x="1119" y="1652"/>
                </a:cubicBezTo>
                <a:cubicBezTo>
                  <a:pt x="1126" y="1673"/>
                  <a:pt x="1132" y="1666"/>
                  <a:pt x="1146" y="1665"/>
                </a:cubicBezTo>
                <a:cubicBezTo>
                  <a:pt x="1159" y="1663"/>
                  <a:pt x="1175" y="1675"/>
                  <a:pt x="1189" y="1684"/>
                </a:cubicBezTo>
                <a:cubicBezTo>
                  <a:pt x="1204" y="1694"/>
                  <a:pt x="1209" y="1694"/>
                  <a:pt x="1219" y="1694"/>
                </a:cubicBezTo>
                <a:cubicBezTo>
                  <a:pt x="1228" y="1694"/>
                  <a:pt x="1238" y="1679"/>
                  <a:pt x="1255" y="1663"/>
                </a:cubicBezTo>
                <a:cubicBezTo>
                  <a:pt x="1271" y="1647"/>
                  <a:pt x="1269" y="1662"/>
                  <a:pt x="1282" y="1662"/>
                </a:cubicBezTo>
                <a:cubicBezTo>
                  <a:pt x="1295" y="1662"/>
                  <a:pt x="1279" y="1684"/>
                  <a:pt x="1290" y="1704"/>
                </a:cubicBezTo>
                <a:cubicBezTo>
                  <a:pt x="1302" y="1723"/>
                  <a:pt x="1368" y="1826"/>
                  <a:pt x="1385" y="1826"/>
                </a:cubicBezTo>
                <a:cubicBezTo>
                  <a:pt x="1401" y="1826"/>
                  <a:pt x="1435" y="1823"/>
                  <a:pt x="1456" y="1826"/>
                </a:cubicBezTo>
                <a:cubicBezTo>
                  <a:pt x="1477" y="1829"/>
                  <a:pt x="1481" y="1854"/>
                  <a:pt x="1494" y="1860"/>
                </a:cubicBezTo>
                <a:cubicBezTo>
                  <a:pt x="1507" y="1867"/>
                  <a:pt x="1551" y="1871"/>
                  <a:pt x="1551" y="1871"/>
                </a:cubicBezTo>
                <a:cubicBezTo>
                  <a:pt x="1573" y="1852"/>
                  <a:pt x="1573" y="1852"/>
                  <a:pt x="1573" y="1852"/>
                </a:cubicBezTo>
                <a:cubicBezTo>
                  <a:pt x="1573" y="1852"/>
                  <a:pt x="1599" y="1852"/>
                  <a:pt x="1609" y="1842"/>
                </a:cubicBezTo>
                <a:cubicBezTo>
                  <a:pt x="1619" y="1832"/>
                  <a:pt x="1640" y="1811"/>
                  <a:pt x="1640" y="1811"/>
                </a:cubicBezTo>
                <a:cubicBezTo>
                  <a:pt x="1640" y="1811"/>
                  <a:pt x="1653" y="1815"/>
                  <a:pt x="1668" y="1823"/>
                </a:cubicBezTo>
                <a:cubicBezTo>
                  <a:pt x="1682" y="1831"/>
                  <a:pt x="1691" y="1818"/>
                  <a:pt x="1691" y="1818"/>
                </a:cubicBezTo>
                <a:cubicBezTo>
                  <a:pt x="1691" y="1818"/>
                  <a:pt x="1702" y="1821"/>
                  <a:pt x="1708" y="1824"/>
                </a:cubicBezTo>
                <a:cubicBezTo>
                  <a:pt x="1715" y="1828"/>
                  <a:pt x="1718" y="1842"/>
                  <a:pt x="1718" y="1842"/>
                </a:cubicBezTo>
                <a:cubicBezTo>
                  <a:pt x="1718" y="1842"/>
                  <a:pt x="1733" y="1844"/>
                  <a:pt x="1756" y="1850"/>
                </a:cubicBezTo>
                <a:cubicBezTo>
                  <a:pt x="1778" y="1857"/>
                  <a:pt x="1800" y="1858"/>
                  <a:pt x="1800" y="1858"/>
                </a:cubicBezTo>
                <a:cubicBezTo>
                  <a:pt x="1800" y="1858"/>
                  <a:pt x="1826" y="1858"/>
                  <a:pt x="1837" y="1847"/>
                </a:cubicBezTo>
                <a:cubicBezTo>
                  <a:pt x="1848" y="1836"/>
                  <a:pt x="1834" y="1826"/>
                  <a:pt x="1827" y="1816"/>
                </a:cubicBezTo>
                <a:cubicBezTo>
                  <a:pt x="1821" y="1806"/>
                  <a:pt x="1839" y="1764"/>
                  <a:pt x="1839" y="1764"/>
                </a:cubicBezTo>
                <a:cubicBezTo>
                  <a:pt x="1839" y="1764"/>
                  <a:pt x="1850" y="1756"/>
                  <a:pt x="1866" y="1761"/>
                </a:cubicBezTo>
                <a:cubicBezTo>
                  <a:pt x="1883" y="1766"/>
                  <a:pt x="1892" y="1759"/>
                  <a:pt x="1907" y="1774"/>
                </a:cubicBezTo>
                <a:cubicBezTo>
                  <a:pt x="1922" y="1788"/>
                  <a:pt x="1922" y="1813"/>
                  <a:pt x="1922" y="1813"/>
                </a:cubicBezTo>
                <a:cubicBezTo>
                  <a:pt x="1922" y="1813"/>
                  <a:pt x="1938" y="1829"/>
                  <a:pt x="1953" y="1837"/>
                </a:cubicBezTo>
                <a:cubicBezTo>
                  <a:pt x="1967" y="1845"/>
                  <a:pt x="1977" y="1837"/>
                  <a:pt x="2001" y="1824"/>
                </a:cubicBezTo>
                <a:cubicBezTo>
                  <a:pt x="2026" y="1811"/>
                  <a:pt x="2024" y="1824"/>
                  <a:pt x="2036" y="1824"/>
                </a:cubicBezTo>
                <a:cubicBezTo>
                  <a:pt x="2047" y="1824"/>
                  <a:pt x="2053" y="1845"/>
                  <a:pt x="2053" y="1845"/>
                </a:cubicBezTo>
                <a:cubicBezTo>
                  <a:pt x="2053" y="1845"/>
                  <a:pt x="2076" y="1857"/>
                  <a:pt x="2088" y="1865"/>
                </a:cubicBezTo>
                <a:cubicBezTo>
                  <a:pt x="2099" y="1873"/>
                  <a:pt x="2130" y="1868"/>
                  <a:pt x="2145" y="1870"/>
                </a:cubicBezTo>
                <a:cubicBezTo>
                  <a:pt x="2159" y="1871"/>
                  <a:pt x="2174" y="1870"/>
                  <a:pt x="2192" y="1860"/>
                </a:cubicBezTo>
                <a:cubicBezTo>
                  <a:pt x="2210" y="1850"/>
                  <a:pt x="2215" y="1842"/>
                  <a:pt x="2228" y="1847"/>
                </a:cubicBezTo>
                <a:cubicBezTo>
                  <a:pt x="2241" y="1852"/>
                  <a:pt x="2278" y="1850"/>
                  <a:pt x="2278" y="1850"/>
                </a:cubicBezTo>
                <a:cubicBezTo>
                  <a:pt x="2278" y="1850"/>
                  <a:pt x="2289" y="1871"/>
                  <a:pt x="2296" y="1876"/>
                </a:cubicBezTo>
                <a:cubicBezTo>
                  <a:pt x="2302" y="1881"/>
                  <a:pt x="2315" y="1871"/>
                  <a:pt x="2333" y="1870"/>
                </a:cubicBezTo>
                <a:cubicBezTo>
                  <a:pt x="2351" y="1868"/>
                  <a:pt x="2358" y="1831"/>
                  <a:pt x="2358" y="1831"/>
                </a:cubicBezTo>
                <a:cubicBezTo>
                  <a:pt x="2358" y="1831"/>
                  <a:pt x="2359" y="1816"/>
                  <a:pt x="2376" y="1802"/>
                </a:cubicBezTo>
                <a:cubicBezTo>
                  <a:pt x="2392" y="1787"/>
                  <a:pt x="2397" y="1764"/>
                  <a:pt x="2397" y="1764"/>
                </a:cubicBezTo>
                <a:cubicBezTo>
                  <a:pt x="2397" y="1764"/>
                  <a:pt x="2397" y="1745"/>
                  <a:pt x="2392" y="1735"/>
                </a:cubicBezTo>
                <a:cubicBezTo>
                  <a:pt x="2387" y="1725"/>
                  <a:pt x="2410" y="1704"/>
                  <a:pt x="2410" y="1704"/>
                </a:cubicBezTo>
                <a:cubicBezTo>
                  <a:pt x="2410" y="1704"/>
                  <a:pt x="2429" y="1702"/>
                  <a:pt x="2462" y="1692"/>
                </a:cubicBezTo>
                <a:cubicBezTo>
                  <a:pt x="2494" y="1683"/>
                  <a:pt x="2491" y="1704"/>
                  <a:pt x="2525" y="1717"/>
                </a:cubicBezTo>
                <a:cubicBezTo>
                  <a:pt x="2559" y="1730"/>
                  <a:pt x="2548" y="1751"/>
                  <a:pt x="2551" y="1771"/>
                </a:cubicBezTo>
                <a:cubicBezTo>
                  <a:pt x="2555" y="1790"/>
                  <a:pt x="2571" y="1837"/>
                  <a:pt x="2584" y="1854"/>
                </a:cubicBezTo>
                <a:cubicBezTo>
                  <a:pt x="2597" y="1870"/>
                  <a:pt x="2605" y="1865"/>
                  <a:pt x="2610" y="1873"/>
                </a:cubicBezTo>
                <a:cubicBezTo>
                  <a:pt x="2615" y="1881"/>
                  <a:pt x="2628" y="1881"/>
                  <a:pt x="2638" y="1876"/>
                </a:cubicBezTo>
                <a:cubicBezTo>
                  <a:pt x="2647" y="1871"/>
                  <a:pt x="2667" y="1896"/>
                  <a:pt x="2667" y="1896"/>
                </a:cubicBezTo>
                <a:cubicBezTo>
                  <a:pt x="2667" y="1896"/>
                  <a:pt x="2670" y="1924"/>
                  <a:pt x="2678" y="1930"/>
                </a:cubicBezTo>
                <a:cubicBezTo>
                  <a:pt x="2686" y="1937"/>
                  <a:pt x="2701" y="1940"/>
                  <a:pt x="2712" y="1935"/>
                </a:cubicBezTo>
                <a:cubicBezTo>
                  <a:pt x="2724" y="1930"/>
                  <a:pt x="2751" y="1911"/>
                  <a:pt x="2751" y="1911"/>
                </a:cubicBezTo>
                <a:cubicBezTo>
                  <a:pt x="2751" y="1911"/>
                  <a:pt x="2763" y="1920"/>
                  <a:pt x="2766" y="1930"/>
                </a:cubicBezTo>
                <a:cubicBezTo>
                  <a:pt x="2769" y="1940"/>
                  <a:pt x="2773" y="1948"/>
                  <a:pt x="2766" y="1956"/>
                </a:cubicBezTo>
                <a:cubicBezTo>
                  <a:pt x="2760" y="1964"/>
                  <a:pt x="2751" y="1979"/>
                  <a:pt x="2751" y="1979"/>
                </a:cubicBezTo>
                <a:cubicBezTo>
                  <a:pt x="2751" y="1979"/>
                  <a:pt x="2745" y="2007"/>
                  <a:pt x="2734" y="2023"/>
                </a:cubicBezTo>
                <a:cubicBezTo>
                  <a:pt x="2722" y="2039"/>
                  <a:pt x="2711" y="2044"/>
                  <a:pt x="2693" y="2033"/>
                </a:cubicBezTo>
                <a:cubicBezTo>
                  <a:pt x="2675" y="2021"/>
                  <a:pt x="2670" y="2042"/>
                  <a:pt x="2670" y="2059"/>
                </a:cubicBezTo>
                <a:cubicBezTo>
                  <a:pt x="2670" y="2075"/>
                  <a:pt x="2672" y="2101"/>
                  <a:pt x="2662" y="2107"/>
                </a:cubicBezTo>
                <a:cubicBezTo>
                  <a:pt x="2652" y="2114"/>
                  <a:pt x="2660" y="2137"/>
                  <a:pt x="2660" y="2132"/>
                </a:cubicBezTo>
                <a:cubicBezTo>
                  <a:pt x="2660" y="2127"/>
                  <a:pt x="2668" y="2121"/>
                  <a:pt x="2687" y="2117"/>
                </a:cubicBezTo>
                <a:cubicBezTo>
                  <a:pt x="2706" y="2113"/>
                  <a:pt x="2715" y="2128"/>
                  <a:pt x="2739" y="2119"/>
                </a:cubicBezTo>
                <a:cubicBezTo>
                  <a:pt x="2763" y="2109"/>
                  <a:pt x="2805" y="2070"/>
                  <a:pt x="2821" y="2040"/>
                </a:cubicBezTo>
                <a:cubicBezTo>
                  <a:pt x="2838" y="2011"/>
                  <a:pt x="2872" y="1966"/>
                  <a:pt x="2902" y="1930"/>
                </a:cubicBezTo>
                <a:cubicBezTo>
                  <a:pt x="2931" y="1895"/>
                  <a:pt x="2909" y="1878"/>
                  <a:pt x="2909" y="1865"/>
                </a:cubicBezTo>
                <a:cubicBezTo>
                  <a:pt x="2909" y="1852"/>
                  <a:pt x="2916" y="1811"/>
                  <a:pt x="2916" y="1811"/>
                </a:cubicBezTo>
                <a:cubicBezTo>
                  <a:pt x="2920" y="1762"/>
                  <a:pt x="2920" y="1762"/>
                  <a:pt x="2920" y="1762"/>
                </a:cubicBezTo>
                <a:cubicBezTo>
                  <a:pt x="2920" y="1762"/>
                  <a:pt x="2920" y="1749"/>
                  <a:pt x="2926" y="1729"/>
                </a:cubicBezTo>
                <a:cubicBezTo>
                  <a:pt x="2931" y="1708"/>
                  <a:pt x="2928" y="1712"/>
                  <a:pt x="2909" y="1692"/>
                </a:cubicBezTo>
                <a:cubicBezTo>
                  <a:pt x="2890" y="1671"/>
                  <a:pt x="2902" y="1677"/>
                  <a:pt x="2881" y="1662"/>
                </a:cubicBezTo>
                <a:cubicBezTo>
                  <a:pt x="2861" y="1647"/>
                  <a:pt x="2875" y="1669"/>
                  <a:pt x="2862" y="1680"/>
                </a:cubicBezTo>
                <a:cubicBezTo>
                  <a:pt x="2849" y="1692"/>
                  <a:pt x="2853" y="1695"/>
                  <a:pt x="2840" y="1695"/>
                </a:cubicBezTo>
                <a:cubicBezTo>
                  <a:pt x="2827" y="1695"/>
                  <a:pt x="2827" y="1697"/>
                  <a:pt x="2832" y="1677"/>
                </a:cubicBezTo>
                <a:cubicBezTo>
                  <a:pt x="2838" y="1656"/>
                  <a:pt x="2823" y="1637"/>
                  <a:pt x="2812" y="1639"/>
                </a:cubicBezTo>
                <a:cubicBezTo>
                  <a:pt x="2801" y="1641"/>
                  <a:pt x="2805" y="1658"/>
                  <a:pt x="2786" y="1645"/>
                </a:cubicBezTo>
                <a:cubicBezTo>
                  <a:pt x="2767" y="1632"/>
                  <a:pt x="2851" y="1563"/>
                  <a:pt x="2872" y="1524"/>
                </a:cubicBezTo>
                <a:cubicBezTo>
                  <a:pt x="2892" y="1485"/>
                  <a:pt x="2935" y="1462"/>
                  <a:pt x="2952" y="1434"/>
                </a:cubicBezTo>
                <a:cubicBezTo>
                  <a:pt x="2969" y="1406"/>
                  <a:pt x="3013" y="1427"/>
                  <a:pt x="3021" y="1425"/>
                </a:cubicBezTo>
                <a:cubicBezTo>
                  <a:pt x="3028" y="1423"/>
                  <a:pt x="3026" y="1442"/>
                  <a:pt x="3026" y="1442"/>
                </a:cubicBezTo>
                <a:cubicBezTo>
                  <a:pt x="3026" y="1442"/>
                  <a:pt x="3049" y="1451"/>
                  <a:pt x="3056" y="1445"/>
                </a:cubicBezTo>
                <a:cubicBezTo>
                  <a:pt x="3064" y="1440"/>
                  <a:pt x="3079" y="1438"/>
                  <a:pt x="3079" y="1438"/>
                </a:cubicBezTo>
                <a:cubicBezTo>
                  <a:pt x="3088" y="1447"/>
                  <a:pt x="3095" y="1438"/>
                  <a:pt x="3114" y="1432"/>
                </a:cubicBezTo>
                <a:cubicBezTo>
                  <a:pt x="3133" y="1427"/>
                  <a:pt x="3125" y="1425"/>
                  <a:pt x="3127" y="1416"/>
                </a:cubicBezTo>
                <a:cubicBezTo>
                  <a:pt x="3129" y="1406"/>
                  <a:pt x="3161" y="1421"/>
                  <a:pt x="3166" y="1419"/>
                </a:cubicBezTo>
                <a:cubicBezTo>
                  <a:pt x="3172" y="1417"/>
                  <a:pt x="3185" y="1427"/>
                  <a:pt x="3185" y="1427"/>
                </a:cubicBezTo>
                <a:cubicBezTo>
                  <a:pt x="3178" y="1447"/>
                  <a:pt x="3178" y="1447"/>
                  <a:pt x="3178" y="1447"/>
                </a:cubicBezTo>
                <a:cubicBezTo>
                  <a:pt x="3207" y="1438"/>
                  <a:pt x="3207" y="1438"/>
                  <a:pt x="3207" y="1438"/>
                </a:cubicBezTo>
                <a:cubicBezTo>
                  <a:pt x="3207" y="1438"/>
                  <a:pt x="3224" y="1438"/>
                  <a:pt x="3230" y="1438"/>
                </a:cubicBezTo>
                <a:cubicBezTo>
                  <a:pt x="3235" y="1438"/>
                  <a:pt x="3280" y="1440"/>
                  <a:pt x="3280" y="1440"/>
                </a:cubicBezTo>
                <a:cubicBezTo>
                  <a:pt x="3278" y="1419"/>
                  <a:pt x="3278" y="1419"/>
                  <a:pt x="3278" y="1419"/>
                </a:cubicBezTo>
                <a:cubicBezTo>
                  <a:pt x="3278" y="1419"/>
                  <a:pt x="3263" y="1417"/>
                  <a:pt x="3252" y="1408"/>
                </a:cubicBezTo>
                <a:cubicBezTo>
                  <a:pt x="3241" y="1399"/>
                  <a:pt x="3256" y="1391"/>
                  <a:pt x="3273" y="1376"/>
                </a:cubicBezTo>
                <a:cubicBezTo>
                  <a:pt x="3289" y="1361"/>
                  <a:pt x="3293" y="1360"/>
                  <a:pt x="3297" y="1341"/>
                </a:cubicBezTo>
                <a:cubicBezTo>
                  <a:pt x="3301" y="1322"/>
                  <a:pt x="3327" y="1315"/>
                  <a:pt x="3344" y="1296"/>
                </a:cubicBezTo>
                <a:cubicBezTo>
                  <a:pt x="3360" y="1278"/>
                  <a:pt x="3401" y="1287"/>
                  <a:pt x="3422" y="1298"/>
                </a:cubicBezTo>
                <a:cubicBezTo>
                  <a:pt x="3422" y="1298"/>
                  <a:pt x="3420" y="1309"/>
                  <a:pt x="3418" y="1315"/>
                </a:cubicBezTo>
                <a:cubicBezTo>
                  <a:pt x="3416" y="1320"/>
                  <a:pt x="3405" y="1332"/>
                  <a:pt x="3405" y="1332"/>
                </a:cubicBezTo>
                <a:cubicBezTo>
                  <a:pt x="3405" y="1332"/>
                  <a:pt x="3409" y="1343"/>
                  <a:pt x="3414" y="1352"/>
                </a:cubicBezTo>
                <a:cubicBezTo>
                  <a:pt x="3420" y="1361"/>
                  <a:pt x="3426" y="1360"/>
                  <a:pt x="3433" y="1358"/>
                </a:cubicBezTo>
                <a:cubicBezTo>
                  <a:pt x="3441" y="1356"/>
                  <a:pt x="3444" y="1341"/>
                  <a:pt x="3446" y="1335"/>
                </a:cubicBezTo>
                <a:cubicBezTo>
                  <a:pt x="3448" y="1330"/>
                  <a:pt x="3454" y="1313"/>
                  <a:pt x="3454" y="1313"/>
                </a:cubicBezTo>
                <a:cubicBezTo>
                  <a:pt x="3470" y="1315"/>
                  <a:pt x="3470" y="1315"/>
                  <a:pt x="3470" y="1315"/>
                </a:cubicBezTo>
                <a:cubicBezTo>
                  <a:pt x="3470" y="1315"/>
                  <a:pt x="3487" y="1302"/>
                  <a:pt x="3485" y="1294"/>
                </a:cubicBezTo>
                <a:cubicBezTo>
                  <a:pt x="3483" y="1287"/>
                  <a:pt x="3480" y="1279"/>
                  <a:pt x="3476" y="1268"/>
                </a:cubicBezTo>
                <a:cubicBezTo>
                  <a:pt x="3472" y="1257"/>
                  <a:pt x="3489" y="1255"/>
                  <a:pt x="3495" y="1248"/>
                </a:cubicBezTo>
                <a:cubicBezTo>
                  <a:pt x="3500" y="1240"/>
                  <a:pt x="3519" y="1242"/>
                  <a:pt x="3534" y="1242"/>
                </a:cubicBezTo>
                <a:cubicBezTo>
                  <a:pt x="3549" y="1242"/>
                  <a:pt x="3538" y="1259"/>
                  <a:pt x="3524" y="1263"/>
                </a:cubicBezTo>
                <a:cubicBezTo>
                  <a:pt x="3511" y="1266"/>
                  <a:pt x="3508" y="1281"/>
                  <a:pt x="3508" y="1307"/>
                </a:cubicBezTo>
                <a:cubicBezTo>
                  <a:pt x="3508" y="1333"/>
                  <a:pt x="3511" y="1322"/>
                  <a:pt x="3504" y="1328"/>
                </a:cubicBezTo>
                <a:cubicBezTo>
                  <a:pt x="3497" y="1333"/>
                  <a:pt x="3500" y="1335"/>
                  <a:pt x="3467" y="1367"/>
                </a:cubicBezTo>
                <a:cubicBezTo>
                  <a:pt x="3433" y="1399"/>
                  <a:pt x="3444" y="1393"/>
                  <a:pt x="3444" y="1393"/>
                </a:cubicBezTo>
                <a:cubicBezTo>
                  <a:pt x="3444" y="1393"/>
                  <a:pt x="3427" y="1408"/>
                  <a:pt x="3416" y="1421"/>
                </a:cubicBezTo>
                <a:cubicBezTo>
                  <a:pt x="3405" y="1434"/>
                  <a:pt x="3386" y="1449"/>
                  <a:pt x="3386" y="1449"/>
                </a:cubicBezTo>
                <a:cubicBezTo>
                  <a:pt x="3379" y="1466"/>
                  <a:pt x="3379" y="1466"/>
                  <a:pt x="3379" y="1466"/>
                </a:cubicBezTo>
                <a:cubicBezTo>
                  <a:pt x="3379" y="1466"/>
                  <a:pt x="3373" y="1471"/>
                  <a:pt x="3364" y="1470"/>
                </a:cubicBezTo>
                <a:cubicBezTo>
                  <a:pt x="3355" y="1468"/>
                  <a:pt x="3357" y="1483"/>
                  <a:pt x="3357" y="1483"/>
                </a:cubicBezTo>
                <a:cubicBezTo>
                  <a:pt x="3357" y="1483"/>
                  <a:pt x="3355" y="1498"/>
                  <a:pt x="3347" y="1496"/>
                </a:cubicBezTo>
                <a:cubicBezTo>
                  <a:pt x="3340" y="1494"/>
                  <a:pt x="3342" y="1503"/>
                  <a:pt x="3327" y="1516"/>
                </a:cubicBezTo>
                <a:cubicBezTo>
                  <a:pt x="3312" y="1529"/>
                  <a:pt x="3323" y="1529"/>
                  <a:pt x="3312" y="1548"/>
                </a:cubicBezTo>
                <a:cubicBezTo>
                  <a:pt x="3301" y="1567"/>
                  <a:pt x="3308" y="1563"/>
                  <a:pt x="3282" y="1589"/>
                </a:cubicBezTo>
                <a:cubicBezTo>
                  <a:pt x="3256" y="1615"/>
                  <a:pt x="3282" y="1600"/>
                  <a:pt x="3289" y="1613"/>
                </a:cubicBezTo>
                <a:cubicBezTo>
                  <a:pt x="3297" y="1626"/>
                  <a:pt x="3303" y="1671"/>
                  <a:pt x="3303" y="1671"/>
                </a:cubicBezTo>
                <a:cubicBezTo>
                  <a:pt x="3303" y="1671"/>
                  <a:pt x="3299" y="1697"/>
                  <a:pt x="3295" y="1712"/>
                </a:cubicBezTo>
                <a:cubicBezTo>
                  <a:pt x="3291" y="1727"/>
                  <a:pt x="3299" y="1744"/>
                  <a:pt x="3299" y="1744"/>
                </a:cubicBezTo>
                <a:cubicBezTo>
                  <a:pt x="3299" y="1744"/>
                  <a:pt x="3304" y="1762"/>
                  <a:pt x="3304" y="1790"/>
                </a:cubicBezTo>
                <a:cubicBezTo>
                  <a:pt x="3304" y="1818"/>
                  <a:pt x="3316" y="1830"/>
                  <a:pt x="3316" y="1830"/>
                </a:cubicBezTo>
                <a:cubicBezTo>
                  <a:pt x="3329" y="1820"/>
                  <a:pt x="3329" y="1820"/>
                  <a:pt x="3329" y="1820"/>
                </a:cubicBezTo>
                <a:cubicBezTo>
                  <a:pt x="3329" y="1820"/>
                  <a:pt x="3336" y="1817"/>
                  <a:pt x="3340" y="1787"/>
                </a:cubicBezTo>
                <a:cubicBezTo>
                  <a:pt x="3344" y="1757"/>
                  <a:pt x="3347" y="1787"/>
                  <a:pt x="3364" y="1777"/>
                </a:cubicBezTo>
                <a:cubicBezTo>
                  <a:pt x="3381" y="1768"/>
                  <a:pt x="3366" y="1772"/>
                  <a:pt x="3375" y="1748"/>
                </a:cubicBezTo>
                <a:cubicBezTo>
                  <a:pt x="3385" y="1723"/>
                  <a:pt x="3381" y="1721"/>
                  <a:pt x="3381" y="1721"/>
                </a:cubicBezTo>
                <a:cubicBezTo>
                  <a:pt x="3381" y="1721"/>
                  <a:pt x="3388" y="1716"/>
                  <a:pt x="3400" y="1718"/>
                </a:cubicBezTo>
                <a:cubicBezTo>
                  <a:pt x="3411" y="1720"/>
                  <a:pt x="3420" y="1716"/>
                  <a:pt x="3424" y="1703"/>
                </a:cubicBezTo>
                <a:cubicBezTo>
                  <a:pt x="3427" y="1690"/>
                  <a:pt x="3416" y="1692"/>
                  <a:pt x="3416" y="1692"/>
                </a:cubicBezTo>
                <a:cubicBezTo>
                  <a:pt x="3416" y="1692"/>
                  <a:pt x="3416" y="1686"/>
                  <a:pt x="3420" y="1673"/>
                </a:cubicBezTo>
                <a:cubicBezTo>
                  <a:pt x="3424" y="1660"/>
                  <a:pt x="3435" y="1667"/>
                  <a:pt x="3435" y="1667"/>
                </a:cubicBezTo>
                <a:cubicBezTo>
                  <a:pt x="3441" y="1669"/>
                  <a:pt x="3459" y="1665"/>
                  <a:pt x="3459" y="1665"/>
                </a:cubicBezTo>
                <a:cubicBezTo>
                  <a:pt x="3459" y="1665"/>
                  <a:pt x="3470" y="1654"/>
                  <a:pt x="3465" y="1649"/>
                </a:cubicBezTo>
                <a:cubicBezTo>
                  <a:pt x="3459" y="1643"/>
                  <a:pt x="3457" y="1643"/>
                  <a:pt x="3448" y="1639"/>
                </a:cubicBezTo>
                <a:cubicBezTo>
                  <a:pt x="3439" y="1636"/>
                  <a:pt x="3441" y="1630"/>
                  <a:pt x="3442" y="1617"/>
                </a:cubicBezTo>
                <a:cubicBezTo>
                  <a:pt x="3444" y="1604"/>
                  <a:pt x="3450" y="1611"/>
                  <a:pt x="3452" y="1602"/>
                </a:cubicBezTo>
                <a:cubicBezTo>
                  <a:pt x="3454" y="1593"/>
                  <a:pt x="3459" y="1572"/>
                  <a:pt x="3459" y="1572"/>
                </a:cubicBezTo>
                <a:cubicBezTo>
                  <a:pt x="3467" y="1583"/>
                  <a:pt x="3467" y="1583"/>
                  <a:pt x="3467" y="1583"/>
                </a:cubicBezTo>
                <a:cubicBezTo>
                  <a:pt x="3467" y="1583"/>
                  <a:pt x="3482" y="1585"/>
                  <a:pt x="3487" y="1572"/>
                </a:cubicBezTo>
                <a:cubicBezTo>
                  <a:pt x="3493" y="1559"/>
                  <a:pt x="3487" y="1572"/>
                  <a:pt x="3487" y="1561"/>
                </a:cubicBezTo>
                <a:cubicBezTo>
                  <a:pt x="3487" y="1550"/>
                  <a:pt x="3482" y="1552"/>
                  <a:pt x="3472" y="1542"/>
                </a:cubicBezTo>
                <a:cubicBezTo>
                  <a:pt x="3463" y="1533"/>
                  <a:pt x="3474" y="1535"/>
                  <a:pt x="3483" y="1518"/>
                </a:cubicBezTo>
                <a:cubicBezTo>
                  <a:pt x="3493" y="1501"/>
                  <a:pt x="3461" y="1507"/>
                  <a:pt x="3461" y="1507"/>
                </a:cubicBezTo>
                <a:cubicBezTo>
                  <a:pt x="3461" y="1507"/>
                  <a:pt x="3455" y="1505"/>
                  <a:pt x="3469" y="1470"/>
                </a:cubicBezTo>
                <a:cubicBezTo>
                  <a:pt x="3482" y="1434"/>
                  <a:pt x="3487" y="1447"/>
                  <a:pt x="3493" y="1427"/>
                </a:cubicBezTo>
                <a:cubicBezTo>
                  <a:pt x="3498" y="1406"/>
                  <a:pt x="3511" y="1397"/>
                  <a:pt x="3511" y="1397"/>
                </a:cubicBezTo>
                <a:cubicBezTo>
                  <a:pt x="3511" y="1397"/>
                  <a:pt x="3517" y="1401"/>
                  <a:pt x="3524" y="1410"/>
                </a:cubicBezTo>
                <a:cubicBezTo>
                  <a:pt x="3532" y="1419"/>
                  <a:pt x="3545" y="1404"/>
                  <a:pt x="3545" y="1404"/>
                </a:cubicBezTo>
                <a:cubicBezTo>
                  <a:pt x="3549" y="1384"/>
                  <a:pt x="3549" y="1384"/>
                  <a:pt x="3549" y="1384"/>
                </a:cubicBezTo>
                <a:cubicBezTo>
                  <a:pt x="3564" y="1373"/>
                  <a:pt x="3564" y="1373"/>
                  <a:pt x="3564" y="1373"/>
                </a:cubicBezTo>
                <a:cubicBezTo>
                  <a:pt x="3564" y="1373"/>
                  <a:pt x="3562" y="1397"/>
                  <a:pt x="3573" y="1406"/>
                </a:cubicBezTo>
                <a:cubicBezTo>
                  <a:pt x="3584" y="1416"/>
                  <a:pt x="3580" y="1395"/>
                  <a:pt x="3590" y="1376"/>
                </a:cubicBezTo>
                <a:cubicBezTo>
                  <a:pt x="3599" y="1358"/>
                  <a:pt x="3607" y="1367"/>
                  <a:pt x="3631" y="1361"/>
                </a:cubicBezTo>
                <a:cubicBezTo>
                  <a:pt x="3655" y="1356"/>
                  <a:pt x="3661" y="1365"/>
                  <a:pt x="3670" y="1384"/>
                </a:cubicBezTo>
                <a:cubicBezTo>
                  <a:pt x="3679" y="1402"/>
                  <a:pt x="3676" y="1414"/>
                  <a:pt x="3687" y="1376"/>
                </a:cubicBezTo>
                <a:cubicBezTo>
                  <a:pt x="3698" y="1339"/>
                  <a:pt x="3746" y="1322"/>
                  <a:pt x="3763" y="1304"/>
                </a:cubicBezTo>
                <a:cubicBezTo>
                  <a:pt x="3780" y="1285"/>
                  <a:pt x="3791" y="1283"/>
                  <a:pt x="3799" y="1274"/>
                </a:cubicBezTo>
                <a:cubicBezTo>
                  <a:pt x="3806" y="1264"/>
                  <a:pt x="3838" y="1255"/>
                  <a:pt x="3838" y="1255"/>
                </a:cubicBezTo>
                <a:cubicBezTo>
                  <a:pt x="3838" y="1255"/>
                  <a:pt x="3864" y="1259"/>
                  <a:pt x="3877" y="1255"/>
                </a:cubicBezTo>
                <a:cubicBezTo>
                  <a:pt x="3890" y="1251"/>
                  <a:pt x="3916" y="1251"/>
                  <a:pt x="3916" y="1251"/>
                </a:cubicBezTo>
                <a:cubicBezTo>
                  <a:pt x="3916" y="1251"/>
                  <a:pt x="3916" y="1235"/>
                  <a:pt x="3901" y="1223"/>
                </a:cubicBezTo>
                <a:cubicBezTo>
                  <a:pt x="3886" y="1212"/>
                  <a:pt x="3888" y="1223"/>
                  <a:pt x="3870" y="1210"/>
                </a:cubicBezTo>
                <a:cubicBezTo>
                  <a:pt x="3851" y="1197"/>
                  <a:pt x="3881" y="1190"/>
                  <a:pt x="3881" y="1190"/>
                </a:cubicBezTo>
                <a:cubicBezTo>
                  <a:pt x="3881" y="1190"/>
                  <a:pt x="3883" y="1179"/>
                  <a:pt x="3877" y="1169"/>
                </a:cubicBezTo>
                <a:cubicBezTo>
                  <a:pt x="3871" y="1160"/>
                  <a:pt x="3851" y="1147"/>
                  <a:pt x="3851" y="1147"/>
                </a:cubicBezTo>
                <a:cubicBezTo>
                  <a:pt x="3851" y="1147"/>
                  <a:pt x="3838" y="1139"/>
                  <a:pt x="3856" y="1112"/>
                </a:cubicBezTo>
                <a:cubicBezTo>
                  <a:pt x="3875" y="1084"/>
                  <a:pt x="3873" y="1136"/>
                  <a:pt x="3873" y="1136"/>
                </a:cubicBezTo>
                <a:cubicBezTo>
                  <a:pt x="3873" y="1136"/>
                  <a:pt x="3886" y="1134"/>
                  <a:pt x="3901" y="1126"/>
                </a:cubicBezTo>
                <a:cubicBezTo>
                  <a:pt x="3916" y="1119"/>
                  <a:pt x="3937" y="1102"/>
                  <a:pt x="3937" y="1102"/>
                </a:cubicBezTo>
                <a:cubicBezTo>
                  <a:pt x="3937" y="1070"/>
                  <a:pt x="3937" y="1070"/>
                  <a:pt x="3937" y="1070"/>
                </a:cubicBezTo>
                <a:cubicBezTo>
                  <a:pt x="3937" y="1070"/>
                  <a:pt x="3929" y="1054"/>
                  <a:pt x="3929" y="1039"/>
                </a:cubicBezTo>
                <a:cubicBezTo>
                  <a:pt x="3929" y="1024"/>
                  <a:pt x="3963" y="1026"/>
                  <a:pt x="3963" y="1026"/>
                </a:cubicBezTo>
                <a:cubicBezTo>
                  <a:pt x="3963" y="1026"/>
                  <a:pt x="3961" y="1046"/>
                  <a:pt x="3955" y="1065"/>
                </a:cubicBezTo>
                <a:cubicBezTo>
                  <a:pt x="3950" y="1084"/>
                  <a:pt x="3974" y="1080"/>
                  <a:pt x="3974" y="1080"/>
                </a:cubicBezTo>
                <a:cubicBezTo>
                  <a:pt x="4022" y="1069"/>
                  <a:pt x="4022" y="1069"/>
                  <a:pt x="4022" y="1069"/>
                </a:cubicBezTo>
                <a:cubicBezTo>
                  <a:pt x="4022" y="1085"/>
                  <a:pt x="4022" y="1085"/>
                  <a:pt x="4022" y="1085"/>
                </a:cubicBezTo>
                <a:cubicBezTo>
                  <a:pt x="4036" y="1119"/>
                  <a:pt x="4036" y="1119"/>
                  <a:pt x="4036" y="1119"/>
                </a:cubicBezTo>
                <a:cubicBezTo>
                  <a:pt x="4036" y="1119"/>
                  <a:pt x="4050" y="1121"/>
                  <a:pt x="4064" y="1115"/>
                </a:cubicBezTo>
                <a:cubicBezTo>
                  <a:pt x="4077" y="1110"/>
                  <a:pt x="4075" y="1130"/>
                  <a:pt x="4084" y="1143"/>
                </a:cubicBezTo>
                <a:cubicBezTo>
                  <a:pt x="4093" y="1156"/>
                  <a:pt x="4105" y="1151"/>
                  <a:pt x="4114" y="1138"/>
                </a:cubicBezTo>
                <a:cubicBezTo>
                  <a:pt x="4123" y="1125"/>
                  <a:pt x="4105" y="1130"/>
                  <a:pt x="4133" y="1110"/>
                </a:cubicBezTo>
                <a:cubicBezTo>
                  <a:pt x="4160" y="1089"/>
                  <a:pt x="4134" y="1097"/>
                  <a:pt x="4131" y="1069"/>
                </a:cubicBezTo>
                <a:cubicBezTo>
                  <a:pt x="4131" y="1069"/>
                  <a:pt x="4149" y="1082"/>
                  <a:pt x="4162" y="1074"/>
                </a:cubicBezTo>
                <a:cubicBezTo>
                  <a:pt x="4175" y="1067"/>
                  <a:pt x="4179" y="1070"/>
                  <a:pt x="4187" y="1050"/>
                </a:cubicBezTo>
                <a:cubicBezTo>
                  <a:pt x="4194" y="1029"/>
                  <a:pt x="4172" y="1035"/>
                  <a:pt x="4164" y="1020"/>
                </a:cubicBezTo>
                <a:cubicBezTo>
                  <a:pt x="4157" y="1005"/>
                  <a:pt x="4144" y="979"/>
                  <a:pt x="4144" y="979"/>
                </a:cubicBezTo>
                <a:cubicBezTo>
                  <a:pt x="4127" y="973"/>
                  <a:pt x="4127" y="973"/>
                  <a:pt x="4127" y="973"/>
                </a:cubicBezTo>
                <a:cubicBezTo>
                  <a:pt x="4101" y="966"/>
                  <a:pt x="4101" y="966"/>
                  <a:pt x="4101" y="966"/>
                </a:cubicBezTo>
                <a:cubicBezTo>
                  <a:pt x="4101" y="966"/>
                  <a:pt x="4095" y="966"/>
                  <a:pt x="4078" y="973"/>
                </a:cubicBezTo>
                <a:cubicBezTo>
                  <a:pt x="4062" y="981"/>
                  <a:pt x="4078" y="985"/>
                  <a:pt x="4082" y="994"/>
                </a:cubicBezTo>
                <a:cubicBezTo>
                  <a:pt x="4086" y="1003"/>
                  <a:pt x="4073" y="1007"/>
                  <a:pt x="4073" y="1007"/>
                </a:cubicBezTo>
                <a:cubicBezTo>
                  <a:pt x="4073" y="1007"/>
                  <a:pt x="4056" y="1007"/>
                  <a:pt x="4060" y="951"/>
                </a:cubicBezTo>
                <a:cubicBezTo>
                  <a:pt x="4064" y="895"/>
                  <a:pt x="4045" y="936"/>
                  <a:pt x="4045" y="936"/>
                </a:cubicBezTo>
                <a:cubicBezTo>
                  <a:pt x="4045" y="936"/>
                  <a:pt x="4034" y="929"/>
                  <a:pt x="4019" y="906"/>
                </a:cubicBezTo>
                <a:cubicBezTo>
                  <a:pt x="4004" y="884"/>
                  <a:pt x="3981" y="878"/>
                  <a:pt x="3981" y="878"/>
                </a:cubicBezTo>
                <a:cubicBezTo>
                  <a:pt x="3981" y="878"/>
                  <a:pt x="3959" y="871"/>
                  <a:pt x="3950" y="856"/>
                </a:cubicBezTo>
                <a:cubicBezTo>
                  <a:pt x="3940" y="841"/>
                  <a:pt x="3918" y="822"/>
                  <a:pt x="3918" y="822"/>
                </a:cubicBezTo>
                <a:cubicBezTo>
                  <a:pt x="3918" y="822"/>
                  <a:pt x="3899" y="824"/>
                  <a:pt x="3883" y="815"/>
                </a:cubicBezTo>
                <a:cubicBezTo>
                  <a:pt x="3866" y="806"/>
                  <a:pt x="3864" y="811"/>
                  <a:pt x="3843" y="787"/>
                </a:cubicBezTo>
                <a:cubicBezTo>
                  <a:pt x="3823" y="763"/>
                  <a:pt x="3791" y="776"/>
                  <a:pt x="3791" y="776"/>
                </a:cubicBezTo>
                <a:cubicBezTo>
                  <a:pt x="3791" y="776"/>
                  <a:pt x="3767" y="783"/>
                  <a:pt x="3748" y="778"/>
                </a:cubicBezTo>
                <a:cubicBezTo>
                  <a:pt x="3730" y="772"/>
                  <a:pt x="3722" y="780"/>
                  <a:pt x="3722" y="780"/>
                </a:cubicBezTo>
                <a:cubicBezTo>
                  <a:pt x="3722" y="780"/>
                  <a:pt x="3707" y="780"/>
                  <a:pt x="3694" y="766"/>
                </a:cubicBezTo>
                <a:cubicBezTo>
                  <a:pt x="3681" y="753"/>
                  <a:pt x="3681" y="772"/>
                  <a:pt x="3674" y="774"/>
                </a:cubicBezTo>
                <a:cubicBezTo>
                  <a:pt x="3666" y="776"/>
                  <a:pt x="3672" y="794"/>
                  <a:pt x="3672" y="794"/>
                </a:cubicBezTo>
                <a:cubicBezTo>
                  <a:pt x="3687" y="806"/>
                  <a:pt x="3687" y="806"/>
                  <a:pt x="3687" y="806"/>
                </a:cubicBezTo>
                <a:cubicBezTo>
                  <a:pt x="3690" y="837"/>
                  <a:pt x="3690" y="837"/>
                  <a:pt x="3690" y="837"/>
                </a:cubicBezTo>
                <a:cubicBezTo>
                  <a:pt x="3690" y="837"/>
                  <a:pt x="3683" y="850"/>
                  <a:pt x="3674" y="856"/>
                </a:cubicBezTo>
                <a:cubicBezTo>
                  <a:pt x="3664" y="862"/>
                  <a:pt x="3657" y="865"/>
                  <a:pt x="3648" y="856"/>
                </a:cubicBezTo>
                <a:cubicBezTo>
                  <a:pt x="3638" y="847"/>
                  <a:pt x="3636" y="845"/>
                  <a:pt x="3623" y="835"/>
                </a:cubicBezTo>
                <a:cubicBezTo>
                  <a:pt x="3610" y="826"/>
                  <a:pt x="3629" y="811"/>
                  <a:pt x="3629" y="811"/>
                </a:cubicBezTo>
                <a:cubicBezTo>
                  <a:pt x="3629" y="811"/>
                  <a:pt x="3627" y="793"/>
                  <a:pt x="3612" y="785"/>
                </a:cubicBezTo>
                <a:cubicBezTo>
                  <a:pt x="3597" y="778"/>
                  <a:pt x="3605" y="793"/>
                  <a:pt x="3599" y="807"/>
                </a:cubicBezTo>
                <a:cubicBezTo>
                  <a:pt x="3593" y="822"/>
                  <a:pt x="3569" y="796"/>
                  <a:pt x="3539" y="798"/>
                </a:cubicBezTo>
                <a:cubicBezTo>
                  <a:pt x="3510" y="800"/>
                  <a:pt x="3524" y="806"/>
                  <a:pt x="3510" y="791"/>
                </a:cubicBezTo>
                <a:cubicBezTo>
                  <a:pt x="3495" y="776"/>
                  <a:pt x="3502" y="796"/>
                  <a:pt x="3483" y="789"/>
                </a:cubicBezTo>
                <a:cubicBezTo>
                  <a:pt x="3465" y="781"/>
                  <a:pt x="3465" y="783"/>
                  <a:pt x="3465" y="783"/>
                </a:cubicBezTo>
                <a:cubicBezTo>
                  <a:pt x="3465" y="783"/>
                  <a:pt x="3455" y="789"/>
                  <a:pt x="3450" y="804"/>
                </a:cubicBezTo>
                <a:cubicBezTo>
                  <a:pt x="3444" y="819"/>
                  <a:pt x="3459" y="826"/>
                  <a:pt x="3459" y="826"/>
                </a:cubicBezTo>
                <a:cubicBezTo>
                  <a:pt x="3448" y="862"/>
                  <a:pt x="3448" y="862"/>
                  <a:pt x="3448" y="862"/>
                </a:cubicBezTo>
                <a:cubicBezTo>
                  <a:pt x="3448" y="862"/>
                  <a:pt x="3439" y="860"/>
                  <a:pt x="3429" y="824"/>
                </a:cubicBezTo>
                <a:cubicBezTo>
                  <a:pt x="3420" y="789"/>
                  <a:pt x="3422" y="809"/>
                  <a:pt x="3411" y="802"/>
                </a:cubicBezTo>
                <a:cubicBezTo>
                  <a:pt x="3400" y="794"/>
                  <a:pt x="3398" y="776"/>
                  <a:pt x="3407" y="748"/>
                </a:cubicBezTo>
                <a:cubicBezTo>
                  <a:pt x="3416" y="720"/>
                  <a:pt x="3403" y="718"/>
                  <a:pt x="3394" y="705"/>
                </a:cubicBezTo>
                <a:cubicBezTo>
                  <a:pt x="3385" y="692"/>
                  <a:pt x="3377" y="690"/>
                  <a:pt x="3362" y="690"/>
                </a:cubicBezTo>
                <a:cubicBezTo>
                  <a:pt x="3347" y="690"/>
                  <a:pt x="3312" y="692"/>
                  <a:pt x="3312" y="692"/>
                </a:cubicBezTo>
                <a:cubicBezTo>
                  <a:pt x="3312" y="692"/>
                  <a:pt x="3250" y="701"/>
                  <a:pt x="3235" y="699"/>
                </a:cubicBezTo>
                <a:cubicBezTo>
                  <a:pt x="3220" y="697"/>
                  <a:pt x="3204" y="703"/>
                  <a:pt x="3204" y="703"/>
                </a:cubicBezTo>
                <a:cubicBezTo>
                  <a:pt x="3204" y="703"/>
                  <a:pt x="3209" y="677"/>
                  <a:pt x="3204" y="669"/>
                </a:cubicBezTo>
                <a:cubicBezTo>
                  <a:pt x="3198" y="662"/>
                  <a:pt x="3181" y="664"/>
                  <a:pt x="3179" y="653"/>
                </a:cubicBezTo>
                <a:cubicBezTo>
                  <a:pt x="3178" y="641"/>
                  <a:pt x="3163" y="636"/>
                  <a:pt x="3148" y="632"/>
                </a:cubicBezTo>
                <a:cubicBezTo>
                  <a:pt x="3133" y="628"/>
                  <a:pt x="3122" y="617"/>
                  <a:pt x="3120" y="608"/>
                </a:cubicBezTo>
                <a:cubicBezTo>
                  <a:pt x="3118" y="599"/>
                  <a:pt x="3142" y="612"/>
                  <a:pt x="3142" y="612"/>
                </a:cubicBezTo>
                <a:cubicBezTo>
                  <a:pt x="3142" y="612"/>
                  <a:pt x="3144" y="604"/>
                  <a:pt x="3153" y="586"/>
                </a:cubicBezTo>
                <a:cubicBezTo>
                  <a:pt x="3163" y="567"/>
                  <a:pt x="3142" y="578"/>
                  <a:pt x="3118" y="561"/>
                </a:cubicBezTo>
                <a:cubicBezTo>
                  <a:pt x="3094" y="544"/>
                  <a:pt x="3077" y="584"/>
                  <a:pt x="3077" y="584"/>
                </a:cubicBezTo>
                <a:cubicBezTo>
                  <a:pt x="3077" y="584"/>
                  <a:pt x="3073" y="589"/>
                  <a:pt x="3066" y="608"/>
                </a:cubicBezTo>
                <a:cubicBezTo>
                  <a:pt x="3058" y="627"/>
                  <a:pt x="3054" y="617"/>
                  <a:pt x="3034" y="621"/>
                </a:cubicBezTo>
                <a:cubicBezTo>
                  <a:pt x="3013" y="625"/>
                  <a:pt x="3023" y="628"/>
                  <a:pt x="3010" y="617"/>
                </a:cubicBezTo>
                <a:cubicBezTo>
                  <a:pt x="2997" y="606"/>
                  <a:pt x="3021" y="602"/>
                  <a:pt x="3021" y="602"/>
                </a:cubicBezTo>
                <a:cubicBezTo>
                  <a:pt x="3038" y="589"/>
                  <a:pt x="3038" y="589"/>
                  <a:pt x="3038" y="589"/>
                </a:cubicBezTo>
                <a:cubicBezTo>
                  <a:pt x="3038" y="589"/>
                  <a:pt x="3045" y="576"/>
                  <a:pt x="3010" y="580"/>
                </a:cubicBezTo>
                <a:cubicBezTo>
                  <a:pt x="2974" y="584"/>
                  <a:pt x="2997" y="569"/>
                  <a:pt x="2997" y="569"/>
                </a:cubicBezTo>
                <a:cubicBezTo>
                  <a:pt x="2997" y="569"/>
                  <a:pt x="3008" y="559"/>
                  <a:pt x="3008" y="541"/>
                </a:cubicBezTo>
                <a:cubicBezTo>
                  <a:pt x="3008" y="522"/>
                  <a:pt x="2997" y="544"/>
                  <a:pt x="2991" y="531"/>
                </a:cubicBezTo>
                <a:cubicBezTo>
                  <a:pt x="2985" y="518"/>
                  <a:pt x="2972" y="539"/>
                  <a:pt x="2972" y="539"/>
                </a:cubicBezTo>
                <a:cubicBezTo>
                  <a:pt x="2972" y="539"/>
                  <a:pt x="2966" y="544"/>
                  <a:pt x="2954" y="533"/>
                </a:cubicBezTo>
                <a:cubicBezTo>
                  <a:pt x="2942" y="522"/>
                  <a:pt x="2918" y="522"/>
                  <a:pt x="2918" y="522"/>
                </a:cubicBezTo>
                <a:cubicBezTo>
                  <a:pt x="2918" y="522"/>
                  <a:pt x="2918" y="522"/>
                  <a:pt x="2918" y="535"/>
                </a:cubicBezTo>
                <a:cubicBezTo>
                  <a:pt x="2918" y="548"/>
                  <a:pt x="2907" y="559"/>
                  <a:pt x="2907" y="559"/>
                </a:cubicBezTo>
                <a:cubicBezTo>
                  <a:pt x="2907" y="559"/>
                  <a:pt x="2907" y="559"/>
                  <a:pt x="2903" y="543"/>
                </a:cubicBezTo>
                <a:cubicBezTo>
                  <a:pt x="2900" y="526"/>
                  <a:pt x="2881" y="546"/>
                  <a:pt x="2881" y="546"/>
                </a:cubicBezTo>
                <a:cubicBezTo>
                  <a:pt x="2881" y="546"/>
                  <a:pt x="2881" y="561"/>
                  <a:pt x="2896" y="572"/>
                </a:cubicBezTo>
                <a:cubicBezTo>
                  <a:pt x="2910" y="584"/>
                  <a:pt x="2909" y="576"/>
                  <a:pt x="2909" y="576"/>
                </a:cubicBezTo>
                <a:cubicBezTo>
                  <a:pt x="2909" y="576"/>
                  <a:pt x="2907" y="587"/>
                  <a:pt x="2894" y="584"/>
                </a:cubicBezTo>
                <a:cubicBezTo>
                  <a:pt x="2881" y="580"/>
                  <a:pt x="2888" y="604"/>
                  <a:pt x="2888" y="604"/>
                </a:cubicBezTo>
                <a:cubicBezTo>
                  <a:pt x="2888" y="604"/>
                  <a:pt x="2890" y="612"/>
                  <a:pt x="2898" y="619"/>
                </a:cubicBezTo>
                <a:cubicBezTo>
                  <a:pt x="2905" y="627"/>
                  <a:pt x="2894" y="641"/>
                  <a:pt x="2894" y="641"/>
                </a:cubicBezTo>
                <a:cubicBezTo>
                  <a:pt x="2894" y="641"/>
                  <a:pt x="2881" y="645"/>
                  <a:pt x="2875" y="628"/>
                </a:cubicBezTo>
                <a:cubicBezTo>
                  <a:pt x="2869" y="612"/>
                  <a:pt x="2860" y="623"/>
                  <a:pt x="2860" y="623"/>
                </a:cubicBezTo>
                <a:cubicBezTo>
                  <a:pt x="2860" y="623"/>
                  <a:pt x="2851" y="632"/>
                  <a:pt x="2855" y="638"/>
                </a:cubicBezTo>
                <a:cubicBezTo>
                  <a:pt x="2859" y="643"/>
                  <a:pt x="2859" y="653"/>
                  <a:pt x="2860" y="666"/>
                </a:cubicBezTo>
                <a:cubicBezTo>
                  <a:pt x="2862" y="679"/>
                  <a:pt x="2842" y="662"/>
                  <a:pt x="2827" y="638"/>
                </a:cubicBezTo>
                <a:cubicBezTo>
                  <a:pt x="2812" y="614"/>
                  <a:pt x="2803" y="627"/>
                  <a:pt x="2803" y="627"/>
                </a:cubicBezTo>
                <a:cubicBezTo>
                  <a:pt x="2777" y="612"/>
                  <a:pt x="2777" y="612"/>
                  <a:pt x="2777" y="612"/>
                </a:cubicBezTo>
                <a:cubicBezTo>
                  <a:pt x="2777" y="612"/>
                  <a:pt x="2773" y="623"/>
                  <a:pt x="2771" y="628"/>
                </a:cubicBezTo>
                <a:cubicBezTo>
                  <a:pt x="2769" y="634"/>
                  <a:pt x="2752" y="641"/>
                  <a:pt x="2752" y="641"/>
                </a:cubicBezTo>
                <a:cubicBezTo>
                  <a:pt x="2752" y="641"/>
                  <a:pt x="2741" y="649"/>
                  <a:pt x="2728" y="632"/>
                </a:cubicBezTo>
                <a:cubicBezTo>
                  <a:pt x="2715" y="615"/>
                  <a:pt x="2726" y="625"/>
                  <a:pt x="2721" y="614"/>
                </a:cubicBezTo>
                <a:cubicBezTo>
                  <a:pt x="2715" y="602"/>
                  <a:pt x="2717" y="602"/>
                  <a:pt x="2706" y="606"/>
                </a:cubicBezTo>
                <a:cubicBezTo>
                  <a:pt x="2694" y="610"/>
                  <a:pt x="2708" y="614"/>
                  <a:pt x="2704" y="621"/>
                </a:cubicBezTo>
                <a:cubicBezTo>
                  <a:pt x="2700" y="628"/>
                  <a:pt x="2700" y="640"/>
                  <a:pt x="2700" y="649"/>
                </a:cubicBezTo>
                <a:cubicBezTo>
                  <a:pt x="2700" y="658"/>
                  <a:pt x="2696" y="669"/>
                  <a:pt x="2693" y="688"/>
                </a:cubicBezTo>
                <a:cubicBezTo>
                  <a:pt x="2689" y="707"/>
                  <a:pt x="2678" y="716"/>
                  <a:pt x="2678" y="716"/>
                </a:cubicBezTo>
                <a:cubicBezTo>
                  <a:pt x="2681" y="699"/>
                  <a:pt x="2653" y="684"/>
                  <a:pt x="2637" y="668"/>
                </a:cubicBezTo>
                <a:cubicBezTo>
                  <a:pt x="2620" y="651"/>
                  <a:pt x="2629" y="660"/>
                  <a:pt x="2620" y="641"/>
                </a:cubicBezTo>
                <a:cubicBezTo>
                  <a:pt x="2611" y="623"/>
                  <a:pt x="2620" y="625"/>
                  <a:pt x="2611" y="614"/>
                </a:cubicBezTo>
                <a:cubicBezTo>
                  <a:pt x="2601" y="602"/>
                  <a:pt x="2605" y="612"/>
                  <a:pt x="2592" y="604"/>
                </a:cubicBezTo>
                <a:cubicBezTo>
                  <a:pt x="2579" y="597"/>
                  <a:pt x="2597" y="571"/>
                  <a:pt x="2597" y="571"/>
                </a:cubicBezTo>
                <a:cubicBezTo>
                  <a:pt x="2616" y="543"/>
                  <a:pt x="2616" y="543"/>
                  <a:pt x="2616" y="543"/>
                </a:cubicBezTo>
                <a:cubicBezTo>
                  <a:pt x="2616" y="543"/>
                  <a:pt x="2624" y="531"/>
                  <a:pt x="2618" y="507"/>
                </a:cubicBezTo>
                <a:cubicBezTo>
                  <a:pt x="2612" y="483"/>
                  <a:pt x="2603" y="492"/>
                  <a:pt x="2590" y="489"/>
                </a:cubicBezTo>
                <a:cubicBezTo>
                  <a:pt x="2577" y="485"/>
                  <a:pt x="2562" y="492"/>
                  <a:pt x="2534" y="464"/>
                </a:cubicBezTo>
                <a:cubicBezTo>
                  <a:pt x="2506" y="436"/>
                  <a:pt x="2514" y="438"/>
                  <a:pt x="2514" y="438"/>
                </a:cubicBezTo>
                <a:cubicBezTo>
                  <a:pt x="2491" y="431"/>
                  <a:pt x="2491" y="431"/>
                  <a:pt x="2491" y="431"/>
                </a:cubicBezTo>
                <a:cubicBezTo>
                  <a:pt x="2461" y="444"/>
                  <a:pt x="2461" y="444"/>
                  <a:pt x="2461" y="444"/>
                </a:cubicBezTo>
                <a:cubicBezTo>
                  <a:pt x="2461" y="444"/>
                  <a:pt x="2452" y="457"/>
                  <a:pt x="2458" y="472"/>
                </a:cubicBezTo>
                <a:cubicBezTo>
                  <a:pt x="2463" y="487"/>
                  <a:pt x="2458" y="483"/>
                  <a:pt x="2471" y="487"/>
                </a:cubicBezTo>
                <a:cubicBezTo>
                  <a:pt x="2484" y="490"/>
                  <a:pt x="2473" y="503"/>
                  <a:pt x="2473" y="503"/>
                </a:cubicBezTo>
                <a:cubicBezTo>
                  <a:pt x="2473" y="503"/>
                  <a:pt x="2467" y="513"/>
                  <a:pt x="2452" y="511"/>
                </a:cubicBezTo>
                <a:cubicBezTo>
                  <a:pt x="2437" y="509"/>
                  <a:pt x="2452" y="511"/>
                  <a:pt x="2439" y="505"/>
                </a:cubicBezTo>
                <a:cubicBezTo>
                  <a:pt x="2426" y="500"/>
                  <a:pt x="2424" y="515"/>
                  <a:pt x="2396" y="500"/>
                </a:cubicBezTo>
                <a:cubicBezTo>
                  <a:pt x="2368" y="485"/>
                  <a:pt x="2357" y="500"/>
                  <a:pt x="2357" y="500"/>
                </a:cubicBezTo>
                <a:cubicBezTo>
                  <a:pt x="2357" y="500"/>
                  <a:pt x="2338" y="498"/>
                  <a:pt x="2342" y="483"/>
                </a:cubicBezTo>
                <a:cubicBezTo>
                  <a:pt x="2346" y="468"/>
                  <a:pt x="2348" y="459"/>
                  <a:pt x="2348" y="459"/>
                </a:cubicBezTo>
                <a:cubicBezTo>
                  <a:pt x="2348" y="459"/>
                  <a:pt x="2331" y="461"/>
                  <a:pt x="2323" y="459"/>
                </a:cubicBezTo>
                <a:cubicBezTo>
                  <a:pt x="2316" y="457"/>
                  <a:pt x="2299" y="448"/>
                  <a:pt x="2290" y="438"/>
                </a:cubicBezTo>
                <a:cubicBezTo>
                  <a:pt x="2280" y="429"/>
                  <a:pt x="2265" y="440"/>
                  <a:pt x="2265" y="440"/>
                </a:cubicBezTo>
                <a:cubicBezTo>
                  <a:pt x="2243" y="455"/>
                  <a:pt x="2243" y="455"/>
                  <a:pt x="2243" y="455"/>
                </a:cubicBezTo>
                <a:cubicBezTo>
                  <a:pt x="2243" y="455"/>
                  <a:pt x="2232" y="466"/>
                  <a:pt x="2226" y="475"/>
                </a:cubicBezTo>
                <a:cubicBezTo>
                  <a:pt x="2221" y="485"/>
                  <a:pt x="2223" y="490"/>
                  <a:pt x="2223" y="490"/>
                </a:cubicBezTo>
                <a:cubicBezTo>
                  <a:pt x="2224" y="513"/>
                  <a:pt x="2224" y="513"/>
                  <a:pt x="2224" y="513"/>
                </a:cubicBezTo>
                <a:cubicBezTo>
                  <a:pt x="2211" y="515"/>
                  <a:pt x="2211" y="515"/>
                  <a:pt x="2211" y="515"/>
                </a:cubicBezTo>
                <a:cubicBezTo>
                  <a:pt x="2211" y="515"/>
                  <a:pt x="2202" y="505"/>
                  <a:pt x="2206" y="494"/>
                </a:cubicBezTo>
                <a:cubicBezTo>
                  <a:pt x="2210" y="483"/>
                  <a:pt x="2208" y="483"/>
                  <a:pt x="2208" y="474"/>
                </a:cubicBezTo>
                <a:cubicBezTo>
                  <a:pt x="2208" y="464"/>
                  <a:pt x="2196" y="446"/>
                  <a:pt x="2200" y="451"/>
                </a:cubicBezTo>
                <a:cubicBezTo>
                  <a:pt x="2204" y="457"/>
                  <a:pt x="2176" y="453"/>
                  <a:pt x="2167" y="449"/>
                </a:cubicBezTo>
                <a:cubicBezTo>
                  <a:pt x="2157" y="446"/>
                  <a:pt x="2159" y="429"/>
                  <a:pt x="2159" y="429"/>
                </a:cubicBezTo>
                <a:cubicBezTo>
                  <a:pt x="2159" y="429"/>
                  <a:pt x="2150" y="427"/>
                  <a:pt x="2144" y="420"/>
                </a:cubicBezTo>
                <a:cubicBezTo>
                  <a:pt x="2139" y="412"/>
                  <a:pt x="2129" y="423"/>
                  <a:pt x="2129" y="423"/>
                </a:cubicBezTo>
                <a:cubicBezTo>
                  <a:pt x="2129" y="423"/>
                  <a:pt x="2127" y="429"/>
                  <a:pt x="2131" y="446"/>
                </a:cubicBezTo>
                <a:cubicBezTo>
                  <a:pt x="2134" y="457"/>
                  <a:pt x="2146" y="448"/>
                  <a:pt x="2146" y="448"/>
                </a:cubicBezTo>
                <a:cubicBezTo>
                  <a:pt x="2146" y="448"/>
                  <a:pt x="2139" y="453"/>
                  <a:pt x="2131" y="455"/>
                </a:cubicBezTo>
                <a:cubicBezTo>
                  <a:pt x="2124" y="457"/>
                  <a:pt x="2122" y="470"/>
                  <a:pt x="2099" y="474"/>
                </a:cubicBezTo>
                <a:cubicBezTo>
                  <a:pt x="2077" y="477"/>
                  <a:pt x="2090" y="487"/>
                  <a:pt x="2083" y="490"/>
                </a:cubicBezTo>
                <a:cubicBezTo>
                  <a:pt x="2075" y="494"/>
                  <a:pt x="2070" y="500"/>
                  <a:pt x="2068" y="492"/>
                </a:cubicBezTo>
                <a:cubicBezTo>
                  <a:pt x="2066" y="485"/>
                  <a:pt x="2057" y="500"/>
                  <a:pt x="2036" y="509"/>
                </a:cubicBezTo>
                <a:cubicBezTo>
                  <a:pt x="2016" y="518"/>
                  <a:pt x="2027" y="526"/>
                  <a:pt x="2016" y="528"/>
                </a:cubicBezTo>
                <a:cubicBezTo>
                  <a:pt x="2004" y="530"/>
                  <a:pt x="2003" y="535"/>
                  <a:pt x="1997" y="546"/>
                </a:cubicBezTo>
                <a:cubicBezTo>
                  <a:pt x="1991" y="558"/>
                  <a:pt x="1982" y="563"/>
                  <a:pt x="1973" y="571"/>
                </a:cubicBezTo>
                <a:cubicBezTo>
                  <a:pt x="1963" y="578"/>
                  <a:pt x="1947" y="586"/>
                  <a:pt x="1939" y="571"/>
                </a:cubicBezTo>
                <a:cubicBezTo>
                  <a:pt x="1932" y="556"/>
                  <a:pt x="1948" y="559"/>
                  <a:pt x="1948" y="559"/>
                </a:cubicBezTo>
                <a:cubicBezTo>
                  <a:pt x="1948" y="559"/>
                  <a:pt x="1958" y="546"/>
                  <a:pt x="1965" y="543"/>
                </a:cubicBezTo>
                <a:cubicBezTo>
                  <a:pt x="1973" y="539"/>
                  <a:pt x="1976" y="530"/>
                  <a:pt x="1982" y="518"/>
                </a:cubicBezTo>
                <a:cubicBezTo>
                  <a:pt x="1988" y="507"/>
                  <a:pt x="1999" y="507"/>
                  <a:pt x="1999" y="507"/>
                </a:cubicBezTo>
                <a:cubicBezTo>
                  <a:pt x="2010" y="494"/>
                  <a:pt x="2010" y="494"/>
                  <a:pt x="2010" y="494"/>
                </a:cubicBezTo>
                <a:cubicBezTo>
                  <a:pt x="2030" y="481"/>
                  <a:pt x="2030" y="481"/>
                  <a:pt x="2030" y="481"/>
                </a:cubicBezTo>
                <a:cubicBezTo>
                  <a:pt x="2030" y="481"/>
                  <a:pt x="2045" y="474"/>
                  <a:pt x="2053" y="464"/>
                </a:cubicBezTo>
                <a:cubicBezTo>
                  <a:pt x="2060" y="455"/>
                  <a:pt x="2057" y="457"/>
                  <a:pt x="2062" y="453"/>
                </a:cubicBezTo>
                <a:cubicBezTo>
                  <a:pt x="2068" y="449"/>
                  <a:pt x="2077" y="433"/>
                  <a:pt x="2077" y="433"/>
                </a:cubicBezTo>
                <a:cubicBezTo>
                  <a:pt x="2077" y="433"/>
                  <a:pt x="2079" y="420"/>
                  <a:pt x="2088" y="416"/>
                </a:cubicBezTo>
                <a:cubicBezTo>
                  <a:pt x="2098" y="412"/>
                  <a:pt x="2105" y="408"/>
                  <a:pt x="2105" y="399"/>
                </a:cubicBezTo>
                <a:cubicBezTo>
                  <a:pt x="2105" y="390"/>
                  <a:pt x="2124" y="369"/>
                  <a:pt x="2124" y="369"/>
                </a:cubicBezTo>
                <a:cubicBezTo>
                  <a:pt x="2124" y="369"/>
                  <a:pt x="2150" y="356"/>
                  <a:pt x="2170" y="349"/>
                </a:cubicBezTo>
                <a:cubicBezTo>
                  <a:pt x="2191" y="341"/>
                  <a:pt x="2187" y="336"/>
                  <a:pt x="2195" y="317"/>
                </a:cubicBezTo>
                <a:cubicBezTo>
                  <a:pt x="2202" y="298"/>
                  <a:pt x="2208" y="309"/>
                  <a:pt x="2208" y="309"/>
                </a:cubicBezTo>
                <a:cubicBezTo>
                  <a:pt x="2208" y="309"/>
                  <a:pt x="2213" y="293"/>
                  <a:pt x="2215" y="283"/>
                </a:cubicBezTo>
                <a:cubicBezTo>
                  <a:pt x="2217" y="274"/>
                  <a:pt x="2210" y="263"/>
                  <a:pt x="2210" y="263"/>
                </a:cubicBezTo>
                <a:cubicBezTo>
                  <a:pt x="2210" y="263"/>
                  <a:pt x="2204" y="263"/>
                  <a:pt x="2196" y="257"/>
                </a:cubicBezTo>
                <a:cubicBezTo>
                  <a:pt x="2189" y="252"/>
                  <a:pt x="2187" y="240"/>
                  <a:pt x="2193" y="227"/>
                </a:cubicBezTo>
                <a:cubicBezTo>
                  <a:pt x="2198" y="214"/>
                  <a:pt x="2198" y="237"/>
                  <a:pt x="2206" y="242"/>
                </a:cubicBezTo>
                <a:cubicBezTo>
                  <a:pt x="2213" y="248"/>
                  <a:pt x="2210" y="222"/>
                  <a:pt x="2210" y="222"/>
                </a:cubicBezTo>
                <a:cubicBezTo>
                  <a:pt x="2217" y="188"/>
                  <a:pt x="2217" y="188"/>
                  <a:pt x="2217" y="188"/>
                </a:cubicBezTo>
                <a:cubicBezTo>
                  <a:pt x="2217" y="188"/>
                  <a:pt x="2204" y="177"/>
                  <a:pt x="2191" y="168"/>
                </a:cubicBezTo>
                <a:cubicBezTo>
                  <a:pt x="2178" y="158"/>
                  <a:pt x="2187" y="158"/>
                  <a:pt x="2187" y="147"/>
                </a:cubicBezTo>
                <a:cubicBezTo>
                  <a:pt x="2187" y="136"/>
                  <a:pt x="2176" y="121"/>
                  <a:pt x="2157" y="112"/>
                </a:cubicBezTo>
                <a:cubicBezTo>
                  <a:pt x="2139" y="102"/>
                  <a:pt x="2113" y="97"/>
                  <a:pt x="2113" y="97"/>
                </a:cubicBezTo>
                <a:cubicBezTo>
                  <a:pt x="2092" y="106"/>
                  <a:pt x="2092" y="106"/>
                  <a:pt x="2092" y="106"/>
                </a:cubicBezTo>
                <a:cubicBezTo>
                  <a:pt x="2079" y="125"/>
                  <a:pt x="2079" y="125"/>
                  <a:pt x="2079" y="125"/>
                </a:cubicBezTo>
                <a:cubicBezTo>
                  <a:pt x="2079" y="125"/>
                  <a:pt x="2070" y="142"/>
                  <a:pt x="2060" y="143"/>
                </a:cubicBezTo>
                <a:cubicBezTo>
                  <a:pt x="2051" y="145"/>
                  <a:pt x="2038" y="147"/>
                  <a:pt x="2038" y="147"/>
                </a:cubicBezTo>
                <a:cubicBezTo>
                  <a:pt x="2038" y="147"/>
                  <a:pt x="2027" y="155"/>
                  <a:pt x="2047" y="130"/>
                </a:cubicBezTo>
                <a:cubicBezTo>
                  <a:pt x="2068" y="106"/>
                  <a:pt x="2058" y="114"/>
                  <a:pt x="2057" y="102"/>
                </a:cubicBezTo>
                <a:cubicBezTo>
                  <a:pt x="2055" y="91"/>
                  <a:pt x="2010" y="89"/>
                  <a:pt x="2010" y="89"/>
                </a:cubicBezTo>
                <a:cubicBezTo>
                  <a:pt x="1989" y="73"/>
                  <a:pt x="1989" y="73"/>
                  <a:pt x="1989" y="73"/>
                </a:cubicBezTo>
                <a:cubicBezTo>
                  <a:pt x="1989" y="73"/>
                  <a:pt x="1993" y="58"/>
                  <a:pt x="1984" y="52"/>
                </a:cubicBezTo>
                <a:cubicBezTo>
                  <a:pt x="1975" y="46"/>
                  <a:pt x="2003" y="48"/>
                  <a:pt x="2010" y="32"/>
                </a:cubicBezTo>
                <a:cubicBezTo>
                  <a:pt x="2017" y="15"/>
                  <a:pt x="1988" y="24"/>
                  <a:pt x="1988" y="24"/>
                </a:cubicBezTo>
                <a:cubicBezTo>
                  <a:pt x="1988" y="24"/>
                  <a:pt x="1993" y="7"/>
                  <a:pt x="1984" y="4"/>
                </a:cubicBezTo>
                <a:cubicBezTo>
                  <a:pt x="1975" y="0"/>
                  <a:pt x="1967" y="11"/>
                  <a:pt x="1960" y="20"/>
                </a:cubicBezTo>
                <a:cubicBezTo>
                  <a:pt x="1952" y="30"/>
                  <a:pt x="1928" y="46"/>
                  <a:pt x="1915" y="60"/>
                </a:cubicBezTo>
                <a:cubicBezTo>
                  <a:pt x="1902" y="73"/>
                  <a:pt x="1907" y="86"/>
                  <a:pt x="1907" y="86"/>
                </a:cubicBezTo>
                <a:cubicBezTo>
                  <a:pt x="1907" y="86"/>
                  <a:pt x="1902" y="99"/>
                  <a:pt x="1907" y="106"/>
                </a:cubicBezTo>
                <a:cubicBezTo>
                  <a:pt x="1913" y="114"/>
                  <a:pt x="1909" y="138"/>
                  <a:pt x="1909" y="138"/>
                </a:cubicBezTo>
                <a:cubicBezTo>
                  <a:pt x="1909" y="138"/>
                  <a:pt x="1906" y="145"/>
                  <a:pt x="1892" y="138"/>
                </a:cubicBezTo>
                <a:cubicBezTo>
                  <a:pt x="1879" y="130"/>
                  <a:pt x="1883" y="143"/>
                  <a:pt x="1872" y="138"/>
                </a:cubicBezTo>
                <a:cubicBezTo>
                  <a:pt x="1861" y="132"/>
                  <a:pt x="1859" y="134"/>
                  <a:pt x="1850" y="132"/>
                </a:cubicBezTo>
                <a:cubicBezTo>
                  <a:pt x="1840" y="130"/>
                  <a:pt x="1825" y="140"/>
                  <a:pt x="1825" y="140"/>
                </a:cubicBezTo>
                <a:cubicBezTo>
                  <a:pt x="1833" y="155"/>
                  <a:pt x="1833" y="155"/>
                  <a:pt x="1833" y="155"/>
                </a:cubicBezTo>
                <a:cubicBezTo>
                  <a:pt x="1848" y="168"/>
                  <a:pt x="1848" y="168"/>
                  <a:pt x="1848" y="168"/>
                </a:cubicBezTo>
                <a:cubicBezTo>
                  <a:pt x="1848" y="168"/>
                  <a:pt x="1857" y="179"/>
                  <a:pt x="1863" y="183"/>
                </a:cubicBezTo>
                <a:cubicBezTo>
                  <a:pt x="1868" y="186"/>
                  <a:pt x="1872" y="196"/>
                  <a:pt x="1872" y="207"/>
                </a:cubicBezTo>
                <a:cubicBezTo>
                  <a:pt x="1872" y="218"/>
                  <a:pt x="1855" y="233"/>
                  <a:pt x="1848" y="229"/>
                </a:cubicBezTo>
                <a:cubicBezTo>
                  <a:pt x="1840" y="226"/>
                  <a:pt x="1844" y="226"/>
                  <a:pt x="1848" y="216"/>
                </a:cubicBezTo>
                <a:cubicBezTo>
                  <a:pt x="1851" y="207"/>
                  <a:pt x="1848" y="188"/>
                  <a:pt x="1846" y="183"/>
                </a:cubicBezTo>
                <a:cubicBezTo>
                  <a:pt x="1844" y="177"/>
                  <a:pt x="1837" y="177"/>
                  <a:pt x="1822" y="171"/>
                </a:cubicBezTo>
                <a:cubicBezTo>
                  <a:pt x="1807" y="166"/>
                  <a:pt x="1810" y="179"/>
                  <a:pt x="1805" y="188"/>
                </a:cubicBezTo>
                <a:cubicBezTo>
                  <a:pt x="1799" y="198"/>
                  <a:pt x="1799" y="201"/>
                  <a:pt x="1790" y="203"/>
                </a:cubicBezTo>
                <a:cubicBezTo>
                  <a:pt x="1781" y="205"/>
                  <a:pt x="1784" y="214"/>
                  <a:pt x="1766" y="224"/>
                </a:cubicBezTo>
                <a:cubicBezTo>
                  <a:pt x="1747" y="233"/>
                  <a:pt x="1756" y="231"/>
                  <a:pt x="1751" y="216"/>
                </a:cubicBezTo>
                <a:cubicBezTo>
                  <a:pt x="1751" y="216"/>
                  <a:pt x="1775" y="177"/>
                  <a:pt x="1762" y="171"/>
                </a:cubicBezTo>
                <a:cubicBezTo>
                  <a:pt x="1749" y="166"/>
                  <a:pt x="1756" y="177"/>
                  <a:pt x="1740" y="175"/>
                </a:cubicBezTo>
                <a:cubicBezTo>
                  <a:pt x="1723" y="173"/>
                  <a:pt x="1723" y="175"/>
                  <a:pt x="1723" y="175"/>
                </a:cubicBezTo>
                <a:cubicBezTo>
                  <a:pt x="1695" y="188"/>
                  <a:pt x="1695" y="188"/>
                  <a:pt x="1695" y="188"/>
                </a:cubicBezTo>
                <a:cubicBezTo>
                  <a:pt x="1689" y="201"/>
                  <a:pt x="1689" y="201"/>
                  <a:pt x="1689" y="201"/>
                </a:cubicBezTo>
                <a:cubicBezTo>
                  <a:pt x="1702" y="203"/>
                  <a:pt x="1702" y="203"/>
                  <a:pt x="1702" y="203"/>
                </a:cubicBezTo>
                <a:cubicBezTo>
                  <a:pt x="1710" y="214"/>
                  <a:pt x="1710" y="214"/>
                  <a:pt x="1710" y="214"/>
                </a:cubicBezTo>
                <a:cubicBezTo>
                  <a:pt x="1710" y="214"/>
                  <a:pt x="1706" y="224"/>
                  <a:pt x="1697" y="224"/>
                </a:cubicBezTo>
                <a:cubicBezTo>
                  <a:pt x="1687" y="224"/>
                  <a:pt x="1689" y="231"/>
                  <a:pt x="1680" y="229"/>
                </a:cubicBezTo>
                <a:cubicBezTo>
                  <a:pt x="1670" y="227"/>
                  <a:pt x="1665" y="242"/>
                  <a:pt x="1657" y="250"/>
                </a:cubicBezTo>
                <a:cubicBezTo>
                  <a:pt x="1650" y="257"/>
                  <a:pt x="1631" y="274"/>
                  <a:pt x="1631" y="274"/>
                </a:cubicBezTo>
                <a:cubicBezTo>
                  <a:pt x="1631" y="274"/>
                  <a:pt x="1607" y="280"/>
                  <a:pt x="1600" y="289"/>
                </a:cubicBezTo>
                <a:cubicBezTo>
                  <a:pt x="1592" y="298"/>
                  <a:pt x="1588" y="304"/>
                  <a:pt x="1588" y="304"/>
                </a:cubicBezTo>
                <a:cubicBezTo>
                  <a:pt x="1588" y="304"/>
                  <a:pt x="1572" y="313"/>
                  <a:pt x="1564" y="300"/>
                </a:cubicBezTo>
                <a:cubicBezTo>
                  <a:pt x="1557" y="287"/>
                  <a:pt x="1551" y="298"/>
                  <a:pt x="1551" y="298"/>
                </a:cubicBezTo>
                <a:cubicBezTo>
                  <a:pt x="1551" y="298"/>
                  <a:pt x="1546" y="313"/>
                  <a:pt x="1551" y="311"/>
                </a:cubicBezTo>
                <a:cubicBezTo>
                  <a:pt x="1557" y="309"/>
                  <a:pt x="1560" y="319"/>
                  <a:pt x="1562" y="324"/>
                </a:cubicBezTo>
                <a:cubicBezTo>
                  <a:pt x="1564" y="330"/>
                  <a:pt x="1544" y="328"/>
                  <a:pt x="1544" y="328"/>
                </a:cubicBezTo>
                <a:cubicBezTo>
                  <a:pt x="1544" y="328"/>
                  <a:pt x="1544" y="328"/>
                  <a:pt x="1534" y="319"/>
                </a:cubicBezTo>
                <a:cubicBezTo>
                  <a:pt x="1525" y="309"/>
                  <a:pt x="1516" y="324"/>
                  <a:pt x="1516" y="324"/>
                </a:cubicBezTo>
                <a:cubicBezTo>
                  <a:pt x="1516" y="324"/>
                  <a:pt x="1516" y="324"/>
                  <a:pt x="1508" y="332"/>
                </a:cubicBezTo>
                <a:cubicBezTo>
                  <a:pt x="1501" y="339"/>
                  <a:pt x="1518" y="349"/>
                  <a:pt x="1518" y="349"/>
                </a:cubicBezTo>
                <a:cubicBezTo>
                  <a:pt x="1518" y="349"/>
                  <a:pt x="1525" y="347"/>
                  <a:pt x="1531" y="345"/>
                </a:cubicBezTo>
                <a:cubicBezTo>
                  <a:pt x="1536" y="343"/>
                  <a:pt x="1542" y="354"/>
                  <a:pt x="1546" y="362"/>
                </a:cubicBezTo>
                <a:cubicBezTo>
                  <a:pt x="1549" y="369"/>
                  <a:pt x="1544" y="373"/>
                  <a:pt x="1523" y="364"/>
                </a:cubicBezTo>
                <a:cubicBezTo>
                  <a:pt x="1503" y="354"/>
                  <a:pt x="1516" y="377"/>
                  <a:pt x="1519" y="386"/>
                </a:cubicBezTo>
                <a:cubicBezTo>
                  <a:pt x="1523" y="395"/>
                  <a:pt x="1529" y="401"/>
                  <a:pt x="1536" y="405"/>
                </a:cubicBezTo>
                <a:cubicBezTo>
                  <a:pt x="1544" y="408"/>
                  <a:pt x="1551" y="423"/>
                  <a:pt x="1551" y="423"/>
                </a:cubicBezTo>
                <a:cubicBezTo>
                  <a:pt x="1551" y="423"/>
                  <a:pt x="1551" y="438"/>
                  <a:pt x="1549" y="446"/>
                </a:cubicBezTo>
                <a:cubicBezTo>
                  <a:pt x="1547" y="453"/>
                  <a:pt x="1547" y="457"/>
                  <a:pt x="1538" y="461"/>
                </a:cubicBezTo>
                <a:cubicBezTo>
                  <a:pt x="1529" y="464"/>
                  <a:pt x="1519" y="468"/>
                  <a:pt x="1519" y="468"/>
                </a:cubicBezTo>
                <a:cubicBezTo>
                  <a:pt x="1519" y="468"/>
                  <a:pt x="1516" y="462"/>
                  <a:pt x="1523" y="442"/>
                </a:cubicBezTo>
                <a:cubicBezTo>
                  <a:pt x="1531" y="421"/>
                  <a:pt x="1516" y="429"/>
                  <a:pt x="1516" y="429"/>
                </a:cubicBezTo>
                <a:cubicBezTo>
                  <a:pt x="1516" y="429"/>
                  <a:pt x="1505" y="429"/>
                  <a:pt x="1490" y="427"/>
                </a:cubicBezTo>
                <a:cubicBezTo>
                  <a:pt x="1475" y="425"/>
                  <a:pt x="1482" y="436"/>
                  <a:pt x="1462" y="421"/>
                </a:cubicBezTo>
                <a:cubicBezTo>
                  <a:pt x="1441" y="406"/>
                  <a:pt x="1439" y="429"/>
                  <a:pt x="1439" y="429"/>
                </a:cubicBezTo>
                <a:cubicBezTo>
                  <a:pt x="1439" y="429"/>
                  <a:pt x="1430" y="442"/>
                  <a:pt x="1417" y="436"/>
                </a:cubicBezTo>
                <a:cubicBezTo>
                  <a:pt x="1404" y="431"/>
                  <a:pt x="1402" y="433"/>
                  <a:pt x="1402" y="433"/>
                </a:cubicBezTo>
                <a:cubicBezTo>
                  <a:pt x="1402" y="433"/>
                  <a:pt x="1394" y="442"/>
                  <a:pt x="1385" y="444"/>
                </a:cubicBezTo>
                <a:cubicBezTo>
                  <a:pt x="1376" y="446"/>
                  <a:pt x="1376" y="453"/>
                  <a:pt x="1376" y="475"/>
                </a:cubicBezTo>
                <a:cubicBezTo>
                  <a:pt x="1376" y="498"/>
                  <a:pt x="1387" y="492"/>
                  <a:pt x="1387" y="492"/>
                </a:cubicBezTo>
                <a:cubicBezTo>
                  <a:pt x="1387" y="492"/>
                  <a:pt x="1389" y="505"/>
                  <a:pt x="1372" y="511"/>
                </a:cubicBezTo>
                <a:cubicBezTo>
                  <a:pt x="1355" y="517"/>
                  <a:pt x="1376" y="533"/>
                  <a:pt x="1383" y="539"/>
                </a:cubicBezTo>
                <a:cubicBezTo>
                  <a:pt x="1391" y="544"/>
                  <a:pt x="1430" y="572"/>
                  <a:pt x="1430" y="572"/>
                </a:cubicBezTo>
                <a:cubicBezTo>
                  <a:pt x="1456" y="604"/>
                  <a:pt x="1456" y="604"/>
                  <a:pt x="1456" y="604"/>
                </a:cubicBezTo>
                <a:cubicBezTo>
                  <a:pt x="1456" y="604"/>
                  <a:pt x="1462" y="619"/>
                  <a:pt x="1460" y="628"/>
                </a:cubicBezTo>
                <a:cubicBezTo>
                  <a:pt x="1458" y="638"/>
                  <a:pt x="1443" y="651"/>
                  <a:pt x="1443" y="651"/>
                </a:cubicBezTo>
                <a:cubicBezTo>
                  <a:pt x="1441" y="677"/>
                  <a:pt x="1441" y="677"/>
                  <a:pt x="1441" y="677"/>
                </a:cubicBezTo>
                <a:cubicBezTo>
                  <a:pt x="1450" y="703"/>
                  <a:pt x="1450" y="703"/>
                  <a:pt x="1450" y="703"/>
                </a:cubicBezTo>
                <a:cubicBezTo>
                  <a:pt x="1450" y="703"/>
                  <a:pt x="1452" y="720"/>
                  <a:pt x="1449" y="729"/>
                </a:cubicBezTo>
                <a:cubicBezTo>
                  <a:pt x="1445" y="738"/>
                  <a:pt x="1447" y="750"/>
                  <a:pt x="1436" y="752"/>
                </a:cubicBezTo>
                <a:cubicBezTo>
                  <a:pt x="1424" y="753"/>
                  <a:pt x="1415" y="738"/>
                  <a:pt x="1415" y="738"/>
                </a:cubicBezTo>
                <a:cubicBezTo>
                  <a:pt x="1424" y="725"/>
                  <a:pt x="1424" y="725"/>
                  <a:pt x="1424" y="725"/>
                </a:cubicBezTo>
                <a:cubicBezTo>
                  <a:pt x="1424" y="725"/>
                  <a:pt x="1428" y="718"/>
                  <a:pt x="1428" y="699"/>
                </a:cubicBezTo>
                <a:cubicBezTo>
                  <a:pt x="1428" y="681"/>
                  <a:pt x="1428" y="699"/>
                  <a:pt x="1419" y="699"/>
                </a:cubicBezTo>
                <a:cubicBezTo>
                  <a:pt x="1409" y="699"/>
                  <a:pt x="1417" y="707"/>
                  <a:pt x="1415" y="714"/>
                </a:cubicBezTo>
                <a:cubicBezTo>
                  <a:pt x="1413" y="722"/>
                  <a:pt x="1409" y="725"/>
                  <a:pt x="1406" y="709"/>
                </a:cubicBezTo>
                <a:cubicBezTo>
                  <a:pt x="1402" y="692"/>
                  <a:pt x="1413" y="694"/>
                  <a:pt x="1415" y="671"/>
                </a:cubicBezTo>
                <a:cubicBezTo>
                  <a:pt x="1417" y="649"/>
                  <a:pt x="1406" y="643"/>
                  <a:pt x="1406" y="643"/>
                </a:cubicBezTo>
                <a:cubicBezTo>
                  <a:pt x="1426" y="628"/>
                  <a:pt x="1426" y="628"/>
                  <a:pt x="1426" y="628"/>
                </a:cubicBezTo>
                <a:cubicBezTo>
                  <a:pt x="1426" y="628"/>
                  <a:pt x="1432" y="617"/>
                  <a:pt x="1426" y="604"/>
                </a:cubicBezTo>
                <a:cubicBezTo>
                  <a:pt x="1421" y="591"/>
                  <a:pt x="1421" y="602"/>
                  <a:pt x="1413" y="606"/>
                </a:cubicBezTo>
                <a:cubicBezTo>
                  <a:pt x="1406" y="610"/>
                  <a:pt x="1404" y="610"/>
                  <a:pt x="1394" y="610"/>
                </a:cubicBezTo>
                <a:cubicBezTo>
                  <a:pt x="1385" y="610"/>
                  <a:pt x="1385" y="614"/>
                  <a:pt x="1376" y="610"/>
                </a:cubicBezTo>
                <a:cubicBezTo>
                  <a:pt x="1366" y="606"/>
                  <a:pt x="1366" y="599"/>
                  <a:pt x="1365" y="580"/>
                </a:cubicBezTo>
                <a:cubicBezTo>
                  <a:pt x="1363" y="561"/>
                  <a:pt x="1344" y="571"/>
                  <a:pt x="1344" y="571"/>
                </a:cubicBezTo>
                <a:cubicBezTo>
                  <a:pt x="1325" y="541"/>
                  <a:pt x="1325" y="541"/>
                  <a:pt x="1325" y="541"/>
                </a:cubicBezTo>
                <a:cubicBezTo>
                  <a:pt x="1325" y="541"/>
                  <a:pt x="1320" y="544"/>
                  <a:pt x="1309" y="546"/>
                </a:cubicBezTo>
                <a:cubicBezTo>
                  <a:pt x="1297" y="548"/>
                  <a:pt x="1297" y="561"/>
                  <a:pt x="1297" y="561"/>
                </a:cubicBezTo>
                <a:cubicBezTo>
                  <a:pt x="1312" y="574"/>
                  <a:pt x="1312" y="574"/>
                  <a:pt x="1312" y="574"/>
                </a:cubicBezTo>
                <a:cubicBezTo>
                  <a:pt x="1312" y="574"/>
                  <a:pt x="1314" y="584"/>
                  <a:pt x="1307" y="593"/>
                </a:cubicBezTo>
                <a:cubicBezTo>
                  <a:pt x="1299" y="602"/>
                  <a:pt x="1290" y="606"/>
                  <a:pt x="1290" y="606"/>
                </a:cubicBezTo>
                <a:cubicBezTo>
                  <a:pt x="1290" y="606"/>
                  <a:pt x="1290" y="606"/>
                  <a:pt x="1281" y="595"/>
                </a:cubicBezTo>
                <a:cubicBezTo>
                  <a:pt x="1271" y="584"/>
                  <a:pt x="1271" y="597"/>
                  <a:pt x="1262" y="612"/>
                </a:cubicBezTo>
                <a:cubicBezTo>
                  <a:pt x="1253" y="627"/>
                  <a:pt x="1277" y="628"/>
                  <a:pt x="1277" y="628"/>
                </a:cubicBezTo>
                <a:cubicBezTo>
                  <a:pt x="1277" y="628"/>
                  <a:pt x="1292" y="643"/>
                  <a:pt x="1299" y="645"/>
                </a:cubicBezTo>
                <a:cubicBezTo>
                  <a:pt x="1307" y="647"/>
                  <a:pt x="1314" y="658"/>
                  <a:pt x="1320" y="660"/>
                </a:cubicBezTo>
                <a:cubicBezTo>
                  <a:pt x="1325" y="662"/>
                  <a:pt x="1324" y="679"/>
                  <a:pt x="1314" y="679"/>
                </a:cubicBezTo>
                <a:cubicBezTo>
                  <a:pt x="1305" y="679"/>
                  <a:pt x="1292" y="677"/>
                  <a:pt x="1292" y="677"/>
                </a:cubicBezTo>
                <a:cubicBezTo>
                  <a:pt x="1292" y="677"/>
                  <a:pt x="1288" y="668"/>
                  <a:pt x="1273" y="653"/>
                </a:cubicBezTo>
                <a:cubicBezTo>
                  <a:pt x="1258" y="638"/>
                  <a:pt x="1262" y="656"/>
                  <a:pt x="1251" y="649"/>
                </a:cubicBezTo>
                <a:cubicBezTo>
                  <a:pt x="1240" y="641"/>
                  <a:pt x="1242" y="653"/>
                  <a:pt x="1238" y="641"/>
                </a:cubicBezTo>
                <a:cubicBezTo>
                  <a:pt x="1234" y="630"/>
                  <a:pt x="1242" y="619"/>
                  <a:pt x="1243" y="606"/>
                </a:cubicBezTo>
                <a:cubicBezTo>
                  <a:pt x="1245" y="593"/>
                  <a:pt x="1243" y="584"/>
                  <a:pt x="1242" y="567"/>
                </a:cubicBezTo>
                <a:cubicBezTo>
                  <a:pt x="1240" y="550"/>
                  <a:pt x="1243" y="548"/>
                  <a:pt x="1242" y="539"/>
                </a:cubicBezTo>
                <a:cubicBezTo>
                  <a:pt x="1240" y="530"/>
                  <a:pt x="1234" y="528"/>
                  <a:pt x="1234" y="528"/>
                </a:cubicBezTo>
                <a:cubicBezTo>
                  <a:pt x="1234" y="528"/>
                  <a:pt x="1227" y="518"/>
                  <a:pt x="1221" y="515"/>
                </a:cubicBezTo>
                <a:cubicBezTo>
                  <a:pt x="1215" y="511"/>
                  <a:pt x="1217" y="507"/>
                  <a:pt x="1215" y="494"/>
                </a:cubicBezTo>
                <a:cubicBezTo>
                  <a:pt x="1214" y="481"/>
                  <a:pt x="1200" y="500"/>
                  <a:pt x="1200" y="500"/>
                </a:cubicBezTo>
                <a:cubicBezTo>
                  <a:pt x="1214" y="518"/>
                  <a:pt x="1214" y="518"/>
                  <a:pt x="1214" y="518"/>
                </a:cubicBezTo>
                <a:cubicBezTo>
                  <a:pt x="1214" y="518"/>
                  <a:pt x="1227" y="531"/>
                  <a:pt x="1227" y="537"/>
                </a:cubicBezTo>
                <a:cubicBezTo>
                  <a:pt x="1227" y="543"/>
                  <a:pt x="1221" y="563"/>
                  <a:pt x="1219" y="571"/>
                </a:cubicBezTo>
                <a:cubicBezTo>
                  <a:pt x="1217" y="578"/>
                  <a:pt x="1199" y="602"/>
                  <a:pt x="1193" y="608"/>
                </a:cubicBezTo>
                <a:cubicBezTo>
                  <a:pt x="1187" y="614"/>
                  <a:pt x="1182" y="633"/>
                  <a:pt x="1182" y="633"/>
                </a:cubicBezTo>
                <a:cubicBezTo>
                  <a:pt x="1182" y="653"/>
                  <a:pt x="1182" y="653"/>
                  <a:pt x="1182" y="653"/>
                </a:cubicBezTo>
                <a:cubicBezTo>
                  <a:pt x="1182" y="653"/>
                  <a:pt x="1182" y="664"/>
                  <a:pt x="1182" y="669"/>
                </a:cubicBezTo>
                <a:cubicBezTo>
                  <a:pt x="1182" y="674"/>
                  <a:pt x="1195" y="690"/>
                  <a:pt x="1195" y="690"/>
                </a:cubicBezTo>
                <a:cubicBezTo>
                  <a:pt x="1195" y="690"/>
                  <a:pt x="1197" y="702"/>
                  <a:pt x="1201" y="702"/>
                </a:cubicBezTo>
                <a:cubicBezTo>
                  <a:pt x="1206" y="702"/>
                  <a:pt x="1206" y="710"/>
                  <a:pt x="1206" y="715"/>
                </a:cubicBezTo>
                <a:cubicBezTo>
                  <a:pt x="1206" y="720"/>
                  <a:pt x="1193" y="732"/>
                  <a:pt x="1193" y="732"/>
                </a:cubicBezTo>
                <a:cubicBezTo>
                  <a:pt x="1195" y="737"/>
                  <a:pt x="1193" y="742"/>
                  <a:pt x="1189" y="742"/>
                </a:cubicBezTo>
                <a:cubicBezTo>
                  <a:pt x="1184" y="742"/>
                  <a:pt x="1185" y="759"/>
                  <a:pt x="1185" y="759"/>
                </a:cubicBezTo>
                <a:cubicBezTo>
                  <a:pt x="1190" y="773"/>
                  <a:pt x="1190" y="773"/>
                  <a:pt x="1190" y="773"/>
                </a:cubicBezTo>
                <a:cubicBezTo>
                  <a:pt x="1197" y="788"/>
                  <a:pt x="1197" y="788"/>
                  <a:pt x="1197" y="788"/>
                </a:cubicBezTo>
                <a:cubicBezTo>
                  <a:pt x="1197" y="788"/>
                  <a:pt x="1192" y="797"/>
                  <a:pt x="1189" y="807"/>
                </a:cubicBezTo>
                <a:cubicBezTo>
                  <a:pt x="1185" y="816"/>
                  <a:pt x="1193" y="826"/>
                  <a:pt x="1204" y="829"/>
                </a:cubicBezTo>
                <a:cubicBezTo>
                  <a:pt x="1215" y="832"/>
                  <a:pt x="1227" y="827"/>
                  <a:pt x="1238" y="824"/>
                </a:cubicBezTo>
                <a:cubicBezTo>
                  <a:pt x="1249" y="821"/>
                  <a:pt x="1255" y="832"/>
                  <a:pt x="1277" y="837"/>
                </a:cubicBezTo>
                <a:cubicBezTo>
                  <a:pt x="1299" y="841"/>
                  <a:pt x="1296" y="865"/>
                  <a:pt x="1299" y="878"/>
                </a:cubicBezTo>
                <a:cubicBezTo>
                  <a:pt x="1302" y="890"/>
                  <a:pt x="1304" y="892"/>
                  <a:pt x="1299" y="897"/>
                </a:cubicBezTo>
                <a:cubicBezTo>
                  <a:pt x="1294" y="901"/>
                  <a:pt x="1305" y="917"/>
                  <a:pt x="1305" y="917"/>
                </a:cubicBezTo>
                <a:cubicBezTo>
                  <a:pt x="1320" y="919"/>
                  <a:pt x="1320" y="919"/>
                  <a:pt x="1320" y="919"/>
                </a:cubicBezTo>
                <a:cubicBezTo>
                  <a:pt x="1320" y="919"/>
                  <a:pt x="1332" y="920"/>
                  <a:pt x="1337" y="919"/>
                </a:cubicBezTo>
                <a:cubicBezTo>
                  <a:pt x="1342" y="917"/>
                  <a:pt x="1343" y="933"/>
                  <a:pt x="1343" y="933"/>
                </a:cubicBezTo>
                <a:cubicBezTo>
                  <a:pt x="1343" y="933"/>
                  <a:pt x="1337" y="950"/>
                  <a:pt x="1329" y="944"/>
                </a:cubicBezTo>
                <a:cubicBezTo>
                  <a:pt x="1321" y="938"/>
                  <a:pt x="1321" y="934"/>
                  <a:pt x="1316" y="933"/>
                </a:cubicBezTo>
                <a:cubicBezTo>
                  <a:pt x="1312" y="931"/>
                  <a:pt x="1310" y="942"/>
                  <a:pt x="1310" y="942"/>
                </a:cubicBezTo>
                <a:cubicBezTo>
                  <a:pt x="1305" y="966"/>
                  <a:pt x="1305" y="966"/>
                  <a:pt x="1305" y="966"/>
                </a:cubicBezTo>
                <a:cubicBezTo>
                  <a:pt x="1305" y="966"/>
                  <a:pt x="1304" y="969"/>
                  <a:pt x="1298" y="960"/>
                </a:cubicBezTo>
                <a:cubicBezTo>
                  <a:pt x="1291" y="950"/>
                  <a:pt x="1288" y="934"/>
                  <a:pt x="1288" y="934"/>
                </a:cubicBezTo>
                <a:cubicBezTo>
                  <a:pt x="1288" y="934"/>
                  <a:pt x="1288" y="934"/>
                  <a:pt x="1279" y="928"/>
                </a:cubicBezTo>
                <a:cubicBezTo>
                  <a:pt x="1269" y="922"/>
                  <a:pt x="1285" y="906"/>
                  <a:pt x="1285" y="906"/>
                </a:cubicBezTo>
                <a:cubicBezTo>
                  <a:pt x="1285" y="906"/>
                  <a:pt x="1280" y="903"/>
                  <a:pt x="1271" y="892"/>
                </a:cubicBezTo>
                <a:cubicBezTo>
                  <a:pt x="1261" y="881"/>
                  <a:pt x="1269" y="881"/>
                  <a:pt x="1274" y="860"/>
                </a:cubicBezTo>
                <a:cubicBezTo>
                  <a:pt x="1279" y="840"/>
                  <a:pt x="1258" y="846"/>
                  <a:pt x="1258" y="846"/>
                </a:cubicBezTo>
                <a:cubicBezTo>
                  <a:pt x="1258" y="846"/>
                  <a:pt x="1253" y="848"/>
                  <a:pt x="1227" y="857"/>
                </a:cubicBezTo>
                <a:cubicBezTo>
                  <a:pt x="1200" y="867"/>
                  <a:pt x="1230" y="868"/>
                  <a:pt x="1222" y="868"/>
                </a:cubicBezTo>
                <a:cubicBezTo>
                  <a:pt x="1214" y="868"/>
                  <a:pt x="1220" y="890"/>
                  <a:pt x="1220" y="890"/>
                </a:cubicBezTo>
                <a:cubicBezTo>
                  <a:pt x="1220" y="890"/>
                  <a:pt x="1227" y="904"/>
                  <a:pt x="1223" y="917"/>
                </a:cubicBezTo>
                <a:cubicBezTo>
                  <a:pt x="1220" y="930"/>
                  <a:pt x="1220" y="923"/>
                  <a:pt x="1209" y="922"/>
                </a:cubicBezTo>
                <a:cubicBezTo>
                  <a:pt x="1198" y="920"/>
                  <a:pt x="1203" y="931"/>
                  <a:pt x="1204" y="941"/>
                </a:cubicBezTo>
                <a:cubicBezTo>
                  <a:pt x="1206" y="950"/>
                  <a:pt x="1185" y="982"/>
                  <a:pt x="1185" y="982"/>
                </a:cubicBezTo>
                <a:cubicBezTo>
                  <a:pt x="1173" y="988"/>
                  <a:pt x="1173" y="988"/>
                  <a:pt x="1173" y="988"/>
                </a:cubicBezTo>
                <a:cubicBezTo>
                  <a:pt x="1171" y="1013"/>
                  <a:pt x="1171" y="1013"/>
                  <a:pt x="1171" y="1013"/>
                </a:cubicBezTo>
                <a:cubicBezTo>
                  <a:pt x="1171" y="1013"/>
                  <a:pt x="1182" y="1032"/>
                  <a:pt x="1181" y="1039"/>
                </a:cubicBezTo>
                <a:cubicBezTo>
                  <a:pt x="1179" y="1045"/>
                  <a:pt x="1187" y="1056"/>
                  <a:pt x="1187" y="1056"/>
                </a:cubicBezTo>
                <a:cubicBezTo>
                  <a:pt x="1187" y="1056"/>
                  <a:pt x="1185" y="1069"/>
                  <a:pt x="1182" y="1073"/>
                </a:cubicBezTo>
                <a:cubicBezTo>
                  <a:pt x="1179" y="1078"/>
                  <a:pt x="1168" y="1075"/>
                  <a:pt x="1168" y="1059"/>
                </a:cubicBezTo>
                <a:cubicBezTo>
                  <a:pt x="1168" y="1043"/>
                  <a:pt x="1162" y="1054"/>
                  <a:pt x="1151" y="1034"/>
                </a:cubicBezTo>
                <a:cubicBezTo>
                  <a:pt x="1140" y="1013"/>
                  <a:pt x="1143" y="1028"/>
                  <a:pt x="1135" y="1012"/>
                </a:cubicBezTo>
                <a:cubicBezTo>
                  <a:pt x="1127" y="996"/>
                  <a:pt x="1122" y="1023"/>
                  <a:pt x="1122" y="1023"/>
                </a:cubicBezTo>
                <a:cubicBezTo>
                  <a:pt x="1116" y="1010"/>
                  <a:pt x="1116" y="1010"/>
                  <a:pt x="1116" y="1010"/>
                </a:cubicBezTo>
                <a:cubicBezTo>
                  <a:pt x="1116" y="1010"/>
                  <a:pt x="1114" y="1018"/>
                  <a:pt x="1105" y="1021"/>
                </a:cubicBezTo>
                <a:cubicBezTo>
                  <a:pt x="1095" y="1024"/>
                  <a:pt x="1107" y="1015"/>
                  <a:pt x="1107" y="1004"/>
                </a:cubicBezTo>
                <a:cubicBezTo>
                  <a:pt x="1107" y="993"/>
                  <a:pt x="1097" y="1004"/>
                  <a:pt x="1092" y="1004"/>
                </a:cubicBezTo>
                <a:cubicBezTo>
                  <a:pt x="1088" y="1004"/>
                  <a:pt x="1083" y="1007"/>
                  <a:pt x="1081" y="1002"/>
                </a:cubicBezTo>
                <a:cubicBezTo>
                  <a:pt x="1080" y="998"/>
                  <a:pt x="1067" y="980"/>
                  <a:pt x="1067" y="980"/>
                </a:cubicBezTo>
                <a:cubicBezTo>
                  <a:pt x="1078" y="976"/>
                  <a:pt x="1078" y="976"/>
                  <a:pt x="1078" y="976"/>
                </a:cubicBezTo>
                <a:cubicBezTo>
                  <a:pt x="1094" y="979"/>
                  <a:pt x="1094" y="979"/>
                  <a:pt x="1094" y="979"/>
                </a:cubicBezTo>
                <a:cubicBezTo>
                  <a:pt x="1103" y="972"/>
                  <a:pt x="1103" y="972"/>
                  <a:pt x="1103" y="972"/>
                </a:cubicBezTo>
                <a:cubicBezTo>
                  <a:pt x="1113" y="987"/>
                  <a:pt x="1113" y="987"/>
                  <a:pt x="1113" y="987"/>
                </a:cubicBezTo>
                <a:cubicBezTo>
                  <a:pt x="1113" y="987"/>
                  <a:pt x="1124" y="993"/>
                  <a:pt x="1130" y="987"/>
                </a:cubicBezTo>
                <a:cubicBezTo>
                  <a:pt x="1137" y="980"/>
                  <a:pt x="1130" y="974"/>
                  <a:pt x="1137" y="966"/>
                </a:cubicBezTo>
                <a:cubicBezTo>
                  <a:pt x="1143" y="958"/>
                  <a:pt x="1163" y="952"/>
                  <a:pt x="1174" y="923"/>
                </a:cubicBezTo>
                <a:cubicBezTo>
                  <a:pt x="1185" y="895"/>
                  <a:pt x="1178" y="870"/>
                  <a:pt x="1178" y="870"/>
                </a:cubicBezTo>
                <a:cubicBezTo>
                  <a:pt x="1178" y="870"/>
                  <a:pt x="1176" y="860"/>
                  <a:pt x="1168" y="846"/>
                </a:cubicBezTo>
                <a:cubicBezTo>
                  <a:pt x="1160" y="832"/>
                  <a:pt x="1165" y="832"/>
                  <a:pt x="1157" y="799"/>
                </a:cubicBezTo>
                <a:cubicBezTo>
                  <a:pt x="1149" y="766"/>
                  <a:pt x="1160" y="778"/>
                  <a:pt x="1162" y="747"/>
                </a:cubicBezTo>
                <a:cubicBezTo>
                  <a:pt x="1163" y="715"/>
                  <a:pt x="1171" y="724"/>
                  <a:pt x="1170" y="710"/>
                </a:cubicBezTo>
                <a:cubicBezTo>
                  <a:pt x="1168" y="696"/>
                  <a:pt x="1170" y="698"/>
                  <a:pt x="1165" y="679"/>
                </a:cubicBezTo>
                <a:cubicBezTo>
                  <a:pt x="1160" y="660"/>
                  <a:pt x="1152" y="647"/>
                  <a:pt x="1152" y="647"/>
                </a:cubicBezTo>
                <a:cubicBezTo>
                  <a:pt x="1152" y="647"/>
                  <a:pt x="1146" y="636"/>
                  <a:pt x="1138" y="633"/>
                </a:cubicBezTo>
                <a:cubicBezTo>
                  <a:pt x="1130" y="630"/>
                  <a:pt x="1127" y="627"/>
                  <a:pt x="1133" y="616"/>
                </a:cubicBezTo>
                <a:cubicBezTo>
                  <a:pt x="1140" y="605"/>
                  <a:pt x="1146" y="603"/>
                  <a:pt x="1152" y="595"/>
                </a:cubicBezTo>
                <a:cubicBezTo>
                  <a:pt x="1159" y="587"/>
                  <a:pt x="1148" y="562"/>
                  <a:pt x="1148" y="562"/>
                </a:cubicBezTo>
                <a:cubicBezTo>
                  <a:pt x="1148" y="562"/>
                  <a:pt x="1155" y="537"/>
                  <a:pt x="1154" y="519"/>
                </a:cubicBezTo>
                <a:cubicBezTo>
                  <a:pt x="1152" y="502"/>
                  <a:pt x="1148" y="516"/>
                  <a:pt x="1127" y="508"/>
                </a:cubicBezTo>
                <a:cubicBezTo>
                  <a:pt x="1107" y="500"/>
                  <a:pt x="1119" y="507"/>
                  <a:pt x="1107" y="502"/>
                </a:cubicBezTo>
                <a:cubicBezTo>
                  <a:pt x="1094" y="497"/>
                  <a:pt x="1099" y="505"/>
                  <a:pt x="1069" y="538"/>
                </a:cubicBezTo>
                <a:cubicBezTo>
                  <a:pt x="1039" y="571"/>
                  <a:pt x="1072" y="551"/>
                  <a:pt x="1062" y="559"/>
                </a:cubicBezTo>
                <a:cubicBezTo>
                  <a:pt x="1053" y="567"/>
                  <a:pt x="1058" y="565"/>
                  <a:pt x="1064" y="573"/>
                </a:cubicBezTo>
                <a:cubicBezTo>
                  <a:pt x="1070" y="581"/>
                  <a:pt x="1064" y="586"/>
                  <a:pt x="1058" y="597"/>
                </a:cubicBezTo>
                <a:cubicBezTo>
                  <a:pt x="1051" y="608"/>
                  <a:pt x="1051" y="619"/>
                  <a:pt x="1051" y="619"/>
                </a:cubicBezTo>
                <a:cubicBezTo>
                  <a:pt x="1051" y="619"/>
                  <a:pt x="1048" y="633"/>
                  <a:pt x="1029" y="639"/>
                </a:cubicBezTo>
                <a:cubicBezTo>
                  <a:pt x="1010" y="646"/>
                  <a:pt x="1013" y="655"/>
                  <a:pt x="1013" y="655"/>
                </a:cubicBezTo>
                <a:cubicBezTo>
                  <a:pt x="1010" y="687"/>
                  <a:pt x="1010" y="687"/>
                  <a:pt x="1010" y="687"/>
                </a:cubicBezTo>
                <a:cubicBezTo>
                  <a:pt x="1010" y="687"/>
                  <a:pt x="1017" y="690"/>
                  <a:pt x="1018" y="694"/>
                </a:cubicBezTo>
                <a:cubicBezTo>
                  <a:pt x="1020" y="699"/>
                  <a:pt x="1012" y="721"/>
                  <a:pt x="1018" y="723"/>
                </a:cubicBezTo>
                <a:cubicBezTo>
                  <a:pt x="1024" y="724"/>
                  <a:pt x="1020" y="731"/>
                  <a:pt x="1021" y="740"/>
                </a:cubicBezTo>
                <a:cubicBezTo>
                  <a:pt x="1023" y="750"/>
                  <a:pt x="1017" y="754"/>
                  <a:pt x="1017" y="754"/>
                </a:cubicBezTo>
                <a:cubicBezTo>
                  <a:pt x="1015" y="773"/>
                  <a:pt x="1015" y="773"/>
                  <a:pt x="1015" y="773"/>
                </a:cubicBezTo>
                <a:cubicBezTo>
                  <a:pt x="1015" y="789"/>
                  <a:pt x="1015" y="789"/>
                  <a:pt x="1015" y="789"/>
                </a:cubicBezTo>
                <a:cubicBezTo>
                  <a:pt x="1015" y="789"/>
                  <a:pt x="1028" y="796"/>
                  <a:pt x="1043" y="784"/>
                </a:cubicBezTo>
                <a:cubicBezTo>
                  <a:pt x="1059" y="773"/>
                  <a:pt x="1043" y="794"/>
                  <a:pt x="1040" y="807"/>
                </a:cubicBezTo>
                <a:cubicBezTo>
                  <a:pt x="1040" y="807"/>
                  <a:pt x="1043" y="822"/>
                  <a:pt x="1045" y="827"/>
                </a:cubicBezTo>
                <a:cubicBezTo>
                  <a:pt x="1047" y="832"/>
                  <a:pt x="1056" y="843"/>
                  <a:pt x="1061" y="844"/>
                </a:cubicBezTo>
                <a:cubicBezTo>
                  <a:pt x="1065" y="846"/>
                  <a:pt x="1080" y="860"/>
                  <a:pt x="1080" y="860"/>
                </a:cubicBezTo>
                <a:cubicBezTo>
                  <a:pt x="1072" y="851"/>
                  <a:pt x="1065" y="857"/>
                  <a:pt x="1065" y="857"/>
                </a:cubicBezTo>
                <a:cubicBezTo>
                  <a:pt x="1065" y="857"/>
                  <a:pt x="1061" y="865"/>
                  <a:pt x="1056" y="879"/>
                </a:cubicBezTo>
                <a:cubicBezTo>
                  <a:pt x="1051" y="893"/>
                  <a:pt x="1039" y="874"/>
                  <a:pt x="1039" y="874"/>
                </a:cubicBezTo>
                <a:cubicBezTo>
                  <a:pt x="1023" y="854"/>
                  <a:pt x="1023" y="854"/>
                  <a:pt x="1023" y="854"/>
                </a:cubicBezTo>
                <a:cubicBezTo>
                  <a:pt x="1023" y="854"/>
                  <a:pt x="1010" y="848"/>
                  <a:pt x="999" y="843"/>
                </a:cubicBezTo>
                <a:cubicBezTo>
                  <a:pt x="988" y="838"/>
                  <a:pt x="991" y="843"/>
                  <a:pt x="988" y="827"/>
                </a:cubicBezTo>
                <a:cubicBezTo>
                  <a:pt x="985" y="811"/>
                  <a:pt x="982" y="832"/>
                  <a:pt x="975" y="830"/>
                </a:cubicBezTo>
                <a:cubicBezTo>
                  <a:pt x="969" y="829"/>
                  <a:pt x="963" y="835"/>
                  <a:pt x="964" y="824"/>
                </a:cubicBezTo>
                <a:cubicBezTo>
                  <a:pt x="966" y="813"/>
                  <a:pt x="968" y="819"/>
                  <a:pt x="966" y="807"/>
                </a:cubicBezTo>
                <a:cubicBezTo>
                  <a:pt x="964" y="794"/>
                  <a:pt x="952" y="792"/>
                  <a:pt x="933" y="791"/>
                </a:cubicBezTo>
                <a:cubicBezTo>
                  <a:pt x="914" y="789"/>
                  <a:pt x="920" y="786"/>
                  <a:pt x="914" y="770"/>
                </a:cubicBezTo>
                <a:cubicBezTo>
                  <a:pt x="908" y="754"/>
                  <a:pt x="892" y="773"/>
                  <a:pt x="876" y="772"/>
                </a:cubicBezTo>
                <a:cubicBezTo>
                  <a:pt x="860" y="770"/>
                  <a:pt x="867" y="777"/>
                  <a:pt x="852" y="781"/>
                </a:cubicBezTo>
                <a:cubicBezTo>
                  <a:pt x="838" y="786"/>
                  <a:pt x="851" y="789"/>
                  <a:pt x="851" y="819"/>
                </a:cubicBezTo>
                <a:cubicBezTo>
                  <a:pt x="851" y="849"/>
                  <a:pt x="867" y="833"/>
                  <a:pt x="862" y="838"/>
                </a:cubicBezTo>
                <a:cubicBezTo>
                  <a:pt x="857" y="843"/>
                  <a:pt x="857" y="851"/>
                  <a:pt x="835" y="856"/>
                </a:cubicBezTo>
                <a:cubicBezTo>
                  <a:pt x="813" y="860"/>
                  <a:pt x="827" y="874"/>
                  <a:pt x="816" y="878"/>
                </a:cubicBezTo>
                <a:cubicBezTo>
                  <a:pt x="805" y="881"/>
                  <a:pt x="816" y="852"/>
                  <a:pt x="814" y="837"/>
                </a:cubicBezTo>
                <a:cubicBezTo>
                  <a:pt x="813" y="821"/>
                  <a:pt x="803" y="835"/>
                  <a:pt x="794" y="841"/>
                </a:cubicBezTo>
                <a:cubicBezTo>
                  <a:pt x="784" y="848"/>
                  <a:pt x="777" y="851"/>
                  <a:pt x="764" y="860"/>
                </a:cubicBezTo>
                <a:cubicBezTo>
                  <a:pt x="751" y="870"/>
                  <a:pt x="748" y="862"/>
                  <a:pt x="748" y="862"/>
                </a:cubicBezTo>
                <a:cubicBezTo>
                  <a:pt x="721" y="863"/>
                  <a:pt x="721" y="863"/>
                  <a:pt x="721" y="863"/>
                </a:cubicBezTo>
                <a:cubicBezTo>
                  <a:pt x="721" y="863"/>
                  <a:pt x="723" y="873"/>
                  <a:pt x="718" y="881"/>
                </a:cubicBezTo>
                <a:cubicBezTo>
                  <a:pt x="713" y="889"/>
                  <a:pt x="712" y="890"/>
                  <a:pt x="691" y="897"/>
                </a:cubicBezTo>
                <a:cubicBezTo>
                  <a:pt x="671" y="903"/>
                  <a:pt x="680" y="912"/>
                  <a:pt x="668" y="920"/>
                </a:cubicBezTo>
                <a:cubicBezTo>
                  <a:pt x="655" y="928"/>
                  <a:pt x="661" y="920"/>
                  <a:pt x="682" y="893"/>
                </a:cubicBezTo>
                <a:cubicBezTo>
                  <a:pt x="702" y="867"/>
                  <a:pt x="685" y="878"/>
                  <a:pt x="687" y="859"/>
                </a:cubicBezTo>
                <a:cubicBezTo>
                  <a:pt x="688" y="840"/>
                  <a:pt x="690" y="838"/>
                  <a:pt x="679" y="835"/>
                </a:cubicBezTo>
                <a:cubicBezTo>
                  <a:pt x="668" y="832"/>
                  <a:pt x="679" y="835"/>
                  <a:pt x="668" y="835"/>
                </a:cubicBezTo>
                <a:cubicBezTo>
                  <a:pt x="657" y="835"/>
                  <a:pt x="658" y="851"/>
                  <a:pt x="658" y="851"/>
                </a:cubicBezTo>
                <a:cubicBezTo>
                  <a:pt x="658" y="851"/>
                  <a:pt x="657" y="857"/>
                  <a:pt x="641" y="860"/>
                </a:cubicBezTo>
                <a:cubicBezTo>
                  <a:pt x="625" y="863"/>
                  <a:pt x="636" y="871"/>
                  <a:pt x="614" y="863"/>
                </a:cubicBezTo>
                <a:cubicBezTo>
                  <a:pt x="592" y="856"/>
                  <a:pt x="601" y="874"/>
                  <a:pt x="586" y="892"/>
                </a:cubicBezTo>
                <a:cubicBezTo>
                  <a:pt x="570" y="909"/>
                  <a:pt x="559" y="904"/>
                  <a:pt x="559" y="904"/>
                </a:cubicBezTo>
                <a:cubicBezTo>
                  <a:pt x="559" y="904"/>
                  <a:pt x="556" y="909"/>
                  <a:pt x="541" y="909"/>
                </a:cubicBezTo>
                <a:cubicBezTo>
                  <a:pt x="527" y="909"/>
                  <a:pt x="540" y="920"/>
                  <a:pt x="526" y="925"/>
                </a:cubicBezTo>
                <a:cubicBezTo>
                  <a:pt x="511" y="930"/>
                  <a:pt x="527" y="938"/>
                  <a:pt x="524" y="949"/>
                </a:cubicBezTo>
                <a:cubicBezTo>
                  <a:pt x="521" y="960"/>
                  <a:pt x="521" y="972"/>
                  <a:pt x="500" y="972"/>
                </a:cubicBezTo>
                <a:cubicBezTo>
                  <a:pt x="480" y="972"/>
                  <a:pt x="500" y="972"/>
                  <a:pt x="492" y="968"/>
                </a:cubicBezTo>
                <a:cubicBezTo>
                  <a:pt x="484" y="963"/>
                  <a:pt x="481" y="971"/>
                  <a:pt x="481" y="960"/>
                </a:cubicBezTo>
                <a:cubicBezTo>
                  <a:pt x="481" y="949"/>
                  <a:pt x="481" y="952"/>
                  <a:pt x="477" y="944"/>
                </a:cubicBezTo>
                <a:cubicBezTo>
                  <a:pt x="472" y="936"/>
                  <a:pt x="467" y="938"/>
                  <a:pt x="462" y="925"/>
                </a:cubicBezTo>
                <a:cubicBezTo>
                  <a:pt x="458" y="912"/>
                  <a:pt x="469" y="923"/>
                  <a:pt x="478" y="922"/>
                </a:cubicBezTo>
                <a:cubicBezTo>
                  <a:pt x="488" y="920"/>
                  <a:pt x="492" y="920"/>
                  <a:pt x="510" y="911"/>
                </a:cubicBezTo>
                <a:cubicBezTo>
                  <a:pt x="527" y="901"/>
                  <a:pt x="507" y="892"/>
                  <a:pt x="491" y="881"/>
                </a:cubicBezTo>
                <a:cubicBezTo>
                  <a:pt x="475" y="870"/>
                  <a:pt x="491" y="874"/>
                  <a:pt x="478" y="863"/>
                </a:cubicBezTo>
                <a:cubicBezTo>
                  <a:pt x="466" y="852"/>
                  <a:pt x="462" y="862"/>
                  <a:pt x="456" y="865"/>
                </a:cubicBezTo>
                <a:cubicBezTo>
                  <a:pt x="450" y="868"/>
                  <a:pt x="440" y="856"/>
                  <a:pt x="426" y="851"/>
                </a:cubicBezTo>
                <a:cubicBezTo>
                  <a:pt x="412" y="846"/>
                  <a:pt x="409" y="856"/>
                  <a:pt x="420" y="865"/>
                </a:cubicBezTo>
                <a:cubicBezTo>
                  <a:pt x="431" y="874"/>
                  <a:pt x="428" y="871"/>
                  <a:pt x="434" y="893"/>
                </a:cubicBezTo>
                <a:cubicBezTo>
                  <a:pt x="440" y="916"/>
                  <a:pt x="436" y="909"/>
                  <a:pt x="431" y="917"/>
                </a:cubicBezTo>
                <a:cubicBezTo>
                  <a:pt x="426" y="925"/>
                  <a:pt x="429" y="938"/>
                  <a:pt x="448" y="957"/>
                </a:cubicBezTo>
                <a:cubicBezTo>
                  <a:pt x="467" y="976"/>
                  <a:pt x="448" y="966"/>
                  <a:pt x="447" y="985"/>
                </a:cubicBezTo>
                <a:cubicBezTo>
                  <a:pt x="445" y="1004"/>
                  <a:pt x="451" y="999"/>
                  <a:pt x="439" y="1028"/>
                </a:cubicBezTo>
                <a:cubicBezTo>
                  <a:pt x="426" y="1056"/>
                  <a:pt x="439" y="1043"/>
                  <a:pt x="426" y="1050"/>
                </a:cubicBezTo>
                <a:cubicBezTo>
                  <a:pt x="413" y="1056"/>
                  <a:pt x="417" y="1050"/>
                  <a:pt x="415" y="1028"/>
                </a:cubicBezTo>
                <a:cubicBezTo>
                  <a:pt x="413" y="1006"/>
                  <a:pt x="412" y="1018"/>
                  <a:pt x="398" y="1017"/>
                </a:cubicBezTo>
                <a:cubicBezTo>
                  <a:pt x="383" y="1015"/>
                  <a:pt x="398" y="1017"/>
                  <a:pt x="390" y="1006"/>
                </a:cubicBezTo>
                <a:cubicBezTo>
                  <a:pt x="382" y="994"/>
                  <a:pt x="385" y="1015"/>
                  <a:pt x="377" y="1024"/>
                </a:cubicBezTo>
                <a:cubicBezTo>
                  <a:pt x="369" y="1034"/>
                  <a:pt x="353" y="1047"/>
                  <a:pt x="339" y="1051"/>
                </a:cubicBezTo>
                <a:cubicBezTo>
                  <a:pt x="325" y="1056"/>
                  <a:pt x="335" y="1059"/>
                  <a:pt x="328" y="1067"/>
                </a:cubicBezTo>
                <a:cubicBezTo>
                  <a:pt x="322" y="1075"/>
                  <a:pt x="330" y="1078"/>
                  <a:pt x="325" y="1084"/>
                </a:cubicBezTo>
                <a:cubicBezTo>
                  <a:pt x="320" y="1091"/>
                  <a:pt x="331" y="1094"/>
                  <a:pt x="342" y="1100"/>
                </a:cubicBezTo>
                <a:cubicBezTo>
                  <a:pt x="353" y="1107"/>
                  <a:pt x="347" y="1113"/>
                  <a:pt x="333" y="1119"/>
                </a:cubicBezTo>
                <a:cubicBezTo>
                  <a:pt x="319" y="1125"/>
                  <a:pt x="327" y="1129"/>
                  <a:pt x="311" y="1118"/>
                </a:cubicBezTo>
                <a:cubicBezTo>
                  <a:pt x="295" y="1107"/>
                  <a:pt x="303" y="1127"/>
                  <a:pt x="292" y="1125"/>
                </a:cubicBezTo>
                <a:cubicBezTo>
                  <a:pt x="281" y="1124"/>
                  <a:pt x="287" y="1122"/>
                  <a:pt x="281" y="1111"/>
                </a:cubicBezTo>
                <a:cubicBezTo>
                  <a:pt x="275" y="1100"/>
                  <a:pt x="265" y="1114"/>
                  <a:pt x="257" y="1111"/>
                </a:cubicBezTo>
                <a:cubicBezTo>
                  <a:pt x="249" y="1108"/>
                  <a:pt x="251" y="1137"/>
                  <a:pt x="259" y="1132"/>
                </a:cubicBezTo>
                <a:cubicBezTo>
                  <a:pt x="267" y="1127"/>
                  <a:pt x="276" y="1151"/>
                  <a:pt x="276" y="1151"/>
                </a:cubicBezTo>
                <a:cubicBezTo>
                  <a:pt x="276" y="1151"/>
                  <a:pt x="273" y="1159"/>
                  <a:pt x="263" y="1165"/>
                </a:cubicBezTo>
                <a:cubicBezTo>
                  <a:pt x="254" y="1171"/>
                  <a:pt x="245" y="1165"/>
                  <a:pt x="232" y="1148"/>
                </a:cubicBezTo>
                <a:cubicBezTo>
                  <a:pt x="219" y="1130"/>
                  <a:pt x="210" y="1138"/>
                  <a:pt x="200" y="1122"/>
                </a:cubicBezTo>
                <a:cubicBezTo>
                  <a:pt x="191" y="1107"/>
                  <a:pt x="189" y="1116"/>
                  <a:pt x="177" y="1108"/>
                </a:cubicBezTo>
                <a:cubicBezTo>
                  <a:pt x="165" y="1100"/>
                  <a:pt x="185" y="1080"/>
                  <a:pt x="177" y="1070"/>
                </a:cubicBezTo>
                <a:cubicBezTo>
                  <a:pt x="170" y="1061"/>
                  <a:pt x="183" y="1061"/>
                  <a:pt x="183" y="1061"/>
                </a:cubicBezTo>
                <a:cubicBezTo>
                  <a:pt x="183" y="1061"/>
                  <a:pt x="191" y="1059"/>
                  <a:pt x="199" y="1047"/>
                </a:cubicBezTo>
                <a:cubicBezTo>
                  <a:pt x="207" y="1034"/>
                  <a:pt x="196" y="1040"/>
                  <a:pt x="185" y="1037"/>
                </a:cubicBezTo>
                <a:cubicBezTo>
                  <a:pt x="173" y="1034"/>
                  <a:pt x="185" y="1024"/>
                  <a:pt x="172" y="1015"/>
                </a:cubicBezTo>
                <a:cubicBezTo>
                  <a:pt x="159" y="1006"/>
                  <a:pt x="153" y="1012"/>
                  <a:pt x="143" y="998"/>
                </a:cubicBezTo>
                <a:cubicBezTo>
                  <a:pt x="134" y="983"/>
                  <a:pt x="137" y="998"/>
                  <a:pt x="129" y="999"/>
                </a:cubicBezTo>
                <a:cubicBezTo>
                  <a:pt x="121" y="1001"/>
                  <a:pt x="117" y="999"/>
                  <a:pt x="106" y="991"/>
                </a:cubicBezTo>
                <a:cubicBezTo>
                  <a:pt x="95" y="983"/>
                  <a:pt x="110" y="990"/>
                  <a:pt x="118" y="988"/>
                </a:cubicBezTo>
                <a:cubicBezTo>
                  <a:pt x="126" y="987"/>
                  <a:pt x="121" y="982"/>
                  <a:pt x="110" y="977"/>
                </a:cubicBezTo>
                <a:cubicBezTo>
                  <a:pt x="99" y="972"/>
                  <a:pt x="113" y="963"/>
                  <a:pt x="118" y="958"/>
                </a:cubicBezTo>
                <a:cubicBezTo>
                  <a:pt x="123" y="953"/>
                  <a:pt x="129" y="969"/>
                  <a:pt x="139" y="976"/>
                </a:cubicBezTo>
                <a:cubicBezTo>
                  <a:pt x="148" y="982"/>
                  <a:pt x="170" y="991"/>
                  <a:pt x="191" y="994"/>
                </a:cubicBezTo>
                <a:cubicBezTo>
                  <a:pt x="211" y="998"/>
                  <a:pt x="256" y="1024"/>
                  <a:pt x="287" y="1029"/>
                </a:cubicBezTo>
                <a:cubicBezTo>
                  <a:pt x="319" y="1034"/>
                  <a:pt x="335" y="999"/>
                  <a:pt x="352" y="969"/>
                </a:cubicBezTo>
                <a:cubicBezTo>
                  <a:pt x="369" y="939"/>
                  <a:pt x="357" y="933"/>
                  <a:pt x="347" y="922"/>
                </a:cubicBezTo>
                <a:cubicBezTo>
                  <a:pt x="338" y="911"/>
                  <a:pt x="328" y="897"/>
                  <a:pt x="314" y="881"/>
                </a:cubicBezTo>
                <a:cubicBezTo>
                  <a:pt x="300" y="865"/>
                  <a:pt x="292" y="865"/>
                  <a:pt x="279" y="849"/>
                </a:cubicBezTo>
                <a:cubicBezTo>
                  <a:pt x="267" y="833"/>
                  <a:pt x="270" y="846"/>
                  <a:pt x="246" y="846"/>
                </a:cubicBezTo>
                <a:cubicBezTo>
                  <a:pt x="222" y="846"/>
                  <a:pt x="232" y="844"/>
                  <a:pt x="233" y="833"/>
                </a:cubicBezTo>
                <a:cubicBezTo>
                  <a:pt x="235" y="822"/>
                  <a:pt x="230" y="826"/>
                  <a:pt x="221" y="824"/>
                </a:cubicBezTo>
                <a:cubicBezTo>
                  <a:pt x="211" y="822"/>
                  <a:pt x="205" y="810"/>
                  <a:pt x="183" y="811"/>
                </a:cubicBezTo>
                <a:cubicBezTo>
                  <a:pt x="161" y="813"/>
                  <a:pt x="177" y="821"/>
                  <a:pt x="159" y="816"/>
                </a:cubicBezTo>
                <a:cubicBezTo>
                  <a:pt x="141" y="811"/>
                  <a:pt x="156" y="827"/>
                  <a:pt x="147" y="833"/>
                </a:cubicBezTo>
                <a:cubicBezTo>
                  <a:pt x="137" y="840"/>
                  <a:pt x="137" y="833"/>
                  <a:pt x="137" y="824"/>
                </a:cubicBezTo>
                <a:cubicBezTo>
                  <a:pt x="137" y="815"/>
                  <a:pt x="140" y="809"/>
                  <a:pt x="139" y="801"/>
                </a:cubicBezTo>
                <a:cubicBezTo>
                  <a:pt x="139" y="799"/>
                  <a:pt x="139" y="799"/>
                  <a:pt x="139" y="799"/>
                </a:cubicBezTo>
                <a:cubicBezTo>
                  <a:pt x="137" y="789"/>
                  <a:pt x="126" y="797"/>
                  <a:pt x="115" y="797"/>
                </a:cubicBezTo>
                <a:cubicBezTo>
                  <a:pt x="108" y="797"/>
                  <a:pt x="108" y="773"/>
                  <a:pt x="104" y="758"/>
                </a:cubicBezTo>
                <a:cubicBezTo>
                  <a:pt x="103" y="758"/>
                  <a:pt x="103" y="758"/>
                  <a:pt x="103" y="758"/>
                </a:cubicBezTo>
                <a:cubicBezTo>
                  <a:pt x="102" y="762"/>
                  <a:pt x="95" y="767"/>
                  <a:pt x="95" y="765"/>
                </a:cubicBezTo>
                <a:cubicBezTo>
                  <a:pt x="94" y="762"/>
                  <a:pt x="98" y="760"/>
                  <a:pt x="94" y="755"/>
                </a:cubicBezTo>
                <a:cubicBezTo>
                  <a:pt x="90" y="749"/>
                  <a:pt x="90" y="756"/>
                  <a:pt x="88" y="756"/>
                </a:cubicBezTo>
                <a:cubicBezTo>
                  <a:pt x="85" y="756"/>
                  <a:pt x="83" y="756"/>
                  <a:pt x="80" y="754"/>
                </a:cubicBezTo>
                <a:cubicBezTo>
                  <a:pt x="80" y="754"/>
                  <a:pt x="80" y="754"/>
                  <a:pt x="80" y="754"/>
                </a:cubicBezTo>
                <a:cubicBezTo>
                  <a:pt x="77" y="768"/>
                  <a:pt x="77" y="774"/>
                  <a:pt x="64" y="780"/>
                </a:cubicBezTo>
                <a:cubicBezTo>
                  <a:pt x="59" y="783"/>
                  <a:pt x="53" y="784"/>
                  <a:pt x="47" y="787"/>
                </a:cubicBezTo>
                <a:cubicBezTo>
                  <a:pt x="38" y="791"/>
                  <a:pt x="38" y="794"/>
                  <a:pt x="34" y="798"/>
                </a:cubicBezTo>
                <a:cubicBezTo>
                  <a:pt x="31" y="802"/>
                  <a:pt x="29" y="804"/>
                  <a:pt x="25" y="807"/>
                </a:cubicBezTo>
                <a:cubicBezTo>
                  <a:pt x="19" y="812"/>
                  <a:pt x="15" y="815"/>
                  <a:pt x="10" y="822"/>
                </a:cubicBezTo>
                <a:cubicBezTo>
                  <a:pt x="2" y="833"/>
                  <a:pt x="5" y="840"/>
                  <a:pt x="6" y="854"/>
                </a:cubicBezTo>
                <a:cubicBezTo>
                  <a:pt x="18" y="861"/>
                  <a:pt x="42" y="885"/>
                  <a:pt x="49" y="898"/>
                </a:cubicBezTo>
                <a:cubicBezTo>
                  <a:pt x="55" y="908"/>
                  <a:pt x="51" y="909"/>
                  <a:pt x="44" y="921"/>
                </a:cubicBezTo>
                <a:cubicBezTo>
                  <a:pt x="40" y="928"/>
                  <a:pt x="36" y="934"/>
                  <a:pt x="38" y="942"/>
                </a:cubicBezTo>
                <a:cubicBezTo>
                  <a:pt x="9" y="954"/>
                  <a:pt x="50" y="1005"/>
                  <a:pt x="56" y="1022"/>
                </a:cubicBezTo>
                <a:cubicBezTo>
                  <a:pt x="60" y="1035"/>
                  <a:pt x="57" y="1028"/>
                  <a:pt x="53" y="1041"/>
                </a:cubicBezTo>
                <a:cubicBezTo>
                  <a:pt x="51" y="1048"/>
                  <a:pt x="54" y="1050"/>
                  <a:pt x="51" y="1057"/>
                </a:cubicBezTo>
                <a:cubicBezTo>
                  <a:pt x="48" y="1066"/>
                  <a:pt x="45" y="1066"/>
                  <a:pt x="44" y="1075"/>
                </a:cubicBezTo>
                <a:cubicBezTo>
                  <a:pt x="44" y="1084"/>
                  <a:pt x="46" y="1094"/>
                  <a:pt x="46" y="1103"/>
                </a:cubicBezTo>
                <a:cubicBezTo>
                  <a:pt x="50" y="1105"/>
                  <a:pt x="55" y="1106"/>
                  <a:pt x="60" y="1105"/>
                </a:cubicBezTo>
                <a:cubicBezTo>
                  <a:pt x="63" y="1115"/>
                  <a:pt x="61" y="1119"/>
                  <a:pt x="55" y="1126"/>
                </a:cubicBezTo>
                <a:cubicBezTo>
                  <a:pt x="58" y="1126"/>
                  <a:pt x="60" y="1128"/>
                  <a:pt x="64" y="1129"/>
                </a:cubicBezTo>
                <a:cubicBezTo>
                  <a:pt x="64" y="1135"/>
                  <a:pt x="65" y="1136"/>
                  <a:pt x="69" y="1140"/>
                </a:cubicBezTo>
                <a:cubicBezTo>
                  <a:pt x="62" y="1144"/>
                  <a:pt x="58" y="1151"/>
                  <a:pt x="64" y="1157"/>
                </a:cubicBezTo>
                <a:cubicBezTo>
                  <a:pt x="60" y="1159"/>
                  <a:pt x="58" y="1162"/>
                  <a:pt x="55" y="1165"/>
                </a:cubicBezTo>
                <a:cubicBezTo>
                  <a:pt x="58" y="1170"/>
                  <a:pt x="67" y="1171"/>
                  <a:pt x="67" y="1179"/>
                </a:cubicBezTo>
                <a:cubicBezTo>
                  <a:pt x="79" y="1186"/>
                  <a:pt x="89" y="1191"/>
                  <a:pt x="94" y="1205"/>
                </a:cubicBezTo>
                <a:cubicBezTo>
                  <a:pt x="99" y="1221"/>
                  <a:pt x="89" y="1234"/>
                  <a:pt x="80" y="1247"/>
                </a:cubicBezTo>
                <a:cubicBezTo>
                  <a:pt x="72" y="1258"/>
                  <a:pt x="62" y="1271"/>
                  <a:pt x="52" y="1279"/>
                </a:cubicBezTo>
                <a:cubicBezTo>
                  <a:pt x="45" y="1286"/>
                  <a:pt x="23" y="1291"/>
                  <a:pt x="32" y="1304"/>
                </a:cubicBezTo>
                <a:cubicBezTo>
                  <a:pt x="20" y="1309"/>
                  <a:pt x="4" y="1325"/>
                  <a:pt x="0" y="1338"/>
                </a:cubicBezTo>
                <a:cubicBezTo>
                  <a:pt x="0" y="1339"/>
                  <a:pt x="0" y="1339"/>
                  <a:pt x="0" y="1339"/>
                </a:cubicBezTo>
                <a:cubicBezTo>
                  <a:pt x="1" y="1338"/>
                  <a:pt x="2" y="1338"/>
                  <a:pt x="3" y="1337"/>
                </a:cubicBezTo>
                <a:cubicBezTo>
                  <a:pt x="8" y="1335"/>
                  <a:pt x="5" y="1339"/>
                  <a:pt x="7" y="1342"/>
                </a:cubicBezTo>
                <a:cubicBezTo>
                  <a:pt x="10" y="1346"/>
                  <a:pt x="13" y="1343"/>
                  <a:pt x="14" y="1338"/>
                </a:cubicBezTo>
                <a:cubicBezTo>
                  <a:pt x="14" y="1333"/>
                  <a:pt x="16" y="1339"/>
                  <a:pt x="19" y="1336"/>
                </a:cubicBezTo>
                <a:cubicBezTo>
                  <a:pt x="23" y="1333"/>
                  <a:pt x="23" y="1333"/>
                  <a:pt x="27" y="1330"/>
                </a:cubicBezTo>
                <a:cubicBezTo>
                  <a:pt x="31" y="1328"/>
                  <a:pt x="27" y="1334"/>
                  <a:pt x="27" y="1339"/>
                </a:cubicBezTo>
                <a:cubicBezTo>
                  <a:pt x="27" y="1344"/>
                  <a:pt x="29" y="1346"/>
                  <a:pt x="26" y="1344"/>
                </a:cubicBezTo>
                <a:cubicBezTo>
                  <a:pt x="22" y="1341"/>
                  <a:pt x="21" y="1344"/>
                  <a:pt x="20" y="1347"/>
                </a:cubicBezTo>
                <a:cubicBezTo>
                  <a:pt x="19" y="1350"/>
                  <a:pt x="22" y="1350"/>
                  <a:pt x="27" y="1352"/>
                </a:cubicBezTo>
                <a:cubicBezTo>
                  <a:pt x="32" y="1354"/>
                  <a:pt x="31" y="1355"/>
                  <a:pt x="33" y="1360"/>
                </a:cubicBezTo>
                <a:cubicBezTo>
                  <a:pt x="35" y="1364"/>
                  <a:pt x="37" y="1362"/>
                  <a:pt x="44" y="1359"/>
                </a:cubicBezTo>
                <a:cubicBezTo>
                  <a:pt x="51" y="1356"/>
                  <a:pt x="50" y="1360"/>
                  <a:pt x="54" y="1358"/>
                </a:cubicBezTo>
                <a:cubicBezTo>
                  <a:pt x="58" y="1356"/>
                  <a:pt x="60" y="1362"/>
                  <a:pt x="63" y="1362"/>
                </a:cubicBezTo>
                <a:cubicBezTo>
                  <a:pt x="66" y="1361"/>
                  <a:pt x="69" y="1369"/>
                  <a:pt x="69" y="1372"/>
                </a:cubicBezTo>
                <a:cubicBezTo>
                  <a:pt x="68" y="1374"/>
                  <a:pt x="66" y="1372"/>
                  <a:pt x="60" y="1370"/>
                </a:cubicBezTo>
                <a:cubicBezTo>
                  <a:pt x="55" y="1368"/>
                  <a:pt x="58" y="1371"/>
                  <a:pt x="54" y="1372"/>
                </a:cubicBezTo>
                <a:cubicBezTo>
                  <a:pt x="50" y="1373"/>
                  <a:pt x="50" y="1371"/>
                  <a:pt x="43" y="1369"/>
                </a:cubicBezTo>
                <a:cubicBezTo>
                  <a:pt x="36" y="1367"/>
                  <a:pt x="42" y="1373"/>
                  <a:pt x="36" y="1374"/>
                </a:cubicBezTo>
                <a:cubicBezTo>
                  <a:pt x="31" y="1374"/>
                  <a:pt x="33" y="1379"/>
                  <a:pt x="30" y="1377"/>
                </a:cubicBezTo>
                <a:cubicBezTo>
                  <a:pt x="27" y="1374"/>
                  <a:pt x="27" y="1377"/>
                  <a:pt x="21" y="1381"/>
                </a:cubicBezTo>
                <a:cubicBezTo>
                  <a:pt x="15" y="1385"/>
                  <a:pt x="16" y="1384"/>
                  <a:pt x="14" y="1382"/>
                </a:cubicBezTo>
                <a:cubicBezTo>
                  <a:pt x="11" y="1380"/>
                  <a:pt x="13" y="1382"/>
                  <a:pt x="11" y="1383"/>
                </a:cubicBezTo>
                <a:cubicBezTo>
                  <a:pt x="9" y="1384"/>
                  <a:pt x="8" y="1384"/>
                  <a:pt x="10" y="1387"/>
                </a:cubicBezTo>
                <a:cubicBezTo>
                  <a:pt x="11" y="1390"/>
                  <a:pt x="11" y="1391"/>
                  <a:pt x="10" y="1394"/>
                </a:cubicBezTo>
                <a:cubicBezTo>
                  <a:pt x="8" y="1396"/>
                  <a:pt x="8" y="1396"/>
                  <a:pt x="6" y="1397"/>
                </a:cubicBezTo>
                <a:cubicBezTo>
                  <a:pt x="6" y="1398"/>
                  <a:pt x="6" y="1398"/>
                  <a:pt x="6" y="1398"/>
                </a:cubicBezTo>
                <a:cubicBezTo>
                  <a:pt x="10" y="1403"/>
                  <a:pt x="12" y="1407"/>
                  <a:pt x="10" y="1413"/>
                </a:cubicBezTo>
                <a:cubicBezTo>
                  <a:pt x="9" y="1415"/>
                  <a:pt x="8" y="1417"/>
                  <a:pt x="7" y="1419"/>
                </a:cubicBezTo>
                <a:cubicBezTo>
                  <a:pt x="7" y="1420"/>
                  <a:pt x="6" y="1421"/>
                  <a:pt x="6" y="1422"/>
                </a:cubicBezTo>
                <a:cubicBezTo>
                  <a:pt x="6" y="1423"/>
                  <a:pt x="6" y="1423"/>
                  <a:pt x="6" y="1423"/>
                </a:cubicBezTo>
                <a:cubicBezTo>
                  <a:pt x="7" y="1426"/>
                  <a:pt x="7" y="1430"/>
                  <a:pt x="8" y="1433"/>
                </a:cubicBezTo>
                <a:cubicBezTo>
                  <a:pt x="10" y="1438"/>
                  <a:pt x="10" y="1440"/>
                  <a:pt x="8" y="1442"/>
                </a:cubicBezTo>
                <a:cubicBezTo>
                  <a:pt x="6" y="1444"/>
                  <a:pt x="6" y="1448"/>
                  <a:pt x="6" y="1449"/>
                </a:cubicBezTo>
                <a:cubicBezTo>
                  <a:pt x="7" y="1451"/>
                  <a:pt x="9" y="1454"/>
                  <a:pt x="11" y="1454"/>
                </a:cubicBezTo>
                <a:cubicBezTo>
                  <a:pt x="13" y="1455"/>
                  <a:pt x="14" y="1461"/>
                  <a:pt x="15" y="1463"/>
                </a:cubicBezTo>
                <a:cubicBezTo>
                  <a:pt x="16" y="1464"/>
                  <a:pt x="15" y="1467"/>
                  <a:pt x="13" y="1467"/>
                </a:cubicBezTo>
                <a:cubicBezTo>
                  <a:pt x="13" y="1468"/>
                  <a:pt x="13" y="1468"/>
                  <a:pt x="13" y="1468"/>
                </a:cubicBezTo>
                <a:cubicBezTo>
                  <a:pt x="19" y="1473"/>
                  <a:pt x="12" y="1494"/>
                  <a:pt x="15" y="1500"/>
                </a:cubicBezTo>
                <a:cubicBezTo>
                  <a:pt x="17" y="1506"/>
                  <a:pt x="17" y="1516"/>
                  <a:pt x="21" y="1520"/>
                </a:cubicBezTo>
                <a:cubicBezTo>
                  <a:pt x="17" y="1526"/>
                  <a:pt x="10" y="1526"/>
                  <a:pt x="8" y="1534"/>
                </a:cubicBezTo>
                <a:cubicBezTo>
                  <a:pt x="6" y="1543"/>
                  <a:pt x="11" y="1552"/>
                  <a:pt x="16" y="1559"/>
                </a:cubicBezTo>
                <a:cubicBezTo>
                  <a:pt x="14" y="1560"/>
                  <a:pt x="14" y="1560"/>
                  <a:pt x="14" y="1560"/>
                </a:cubicBezTo>
                <a:cubicBezTo>
                  <a:pt x="19" y="1561"/>
                  <a:pt x="21" y="1564"/>
                  <a:pt x="27" y="1568"/>
                </a:cubicBezTo>
                <a:cubicBezTo>
                  <a:pt x="29" y="1564"/>
                  <a:pt x="33" y="1562"/>
                  <a:pt x="37" y="1560"/>
                </a:cubicBezTo>
                <a:cubicBezTo>
                  <a:pt x="47" y="1568"/>
                  <a:pt x="50" y="1569"/>
                  <a:pt x="55" y="1583"/>
                </a:cubicBezTo>
                <a:cubicBezTo>
                  <a:pt x="90" y="1560"/>
                  <a:pt x="84" y="1600"/>
                  <a:pt x="88" y="1625"/>
                </a:cubicBezTo>
                <a:cubicBezTo>
                  <a:pt x="90" y="1635"/>
                  <a:pt x="93" y="1662"/>
                  <a:pt x="102" y="1667"/>
                </a:cubicBezTo>
                <a:cubicBezTo>
                  <a:pt x="107" y="1670"/>
                  <a:pt x="116" y="1666"/>
                  <a:pt x="122" y="1670"/>
                </a:cubicBezTo>
                <a:cubicBezTo>
                  <a:pt x="126" y="1673"/>
                  <a:pt x="121" y="1681"/>
                  <a:pt x="133" y="1680"/>
                </a:cubicBezTo>
                <a:cubicBezTo>
                  <a:pt x="133" y="1681"/>
                  <a:pt x="133" y="1682"/>
                  <a:pt x="134" y="1683"/>
                </a:cubicBezTo>
                <a:cubicBezTo>
                  <a:pt x="126" y="1694"/>
                  <a:pt x="111" y="1703"/>
                  <a:pt x="99" y="1708"/>
                </a:cubicBezTo>
                <a:cubicBezTo>
                  <a:pt x="102" y="1717"/>
                  <a:pt x="98" y="1732"/>
                  <a:pt x="107" y="1736"/>
                </a:cubicBezTo>
                <a:cubicBezTo>
                  <a:pt x="106" y="1739"/>
                  <a:pt x="108" y="1740"/>
                  <a:pt x="108" y="1742"/>
                </a:cubicBezTo>
                <a:cubicBezTo>
                  <a:pt x="108" y="1744"/>
                  <a:pt x="108" y="1744"/>
                  <a:pt x="108" y="1744"/>
                </a:cubicBezTo>
                <a:cubicBezTo>
                  <a:pt x="111" y="1744"/>
                  <a:pt x="114" y="1744"/>
                  <a:pt x="117" y="1743"/>
                </a:cubicBezTo>
                <a:cubicBezTo>
                  <a:pt x="128" y="1741"/>
                  <a:pt x="131" y="1734"/>
                  <a:pt x="141" y="1745"/>
                </a:cubicBezTo>
                <a:cubicBezTo>
                  <a:pt x="145" y="1736"/>
                  <a:pt x="159" y="1734"/>
                  <a:pt x="167" y="1735"/>
                </a:cubicBezTo>
                <a:cubicBezTo>
                  <a:pt x="168" y="1743"/>
                  <a:pt x="163" y="1766"/>
                  <a:pt x="169" y="1772"/>
                </a:cubicBezTo>
                <a:cubicBezTo>
                  <a:pt x="175" y="1778"/>
                  <a:pt x="193" y="1774"/>
                  <a:pt x="201" y="1780"/>
                </a:cubicBezTo>
                <a:cubicBezTo>
                  <a:pt x="197" y="1794"/>
                  <a:pt x="209" y="1804"/>
                  <a:pt x="210" y="1820"/>
                </a:cubicBezTo>
                <a:cubicBezTo>
                  <a:pt x="219" y="1816"/>
                  <a:pt x="224" y="1819"/>
                  <a:pt x="232" y="1818"/>
                </a:cubicBezTo>
                <a:cubicBezTo>
                  <a:pt x="245" y="1817"/>
                  <a:pt x="244" y="1811"/>
                  <a:pt x="253" y="1819"/>
                </a:cubicBezTo>
                <a:cubicBezTo>
                  <a:pt x="255" y="1820"/>
                  <a:pt x="253" y="1827"/>
                  <a:pt x="257" y="1829"/>
                </a:cubicBezTo>
                <a:cubicBezTo>
                  <a:pt x="261" y="1831"/>
                  <a:pt x="265" y="1825"/>
                  <a:pt x="269" y="1825"/>
                </a:cubicBezTo>
                <a:cubicBezTo>
                  <a:pt x="276" y="1826"/>
                  <a:pt x="283" y="1830"/>
                  <a:pt x="289" y="1832"/>
                </a:cubicBezTo>
                <a:cubicBezTo>
                  <a:pt x="289" y="1837"/>
                  <a:pt x="288" y="1842"/>
                  <a:pt x="288" y="1847"/>
                </a:cubicBezTo>
                <a:cubicBezTo>
                  <a:pt x="297" y="1847"/>
                  <a:pt x="315" y="1845"/>
                  <a:pt x="320" y="1856"/>
                </a:cubicBezTo>
                <a:cubicBezTo>
                  <a:pt x="324" y="1863"/>
                  <a:pt x="316" y="1877"/>
                  <a:pt x="315" y="1884"/>
                </a:cubicBezTo>
                <a:cubicBezTo>
                  <a:pt x="316" y="1885"/>
                  <a:pt x="318" y="1885"/>
                  <a:pt x="320" y="1885"/>
                </a:cubicBezTo>
                <a:cubicBezTo>
                  <a:pt x="320" y="1886"/>
                  <a:pt x="321" y="1888"/>
                  <a:pt x="321" y="1889"/>
                </a:cubicBezTo>
                <a:cubicBezTo>
                  <a:pt x="315" y="1896"/>
                  <a:pt x="323" y="1901"/>
                  <a:pt x="320" y="1908"/>
                </a:cubicBezTo>
                <a:cubicBezTo>
                  <a:pt x="317" y="1916"/>
                  <a:pt x="308" y="1917"/>
                  <a:pt x="306" y="1926"/>
                </a:cubicBezTo>
                <a:cubicBezTo>
                  <a:pt x="291" y="1919"/>
                  <a:pt x="284" y="1931"/>
                  <a:pt x="275" y="1941"/>
                </a:cubicBezTo>
                <a:cubicBezTo>
                  <a:pt x="276" y="1942"/>
                  <a:pt x="276" y="1942"/>
                  <a:pt x="276" y="1942"/>
                </a:cubicBezTo>
                <a:cubicBezTo>
                  <a:pt x="277" y="1941"/>
                  <a:pt x="278" y="1940"/>
                  <a:pt x="281" y="1942"/>
                </a:cubicBezTo>
                <a:cubicBezTo>
                  <a:pt x="287" y="1947"/>
                  <a:pt x="286" y="1947"/>
                  <a:pt x="292" y="1945"/>
                </a:cubicBezTo>
                <a:cubicBezTo>
                  <a:pt x="299" y="1944"/>
                  <a:pt x="304" y="1942"/>
                  <a:pt x="305" y="1944"/>
                </a:cubicBezTo>
                <a:cubicBezTo>
                  <a:pt x="307" y="1945"/>
                  <a:pt x="303" y="1949"/>
                  <a:pt x="288" y="1958"/>
                </a:cubicBezTo>
                <a:cubicBezTo>
                  <a:pt x="273" y="1966"/>
                  <a:pt x="274" y="1966"/>
                  <a:pt x="268" y="1966"/>
                </a:cubicBezTo>
                <a:cubicBezTo>
                  <a:pt x="262" y="1966"/>
                  <a:pt x="258" y="1961"/>
                  <a:pt x="262" y="1966"/>
                </a:cubicBezTo>
                <a:cubicBezTo>
                  <a:pt x="266" y="1972"/>
                  <a:pt x="269" y="1975"/>
                  <a:pt x="273" y="1977"/>
                </a:cubicBezTo>
                <a:cubicBezTo>
                  <a:pt x="278" y="1980"/>
                  <a:pt x="269" y="1988"/>
                  <a:pt x="275" y="1988"/>
                </a:cubicBezTo>
                <a:cubicBezTo>
                  <a:pt x="282" y="1988"/>
                  <a:pt x="287" y="1991"/>
                  <a:pt x="287" y="1991"/>
                </a:cubicBezTo>
                <a:cubicBezTo>
                  <a:pt x="287" y="1991"/>
                  <a:pt x="289" y="1992"/>
                  <a:pt x="283" y="1992"/>
                </a:cubicBezTo>
                <a:cubicBezTo>
                  <a:pt x="277" y="1993"/>
                  <a:pt x="269" y="1993"/>
                  <a:pt x="269" y="1993"/>
                </a:cubicBezTo>
                <a:cubicBezTo>
                  <a:pt x="264" y="1995"/>
                  <a:pt x="264" y="1995"/>
                  <a:pt x="264" y="1995"/>
                </a:cubicBezTo>
                <a:cubicBezTo>
                  <a:pt x="264" y="1995"/>
                  <a:pt x="261" y="1988"/>
                  <a:pt x="260" y="1994"/>
                </a:cubicBezTo>
                <a:cubicBezTo>
                  <a:pt x="260" y="2000"/>
                  <a:pt x="254" y="2015"/>
                  <a:pt x="254" y="2015"/>
                </a:cubicBezTo>
                <a:cubicBezTo>
                  <a:pt x="254" y="2015"/>
                  <a:pt x="249" y="2020"/>
                  <a:pt x="248" y="2018"/>
                </a:cubicBezTo>
                <a:cubicBezTo>
                  <a:pt x="247" y="2016"/>
                  <a:pt x="247" y="2017"/>
                  <a:pt x="244" y="2015"/>
                </a:cubicBezTo>
                <a:cubicBezTo>
                  <a:pt x="242" y="2014"/>
                  <a:pt x="245" y="2015"/>
                  <a:pt x="242" y="2014"/>
                </a:cubicBezTo>
                <a:cubicBezTo>
                  <a:pt x="239" y="2014"/>
                  <a:pt x="236" y="2015"/>
                  <a:pt x="239" y="2020"/>
                </a:cubicBezTo>
                <a:cubicBezTo>
                  <a:pt x="243" y="2025"/>
                  <a:pt x="249" y="2026"/>
                  <a:pt x="249" y="2028"/>
                </a:cubicBezTo>
                <a:cubicBezTo>
                  <a:pt x="250" y="2031"/>
                  <a:pt x="246" y="2036"/>
                  <a:pt x="251" y="2038"/>
                </a:cubicBezTo>
                <a:cubicBezTo>
                  <a:pt x="256" y="2041"/>
                  <a:pt x="252" y="2046"/>
                  <a:pt x="259" y="2045"/>
                </a:cubicBezTo>
                <a:cubicBezTo>
                  <a:pt x="265" y="2045"/>
                  <a:pt x="263" y="2035"/>
                  <a:pt x="269" y="2041"/>
                </a:cubicBezTo>
                <a:cubicBezTo>
                  <a:pt x="274" y="2046"/>
                  <a:pt x="274" y="2048"/>
                  <a:pt x="277" y="2051"/>
                </a:cubicBezTo>
                <a:cubicBezTo>
                  <a:pt x="279" y="2054"/>
                  <a:pt x="286" y="2053"/>
                  <a:pt x="288" y="2055"/>
                </a:cubicBezTo>
                <a:cubicBezTo>
                  <a:pt x="291" y="2058"/>
                  <a:pt x="294" y="2059"/>
                  <a:pt x="298" y="2062"/>
                </a:cubicBezTo>
                <a:cubicBezTo>
                  <a:pt x="301" y="2065"/>
                  <a:pt x="312" y="2076"/>
                  <a:pt x="314" y="2080"/>
                </a:cubicBezTo>
                <a:cubicBezTo>
                  <a:pt x="316" y="2083"/>
                  <a:pt x="320" y="2085"/>
                  <a:pt x="322" y="2086"/>
                </a:cubicBezTo>
                <a:cubicBezTo>
                  <a:pt x="323" y="2087"/>
                  <a:pt x="324" y="2089"/>
                  <a:pt x="325" y="2091"/>
                </a:cubicBezTo>
                <a:cubicBezTo>
                  <a:pt x="325" y="2092"/>
                  <a:pt x="325" y="2092"/>
                  <a:pt x="325" y="2092"/>
                </a:cubicBezTo>
                <a:lnTo>
                  <a:pt x="328" y="209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73" name="Freeform 709"/>
          <p:cNvSpPr>
            <a:spLocks/>
          </p:cNvSpPr>
          <p:nvPr userDrawn="1"/>
        </p:nvSpPr>
        <p:spPr bwMode="auto">
          <a:xfrm>
            <a:off x="6137242" y="3868934"/>
            <a:ext cx="465676" cy="206036"/>
          </a:xfrm>
          <a:custGeom>
            <a:avLst/>
            <a:gdLst>
              <a:gd name="T0" fmla="*/ 2147483646 w 498"/>
              <a:gd name="T1" fmla="*/ 2147483646 h 222"/>
              <a:gd name="T2" fmla="*/ 2147483646 w 498"/>
              <a:gd name="T3" fmla="*/ 2147483646 h 222"/>
              <a:gd name="T4" fmla="*/ 2147483646 w 498"/>
              <a:gd name="T5" fmla="*/ 2147483646 h 222"/>
              <a:gd name="T6" fmla="*/ 2147483646 w 498"/>
              <a:gd name="T7" fmla="*/ 2147483646 h 222"/>
              <a:gd name="T8" fmla="*/ 2147483646 w 498"/>
              <a:gd name="T9" fmla="*/ 2147483646 h 222"/>
              <a:gd name="T10" fmla="*/ 2147483646 w 498"/>
              <a:gd name="T11" fmla="*/ 2147483646 h 222"/>
              <a:gd name="T12" fmla="*/ 2147483646 w 498"/>
              <a:gd name="T13" fmla="*/ 2147483646 h 222"/>
              <a:gd name="T14" fmla="*/ 2147483646 w 498"/>
              <a:gd name="T15" fmla="*/ 2147483646 h 222"/>
              <a:gd name="T16" fmla="*/ 2147483646 w 498"/>
              <a:gd name="T17" fmla="*/ 2147483646 h 222"/>
              <a:gd name="T18" fmla="*/ 2147483646 w 498"/>
              <a:gd name="T19" fmla="*/ 2147483646 h 222"/>
              <a:gd name="T20" fmla="*/ 2147483646 w 498"/>
              <a:gd name="T21" fmla="*/ 2147483646 h 222"/>
              <a:gd name="T22" fmla="*/ 2147483646 w 498"/>
              <a:gd name="T23" fmla="*/ 2147483646 h 222"/>
              <a:gd name="T24" fmla="*/ 2147483646 w 498"/>
              <a:gd name="T25" fmla="*/ 2147483646 h 222"/>
              <a:gd name="T26" fmla="*/ 2147483646 w 498"/>
              <a:gd name="T27" fmla="*/ 2147483646 h 222"/>
              <a:gd name="T28" fmla="*/ 2147483646 w 498"/>
              <a:gd name="T29" fmla="*/ 2147483646 h 222"/>
              <a:gd name="T30" fmla="*/ 2147483646 w 498"/>
              <a:gd name="T31" fmla="*/ 2147483646 h 222"/>
              <a:gd name="T32" fmla="*/ 2147483646 w 498"/>
              <a:gd name="T33" fmla="*/ 2147483646 h 222"/>
              <a:gd name="T34" fmla="*/ 2147483646 w 498"/>
              <a:gd name="T35" fmla="*/ 2147483646 h 222"/>
              <a:gd name="T36" fmla="*/ 2147483646 w 498"/>
              <a:gd name="T37" fmla="*/ 2147483646 h 222"/>
              <a:gd name="T38" fmla="*/ 2147483646 w 498"/>
              <a:gd name="T39" fmla="*/ 2147483646 h 222"/>
              <a:gd name="T40" fmla="*/ 2147483646 w 498"/>
              <a:gd name="T41" fmla="*/ 2147483646 h 222"/>
              <a:gd name="T42" fmla="*/ 2147483646 w 498"/>
              <a:gd name="T43" fmla="*/ 2147483646 h 222"/>
              <a:gd name="T44" fmla="*/ 2147483646 w 498"/>
              <a:gd name="T45" fmla="*/ 2147483646 h 222"/>
              <a:gd name="T46" fmla="*/ 2147483646 w 498"/>
              <a:gd name="T47" fmla="*/ 2147483646 h 222"/>
              <a:gd name="T48" fmla="*/ 2147483646 w 498"/>
              <a:gd name="T49" fmla="*/ 2147483646 h 222"/>
              <a:gd name="T50" fmla="*/ 2147483646 w 498"/>
              <a:gd name="T51" fmla="*/ 2147483646 h 222"/>
              <a:gd name="T52" fmla="*/ 2147483646 w 498"/>
              <a:gd name="T53" fmla="*/ 2147483646 h 222"/>
              <a:gd name="T54" fmla="*/ 2147483646 w 498"/>
              <a:gd name="T55" fmla="*/ 2147483646 h 222"/>
              <a:gd name="T56" fmla="*/ 2147483646 w 498"/>
              <a:gd name="T57" fmla="*/ 2147483646 h 222"/>
              <a:gd name="T58" fmla="*/ 2147483646 w 498"/>
              <a:gd name="T59" fmla="*/ 2147483646 h 222"/>
              <a:gd name="T60" fmla="*/ 2147483646 w 498"/>
              <a:gd name="T61" fmla="*/ 2147483646 h 222"/>
              <a:gd name="T62" fmla="*/ 2147483646 w 498"/>
              <a:gd name="T63" fmla="*/ 2147483646 h 222"/>
              <a:gd name="T64" fmla="*/ 2147483646 w 498"/>
              <a:gd name="T65" fmla="*/ 2147483646 h 222"/>
              <a:gd name="T66" fmla="*/ 2147483646 w 498"/>
              <a:gd name="T67" fmla="*/ 2147483646 h 222"/>
              <a:gd name="T68" fmla="*/ 2147483646 w 498"/>
              <a:gd name="T69" fmla="*/ 2147483646 h 222"/>
              <a:gd name="T70" fmla="*/ 2147483646 w 498"/>
              <a:gd name="T71" fmla="*/ 2147483646 h 222"/>
              <a:gd name="T72" fmla="*/ 2147483646 w 498"/>
              <a:gd name="T73" fmla="*/ 2147483646 h 222"/>
              <a:gd name="T74" fmla="*/ 2147483646 w 498"/>
              <a:gd name="T75" fmla="*/ 2147483646 h 222"/>
              <a:gd name="T76" fmla="*/ 2147483646 w 498"/>
              <a:gd name="T77" fmla="*/ 2147483646 h 222"/>
              <a:gd name="T78" fmla="*/ 2147483646 w 498"/>
              <a:gd name="T79" fmla="*/ 2147483646 h 222"/>
              <a:gd name="T80" fmla="*/ 2147483646 w 498"/>
              <a:gd name="T81" fmla="*/ 2147483646 h 222"/>
              <a:gd name="T82" fmla="*/ 2147483646 w 498"/>
              <a:gd name="T83" fmla="*/ 2147483646 h 222"/>
              <a:gd name="T84" fmla="*/ 2147483646 w 498"/>
              <a:gd name="T85" fmla="*/ 2147483646 h 222"/>
              <a:gd name="T86" fmla="*/ 2147483646 w 498"/>
              <a:gd name="T87" fmla="*/ 2147483646 h 222"/>
              <a:gd name="T88" fmla="*/ 2147483646 w 498"/>
              <a:gd name="T89" fmla="*/ 2147483646 h 222"/>
              <a:gd name="T90" fmla="*/ 2147483646 w 498"/>
              <a:gd name="T91" fmla="*/ 2147483646 h 222"/>
              <a:gd name="T92" fmla="*/ 2147483646 w 498"/>
              <a:gd name="T93" fmla="*/ 2147483646 h 222"/>
              <a:gd name="T94" fmla="*/ 2147483646 w 498"/>
              <a:gd name="T95" fmla="*/ 2147483646 h 222"/>
              <a:gd name="T96" fmla="*/ 2147483646 w 498"/>
              <a:gd name="T97" fmla="*/ 2147483646 h 222"/>
              <a:gd name="T98" fmla="*/ 2147483646 w 498"/>
              <a:gd name="T99" fmla="*/ 2147483646 h 222"/>
              <a:gd name="T100" fmla="*/ 2147483646 w 498"/>
              <a:gd name="T101" fmla="*/ 2147483646 h 222"/>
              <a:gd name="T102" fmla="*/ 2147483646 w 498"/>
              <a:gd name="T103" fmla="*/ 2147483646 h 222"/>
              <a:gd name="T104" fmla="*/ 2147483646 w 498"/>
              <a:gd name="T105" fmla="*/ 2147483646 h 22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98"/>
              <a:gd name="T160" fmla="*/ 0 h 222"/>
              <a:gd name="T161" fmla="*/ 498 w 498"/>
              <a:gd name="T162" fmla="*/ 222 h 22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98" h="222">
                <a:moveTo>
                  <a:pt x="398" y="35"/>
                </a:moveTo>
                <a:cubicBezTo>
                  <a:pt x="405" y="46"/>
                  <a:pt x="427" y="50"/>
                  <a:pt x="437" y="49"/>
                </a:cubicBezTo>
                <a:cubicBezTo>
                  <a:pt x="437" y="49"/>
                  <a:pt x="450" y="71"/>
                  <a:pt x="457" y="75"/>
                </a:cubicBezTo>
                <a:cubicBezTo>
                  <a:pt x="463" y="78"/>
                  <a:pt x="468" y="86"/>
                  <a:pt x="468" y="97"/>
                </a:cubicBezTo>
                <a:cubicBezTo>
                  <a:pt x="469" y="107"/>
                  <a:pt x="472" y="114"/>
                  <a:pt x="478" y="114"/>
                </a:cubicBezTo>
                <a:cubicBezTo>
                  <a:pt x="484" y="115"/>
                  <a:pt x="487" y="108"/>
                  <a:pt x="497" y="112"/>
                </a:cubicBezTo>
                <a:cubicBezTo>
                  <a:pt x="497" y="112"/>
                  <a:pt x="485" y="126"/>
                  <a:pt x="480" y="127"/>
                </a:cubicBezTo>
                <a:cubicBezTo>
                  <a:pt x="475" y="128"/>
                  <a:pt x="475" y="136"/>
                  <a:pt x="486" y="150"/>
                </a:cubicBezTo>
                <a:cubicBezTo>
                  <a:pt x="498" y="163"/>
                  <a:pt x="491" y="190"/>
                  <a:pt x="487" y="186"/>
                </a:cubicBezTo>
                <a:cubicBezTo>
                  <a:pt x="483" y="182"/>
                  <a:pt x="460" y="189"/>
                  <a:pt x="453" y="182"/>
                </a:cubicBezTo>
                <a:cubicBezTo>
                  <a:pt x="446" y="175"/>
                  <a:pt x="441" y="182"/>
                  <a:pt x="429" y="183"/>
                </a:cubicBezTo>
                <a:cubicBezTo>
                  <a:pt x="417" y="185"/>
                  <a:pt x="407" y="191"/>
                  <a:pt x="399" y="189"/>
                </a:cubicBezTo>
                <a:cubicBezTo>
                  <a:pt x="390" y="186"/>
                  <a:pt x="361" y="192"/>
                  <a:pt x="344" y="192"/>
                </a:cubicBezTo>
                <a:cubicBezTo>
                  <a:pt x="327" y="192"/>
                  <a:pt x="328" y="204"/>
                  <a:pt x="316" y="195"/>
                </a:cubicBezTo>
                <a:cubicBezTo>
                  <a:pt x="303" y="186"/>
                  <a:pt x="307" y="199"/>
                  <a:pt x="299" y="203"/>
                </a:cubicBezTo>
                <a:cubicBezTo>
                  <a:pt x="291" y="207"/>
                  <a:pt x="284" y="216"/>
                  <a:pt x="277" y="219"/>
                </a:cubicBezTo>
                <a:cubicBezTo>
                  <a:pt x="270" y="222"/>
                  <a:pt x="270" y="211"/>
                  <a:pt x="270" y="204"/>
                </a:cubicBezTo>
                <a:cubicBezTo>
                  <a:pt x="270" y="197"/>
                  <a:pt x="253" y="190"/>
                  <a:pt x="247" y="189"/>
                </a:cubicBezTo>
                <a:cubicBezTo>
                  <a:pt x="243" y="188"/>
                  <a:pt x="245" y="188"/>
                  <a:pt x="244" y="191"/>
                </a:cubicBezTo>
                <a:cubicBezTo>
                  <a:pt x="242" y="193"/>
                  <a:pt x="240" y="191"/>
                  <a:pt x="240" y="191"/>
                </a:cubicBezTo>
                <a:cubicBezTo>
                  <a:pt x="239" y="190"/>
                  <a:pt x="238" y="188"/>
                  <a:pt x="234" y="185"/>
                </a:cubicBezTo>
                <a:cubicBezTo>
                  <a:pt x="226" y="179"/>
                  <a:pt x="231" y="186"/>
                  <a:pt x="226" y="188"/>
                </a:cubicBezTo>
                <a:cubicBezTo>
                  <a:pt x="220" y="191"/>
                  <a:pt x="218" y="198"/>
                  <a:pt x="211" y="202"/>
                </a:cubicBezTo>
                <a:cubicBezTo>
                  <a:pt x="205" y="206"/>
                  <a:pt x="191" y="210"/>
                  <a:pt x="185" y="212"/>
                </a:cubicBezTo>
                <a:cubicBezTo>
                  <a:pt x="179" y="214"/>
                  <a:pt x="175" y="213"/>
                  <a:pt x="176" y="211"/>
                </a:cubicBezTo>
                <a:cubicBezTo>
                  <a:pt x="177" y="209"/>
                  <a:pt x="171" y="203"/>
                  <a:pt x="164" y="199"/>
                </a:cubicBezTo>
                <a:cubicBezTo>
                  <a:pt x="157" y="196"/>
                  <a:pt x="154" y="191"/>
                  <a:pt x="145" y="186"/>
                </a:cubicBezTo>
                <a:cubicBezTo>
                  <a:pt x="137" y="182"/>
                  <a:pt x="138" y="184"/>
                  <a:pt x="133" y="189"/>
                </a:cubicBezTo>
                <a:cubicBezTo>
                  <a:pt x="128" y="194"/>
                  <a:pt x="131" y="198"/>
                  <a:pt x="127" y="199"/>
                </a:cubicBezTo>
                <a:cubicBezTo>
                  <a:pt x="123" y="201"/>
                  <a:pt x="119" y="200"/>
                  <a:pt x="118" y="203"/>
                </a:cubicBezTo>
                <a:cubicBezTo>
                  <a:pt x="117" y="206"/>
                  <a:pt x="101" y="210"/>
                  <a:pt x="97" y="209"/>
                </a:cubicBezTo>
                <a:cubicBezTo>
                  <a:pt x="92" y="208"/>
                  <a:pt x="87" y="200"/>
                  <a:pt x="86" y="195"/>
                </a:cubicBezTo>
                <a:cubicBezTo>
                  <a:pt x="86" y="191"/>
                  <a:pt x="86" y="191"/>
                  <a:pt x="82" y="188"/>
                </a:cubicBezTo>
                <a:cubicBezTo>
                  <a:pt x="79" y="185"/>
                  <a:pt x="82" y="192"/>
                  <a:pt x="81" y="196"/>
                </a:cubicBezTo>
                <a:cubicBezTo>
                  <a:pt x="80" y="200"/>
                  <a:pt x="63" y="193"/>
                  <a:pt x="60" y="188"/>
                </a:cubicBezTo>
                <a:cubicBezTo>
                  <a:pt x="58" y="183"/>
                  <a:pt x="67" y="179"/>
                  <a:pt x="64" y="178"/>
                </a:cubicBezTo>
                <a:cubicBezTo>
                  <a:pt x="62" y="177"/>
                  <a:pt x="59" y="178"/>
                  <a:pt x="54" y="181"/>
                </a:cubicBezTo>
                <a:cubicBezTo>
                  <a:pt x="48" y="185"/>
                  <a:pt x="52" y="186"/>
                  <a:pt x="48" y="186"/>
                </a:cubicBezTo>
                <a:cubicBezTo>
                  <a:pt x="44" y="186"/>
                  <a:pt x="41" y="186"/>
                  <a:pt x="37" y="182"/>
                </a:cubicBezTo>
                <a:cubicBezTo>
                  <a:pt x="37" y="182"/>
                  <a:pt x="39" y="170"/>
                  <a:pt x="38" y="165"/>
                </a:cubicBezTo>
                <a:cubicBezTo>
                  <a:pt x="37" y="161"/>
                  <a:pt x="42" y="161"/>
                  <a:pt x="38" y="160"/>
                </a:cubicBezTo>
                <a:cubicBezTo>
                  <a:pt x="34" y="159"/>
                  <a:pt x="38" y="153"/>
                  <a:pt x="34" y="147"/>
                </a:cubicBezTo>
                <a:cubicBezTo>
                  <a:pt x="30" y="141"/>
                  <a:pt x="30" y="146"/>
                  <a:pt x="26" y="149"/>
                </a:cubicBezTo>
                <a:cubicBezTo>
                  <a:pt x="21" y="152"/>
                  <a:pt x="22" y="146"/>
                  <a:pt x="23" y="141"/>
                </a:cubicBezTo>
                <a:cubicBezTo>
                  <a:pt x="23" y="136"/>
                  <a:pt x="18" y="139"/>
                  <a:pt x="14" y="138"/>
                </a:cubicBezTo>
                <a:cubicBezTo>
                  <a:pt x="10" y="137"/>
                  <a:pt x="16" y="137"/>
                  <a:pt x="12" y="134"/>
                </a:cubicBezTo>
                <a:cubicBezTo>
                  <a:pt x="9" y="131"/>
                  <a:pt x="24" y="133"/>
                  <a:pt x="23" y="133"/>
                </a:cubicBezTo>
                <a:cubicBezTo>
                  <a:pt x="21" y="132"/>
                  <a:pt x="25" y="125"/>
                  <a:pt x="25" y="125"/>
                </a:cubicBezTo>
                <a:cubicBezTo>
                  <a:pt x="25" y="125"/>
                  <a:pt x="34" y="118"/>
                  <a:pt x="32" y="117"/>
                </a:cubicBezTo>
                <a:cubicBezTo>
                  <a:pt x="29" y="116"/>
                  <a:pt x="29" y="119"/>
                  <a:pt x="25" y="118"/>
                </a:cubicBezTo>
                <a:cubicBezTo>
                  <a:pt x="21" y="116"/>
                  <a:pt x="29" y="113"/>
                  <a:pt x="29" y="110"/>
                </a:cubicBezTo>
                <a:cubicBezTo>
                  <a:pt x="28" y="107"/>
                  <a:pt x="25" y="109"/>
                  <a:pt x="21" y="106"/>
                </a:cubicBezTo>
                <a:cubicBezTo>
                  <a:pt x="18" y="102"/>
                  <a:pt x="26" y="105"/>
                  <a:pt x="26" y="105"/>
                </a:cubicBezTo>
                <a:cubicBezTo>
                  <a:pt x="33" y="98"/>
                  <a:pt x="33" y="98"/>
                  <a:pt x="33" y="98"/>
                </a:cubicBezTo>
                <a:cubicBezTo>
                  <a:pt x="33" y="98"/>
                  <a:pt x="28" y="95"/>
                  <a:pt x="25" y="98"/>
                </a:cubicBezTo>
                <a:cubicBezTo>
                  <a:pt x="22" y="100"/>
                  <a:pt x="22" y="98"/>
                  <a:pt x="19" y="97"/>
                </a:cubicBezTo>
                <a:cubicBezTo>
                  <a:pt x="16" y="95"/>
                  <a:pt x="15" y="100"/>
                  <a:pt x="10" y="100"/>
                </a:cubicBezTo>
                <a:cubicBezTo>
                  <a:pt x="5" y="100"/>
                  <a:pt x="9" y="98"/>
                  <a:pt x="6" y="94"/>
                </a:cubicBezTo>
                <a:cubicBezTo>
                  <a:pt x="3" y="89"/>
                  <a:pt x="8" y="88"/>
                  <a:pt x="11" y="87"/>
                </a:cubicBezTo>
                <a:cubicBezTo>
                  <a:pt x="14" y="85"/>
                  <a:pt x="15" y="82"/>
                  <a:pt x="18" y="76"/>
                </a:cubicBezTo>
                <a:cubicBezTo>
                  <a:pt x="21" y="70"/>
                  <a:pt x="25" y="71"/>
                  <a:pt x="25" y="67"/>
                </a:cubicBezTo>
                <a:cubicBezTo>
                  <a:pt x="25" y="62"/>
                  <a:pt x="29" y="67"/>
                  <a:pt x="32" y="66"/>
                </a:cubicBezTo>
                <a:cubicBezTo>
                  <a:pt x="34" y="64"/>
                  <a:pt x="36" y="68"/>
                  <a:pt x="44" y="70"/>
                </a:cubicBezTo>
                <a:cubicBezTo>
                  <a:pt x="53" y="72"/>
                  <a:pt x="46" y="64"/>
                  <a:pt x="42" y="60"/>
                </a:cubicBezTo>
                <a:cubicBezTo>
                  <a:pt x="37" y="56"/>
                  <a:pt x="45" y="59"/>
                  <a:pt x="48" y="60"/>
                </a:cubicBezTo>
                <a:cubicBezTo>
                  <a:pt x="51" y="60"/>
                  <a:pt x="50" y="61"/>
                  <a:pt x="57" y="66"/>
                </a:cubicBezTo>
                <a:cubicBezTo>
                  <a:pt x="64" y="70"/>
                  <a:pt x="67" y="64"/>
                  <a:pt x="69" y="65"/>
                </a:cubicBezTo>
                <a:cubicBezTo>
                  <a:pt x="72" y="66"/>
                  <a:pt x="79" y="66"/>
                  <a:pt x="80" y="66"/>
                </a:cubicBezTo>
                <a:cubicBezTo>
                  <a:pt x="82" y="65"/>
                  <a:pt x="79" y="62"/>
                  <a:pt x="76" y="60"/>
                </a:cubicBezTo>
                <a:cubicBezTo>
                  <a:pt x="72" y="59"/>
                  <a:pt x="75" y="58"/>
                  <a:pt x="84" y="57"/>
                </a:cubicBezTo>
                <a:cubicBezTo>
                  <a:pt x="92" y="57"/>
                  <a:pt x="92" y="54"/>
                  <a:pt x="90" y="53"/>
                </a:cubicBezTo>
                <a:cubicBezTo>
                  <a:pt x="89" y="52"/>
                  <a:pt x="87" y="49"/>
                  <a:pt x="84" y="47"/>
                </a:cubicBezTo>
                <a:cubicBezTo>
                  <a:pt x="81" y="45"/>
                  <a:pt x="79" y="46"/>
                  <a:pt x="73" y="47"/>
                </a:cubicBezTo>
                <a:cubicBezTo>
                  <a:pt x="68" y="47"/>
                  <a:pt x="68" y="45"/>
                  <a:pt x="60" y="41"/>
                </a:cubicBezTo>
                <a:cubicBezTo>
                  <a:pt x="53" y="38"/>
                  <a:pt x="51" y="40"/>
                  <a:pt x="46" y="43"/>
                </a:cubicBezTo>
                <a:cubicBezTo>
                  <a:pt x="41" y="46"/>
                  <a:pt x="45" y="52"/>
                  <a:pt x="40" y="54"/>
                </a:cubicBezTo>
                <a:cubicBezTo>
                  <a:pt x="34" y="56"/>
                  <a:pt x="40" y="54"/>
                  <a:pt x="33" y="53"/>
                </a:cubicBezTo>
                <a:cubicBezTo>
                  <a:pt x="26" y="53"/>
                  <a:pt x="29" y="57"/>
                  <a:pt x="24" y="64"/>
                </a:cubicBezTo>
                <a:cubicBezTo>
                  <a:pt x="20" y="70"/>
                  <a:pt x="17" y="74"/>
                  <a:pt x="8" y="76"/>
                </a:cubicBezTo>
                <a:cubicBezTo>
                  <a:pt x="0" y="78"/>
                  <a:pt x="8" y="74"/>
                  <a:pt x="9" y="70"/>
                </a:cubicBezTo>
                <a:cubicBezTo>
                  <a:pt x="10" y="66"/>
                  <a:pt x="19" y="61"/>
                  <a:pt x="20" y="59"/>
                </a:cubicBezTo>
                <a:cubicBezTo>
                  <a:pt x="21" y="57"/>
                  <a:pt x="15" y="58"/>
                  <a:pt x="8" y="53"/>
                </a:cubicBezTo>
                <a:cubicBezTo>
                  <a:pt x="9" y="52"/>
                  <a:pt x="9" y="52"/>
                  <a:pt x="9" y="52"/>
                </a:cubicBezTo>
                <a:cubicBezTo>
                  <a:pt x="12" y="45"/>
                  <a:pt x="17" y="40"/>
                  <a:pt x="20" y="32"/>
                </a:cubicBezTo>
                <a:cubicBezTo>
                  <a:pt x="21" y="28"/>
                  <a:pt x="22" y="24"/>
                  <a:pt x="21" y="20"/>
                </a:cubicBezTo>
                <a:cubicBezTo>
                  <a:pt x="20" y="17"/>
                  <a:pt x="17" y="12"/>
                  <a:pt x="18" y="9"/>
                </a:cubicBezTo>
                <a:cubicBezTo>
                  <a:pt x="20" y="8"/>
                  <a:pt x="20" y="8"/>
                  <a:pt x="20" y="8"/>
                </a:cubicBezTo>
                <a:cubicBezTo>
                  <a:pt x="29" y="4"/>
                  <a:pt x="42" y="11"/>
                  <a:pt x="52" y="10"/>
                </a:cubicBezTo>
                <a:cubicBezTo>
                  <a:pt x="53" y="9"/>
                  <a:pt x="53" y="9"/>
                  <a:pt x="53" y="9"/>
                </a:cubicBezTo>
                <a:cubicBezTo>
                  <a:pt x="55" y="15"/>
                  <a:pt x="63" y="23"/>
                  <a:pt x="66" y="27"/>
                </a:cubicBezTo>
                <a:cubicBezTo>
                  <a:pt x="68" y="32"/>
                  <a:pt x="78" y="35"/>
                  <a:pt x="90" y="38"/>
                </a:cubicBezTo>
                <a:cubicBezTo>
                  <a:pt x="102" y="42"/>
                  <a:pt x="133" y="43"/>
                  <a:pt x="137" y="39"/>
                </a:cubicBezTo>
                <a:cubicBezTo>
                  <a:pt x="142" y="34"/>
                  <a:pt x="145" y="30"/>
                  <a:pt x="153" y="22"/>
                </a:cubicBezTo>
                <a:cubicBezTo>
                  <a:pt x="160" y="15"/>
                  <a:pt x="165" y="22"/>
                  <a:pt x="170" y="19"/>
                </a:cubicBezTo>
                <a:cubicBezTo>
                  <a:pt x="175" y="15"/>
                  <a:pt x="179" y="13"/>
                  <a:pt x="185" y="9"/>
                </a:cubicBezTo>
                <a:cubicBezTo>
                  <a:pt x="191" y="5"/>
                  <a:pt x="196" y="8"/>
                  <a:pt x="213" y="9"/>
                </a:cubicBezTo>
                <a:cubicBezTo>
                  <a:pt x="231" y="9"/>
                  <a:pt x="231" y="8"/>
                  <a:pt x="236" y="4"/>
                </a:cubicBezTo>
                <a:cubicBezTo>
                  <a:pt x="241" y="0"/>
                  <a:pt x="239" y="6"/>
                  <a:pt x="240" y="10"/>
                </a:cubicBezTo>
                <a:cubicBezTo>
                  <a:pt x="241" y="14"/>
                  <a:pt x="244" y="16"/>
                  <a:pt x="245" y="19"/>
                </a:cubicBezTo>
                <a:cubicBezTo>
                  <a:pt x="246" y="21"/>
                  <a:pt x="254" y="21"/>
                  <a:pt x="258" y="18"/>
                </a:cubicBezTo>
                <a:cubicBezTo>
                  <a:pt x="262" y="14"/>
                  <a:pt x="267" y="26"/>
                  <a:pt x="269" y="30"/>
                </a:cubicBezTo>
                <a:cubicBezTo>
                  <a:pt x="271" y="34"/>
                  <a:pt x="285" y="31"/>
                  <a:pt x="296" y="40"/>
                </a:cubicBezTo>
                <a:cubicBezTo>
                  <a:pt x="306" y="49"/>
                  <a:pt x="322" y="49"/>
                  <a:pt x="340" y="41"/>
                </a:cubicBezTo>
                <a:cubicBezTo>
                  <a:pt x="358" y="33"/>
                  <a:pt x="349" y="41"/>
                  <a:pt x="353" y="40"/>
                </a:cubicBezTo>
                <a:cubicBezTo>
                  <a:pt x="358" y="39"/>
                  <a:pt x="366" y="41"/>
                  <a:pt x="370" y="43"/>
                </a:cubicBezTo>
                <a:cubicBezTo>
                  <a:pt x="374" y="45"/>
                  <a:pt x="377" y="41"/>
                  <a:pt x="384" y="35"/>
                </a:cubicBezTo>
                <a:cubicBezTo>
                  <a:pt x="391" y="28"/>
                  <a:pt x="398" y="35"/>
                  <a:pt x="398" y="3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74" name="Freeform 710"/>
          <p:cNvSpPr>
            <a:spLocks/>
          </p:cNvSpPr>
          <p:nvPr userDrawn="1"/>
        </p:nvSpPr>
        <p:spPr bwMode="auto">
          <a:xfrm>
            <a:off x="6214297" y="3902437"/>
            <a:ext cx="3351" cy="8375"/>
          </a:xfrm>
          <a:custGeom>
            <a:avLst/>
            <a:gdLst>
              <a:gd name="T0" fmla="*/ 0 w 2"/>
              <a:gd name="T1" fmla="*/ 2147483646 h 5"/>
              <a:gd name="T2" fmla="*/ 2147483646 w 2"/>
              <a:gd name="T3" fmla="*/ 0 h 5"/>
              <a:gd name="T4" fmla="*/ 0 w 2"/>
              <a:gd name="T5" fmla="*/ 2147483646 h 5"/>
              <a:gd name="T6" fmla="*/ 0 60000 65536"/>
              <a:gd name="T7" fmla="*/ 0 60000 65536"/>
              <a:gd name="T8" fmla="*/ 0 60000 65536"/>
              <a:gd name="T9" fmla="*/ 0 w 2"/>
              <a:gd name="T10" fmla="*/ 0 h 5"/>
              <a:gd name="T11" fmla="*/ 2 w 2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5">
                <a:moveTo>
                  <a:pt x="0" y="5"/>
                </a:moveTo>
                <a:lnTo>
                  <a:pt x="2" y="0"/>
                </a:lnTo>
                <a:lnTo>
                  <a:pt x="0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75" name="Line 711"/>
          <p:cNvSpPr>
            <a:spLocks noChangeShapeType="1"/>
          </p:cNvSpPr>
          <p:nvPr userDrawn="1"/>
        </p:nvSpPr>
        <p:spPr bwMode="auto">
          <a:xfrm flipV="1">
            <a:off x="6214297" y="3902437"/>
            <a:ext cx="3351" cy="8375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 sz="2400" dirty="0"/>
          </a:p>
        </p:txBody>
      </p:sp>
      <p:sp>
        <p:nvSpPr>
          <p:cNvPr id="376" name="Freeform 712"/>
          <p:cNvSpPr>
            <a:spLocks/>
          </p:cNvSpPr>
          <p:nvPr userDrawn="1"/>
        </p:nvSpPr>
        <p:spPr bwMode="auto">
          <a:xfrm>
            <a:off x="5736896" y="2034707"/>
            <a:ext cx="204361" cy="227812"/>
          </a:xfrm>
          <a:custGeom>
            <a:avLst/>
            <a:gdLst>
              <a:gd name="T0" fmla="*/ 2147483646 w 218"/>
              <a:gd name="T1" fmla="*/ 2147483646 h 244"/>
              <a:gd name="T2" fmla="*/ 2147483646 w 218"/>
              <a:gd name="T3" fmla="*/ 2147483646 h 244"/>
              <a:gd name="T4" fmla="*/ 2147483646 w 218"/>
              <a:gd name="T5" fmla="*/ 2147483646 h 244"/>
              <a:gd name="T6" fmla="*/ 0 w 218"/>
              <a:gd name="T7" fmla="*/ 2147483646 h 244"/>
              <a:gd name="T8" fmla="*/ 2147483646 w 218"/>
              <a:gd name="T9" fmla="*/ 2147483646 h 244"/>
              <a:gd name="T10" fmla="*/ 2147483646 w 218"/>
              <a:gd name="T11" fmla="*/ 2147483646 h 244"/>
              <a:gd name="T12" fmla="*/ 2147483646 w 218"/>
              <a:gd name="T13" fmla="*/ 2147483646 h 244"/>
              <a:gd name="T14" fmla="*/ 2147483646 w 218"/>
              <a:gd name="T15" fmla="*/ 2147483646 h 244"/>
              <a:gd name="T16" fmla="*/ 2147483646 w 218"/>
              <a:gd name="T17" fmla="*/ 2147483646 h 244"/>
              <a:gd name="T18" fmla="*/ 2147483646 w 218"/>
              <a:gd name="T19" fmla="*/ 2147483646 h 244"/>
              <a:gd name="T20" fmla="*/ 2147483646 w 218"/>
              <a:gd name="T21" fmla="*/ 2147483646 h 244"/>
              <a:gd name="T22" fmla="*/ 2147483646 w 218"/>
              <a:gd name="T23" fmla="*/ 2147483646 h 244"/>
              <a:gd name="T24" fmla="*/ 2147483646 w 218"/>
              <a:gd name="T25" fmla="*/ 2147483646 h 244"/>
              <a:gd name="T26" fmla="*/ 2147483646 w 218"/>
              <a:gd name="T27" fmla="*/ 2147483646 h 244"/>
              <a:gd name="T28" fmla="*/ 2147483646 w 218"/>
              <a:gd name="T29" fmla="*/ 2147483646 h 244"/>
              <a:gd name="T30" fmla="*/ 2147483646 w 218"/>
              <a:gd name="T31" fmla="*/ 2147483646 h 244"/>
              <a:gd name="T32" fmla="*/ 2147483646 w 218"/>
              <a:gd name="T33" fmla="*/ 2147483646 h 244"/>
              <a:gd name="T34" fmla="*/ 2147483646 w 218"/>
              <a:gd name="T35" fmla="*/ 2147483646 h 244"/>
              <a:gd name="T36" fmla="*/ 2147483646 w 218"/>
              <a:gd name="T37" fmla="*/ 2147483646 h 244"/>
              <a:gd name="T38" fmla="*/ 2147483646 w 218"/>
              <a:gd name="T39" fmla="*/ 2147483646 h 24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18"/>
              <a:gd name="T61" fmla="*/ 0 h 244"/>
              <a:gd name="T62" fmla="*/ 218 w 218"/>
              <a:gd name="T63" fmla="*/ 244 h 24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18" h="244">
                <a:moveTo>
                  <a:pt x="122" y="32"/>
                </a:moveTo>
                <a:cubicBezTo>
                  <a:pt x="125" y="48"/>
                  <a:pt x="74" y="85"/>
                  <a:pt x="74" y="85"/>
                </a:cubicBezTo>
                <a:cubicBezTo>
                  <a:pt x="74" y="85"/>
                  <a:pt x="42" y="111"/>
                  <a:pt x="37" y="95"/>
                </a:cubicBezTo>
                <a:cubicBezTo>
                  <a:pt x="32" y="79"/>
                  <a:pt x="0" y="64"/>
                  <a:pt x="0" y="95"/>
                </a:cubicBezTo>
                <a:cubicBezTo>
                  <a:pt x="0" y="127"/>
                  <a:pt x="26" y="138"/>
                  <a:pt x="26" y="138"/>
                </a:cubicBezTo>
                <a:cubicBezTo>
                  <a:pt x="42" y="175"/>
                  <a:pt x="11" y="170"/>
                  <a:pt x="42" y="175"/>
                </a:cubicBezTo>
                <a:cubicBezTo>
                  <a:pt x="74" y="180"/>
                  <a:pt x="85" y="122"/>
                  <a:pt x="85" y="154"/>
                </a:cubicBezTo>
                <a:cubicBezTo>
                  <a:pt x="85" y="186"/>
                  <a:pt x="26" y="212"/>
                  <a:pt x="26" y="212"/>
                </a:cubicBezTo>
                <a:cubicBezTo>
                  <a:pt x="74" y="228"/>
                  <a:pt x="74" y="228"/>
                  <a:pt x="74" y="228"/>
                </a:cubicBezTo>
                <a:cubicBezTo>
                  <a:pt x="111" y="233"/>
                  <a:pt x="127" y="196"/>
                  <a:pt x="127" y="196"/>
                </a:cubicBezTo>
                <a:cubicBezTo>
                  <a:pt x="127" y="196"/>
                  <a:pt x="149" y="143"/>
                  <a:pt x="149" y="191"/>
                </a:cubicBezTo>
                <a:cubicBezTo>
                  <a:pt x="149" y="239"/>
                  <a:pt x="154" y="244"/>
                  <a:pt x="170" y="233"/>
                </a:cubicBezTo>
                <a:cubicBezTo>
                  <a:pt x="186" y="223"/>
                  <a:pt x="191" y="186"/>
                  <a:pt x="191" y="186"/>
                </a:cubicBezTo>
                <a:cubicBezTo>
                  <a:pt x="186" y="148"/>
                  <a:pt x="186" y="148"/>
                  <a:pt x="186" y="148"/>
                </a:cubicBezTo>
                <a:cubicBezTo>
                  <a:pt x="170" y="111"/>
                  <a:pt x="170" y="111"/>
                  <a:pt x="170" y="111"/>
                </a:cubicBezTo>
                <a:cubicBezTo>
                  <a:pt x="170" y="111"/>
                  <a:pt x="207" y="69"/>
                  <a:pt x="186" y="74"/>
                </a:cubicBezTo>
                <a:cubicBezTo>
                  <a:pt x="164" y="79"/>
                  <a:pt x="133" y="74"/>
                  <a:pt x="149" y="69"/>
                </a:cubicBezTo>
                <a:cubicBezTo>
                  <a:pt x="164" y="64"/>
                  <a:pt x="207" y="48"/>
                  <a:pt x="207" y="48"/>
                </a:cubicBezTo>
                <a:cubicBezTo>
                  <a:pt x="207" y="48"/>
                  <a:pt x="218" y="0"/>
                  <a:pt x="202" y="5"/>
                </a:cubicBezTo>
                <a:cubicBezTo>
                  <a:pt x="186" y="10"/>
                  <a:pt x="117" y="0"/>
                  <a:pt x="122" y="3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77" name="Freeform 713"/>
          <p:cNvSpPr>
            <a:spLocks/>
          </p:cNvSpPr>
          <p:nvPr userDrawn="1"/>
        </p:nvSpPr>
        <p:spPr bwMode="auto">
          <a:xfrm>
            <a:off x="5959684" y="1979429"/>
            <a:ext cx="204361" cy="222787"/>
          </a:xfrm>
          <a:custGeom>
            <a:avLst/>
            <a:gdLst>
              <a:gd name="T0" fmla="*/ 2147483646 w 218"/>
              <a:gd name="T1" fmla="*/ 2147483646 h 239"/>
              <a:gd name="T2" fmla="*/ 2147483646 w 218"/>
              <a:gd name="T3" fmla="*/ 2147483646 h 239"/>
              <a:gd name="T4" fmla="*/ 2147483646 w 218"/>
              <a:gd name="T5" fmla="*/ 2147483646 h 239"/>
              <a:gd name="T6" fmla="*/ 2147483646 w 218"/>
              <a:gd name="T7" fmla="*/ 2147483646 h 239"/>
              <a:gd name="T8" fmla="*/ 2147483646 w 218"/>
              <a:gd name="T9" fmla="*/ 2147483646 h 239"/>
              <a:gd name="T10" fmla="*/ 2147483646 w 218"/>
              <a:gd name="T11" fmla="*/ 2147483646 h 239"/>
              <a:gd name="T12" fmla="*/ 2147483646 w 218"/>
              <a:gd name="T13" fmla="*/ 2147483646 h 239"/>
              <a:gd name="T14" fmla="*/ 2147483646 w 218"/>
              <a:gd name="T15" fmla="*/ 2147483646 h 239"/>
              <a:gd name="T16" fmla="*/ 2147483646 w 218"/>
              <a:gd name="T17" fmla="*/ 2147483646 h 239"/>
              <a:gd name="T18" fmla="*/ 2147483646 w 218"/>
              <a:gd name="T19" fmla="*/ 2147483646 h 239"/>
              <a:gd name="T20" fmla="*/ 2147483646 w 218"/>
              <a:gd name="T21" fmla="*/ 2147483646 h 239"/>
              <a:gd name="T22" fmla="*/ 2147483646 w 218"/>
              <a:gd name="T23" fmla="*/ 2147483646 h 239"/>
              <a:gd name="T24" fmla="*/ 2147483646 w 218"/>
              <a:gd name="T25" fmla="*/ 2147483646 h 239"/>
              <a:gd name="T26" fmla="*/ 2147483646 w 218"/>
              <a:gd name="T27" fmla="*/ 2147483646 h 239"/>
              <a:gd name="T28" fmla="*/ 2147483646 w 218"/>
              <a:gd name="T29" fmla="*/ 2147483646 h 23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18"/>
              <a:gd name="T46" fmla="*/ 0 h 239"/>
              <a:gd name="T47" fmla="*/ 218 w 218"/>
              <a:gd name="T48" fmla="*/ 239 h 23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18" h="239">
                <a:moveTo>
                  <a:pt x="42" y="64"/>
                </a:moveTo>
                <a:cubicBezTo>
                  <a:pt x="26" y="75"/>
                  <a:pt x="7" y="95"/>
                  <a:pt x="5" y="112"/>
                </a:cubicBezTo>
                <a:cubicBezTo>
                  <a:pt x="0" y="154"/>
                  <a:pt x="48" y="138"/>
                  <a:pt x="48" y="138"/>
                </a:cubicBezTo>
                <a:cubicBezTo>
                  <a:pt x="10" y="192"/>
                  <a:pt x="10" y="192"/>
                  <a:pt x="10" y="192"/>
                </a:cubicBezTo>
                <a:cubicBezTo>
                  <a:pt x="64" y="229"/>
                  <a:pt x="64" y="229"/>
                  <a:pt x="64" y="229"/>
                </a:cubicBezTo>
                <a:cubicBezTo>
                  <a:pt x="64" y="229"/>
                  <a:pt x="58" y="186"/>
                  <a:pt x="106" y="213"/>
                </a:cubicBezTo>
                <a:cubicBezTo>
                  <a:pt x="154" y="239"/>
                  <a:pt x="175" y="197"/>
                  <a:pt x="175" y="197"/>
                </a:cubicBezTo>
                <a:cubicBezTo>
                  <a:pt x="175" y="197"/>
                  <a:pt x="95" y="149"/>
                  <a:pt x="133" y="149"/>
                </a:cubicBezTo>
                <a:cubicBezTo>
                  <a:pt x="170" y="149"/>
                  <a:pt x="191" y="138"/>
                  <a:pt x="191" y="138"/>
                </a:cubicBezTo>
                <a:cubicBezTo>
                  <a:pt x="191" y="138"/>
                  <a:pt x="218" y="85"/>
                  <a:pt x="191" y="96"/>
                </a:cubicBezTo>
                <a:cubicBezTo>
                  <a:pt x="164" y="107"/>
                  <a:pt x="196" y="101"/>
                  <a:pt x="164" y="107"/>
                </a:cubicBezTo>
                <a:cubicBezTo>
                  <a:pt x="133" y="112"/>
                  <a:pt x="101" y="96"/>
                  <a:pt x="122" y="75"/>
                </a:cubicBezTo>
                <a:cubicBezTo>
                  <a:pt x="143" y="54"/>
                  <a:pt x="180" y="0"/>
                  <a:pt x="143" y="22"/>
                </a:cubicBezTo>
                <a:cubicBezTo>
                  <a:pt x="106" y="43"/>
                  <a:pt x="127" y="32"/>
                  <a:pt x="106" y="43"/>
                </a:cubicBezTo>
                <a:cubicBezTo>
                  <a:pt x="85" y="54"/>
                  <a:pt x="42" y="64"/>
                  <a:pt x="42" y="6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78" name="Freeform 714"/>
          <p:cNvSpPr>
            <a:spLocks/>
          </p:cNvSpPr>
          <p:nvPr userDrawn="1"/>
        </p:nvSpPr>
        <p:spPr bwMode="auto">
          <a:xfrm>
            <a:off x="5944607" y="2187141"/>
            <a:ext cx="80404" cy="95480"/>
          </a:xfrm>
          <a:custGeom>
            <a:avLst/>
            <a:gdLst>
              <a:gd name="T0" fmla="*/ 0 w 85"/>
              <a:gd name="T1" fmla="*/ 2147483646 h 101"/>
              <a:gd name="T2" fmla="*/ 2147483646 w 85"/>
              <a:gd name="T3" fmla="*/ 2147483646 h 101"/>
              <a:gd name="T4" fmla="*/ 2147483646 w 85"/>
              <a:gd name="T5" fmla="*/ 2147483646 h 101"/>
              <a:gd name="T6" fmla="*/ 2147483646 w 85"/>
              <a:gd name="T7" fmla="*/ 2147483646 h 101"/>
              <a:gd name="T8" fmla="*/ 2147483646 w 85"/>
              <a:gd name="T9" fmla="*/ 2147483646 h 101"/>
              <a:gd name="T10" fmla="*/ 2147483646 w 85"/>
              <a:gd name="T11" fmla="*/ 2147483646 h 101"/>
              <a:gd name="T12" fmla="*/ 0 w 85"/>
              <a:gd name="T13" fmla="*/ 2147483646 h 1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"/>
              <a:gd name="T22" fmla="*/ 0 h 101"/>
              <a:gd name="T23" fmla="*/ 85 w 85"/>
              <a:gd name="T24" fmla="*/ 101 h 10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5" h="101">
                <a:moveTo>
                  <a:pt x="0" y="32"/>
                </a:moveTo>
                <a:cubicBezTo>
                  <a:pt x="5" y="96"/>
                  <a:pt x="5" y="96"/>
                  <a:pt x="5" y="96"/>
                </a:cubicBezTo>
                <a:cubicBezTo>
                  <a:pt x="42" y="101"/>
                  <a:pt x="42" y="101"/>
                  <a:pt x="42" y="101"/>
                </a:cubicBezTo>
                <a:cubicBezTo>
                  <a:pt x="74" y="80"/>
                  <a:pt x="85" y="64"/>
                  <a:pt x="85" y="64"/>
                </a:cubicBezTo>
                <a:cubicBezTo>
                  <a:pt x="85" y="64"/>
                  <a:pt x="63" y="58"/>
                  <a:pt x="53" y="38"/>
                </a:cubicBezTo>
                <a:cubicBezTo>
                  <a:pt x="37" y="6"/>
                  <a:pt x="74" y="11"/>
                  <a:pt x="37" y="6"/>
                </a:cubicBezTo>
                <a:cubicBezTo>
                  <a:pt x="0" y="0"/>
                  <a:pt x="0" y="32"/>
                  <a:pt x="0" y="3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79" name="Freeform 715"/>
          <p:cNvSpPr>
            <a:spLocks/>
          </p:cNvSpPr>
          <p:nvPr userDrawn="1"/>
        </p:nvSpPr>
        <p:spPr bwMode="auto">
          <a:xfrm>
            <a:off x="3882569" y="2135214"/>
            <a:ext cx="1093836" cy="938052"/>
          </a:xfrm>
          <a:custGeom>
            <a:avLst/>
            <a:gdLst>
              <a:gd name="T0" fmla="*/ 2147483646 w 1173"/>
              <a:gd name="T1" fmla="*/ 2147483646 h 1005"/>
              <a:gd name="T2" fmla="*/ 2147483646 w 1173"/>
              <a:gd name="T3" fmla="*/ 2147483646 h 1005"/>
              <a:gd name="T4" fmla="*/ 2147483646 w 1173"/>
              <a:gd name="T5" fmla="*/ 2147483646 h 1005"/>
              <a:gd name="T6" fmla="*/ 2147483646 w 1173"/>
              <a:gd name="T7" fmla="*/ 2147483646 h 1005"/>
              <a:gd name="T8" fmla="*/ 2147483646 w 1173"/>
              <a:gd name="T9" fmla="*/ 2147483646 h 1005"/>
              <a:gd name="T10" fmla="*/ 2147483646 w 1173"/>
              <a:gd name="T11" fmla="*/ 2147483646 h 1005"/>
              <a:gd name="T12" fmla="*/ 2147483646 w 1173"/>
              <a:gd name="T13" fmla="*/ 2147483646 h 1005"/>
              <a:gd name="T14" fmla="*/ 2147483646 w 1173"/>
              <a:gd name="T15" fmla="*/ 2147483646 h 1005"/>
              <a:gd name="T16" fmla="*/ 2147483646 w 1173"/>
              <a:gd name="T17" fmla="*/ 2147483646 h 1005"/>
              <a:gd name="T18" fmla="*/ 2147483646 w 1173"/>
              <a:gd name="T19" fmla="*/ 2147483646 h 1005"/>
              <a:gd name="T20" fmla="*/ 2147483646 w 1173"/>
              <a:gd name="T21" fmla="*/ 2147483646 h 1005"/>
              <a:gd name="T22" fmla="*/ 2147483646 w 1173"/>
              <a:gd name="T23" fmla="*/ 2147483646 h 1005"/>
              <a:gd name="T24" fmla="*/ 2147483646 w 1173"/>
              <a:gd name="T25" fmla="*/ 2147483646 h 1005"/>
              <a:gd name="T26" fmla="*/ 2147483646 w 1173"/>
              <a:gd name="T27" fmla="*/ 2147483646 h 1005"/>
              <a:gd name="T28" fmla="*/ 2147483646 w 1173"/>
              <a:gd name="T29" fmla="*/ 2147483646 h 1005"/>
              <a:gd name="T30" fmla="*/ 2147483646 w 1173"/>
              <a:gd name="T31" fmla="*/ 2147483646 h 1005"/>
              <a:gd name="T32" fmla="*/ 2147483646 w 1173"/>
              <a:gd name="T33" fmla="*/ 2147483646 h 1005"/>
              <a:gd name="T34" fmla="*/ 2147483646 w 1173"/>
              <a:gd name="T35" fmla="*/ 2147483646 h 1005"/>
              <a:gd name="T36" fmla="*/ 2147483646 w 1173"/>
              <a:gd name="T37" fmla="*/ 2147483646 h 1005"/>
              <a:gd name="T38" fmla="*/ 2147483646 w 1173"/>
              <a:gd name="T39" fmla="*/ 2147483646 h 1005"/>
              <a:gd name="T40" fmla="*/ 2147483646 w 1173"/>
              <a:gd name="T41" fmla="*/ 2147483646 h 1005"/>
              <a:gd name="T42" fmla="*/ 2147483646 w 1173"/>
              <a:gd name="T43" fmla="*/ 2147483646 h 1005"/>
              <a:gd name="T44" fmla="*/ 2147483646 w 1173"/>
              <a:gd name="T45" fmla="*/ 2147483646 h 1005"/>
              <a:gd name="T46" fmla="*/ 2147483646 w 1173"/>
              <a:gd name="T47" fmla="*/ 2147483646 h 1005"/>
              <a:gd name="T48" fmla="*/ 2147483646 w 1173"/>
              <a:gd name="T49" fmla="*/ 2147483646 h 1005"/>
              <a:gd name="T50" fmla="*/ 2147483646 w 1173"/>
              <a:gd name="T51" fmla="*/ 2147483646 h 1005"/>
              <a:gd name="T52" fmla="*/ 2147483646 w 1173"/>
              <a:gd name="T53" fmla="*/ 2147483646 h 1005"/>
              <a:gd name="T54" fmla="*/ 2147483646 w 1173"/>
              <a:gd name="T55" fmla="*/ 2147483646 h 1005"/>
              <a:gd name="T56" fmla="*/ 2147483646 w 1173"/>
              <a:gd name="T57" fmla="*/ 2147483646 h 1005"/>
              <a:gd name="T58" fmla="*/ 2147483646 w 1173"/>
              <a:gd name="T59" fmla="*/ 2147483646 h 1005"/>
              <a:gd name="T60" fmla="*/ 2147483646 w 1173"/>
              <a:gd name="T61" fmla="*/ 2147483646 h 1005"/>
              <a:gd name="T62" fmla="*/ 2147483646 w 1173"/>
              <a:gd name="T63" fmla="*/ 2147483646 h 1005"/>
              <a:gd name="T64" fmla="*/ 2147483646 w 1173"/>
              <a:gd name="T65" fmla="*/ 2147483646 h 1005"/>
              <a:gd name="T66" fmla="*/ 2147483646 w 1173"/>
              <a:gd name="T67" fmla="*/ 2147483646 h 1005"/>
              <a:gd name="T68" fmla="*/ 2147483646 w 1173"/>
              <a:gd name="T69" fmla="*/ 2147483646 h 1005"/>
              <a:gd name="T70" fmla="*/ 2147483646 w 1173"/>
              <a:gd name="T71" fmla="*/ 2147483646 h 1005"/>
              <a:gd name="T72" fmla="*/ 2147483646 w 1173"/>
              <a:gd name="T73" fmla="*/ 2147483646 h 1005"/>
              <a:gd name="T74" fmla="*/ 2147483646 w 1173"/>
              <a:gd name="T75" fmla="*/ 2147483646 h 1005"/>
              <a:gd name="T76" fmla="*/ 2147483646 w 1173"/>
              <a:gd name="T77" fmla="*/ 2147483646 h 1005"/>
              <a:gd name="T78" fmla="*/ 2147483646 w 1173"/>
              <a:gd name="T79" fmla="*/ 2147483646 h 1005"/>
              <a:gd name="T80" fmla="*/ 2147483646 w 1173"/>
              <a:gd name="T81" fmla="*/ 2147483646 h 1005"/>
              <a:gd name="T82" fmla="*/ 2147483646 w 1173"/>
              <a:gd name="T83" fmla="*/ 2147483646 h 1005"/>
              <a:gd name="T84" fmla="*/ 2147483646 w 1173"/>
              <a:gd name="T85" fmla="*/ 2147483646 h 1005"/>
              <a:gd name="T86" fmla="*/ 2147483646 w 1173"/>
              <a:gd name="T87" fmla="*/ 2147483646 h 1005"/>
              <a:gd name="T88" fmla="*/ 2147483646 w 1173"/>
              <a:gd name="T89" fmla="*/ 2147483646 h 1005"/>
              <a:gd name="T90" fmla="*/ 2147483646 w 1173"/>
              <a:gd name="T91" fmla="*/ 2147483646 h 1005"/>
              <a:gd name="T92" fmla="*/ 2147483646 w 1173"/>
              <a:gd name="T93" fmla="*/ 2147483646 h 1005"/>
              <a:gd name="T94" fmla="*/ 2147483646 w 1173"/>
              <a:gd name="T95" fmla="*/ 2147483646 h 1005"/>
              <a:gd name="T96" fmla="*/ 2147483646 w 1173"/>
              <a:gd name="T97" fmla="*/ 2147483646 h 1005"/>
              <a:gd name="T98" fmla="*/ 2147483646 w 1173"/>
              <a:gd name="T99" fmla="*/ 2147483646 h 1005"/>
              <a:gd name="T100" fmla="*/ 2147483646 w 1173"/>
              <a:gd name="T101" fmla="*/ 2147483646 h 1005"/>
              <a:gd name="T102" fmla="*/ 2147483646 w 1173"/>
              <a:gd name="T103" fmla="*/ 2147483646 h 1005"/>
              <a:gd name="T104" fmla="*/ 2147483646 w 1173"/>
              <a:gd name="T105" fmla="*/ 2147483646 h 1005"/>
              <a:gd name="T106" fmla="*/ 2147483646 w 1173"/>
              <a:gd name="T107" fmla="*/ 2147483646 h 1005"/>
              <a:gd name="T108" fmla="*/ 2147483646 w 1173"/>
              <a:gd name="T109" fmla="*/ 2147483646 h 1005"/>
              <a:gd name="T110" fmla="*/ 2147483646 w 1173"/>
              <a:gd name="T111" fmla="*/ 2147483646 h 1005"/>
              <a:gd name="T112" fmla="*/ 2147483646 w 1173"/>
              <a:gd name="T113" fmla="*/ 2147483646 h 1005"/>
              <a:gd name="T114" fmla="*/ 2147483646 w 1173"/>
              <a:gd name="T115" fmla="*/ 2147483646 h 1005"/>
              <a:gd name="T116" fmla="*/ 2147483646 w 1173"/>
              <a:gd name="T117" fmla="*/ 2147483646 h 1005"/>
              <a:gd name="T118" fmla="*/ 2147483646 w 1173"/>
              <a:gd name="T119" fmla="*/ 2147483646 h 100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173"/>
              <a:gd name="T181" fmla="*/ 0 h 1005"/>
              <a:gd name="T182" fmla="*/ 1173 w 1173"/>
              <a:gd name="T183" fmla="*/ 1005 h 1005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173" h="1005">
                <a:moveTo>
                  <a:pt x="488" y="61"/>
                </a:moveTo>
                <a:cubicBezTo>
                  <a:pt x="481" y="57"/>
                  <a:pt x="490" y="36"/>
                  <a:pt x="490" y="36"/>
                </a:cubicBezTo>
                <a:cubicBezTo>
                  <a:pt x="490" y="36"/>
                  <a:pt x="495" y="15"/>
                  <a:pt x="488" y="16"/>
                </a:cubicBezTo>
                <a:cubicBezTo>
                  <a:pt x="474" y="18"/>
                  <a:pt x="472" y="3"/>
                  <a:pt x="468" y="11"/>
                </a:cubicBezTo>
                <a:cubicBezTo>
                  <a:pt x="461" y="25"/>
                  <a:pt x="449" y="27"/>
                  <a:pt x="449" y="27"/>
                </a:cubicBezTo>
                <a:cubicBezTo>
                  <a:pt x="434" y="25"/>
                  <a:pt x="434" y="11"/>
                  <a:pt x="427" y="16"/>
                </a:cubicBezTo>
                <a:cubicBezTo>
                  <a:pt x="420" y="20"/>
                  <a:pt x="407" y="6"/>
                  <a:pt x="404" y="16"/>
                </a:cubicBezTo>
                <a:cubicBezTo>
                  <a:pt x="400" y="32"/>
                  <a:pt x="379" y="23"/>
                  <a:pt x="379" y="23"/>
                </a:cubicBezTo>
                <a:cubicBezTo>
                  <a:pt x="379" y="23"/>
                  <a:pt x="361" y="45"/>
                  <a:pt x="354" y="41"/>
                </a:cubicBezTo>
                <a:cubicBezTo>
                  <a:pt x="347" y="36"/>
                  <a:pt x="350" y="16"/>
                  <a:pt x="343" y="25"/>
                </a:cubicBezTo>
                <a:cubicBezTo>
                  <a:pt x="336" y="34"/>
                  <a:pt x="329" y="45"/>
                  <a:pt x="329" y="45"/>
                </a:cubicBezTo>
                <a:cubicBezTo>
                  <a:pt x="329" y="45"/>
                  <a:pt x="338" y="59"/>
                  <a:pt x="331" y="61"/>
                </a:cubicBezTo>
                <a:cubicBezTo>
                  <a:pt x="318" y="68"/>
                  <a:pt x="318" y="68"/>
                  <a:pt x="318" y="68"/>
                </a:cubicBezTo>
                <a:cubicBezTo>
                  <a:pt x="318" y="68"/>
                  <a:pt x="317" y="53"/>
                  <a:pt x="311" y="50"/>
                </a:cubicBezTo>
                <a:cubicBezTo>
                  <a:pt x="295" y="41"/>
                  <a:pt x="300" y="23"/>
                  <a:pt x="293" y="34"/>
                </a:cubicBezTo>
                <a:cubicBezTo>
                  <a:pt x="286" y="45"/>
                  <a:pt x="293" y="43"/>
                  <a:pt x="293" y="52"/>
                </a:cubicBezTo>
                <a:cubicBezTo>
                  <a:pt x="293" y="61"/>
                  <a:pt x="279" y="63"/>
                  <a:pt x="279" y="63"/>
                </a:cubicBezTo>
                <a:cubicBezTo>
                  <a:pt x="279" y="63"/>
                  <a:pt x="263" y="82"/>
                  <a:pt x="252" y="77"/>
                </a:cubicBezTo>
                <a:cubicBezTo>
                  <a:pt x="241" y="73"/>
                  <a:pt x="241" y="61"/>
                  <a:pt x="234" y="75"/>
                </a:cubicBezTo>
                <a:cubicBezTo>
                  <a:pt x="227" y="88"/>
                  <a:pt x="213" y="88"/>
                  <a:pt x="204" y="86"/>
                </a:cubicBezTo>
                <a:cubicBezTo>
                  <a:pt x="195" y="84"/>
                  <a:pt x="191" y="77"/>
                  <a:pt x="186" y="88"/>
                </a:cubicBezTo>
                <a:cubicBezTo>
                  <a:pt x="182" y="100"/>
                  <a:pt x="170" y="77"/>
                  <a:pt x="168" y="84"/>
                </a:cubicBezTo>
                <a:cubicBezTo>
                  <a:pt x="166" y="91"/>
                  <a:pt x="168" y="101"/>
                  <a:pt x="159" y="104"/>
                </a:cubicBezTo>
                <a:cubicBezTo>
                  <a:pt x="143" y="111"/>
                  <a:pt x="136" y="107"/>
                  <a:pt x="139" y="118"/>
                </a:cubicBezTo>
                <a:cubicBezTo>
                  <a:pt x="141" y="129"/>
                  <a:pt x="145" y="111"/>
                  <a:pt x="152" y="122"/>
                </a:cubicBezTo>
                <a:cubicBezTo>
                  <a:pt x="159" y="134"/>
                  <a:pt x="157" y="132"/>
                  <a:pt x="166" y="127"/>
                </a:cubicBezTo>
                <a:cubicBezTo>
                  <a:pt x="175" y="122"/>
                  <a:pt x="184" y="109"/>
                  <a:pt x="186" y="122"/>
                </a:cubicBezTo>
                <a:cubicBezTo>
                  <a:pt x="189" y="136"/>
                  <a:pt x="193" y="118"/>
                  <a:pt x="202" y="127"/>
                </a:cubicBezTo>
                <a:cubicBezTo>
                  <a:pt x="211" y="136"/>
                  <a:pt x="225" y="127"/>
                  <a:pt x="220" y="141"/>
                </a:cubicBezTo>
                <a:cubicBezTo>
                  <a:pt x="216" y="154"/>
                  <a:pt x="227" y="147"/>
                  <a:pt x="213" y="168"/>
                </a:cubicBezTo>
                <a:cubicBezTo>
                  <a:pt x="200" y="188"/>
                  <a:pt x="193" y="154"/>
                  <a:pt x="182" y="181"/>
                </a:cubicBezTo>
                <a:cubicBezTo>
                  <a:pt x="170" y="209"/>
                  <a:pt x="186" y="227"/>
                  <a:pt x="157" y="202"/>
                </a:cubicBezTo>
                <a:cubicBezTo>
                  <a:pt x="127" y="177"/>
                  <a:pt x="98" y="184"/>
                  <a:pt x="84" y="195"/>
                </a:cubicBezTo>
                <a:cubicBezTo>
                  <a:pt x="71" y="206"/>
                  <a:pt x="71" y="218"/>
                  <a:pt x="59" y="218"/>
                </a:cubicBezTo>
                <a:cubicBezTo>
                  <a:pt x="48" y="218"/>
                  <a:pt x="57" y="188"/>
                  <a:pt x="43" y="204"/>
                </a:cubicBezTo>
                <a:cubicBezTo>
                  <a:pt x="30" y="220"/>
                  <a:pt x="30" y="216"/>
                  <a:pt x="16" y="216"/>
                </a:cubicBezTo>
                <a:cubicBezTo>
                  <a:pt x="2" y="216"/>
                  <a:pt x="5" y="193"/>
                  <a:pt x="2" y="216"/>
                </a:cubicBezTo>
                <a:cubicBezTo>
                  <a:pt x="0" y="238"/>
                  <a:pt x="12" y="240"/>
                  <a:pt x="23" y="243"/>
                </a:cubicBezTo>
                <a:cubicBezTo>
                  <a:pt x="34" y="245"/>
                  <a:pt x="55" y="225"/>
                  <a:pt x="46" y="247"/>
                </a:cubicBezTo>
                <a:cubicBezTo>
                  <a:pt x="36" y="270"/>
                  <a:pt x="89" y="229"/>
                  <a:pt x="91" y="240"/>
                </a:cubicBezTo>
                <a:cubicBezTo>
                  <a:pt x="93" y="252"/>
                  <a:pt x="100" y="234"/>
                  <a:pt x="105" y="250"/>
                </a:cubicBezTo>
                <a:cubicBezTo>
                  <a:pt x="109" y="265"/>
                  <a:pt x="105" y="254"/>
                  <a:pt x="130" y="261"/>
                </a:cubicBezTo>
                <a:cubicBezTo>
                  <a:pt x="154" y="268"/>
                  <a:pt x="164" y="279"/>
                  <a:pt x="164" y="279"/>
                </a:cubicBezTo>
                <a:cubicBezTo>
                  <a:pt x="164" y="279"/>
                  <a:pt x="154" y="288"/>
                  <a:pt x="132" y="290"/>
                </a:cubicBezTo>
                <a:cubicBezTo>
                  <a:pt x="109" y="293"/>
                  <a:pt x="100" y="281"/>
                  <a:pt x="86" y="288"/>
                </a:cubicBezTo>
                <a:cubicBezTo>
                  <a:pt x="73" y="295"/>
                  <a:pt x="59" y="304"/>
                  <a:pt x="50" y="306"/>
                </a:cubicBezTo>
                <a:cubicBezTo>
                  <a:pt x="41" y="309"/>
                  <a:pt x="43" y="279"/>
                  <a:pt x="32" y="293"/>
                </a:cubicBezTo>
                <a:cubicBezTo>
                  <a:pt x="21" y="306"/>
                  <a:pt x="21" y="315"/>
                  <a:pt x="34" y="318"/>
                </a:cubicBezTo>
                <a:cubicBezTo>
                  <a:pt x="48" y="320"/>
                  <a:pt x="48" y="302"/>
                  <a:pt x="55" y="320"/>
                </a:cubicBezTo>
                <a:cubicBezTo>
                  <a:pt x="61" y="338"/>
                  <a:pt x="64" y="327"/>
                  <a:pt x="80" y="322"/>
                </a:cubicBezTo>
                <a:cubicBezTo>
                  <a:pt x="95" y="318"/>
                  <a:pt x="95" y="288"/>
                  <a:pt x="116" y="306"/>
                </a:cubicBezTo>
                <a:cubicBezTo>
                  <a:pt x="136" y="324"/>
                  <a:pt x="127" y="318"/>
                  <a:pt x="132" y="331"/>
                </a:cubicBezTo>
                <a:cubicBezTo>
                  <a:pt x="136" y="345"/>
                  <a:pt x="132" y="331"/>
                  <a:pt x="161" y="331"/>
                </a:cubicBezTo>
                <a:cubicBezTo>
                  <a:pt x="191" y="331"/>
                  <a:pt x="193" y="318"/>
                  <a:pt x="200" y="324"/>
                </a:cubicBezTo>
                <a:cubicBezTo>
                  <a:pt x="207" y="331"/>
                  <a:pt x="200" y="306"/>
                  <a:pt x="220" y="318"/>
                </a:cubicBezTo>
                <a:cubicBezTo>
                  <a:pt x="241" y="329"/>
                  <a:pt x="277" y="331"/>
                  <a:pt x="277" y="331"/>
                </a:cubicBezTo>
                <a:cubicBezTo>
                  <a:pt x="277" y="331"/>
                  <a:pt x="279" y="343"/>
                  <a:pt x="288" y="334"/>
                </a:cubicBezTo>
                <a:cubicBezTo>
                  <a:pt x="297" y="324"/>
                  <a:pt x="318" y="329"/>
                  <a:pt x="316" y="338"/>
                </a:cubicBezTo>
                <a:cubicBezTo>
                  <a:pt x="313" y="347"/>
                  <a:pt x="329" y="340"/>
                  <a:pt x="329" y="340"/>
                </a:cubicBezTo>
                <a:cubicBezTo>
                  <a:pt x="329" y="340"/>
                  <a:pt x="347" y="343"/>
                  <a:pt x="352" y="354"/>
                </a:cubicBezTo>
                <a:cubicBezTo>
                  <a:pt x="356" y="365"/>
                  <a:pt x="377" y="349"/>
                  <a:pt x="375" y="368"/>
                </a:cubicBezTo>
                <a:cubicBezTo>
                  <a:pt x="372" y="386"/>
                  <a:pt x="388" y="372"/>
                  <a:pt x="395" y="383"/>
                </a:cubicBezTo>
                <a:cubicBezTo>
                  <a:pt x="402" y="395"/>
                  <a:pt x="422" y="386"/>
                  <a:pt x="420" y="406"/>
                </a:cubicBezTo>
                <a:cubicBezTo>
                  <a:pt x="418" y="427"/>
                  <a:pt x="434" y="431"/>
                  <a:pt x="434" y="447"/>
                </a:cubicBezTo>
                <a:cubicBezTo>
                  <a:pt x="434" y="463"/>
                  <a:pt x="470" y="431"/>
                  <a:pt x="479" y="449"/>
                </a:cubicBezTo>
                <a:cubicBezTo>
                  <a:pt x="488" y="467"/>
                  <a:pt x="495" y="479"/>
                  <a:pt x="477" y="488"/>
                </a:cubicBezTo>
                <a:cubicBezTo>
                  <a:pt x="459" y="497"/>
                  <a:pt x="443" y="483"/>
                  <a:pt x="447" y="499"/>
                </a:cubicBezTo>
                <a:cubicBezTo>
                  <a:pt x="452" y="515"/>
                  <a:pt x="470" y="495"/>
                  <a:pt x="472" y="511"/>
                </a:cubicBezTo>
                <a:cubicBezTo>
                  <a:pt x="474" y="526"/>
                  <a:pt x="454" y="538"/>
                  <a:pt x="459" y="545"/>
                </a:cubicBezTo>
                <a:cubicBezTo>
                  <a:pt x="463" y="551"/>
                  <a:pt x="452" y="540"/>
                  <a:pt x="472" y="549"/>
                </a:cubicBezTo>
                <a:cubicBezTo>
                  <a:pt x="493" y="558"/>
                  <a:pt x="529" y="535"/>
                  <a:pt x="520" y="565"/>
                </a:cubicBezTo>
                <a:cubicBezTo>
                  <a:pt x="511" y="594"/>
                  <a:pt x="518" y="583"/>
                  <a:pt x="540" y="590"/>
                </a:cubicBezTo>
                <a:cubicBezTo>
                  <a:pt x="563" y="597"/>
                  <a:pt x="577" y="590"/>
                  <a:pt x="574" y="610"/>
                </a:cubicBezTo>
                <a:cubicBezTo>
                  <a:pt x="572" y="631"/>
                  <a:pt x="579" y="665"/>
                  <a:pt x="579" y="665"/>
                </a:cubicBezTo>
                <a:cubicBezTo>
                  <a:pt x="579" y="665"/>
                  <a:pt x="554" y="647"/>
                  <a:pt x="543" y="642"/>
                </a:cubicBezTo>
                <a:cubicBezTo>
                  <a:pt x="531" y="638"/>
                  <a:pt x="522" y="619"/>
                  <a:pt x="511" y="629"/>
                </a:cubicBezTo>
                <a:cubicBezTo>
                  <a:pt x="499" y="638"/>
                  <a:pt x="470" y="638"/>
                  <a:pt x="470" y="638"/>
                </a:cubicBezTo>
                <a:cubicBezTo>
                  <a:pt x="470" y="638"/>
                  <a:pt x="447" y="651"/>
                  <a:pt x="461" y="656"/>
                </a:cubicBezTo>
                <a:cubicBezTo>
                  <a:pt x="474" y="660"/>
                  <a:pt x="488" y="642"/>
                  <a:pt x="497" y="663"/>
                </a:cubicBezTo>
                <a:cubicBezTo>
                  <a:pt x="506" y="683"/>
                  <a:pt x="520" y="649"/>
                  <a:pt x="531" y="665"/>
                </a:cubicBezTo>
                <a:cubicBezTo>
                  <a:pt x="543" y="681"/>
                  <a:pt x="545" y="678"/>
                  <a:pt x="556" y="681"/>
                </a:cubicBezTo>
                <a:cubicBezTo>
                  <a:pt x="567" y="683"/>
                  <a:pt x="567" y="665"/>
                  <a:pt x="574" y="683"/>
                </a:cubicBezTo>
                <a:cubicBezTo>
                  <a:pt x="581" y="701"/>
                  <a:pt x="586" y="681"/>
                  <a:pt x="581" y="701"/>
                </a:cubicBezTo>
                <a:cubicBezTo>
                  <a:pt x="577" y="722"/>
                  <a:pt x="590" y="742"/>
                  <a:pt x="583" y="751"/>
                </a:cubicBezTo>
                <a:cubicBezTo>
                  <a:pt x="577" y="760"/>
                  <a:pt x="579" y="762"/>
                  <a:pt x="565" y="765"/>
                </a:cubicBezTo>
                <a:cubicBezTo>
                  <a:pt x="552" y="767"/>
                  <a:pt x="561" y="747"/>
                  <a:pt x="552" y="767"/>
                </a:cubicBezTo>
                <a:cubicBezTo>
                  <a:pt x="543" y="787"/>
                  <a:pt x="536" y="781"/>
                  <a:pt x="524" y="783"/>
                </a:cubicBezTo>
                <a:cubicBezTo>
                  <a:pt x="513" y="785"/>
                  <a:pt x="499" y="790"/>
                  <a:pt x="508" y="799"/>
                </a:cubicBezTo>
                <a:cubicBezTo>
                  <a:pt x="518" y="808"/>
                  <a:pt x="533" y="792"/>
                  <a:pt x="529" y="806"/>
                </a:cubicBezTo>
                <a:cubicBezTo>
                  <a:pt x="524" y="819"/>
                  <a:pt x="490" y="821"/>
                  <a:pt x="508" y="826"/>
                </a:cubicBezTo>
                <a:cubicBezTo>
                  <a:pt x="527" y="830"/>
                  <a:pt x="538" y="812"/>
                  <a:pt x="545" y="821"/>
                </a:cubicBezTo>
                <a:cubicBezTo>
                  <a:pt x="552" y="830"/>
                  <a:pt x="524" y="851"/>
                  <a:pt x="524" y="851"/>
                </a:cubicBezTo>
                <a:cubicBezTo>
                  <a:pt x="518" y="871"/>
                  <a:pt x="527" y="855"/>
                  <a:pt x="529" y="871"/>
                </a:cubicBezTo>
                <a:cubicBezTo>
                  <a:pt x="531" y="887"/>
                  <a:pt x="511" y="894"/>
                  <a:pt x="522" y="905"/>
                </a:cubicBezTo>
                <a:cubicBezTo>
                  <a:pt x="533" y="917"/>
                  <a:pt x="533" y="880"/>
                  <a:pt x="549" y="896"/>
                </a:cubicBezTo>
                <a:cubicBezTo>
                  <a:pt x="565" y="912"/>
                  <a:pt x="561" y="939"/>
                  <a:pt x="561" y="939"/>
                </a:cubicBezTo>
                <a:cubicBezTo>
                  <a:pt x="561" y="939"/>
                  <a:pt x="590" y="917"/>
                  <a:pt x="586" y="942"/>
                </a:cubicBezTo>
                <a:cubicBezTo>
                  <a:pt x="581" y="967"/>
                  <a:pt x="561" y="976"/>
                  <a:pt x="554" y="971"/>
                </a:cubicBezTo>
                <a:cubicBezTo>
                  <a:pt x="547" y="967"/>
                  <a:pt x="563" y="1005"/>
                  <a:pt x="572" y="1001"/>
                </a:cubicBezTo>
                <a:cubicBezTo>
                  <a:pt x="581" y="996"/>
                  <a:pt x="613" y="976"/>
                  <a:pt x="615" y="985"/>
                </a:cubicBezTo>
                <a:cubicBezTo>
                  <a:pt x="617" y="994"/>
                  <a:pt x="629" y="992"/>
                  <a:pt x="645" y="987"/>
                </a:cubicBezTo>
                <a:cubicBezTo>
                  <a:pt x="661" y="983"/>
                  <a:pt x="670" y="958"/>
                  <a:pt x="697" y="953"/>
                </a:cubicBezTo>
                <a:cubicBezTo>
                  <a:pt x="724" y="948"/>
                  <a:pt x="767" y="926"/>
                  <a:pt x="765" y="912"/>
                </a:cubicBezTo>
                <a:cubicBezTo>
                  <a:pt x="763" y="899"/>
                  <a:pt x="729" y="876"/>
                  <a:pt x="779" y="878"/>
                </a:cubicBezTo>
                <a:cubicBezTo>
                  <a:pt x="828" y="880"/>
                  <a:pt x="860" y="860"/>
                  <a:pt x="862" y="849"/>
                </a:cubicBezTo>
                <a:cubicBezTo>
                  <a:pt x="865" y="837"/>
                  <a:pt x="856" y="830"/>
                  <a:pt x="858" y="817"/>
                </a:cubicBezTo>
                <a:cubicBezTo>
                  <a:pt x="860" y="803"/>
                  <a:pt x="892" y="810"/>
                  <a:pt x="892" y="810"/>
                </a:cubicBezTo>
                <a:cubicBezTo>
                  <a:pt x="892" y="810"/>
                  <a:pt x="908" y="762"/>
                  <a:pt x="917" y="776"/>
                </a:cubicBezTo>
                <a:cubicBezTo>
                  <a:pt x="926" y="790"/>
                  <a:pt x="951" y="769"/>
                  <a:pt x="942" y="765"/>
                </a:cubicBezTo>
                <a:cubicBezTo>
                  <a:pt x="933" y="760"/>
                  <a:pt x="924" y="742"/>
                  <a:pt x="951" y="749"/>
                </a:cubicBezTo>
                <a:cubicBezTo>
                  <a:pt x="978" y="756"/>
                  <a:pt x="1015" y="731"/>
                  <a:pt x="1015" y="731"/>
                </a:cubicBezTo>
                <a:cubicBezTo>
                  <a:pt x="1015" y="731"/>
                  <a:pt x="958" y="703"/>
                  <a:pt x="1012" y="706"/>
                </a:cubicBezTo>
                <a:cubicBezTo>
                  <a:pt x="1067" y="708"/>
                  <a:pt x="1069" y="697"/>
                  <a:pt x="1078" y="699"/>
                </a:cubicBezTo>
                <a:cubicBezTo>
                  <a:pt x="1087" y="701"/>
                  <a:pt x="1087" y="676"/>
                  <a:pt x="1053" y="667"/>
                </a:cubicBezTo>
                <a:cubicBezTo>
                  <a:pt x="1019" y="658"/>
                  <a:pt x="1015" y="660"/>
                  <a:pt x="992" y="660"/>
                </a:cubicBezTo>
                <a:cubicBezTo>
                  <a:pt x="969" y="660"/>
                  <a:pt x="949" y="644"/>
                  <a:pt x="956" y="633"/>
                </a:cubicBezTo>
                <a:cubicBezTo>
                  <a:pt x="962" y="622"/>
                  <a:pt x="1028" y="601"/>
                  <a:pt x="1005" y="592"/>
                </a:cubicBezTo>
                <a:cubicBezTo>
                  <a:pt x="983" y="583"/>
                  <a:pt x="965" y="560"/>
                  <a:pt x="985" y="563"/>
                </a:cubicBezTo>
                <a:cubicBezTo>
                  <a:pt x="1005" y="565"/>
                  <a:pt x="1044" y="565"/>
                  <a:pt x="1028" y="558"/>
                </a:cubicBezTo>
                <a:cubicBezTo>
                  <a:pt x="1012" y="551"/>
                  <a:pt x="994" y="545"/>
                  <a:pt x="1001" y="545"/>
                </a:cubicBezTo>
                <a:cubicBezTo>
                  <a:pt x="1008" y="545"/>
                  <a:pt x="1044" y="547"/>
                  <a:pt x="1024" y="538"/>
                </a:cubicBezTo>
                <a:cubicBezTo>
                  <a:pt x="1003" y="529"/>
                  <a:pt x="1005" y="524"/>
                  <a:pt x="994" y="531"/>
                </a:cubicBezTo>
                <a:cubicBezTo>
                  <a:pt x="983" y="538"/>
                  <a:pt x="980" y="524"/>
                  <a:pt x="974" y="520"/>
                </a:cubicBezTo>
                <a:cubicBezTo>
                  <a:pt x="967" y="515"/>
                  <a:pt x="974" y="508"/>
                  <a:pt x="983" y="506"/>
                </a:cubicBezTo>
                <a:cubicBezTo>
                  <a:pt x="992" y="504"/>
                  <a:pt x="1019" y="488"/>
                  <a:pt x="1030" y="506"/>
                </a:cubicBezTo>
                <a:cubicBezTo>
                  <a:pt x="1042" y="524"/>
                  <a:pt x="1055" y="513"/>
                  <a:pt x="1062" y="531"/>
                </a:cubicBezTo>
                <a:cubicBezTo>
                  <a:pt x="1069" y="549"/>
                  <a:pt x="1071" y="570"/>
                  <a:pt x="1071" y="570"/>
                </a:cubicBezTo>
                <a:cubicBezTo>
                  <a:pt x="1071" y="570"/>
                  <a:pt x="1092" y="592"/>
                  <a:pt x="1094" y="574"/>
                </a:cubicBezTo>
                <a:cubicBezTo>
                  <a:pt x="1096" y="556"/>
                  <a:pt x="1103" y="556"/>
                  <a:pt x="1094" y="545"/>
                </a:cubicBezTo>
                <a:cubicBezTo>
                  <a:pt x="1085" y="533"/>
                  <a:pt x="1080" y="515"/>
                  <a:pt x="1080" y="515"/>
                </a:cubicBezTo>
                <a:cubicBezTo>
                  <a:pt x="1080" y="515"/>
                  <a:pt x="1080" y="499"/>
                  <a:pt x="1064" y="499"/>
                </a:cubicBezTo>
                <a:cubicBezTo>
                  <a:pt x="1049" y="499"/>
                  <a:pt x="1067" y="481"/>
                  <a:pt x="1046" y="479"/>
                </a:cubicBezTo>
                <a:cubicBezTo>
                  <a:pt x="1026" y="476"/>
                  <a:pt x="1037" y="465"/>
                  <a:pt x="1021" y="470"/>
                </a:cubicBezTo>
                <a:cubicBezTo>
                  <a:pt x="1005" y="474"/>
                  <a:pt x="1069" y="447"/>
                  <a:pt x="1058" y="431"/>
                </a:cubicBezTo>
                <a:cubicBezTo>
                  <a:pt x="1046" y="415"/>
                  <a:pt x="1026" y="408"/>
                  <a:pt x="1051" y="402"/>
                </a:cubicBezTo>
                <a:cubicBezTo>
                  <a:pt x="1076" y="395"/>
                  <a:pt x="1092" y="402"/>
                  <a:pt x="1089" y="395"/>
                </a:cubicBezTo>
                <a:cubicBezTo>
                  <a:pt x="1087" y="388"/>
                  <a:pt x="1076" y="374"/>
                  <a:pt x="1076" y="374"/>
                </a:cubicBezTo>
                <a:cubicBezTo>
                  <a:pt x="1062" y="368"/>
                  <a:pt x="1026" y="370"/>
                  <a:pt x="1026" y="363"/>
                </a:cubicBezTo>
                <a:cubicBezTo>
                  <a:pt x="1026" y="356"/>
                  <a:pt x="1024" y="347"/>
                  <a:pt x="1046" y="338"/>
                </a:cubicBezTo>
                <a:cubicBezTo>
                  <a:pt x="1069" y="329"/>
                  <a:pt x="1058" y="320"/>
                  <a:pt x="1083" y="320"/>
                </a:cubicBezTo>
                <a:cubicBezTo>
                  <a:pt x="1108" y="320"/>
                  <a:pt x="1155" y="290"/>
                  <a:pt x="1133" y="286"/>
                </a:cubicBezTo>
                <a:cubicBezTo>
                  <a:pt x="1110" y="281"/>
                  <a:pt x="1108" y="256"/>
                  <a:pt x="1128" y="261"/>
                </a:cubicBezTo>
                <a:cubicBezTo>
                  <a:pt x="1148" y="265"/>
                  <a:pt x="1173" y="238"/>
                  <a:pt x="1157" y="236"/>
                </a:cubicBezTo>
                <a:cubicBezTo>
                  <a:pt x="1142" y="234"/>
                  <a:pt x="1130" y="222"/>
                  <a:pt x="1117" y="234"/>
                </a:cubicBezTo>
                <a:cubicBezTo>
                  <a:pt x="1103" y="245"/>
                  <a:pt x="1108" y="252"/>
                  <a:pt x="1094" y="256"/>
                </a:cubicBezTo>
                <a:cubicBezTo>
                  <a:pt x="1080" y="261"/>
                  <a:pt x="1087" y="240"/>
                  <a:pt x="1078" y="254"/>
                </a:cubicBezTo>
                <a:cubicBezTo>
                  <a:pt x="1069" y="268"/>
                  <a:pt x="1071" y="275"/>
                  <a:pt x="1053" y="277"/>
                </a:cubicBezTo>
                <a:cubicBezTo>
                  <a:pt x="1035" y="279"/>
                  <a:pt x="1035" y="256"/>
                  <a:pt x="1028" y="263"/>
                </a:cubicBezTo>
                <a:cubicBezTo>
                  <a:pt x="1021" y="270"/>
                  <a:pt x="1012" y="247"/>
                  <a:pt x="1035" y="240"/>
                </a:cubicBezTo>
                <a:cubicBezTo>
                  <a:pt x="1058" y="234"/>
                  <a:pt x="1085" y="206"/>
                  <a:pt x="1098" y="213"/>
                </a:cubicBezTo>
                <a:cubicBezTo>
                  <a:pt x="1112" y="220"/>
                  <a:pt x="1114" y="204"/>
                  <a:pt x="1128" y="206"/>
                </a:cubicBezTo>
                <a:cubicBezTo>
                  <a:pt x="1142" y="209"/>
                  <a:pt x="1162" y="206"/>
                  <a:pt x="1162" y="206"/>
                </a:cubicBezTo>
                <a:cubicBezTo>
                  <a:pt x="1139" y="191"/>
                  <a:pt x="1148" y="172"/>
                  <a:pt x="1130" y="177"/>
                </a:cubicBezTo>
                <a:cubicBezTo>
                  <a:pt x="1112" y="181"/>
                  <a:pt x="1110" y="170"/>
                  <a:pt x="1094" y="181"/>
                </a:cubicBezTo>
                <a:cubicBezTo>
                  <a:pt x="1078" y="193"/>
                  <a:pt x="1067" y="193"/>
                  <a:pt x="1042" y="186"/>
                </a:cubicBezTo>
                <a:cubicBezTo>
                  <a:pt x="1017" y="179"/>
                  <a:pt x="1044" y="161"/>
                  <a:pt x="1017" y="179"/>
                </a:cubicBezTo>
                <a:cubicBezTo>
                  <a:pt x="990" y="197"/>
                  <a:pt x="971" y="193"/>
                  <a:pt x="965" y="179"/>
                </a:cubicBezTo>
                <a:cubicBezTo>
                  <a:pt x="958" y="166"/>
                  <a:pt x="933" y="141"/>
                  <a:pt x="933" y="141"/>
                </a:cubicBezTo>
                <a:cubicBezTo>
                  <a:pt x="933" y="141"/>
                  <a:pt x="962" y="122"/>
                  <a:pt x="978" y="125"/>
                </a:cubicBezTo>
                <a:cubicBezTo>
                  <a:pt x="994" y="127"/>
                  <a:pt x="1001" y="111"/>
                  <a:pt x="1021" y="111"/>
                </a:cubicBezTo>
                <a:cubicBezTo>
                  <a:pt x="1042" y="111"/>
                  <a:pt x="1069" y="107"/>
                  <a:pt x="1074" y="98"/>
                </a:cubicBezTo>
                <a:cubicBezTo>
                  <a:pt x="1078" y="88"/>
                  <a:pt x="1083" y="68"/>
                  <a:pt x="1062" y="75"/>
                </a:cubicBezTo>
                <a:cubicBezTo>
                  <a:pt x="1042" y="82"/>
                  <a:pt x="1024" y="77"/>
                  <a:pt x="1005" y="86"/>
                </a:cubicBezTo>
                <a:cubicBezTo>
                  <a:pt x="987" y="95"/>
                  <a:pt x="980" y="57"/>
                  <a:pt x="971" y="79"/>
                </a:cubicBezTo>
                <a:cubicBezTo>
                  <a:pt x="962" y="102"/>
                  <a:pt x="935" y="109"/>
                  <a:pt x="931" y="98"/>
                </a:cubicBezTo>
                <a:cubicBezTo>
                  <a:pt x="926" y="86"/>
                  <a:pt x="917" y="93"/>
                  <a:pt x="908" y="95"/>
                </a:cubicBezTo>
                <a:cubicBezTo>
                  <a:pt x="899" y="98"/>
                  <a:pt x="883" y="75"/>
                  <a:pt x="883" y="75"/>
                </a:cubicBezTo>
                <a:cubicBezTo>
                  <a:pt x="883" y="75"/>
                  <a:pt x="838" y="68"/>
                  <a:pt x="822" y="77"/>
                </a:cubicBezTo>
                <a:cubicBezTo>
                  <a:pt x="806" y="86"/>
                  <a:pt x="794" y="73"/>
                  <a:pt x="788" y="59"/>
                </a:cubicBezTo>
                <a:cubicBezTo>
                  <a:pt x="781" y="45"/>
                  <a:pt x="788" y="2"/>
                  <a:pt x="774" y="32"/>
                </a:cubicBezTo>
                <a:cubicBezTo>
                  <a:pt x="760" y="61"/>
                  <a:pt x="783" y="68"/>
                  <a:pt x="765" y="73"/>
                </a:cubicBezTo>
                <a:cubicBezTo>
                  <a:pt x="747" y="77"/>
                  <a:pt x="733" y="57"/>
                  <a:pt x="722" y="59"/>
                </a:cubicBezTo>
                <a:cubicBezTo>
                  <a:pt x="710" y="61"/>
                  <a:pt x="697" y="50"/>
                  <a:pt x="688" y="52"/>
                </a:cubicBezTo>
                <a:cubicBezTo>
                  <a:pt x="679" y="54"/>
                  <a:pt x="674" y="39"/>
                  <a:pt x="674" y="39"/>
                </a:cubicBezTo>
                <a:cubicBezTo>
                  <a:pt x="674" y="39"/>
                  <a:pt x="645" y="18"/>
                  <a:pt x="633" y="18"/>
                </a:cubicBezTo>
                <a:cubicBezTo>
                  <a:pt x="622" y="18"/>
                  <a:pt x="606" y="0"/>
                  <a:pt x="613" y="18"/>
                </a:cubicBezTo>
                <a:cubicBezTo>
                  <a:pt x="620" y="36"/>
                  <a:pt x="647" y="43"/>
                  <a:pt x="629" y="57"/>
                </a:cubicBezTo>
                <a:cubicBezTo>
                  <a:pt x="611" y="70"/>
                  <a:pt x="588" y="45"/>
                  <a:pt x="579" y="54"/>
                </a:cubicBezTo>
                <a:cubicBezTo>
                  <a:pt x="570" y="63"/>
                  <a:pt x="549" y="66"/>
                  <a:pt x="545" y="57"/>
                </a:cubicBezTo>
                <a:cubicBezTo>
                  <a:pt x="540" y="48"/>
                  <a:pt x="565" y="27"/>
                  <a:pt x="549" y="23"/>
                </a:cubicBezTo>
                <a:cubicBezTo>
                  <a:pt x="533" y="18"/>
                  <a:pt x="520" y="18"/>
                  <a:pt x="518" y="29"/>
                </a:cubicBezTo>
                <a:cubicBezTo>
                  <a:pt x="515" y="41"/>
                  <a:pt x="488" y="61"/>
                  <a:pt x="488" y="6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80" name="Freeform 729"/>
          <p:cNvSpPr>
            <a:spLocks/>
          </p:cNvSpPr>
          <p:nvPr userDrawn="1"/>
        </p:nvSpPr>
        <p:spPr bwMode="auto">
          <a:xfrm>
            <a:off x="9641536" y="6234165"/>
            <a:ext cx="5025" cy="5025"/>
          </a:xfrm>
          <a:custGeom>
            <a:avLst/>
            <a:gdLst>
              <a:gd name="T0" fmla="*/ 2147483646 w 5"/>
              <a:gd name="T1" fmla="*/ 2147483646 h 7"/>
              <a:gd name="T2" fmla="*/ 2147483646 w 5"/>
              <a:gd name="T3" fmla="*/ 2147483646 h 7"/>
              <a:gd name="T4" fmla="*/ 0 w 5"/>
              <a:gd name="T5" fmla="*/ 2147483646 h 7"/>
              <a:gd name="T6" fmla="*/ 2147483646 w 5"/>
              <a:gd name="T7" fmla="*/ 2147483646 h 7"/>
              <a:gd name="T8" fmla="*/ 2147483646 w 5"/>
              <a:gd name="T9" fmla="*/ 2147483646 h 7"/>
              <a:gd name="T10" fmla="*/ 2147483646 w 5"/>
              <a:gd name="T11" fmla="*/ 2147483646 h 7"/>
              <a:gd name="T12" fmla="*/ 2147483646 w 5"/>
              <a:gd name="T13" fmla="*/ 2147483646 h 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7"/>
              <a:gd name="T23" fmla="*/ 5 w 5"/>
              <a:gd name="T24" fmla="*/ 7 h 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7">
                <a:moveTo>
                  <a:pt x="5" y="1"/>
                </a:moveTo>
                <a:cubicBezTo>
                  <a:pt x="4" y="0"/>
                  <a:pt x="3" y="1"/>
                  <a:pt x="2" y="1"/>
                </a:cubicBezTo>
                <a:cubicBezTo>
                  <a:pt x="1" y="2"/>
                  <a:pt x="0" y="0"/>
                  <a:pt x="0" y="3"/>
                </a:cubicBezTo>
                <a:cubicBezTo>
                  <a:pt x="0" y="7"/>
                  <a:pt x="0" y="7"/>
                  <a:pt x="2" y="7"/>
                </a:cubicBezTo>
                <a:cubicBezTo>
                  <a:pt x="3" y="7"/>
                  <a:pt x="4" y="4"/>
                  <a:pt x="4" y="4"/>
                </a:cubicBezTo>
                <a:cubicBezTo>
                  <a:pt x="4" y="4"/>
                  <a:pt x="5" y="3"/>
                  <a:pt x="5" y="2"/>
                </a:cubicBezTo>
                <a:cubicBezTo>
                  <a:pt x="5" y="2"/>
                  <a:pt x="5" y="1"/>
                  <a:pt x="5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81" name="Freeform 730"/>
          <p:cNvSpPr>
            <a:spLocks/>
          </p:cNvSpPr>
          <p:nvPr userDrawn="1"/>
        </p:nvSpPr>
        <p:spPr bwMode="auto">
          <a:xfrm>
            <a:off x="9646562" y="6244215"/>
            <a:ext cx="8375" cy="6700"/>
          </a:xfrm>
          <a:custGeom>
            <a:avLst/>
            <a:gdLst>
              <a:gd name="T0" fmla="*/ 2147483646 w 9"/>
              <a:gd name="T1" fmla="*/ 2147483646 h 7"/>
              <a:gd name="T2" fmla="*/ 2147483646 w 9"/>
              <a:gd name="T3" fmla="*/ 2147483646 h 7"/>
              <a:gd name="T4" fmla="*/ 2147483646 w 9"/>
              <a:gd name="T5" fmla="*/ 2147483646 h 7"/>
              <a:gd name="T6" fmla="*/ 2147483646 w 9"/>
              <a:gd name="T7" fmla="*/ 2147483646 h 7"/>
              <a:gd name="T8" fmla="*/ 2147483646 w 9"/>
              <a:gd name="T9" fmla="*/ 2147483646 h 7"/>
              <a:gd name="T10" fmla="*/ 2147483646 w 9"/>
              <a:gd name="T11" fmla="*/ 2147483646 h 7"/>
              <a:gd name="T12" fmla="*/ 2147483646 w 9"/>
              <a:gd name="T13" fmla="*/ 2147483646 h 7"/>
              <a:gd name="T14" fmla="*/ 2147483646 w 9"/>
              <a:gd name="T15" fmla="*/ 0 h 7"/>
              <a:gd name="T16" fmla="*/ 2147483646 w 9"/>
              <a:gd name="T17" fmla="*/ 2147483646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7"/>
              <a:gd name="T29" fmla="*/ 9 w 9"/>
              <a:gd name="T30" fmla="*/ 7 h 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7">
                <a:moveTo>
                  <a:pt x="4" y="1"/>
                </a:moveTo>
                <a:cubicBezTo>
                  <a:pt x="3" y="0"/>
                  <a:pt x="0" y="0"/>
                  <a:pt x="1" y="1"/>
                </a:cubicBezTo>
                <a:cubicBezTo>
                  <a:pt x="2" y="3"/>
                  <a:pt x="2" y="4"/>
                  <a:pt x="3" y="4"/>
                </a:cubicBezTo>
                <a:cubicBezTo>
                  <a:pt x="4" y="5"/>
                  <a:pt x="5" y="4"/>
                  <a:pt x="5" y="5"/>
                </a:cubicBezTo>
                <a:cubicBezTo>
                  <a:pt x="5" y="6"/>
                  <a:pt x="4" y="7"/>
                  <a:pt x="5" y="7"/>
                </a:cubicBezTo>
                <a:cubicBezTo>
                  <a:pt x="6" y="7"/>
                  <a:pt x="7" y="6"/>
                  <a:pt x="7" y="5"/>
                </a:cubicBezTo>
                <a:cubicBezTo>
                  <a:pt x="8" y="5"/>
                  <a:pt x="9" y="1"/>
                  <a:pt x="9" y="1"/>
                </a:cubicBezTo>
                <a:cubicBezTo>
                  <a:pt x="9" y="1"/>
                  <a:pt x="8" y="0"/>
                  <a:pt x="8" y="0"/>
                </a:cubicBezTo>
                <a:cubicBezTo>
                  <a:pt x="7" y="0"/>
                  <a:pt x="4" y="1"/>
                  <a:pt x="4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82" name="Freeform 731"/>
          <p:cNvSpPr>
            <a:spLocks/>
          </p:cNvSpPr>
          <p:nvPr userDrawn="1"/>
        </p:nvSpPr>
        <p:spPr bwMode="auto">
          <a:xfrm>
            <a:off x="9693465" y="6059955"/>
            <a:ext cx="8375" cy="10051"/>
          </a:xfrm>
          <a:custGeom>
            <a:avLst/>
            <a:gdLst>
              <a:gd name="T0" fmla="*/ 2147483646 w 9"/>
              <a:gd name="T1" fmla="*/ 0 h 11"/>
              <a:gd name="T2" fmla="*/ 2147483646 w 9"/>
              <a:gd name="T3" fmla="*/ 2147483646 h 11"/>
              <a:gd name="T4" fmla="*/ 2147483646 w 9"/>
              <a:gd name="T5" fmla="*/ 2147483646 h 11"/>
              <a:gd name="T6" fmla="*/ 2147483646 w 9"/>
              <a:gd name="T7" fmla="*/ 2147483646 h 11"/>
              <a:gd name="T8" fmla="*/ 2147483646 w 9"/>
              <a:gd name="T9" fmla="*/ 2147483646 h 11"/>
              <a:gd name="T10" fmla="*/ 2147483646 w 9"/>
              <a:gd name="T11" fmla="*/ 2147483646 h 11"/>
              <a:gd name="T12" fmla="*/ 2147483646 w 9"/>
              <a:gd name="T13" fmla="*/ 2147483646 h 11"/>
              <a:gd name="T14" fmla="*/ 2147483646 w 9"/>
              <a:gd name="T15" fmla="*/ 2147483646 h 11"/>
              <a:gd name="T16" fmla="*/ 2147483646 w 9"/>
              <a:gd name="T17" fmla="*/ 0 h 1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11"/>
              <a:gd name="T29" fmla="*/ 9 w 9"/>
              <a:gd name="T30" fmla="*/ 11 h 1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11">
                <a:moveTo>
                  <a:pt x="4" y="0"/>
                </a:moveTo>
                <a:cubicBezTo>
                  <a:pt x="3" y="0"/>
                  <a:pt x="3" y="2"/>
                  <a:pt x="3" y="3"/>
                </a:cubicBezTo>
                <a:cubicBezTo>
                  <a:pt x="3" y="4"/>
                  <a:pt x="0" y="3"/>
                  <a:pt x="1" y="5"/>
                </a:cubicBezTo>
                <a:cubicBezTo>
                  <a:pt x="2" y="7"/>
                  <a:pt x="5" y="8"/>
                  <a:pt x="6" y="9"/>
                </a:cubicBezTo>
                <a:cubicBezTo>
                  <a:pt x="7" y="10"/>
                  <a:pt x="6" y="11"/>
                  <a:pt x="8" y="11"/>
                </a:cubicBezTo>
                <a:cubicBezTo>
                  <a:pt x="9" y="11"/>
                  <a:pt x="8" y="9"/>
                  <a:pt x="8" y="7"/>
                </a:cubicBezTo>
                <a:cubicBezTo>
                  <a:pt x="8" y="5"/>
                  <a:pt x="8" y="4"/>
                  <a:pt x="8" y="3"/>
                </a:cubicBezTo>
                <a:cubicBezTo>
                  <a:pt x="8" y="3"/>
                  <a:pt x="5" y="0"/>
                  <a:pt x="5" y="1"/>
                </a:cubicBezTo>
                <a:cubicBezTo>
                  <a:pt x="5" y="1"/>
                  <a:pt x="4" y="0"/>
                  <a:pt x="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83" name="Freeform 732"/>
          <p:cNvSpPr>
            <a:spLocks/>
          </p:cNvSpPr>
          <p:nvPr userDrawn="1"/>
        </p:nvSpPr>
        <p:spPr bwMode="auto">
          <a:xfrm>
            <a:off x="9683414" y="6085082"/>
            <a:ext cx="8375" cy="3351"/>
          </a:xfrm>
          <a:custGeom>
            <a:avLst/>
            <a:gdLst>
              <a:gd name="T0" fmla="*/ 2147483646 w 9"/>
              <a:gd name="T1" fmla="*/ 2147483646 h 4"/>
              <a:gd name="T2" fmla="*/ 2147483646 w 9"/>
              <a:gd name="T3" fmla="*/ 2147483646 h 4"/>
              <a:gd name="T4" fmla="*/ 2147483646 w 9"/>
              <a:gd name="T5" fmla="*/ 2147483646 h 4"/>
              <a:gd name="T6" fmla="*/ 2147483646 w 9"/>
              <a:gd name="T7" fmla="*/ 0 h 4"/>
              <a:gd name="T8" fmla="*/ 2147483646 w 9"/>
              <a:gd name="T9" fmla="*/ 2147483646 h 4"/>
              <a:gd name="T10" fmla="*/ 2147483646 w 9"/>
              <a:gd name="T11" fmla="*/ 2147483646 h 4"/>
              <a:gd name="T12" fmla="*/ 2147483646 w 9"/>
              <a:gd name="T13" fmla="*/ 2147483646 h 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4"/>
              <a:gd name="T23" fmla="*/ 9 w 9"/>
              <a:gd name="T24" fmla="*/ 4 h 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4">
                <a:moveTo>
                  <a:pt x="1" y="1"/>
                </a:moveTo>
                <a:cubicBezTo>
                  <a:pt x="0" y="2"/>
                  <a:pt x="1" y="3"/>
                  <a:pt x="3" y="4"/>
                </a:cubicBezTo>
                <a:cubicBezTo>
                  <a:pt x="4" y="4"/>
                  <a:pt x="5" y="4"/>
                  <a:pt x="6" y="3"/>
                </a:cubicBezTo>
                <a:cubicBezTo>
                  <a:pt x="7" y="2"/>
                  <a:pt x="9" y="1"/>
                  <a:pt x="8" y="0"/>
                </a:cubicBezTo>
                <a:cubicBezTo>
                  <a:pt x="8" y="0"/>
                  <a:pt x="6" y="1"/>
                  <a:pt x="5" y="1"/>
                </a:cubicBezTo>
                <a:cubicBezTo>
                  <a:pt x="4" y="1"/>
                  <a:pt x="3" y="3"/>
                  <a:pt x="3" y="2"/>
                </a:cubicBezTo>
                <a:cubicBezTo>
                  <a:pt x="3" y="1"/>
                  <a:pt x="2" y="1"/>
                  <a:pt x="1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84" name="Freeform 733"/>
          <p:cNvSpPr>
            <a:spLocks noEditPoints="1"/>
          </p:cNvSpPr>
          <p:nvPr userDrawn="1"/>
        </p:nvSpPr>
        <p:spPr bwMode="auto">
          <a:xfrm>
            <a:off x="9442201" y="6224114"/>
            <a:ext cx="214412" cy="232837"/>
          </a:xfrm>
          <a:custGeom>
            <a:avLst/>
            <a:gdLst>
              <a:gd name="T0" fmla="*/ 2147483646 w 230"/>
              <a:gd name="T1" fmla="*/ 2147483646 h 250"/>
              <a:gd name="T2" fmla="*/ 2147483646 w 230"/>
              <a:gd name="T3" fmla="*/ 2147483646 h 250"/>
              <a:gd name="T4" fmla="*/ 2147483646 w 230"/>
              <a:gd name="T5" fmla="*/ 2147483646 h 250"/>
              <a:gd name="T6" fmla="*/ 2147483646 w 230"/>
              <a:gd name="T7" fmla="*/ 2147483646 h 250"/>
              <a:gd name="T8" fmla="*/ 2147483646 w 230"/>
              <a:gd name="T9" fmla="*/ 2147483646 h 250"/>
              <a:gd name="T10" fmla="*/ 2147483646 w 230"/>
              <a:gd name="T11" fmla="*/ 2147483646 h 250"/>
              <a:gd name="T12" fmla="*/ 2147483646 w 230"/>
              <a:gd name="T13" fmla="*/ 2147483646 h 250"/>
              <a:gd name="T14" fmla="*/ 2147483646 w 230"/>
              <a:gd name="T15" fmla="*/ 2147483646 h 250"/>
              <a:gd name="T16" fmla="*/ 2147483646 w 230"/>
              <a:gd name="T17" fmla="*/ 2147483646 h 250"/>
              <a:gd name="T18" fmla="*/ 2147483646 w 230"/>
              <a:gd name="T19" fmla="*/ 2147483646 h 250"/>
              <a:gd name="T20" fmla="*/ 2147483646 w 230"/>
              <a:gd name="T21" fmla="*/ 2147483646 h 250"/>
              <a:gd name="T22" fmla="*/ 2147483646 w 230"/>
              <a:gd name="T23" fmla="*/ 2147483646 h 250"/>
              <a:gd name="T24" fmla="*/ 2147483646 w 230"/>
              <a:gd name="T25" fmla="*/ 2147483646 h 250"/>
              <a:gd name="T26" fmla="*/ 2147483646 w 230"/>
              <a:gd name="T27" fmla="*/ 2147483646 h 250"/>
              <a:gd name="T28" fmla="*/ 2147483646 w 230"/>
              <a:gd name="T29" fmla="*/ 2147483646 h 250"/>
              <a:gd name="T30" fmla="*/ 2147483646 w 230"/>
              <a:gd name="T31" fmla="*/ 2147483646 h 250"/>
              <a:gd name="T32" fmla="*/ 2147483646 w 230"/>
              <a:gd name="T33" fmla="*/ 2147483646 h 250"/>
              <a:gd name="T34" fmla="*/ 2147483646 w 230"/>
              <a:gd name="T35" fmla="*/ 2147483646 h 250"/>
              <a:gd name="T36" fmla="*/ 2147483646 w 230"/>
              <a:gd name="T37" fmla="*/ 2147483646 h 250"/>
              <a:gd name="T38" fmla="*/ 2147483646 w 230"/>
              <a:gd name="T39" fmla="*/ 2147483646 h 250"/>
              <a:gd name="T40" fmla="*/ 2147483646 w 230"/>
              <a:gd name="T41" fmla="*/ 2147483646 h 250"/>
              <a:gd name="T42" fmla="*/ 2147483646 w 230"/>
              <a:gd name="T43" fmla="*/ 2147483646 h 250"/>
              <a:gd name="T44" fmla="*/ 2147483646 w 230"/>
              <a:gd name="T45" fmla="*/ 2147483646 h 250"/>
              <a:gd name="T46" fmla="*/ 2147483646 w 230"/>
              <a:gd name="T47" fmla="*/ 2147483646 h 250"/>
              <a:gd name="T48" fmla="*/ 2147483646 w 230"/>
              <a:gd name="T49" fmla="*/ 2147483646 h 250"/>
              <a:gd name="T50" fmla="*/ 2147483646 w 230"/>
              <a:gd name="T51" fmla="*/ 2147483646 h 250"/>
              <a:gd name="T52" fmla="*/ 2147483646 w 230"/>
              <a:gd name="T53" fmla="*/ 2147483646 h 250"/>
              <a:gd name="T54" fmla="*/ 2147483646 w 230"/>
              <a:gd name="T55" fmla="*/ 2147483646 h 250"/>
              <a:gd name="T56" fmla="*/ 2147483646 w 230"/>
              <a:gd name="T57" fmla="*/ 2147483646 h 250"/>
              <a:gd name="T58" fmla="*/ 2147483646 w 230"/>
              <a:gd name="T59" fmla="*/ 2147483646 h 250"/>
              <a:gd name="T60" fmla="*/ 2147483646 w 230"/>
              <a:gd name="T61" fmla="*/ 2147483646 h 250"/>
              <a:gd name="T62" fmla="*/ 2147483646 w 230"/>
              <a:gd name="T63" fmla="*/ 2147483646 h 250"/>
              <a:gd name="T64" fmla="*/ 2147483646 w 230"/>
              <a:gd name="T65" fmla="*/ 2147483646 h 250"/>
              <a:gd name="T66" fmla="*/ 2147483646 w 230"/>
              <a:gd name="T67" fmla="*/ 2147483646 h 250"/>
              <a:gd name="T68" fmla="*/ 2147483646 w 230"/>
              <a:gd name="T69" fmla="*/ 2147483646 h 250"/>
              <a:gd name="T70" fmla="*/ 2147483646 w 230"/>
              <a:gd name="T71" fmla="*/ 2147483646 h 250"/>
              <a:gd name="T72" fmla="*/ 2147483646 w 230"/>
              <a:gd name="T73" fmla="*/ 2147483646 h 250"/>
              <a:gd name="T74" fmla="*/ 2147483646 w 230"/>
              <a:gd name="T75" fmla="*/ 2147483646 h 250"/>
              <a:gd name="T76" fmla="*/ 2147483646 w 230"/>
              <a:gd name="T77" fmla="*/ 2147483646 h 250"/>
              <a:gd name="T78" fmla="*/ 2147483646 w 230"/>
              <a:gd name="T79" fmla="*/ 2147483646 h 250"/>
              <a:gd name="T80" fmla="*/ 2147483646 w 230"/>
              <a:gd name="T81" fmla="*/ 2147483646 h 250"/>
              <a:gd name="T82" fmla="*/ 2147483646 w 230"/>
              <a:gd name="T83" fmla="*/ 2147483646 h 250"/>
              <a:gd name="T84" fmla="*/ 2147483646 w 230"/>
              <a:gd name="T85" fmla="*/ 2147483646 h 250"/>
              <a:gd name="T86" fmla="*/ 2147483646 w 230"/>
              <a:gd name="T87" fmla="*/ 2147483646 h 250"/>
              <a:gd name="T88" fmla="*/ 2147483646 w 230"/>
              <a:gd name="T89" fmla="*/ 2147483646 h 250"/>
              <a:gd name="T90" fmla="*/ 2147483646 w 230"/>
              <a:gd name="T91" fmla="*/ 2147483646 h 250"/>
              <a:gd name="T92" fmla="*/ 2147483646 w 230"/>
              <a:gd name="T93" fmla="*/ 2147483646 h 250"/>
              <a:gd name="T94" fmla="*/ 2147483646 w 230"/>
              <a:gd name="T95" fmla="*/ 2147483646 h 250"/>
              <a:gd name="T96" fmla="*/ 2147483646 w 230"/>
              <a:gd name="T97" fmla="*/ 2147483646 h 250"/>
              <a:gd name="T98" fmla="*/ 2147483646 w 230"/>
              <a:gd name="T99" fmla="*/ 2147483646 h 250"/>
              <a:gd name="T100" fmla="*/ 2147483646 w 230"/>
              <a:gd name="T101" fmla="*/ 2147483646 h 250"/>
              <a:gd name="T102" fmla="*/ 2147483646 w 230"/>
              <a:gd name="T103" fmla="*/ 2147483646 h 250"/>
              <a:gd name="T104" fmla="*/ 2147483646 w 230"/>
              <a:gd name="T105" fmla="*/ 2147483646 h 250"/>
              <a:gd name="T106" fmla="*/ 2147483646 w 230"/>
              <a:gd name="T107" fmla="*/ 2147483646 h 250"/>
              <a:gd name="T108" fmla="*/ 2147483646 w 230"/>
              <a:gd name="T109" fmla="*/ 2147483646 h 250"/>
              <a:gd name="T110" fmla="*/ 2147483646 w 230"/>
              <a:gd name="T111" fmla="*/ 2147483646 h 250"/>
              <a:gd name="T112" fmla="*/ 2147483646 w 230"/>
              <a:gd name="T113" fmla="*/ 2147483646 h 250"/>
              <a:gd name="T114" fmla="*/ 2147483646 w 230"/>
              <a:gd name="T115" fmla="*/ 2147483646 h 25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30"/>
              <a:gd name="T175" fmla="*/ 0 h 250"/>
              <a:gd name="T176" fmla="*/ 230 w 230"/>
              <a:gd name="T177" fmla="*/ 250 h 25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30" h="250">
                <a:moveTo>
                  <a:pt x="227" y="31"/>
                </a:moveTo>
                <a:cubicBezTo>
                  <a:pt x="226" y="30"/>
                  <a:pt x="225" y="32"/>
                  <a:pt x="223" y="31"/>
                </a:cubicBezTo>
                <a:cubicBezTo>
                  <a:pt x="222" y="31"/>
                  <a:pt x="221" y="32"/>
                  <a:pt x="220" y="31"/>
                </a:cubicBezTo>
                <a:cubicBezTo>
                  <a:pt x="219" y="31"/>
                  <a:pt x="222" y="29"/>
                  <a:pt x="222" y="28"/>
                </a:cubicBezTo>
                <a:cubicBezTo>
                  <a:pt x="223" y="27"/>
                  <a:pt x="220" y="28"/>
                  <a:pt x="219" y="29"/>
                </a:cubicBezTo>
                <a:cubicBezTo>
                  <a:pt x="217" y="29"/>
                  <a:pt x="218" y="30"/>
                  <a:pt x="216" y="31"/>
                </a:cubicBezTo>
                <a:cubicBezTo>
                  <a:pt x="215" y="32"/>
                  <a:pt x="214" y="32"/>
                  <a:pt x="213" y="32"/>
                </a:cubicBezTo>
                <a:cubicBezTo>
                  <a:pt x="211" y="31"/>
                  <a:pt x="213" y="31"/>
                  <a:pt x="214" y="29"/>
                </a:cubicBezTo>
                <a:cubicBezTo>
                  <a:pt x="216" y="28"/>
                  <a:pt x="215" y="29"/>
                  <a:pt x="215" y="27"/>
                </a:cubicBezTo>
                <a:cubicBezTo>
                  <a:pt x="215" y="26"/>
                  <a:pt x="216" y="26"/>
                  <a:pt x="215" y="24"/>
                </a:cubicBezTo>
                <a:cubicBezTo>
                  <a:pt x="215" y="23"/>
                  <a:pt x="214" y="26"/>
                  <a:pt x="212" y="25"/>
                </a:cubicBezTo>
                <a:cubicBezTo>
                  <a:pt x="210" y="24"/>
                  <a:pt x="212" y="23"/>
                  <a:pt x="215" y="22"/>
                </a:cubicBezTo>
                <a:cubicBezTo>
                  <a:pt x="216" y="21"/>
                  <a:pt x="215" y="18"/>
                  <a:pt x="213" y="20"/>
                </a:cubicBezTo>
                <a:cubicBezTo>
                  <a:pt x="211" y="21"/>
                  <a:pt x="212" y="20"/>
                  <a:pt x="211" y="21"/>
                </a:cubicBezTo>
                <a:cubicBezTo>
                  <a:pt x="209" y="22"/>
                  <a:pt x="210" y="23"/>
                  <a:pt x="209" y="24"/>
                </a:cubicBezTo>
                <a:cubicBezTo>
                  <a:pt x="208" y="26"/>
                  <a:pt x="208" y="23"/>
                  <a:pt x="207" y="23"/>
                </a:cubicBezTo>
                <a:cubicBezTo>
                  <a:pt x="206" y="24"/>
                  <a:pt x="204" y="24"/>
                  <a:pt x="204" y="27"/>
                </a:cubicBezTo>
                <a:cubicBezTo>
                  <a:pt x="204" y="29"/>
                  <a:pt x="204" y="29"/>
                  <a:pt x="202" y="27"/>
                </a:cubicBezTo>
                <a:cubicBezTo>
                  <a:pt x="199" y="26"/>
                  <a:pt x="200" y="27"/>
                  <a:pt x="198" y="29"/>
                </a:cubicBezTo>
                <a:cubicBezTo>
                  <a:pt x="197" y="31"/>
                  <a:pt x="197" y="30"/>
                  <a:pt x="195" y="32"/>
                </a:cubicBezTo>
                <a:cubicBezTo>
                  <a:pt x="194" y="34"/>
                  <a:pt x="194" y="33"/>
                  <a:pt x="194" y="31"/>
                </a:cubicBezTo>
                <a:cubicBezTo>
                  <a:pt x="194" y="29"/>
                  <a:pt x="191" y="28"/>
                  <a:pt x="189" y="27"/>
                </a:cubicBezTo>
                <a:cubicBezTo>
                  <a:pt x="187" y="25"/>
                  <a:pt x="189" y="22"/>
                  <a:pt x="191" y="19"/>
                </a:cubicBezTo>
                <a:cubicBezTo>
                  <a:pt x="193" y="17"/>
                  <a:pt x="191" y="16"/>
                  <a:pt x="190" y="15"/>
                </a:cubicBezTo>
                <a:cubicBezTo>
                  <a:pt x="189" y="15"/>
                  <a:pt x="190" y="12"/>
                  <a:pt x="189" y="12"/>
                </a:cubicBezTo>
                <a:cubicBezTo>
                  <a:pt x="188" y="11"/>
                  <a:pt x="187" y="12"/>
                  <a:pt x="186" y="13"/>
                </a:cubicBezTo>
                <a:cubicBezTo>
                  <a:pt x="184" y="14"/>
                  <a:pt x="182" y="11"/>
                  <a:pt x="180" y="9"/>
                </a:cubicBezTo>
                <a:cubicBezTo>
                  <a:pt x="178" y="8"/>
                  <a:pt x="179" y="6"/>
                  <a:pt x="180" y="4"/>
                </a:cubicBezTo>
                <a:cubicBezTo>
                  <a:pt x="180" y="2"/>
                  <a:pt x="180" y="2"/>
                  <a:pt x="184" y="1"/>
                </a:cubicBezTo>
                <a:cubicBezTo>
                  <a:pt x="187" y="1"/>
                  <a:pt x="188" y="2"/>
                  <a:pt x="187" y="1"/>
                </a:cubicBezTo>
                <a:cubicBezTo>
                  <a:pt x="186" y="0"/>
                  <a:pt x="183" y="0"/>
                  <a:pt x="180" y="0"/>
                </a:cubicBezTo>
                <a:cubicBezTo>
                  <a:pt x="177" y="0"/>
                  <a:pt x="177" y="0"/>
                  <a:pt x="177" y="2"/>
                </a:cubicBezTo>
                <a:cubicBezTo>
                  <a:pt x="177" y="4"/>
                  <a:pt x="177" y="5"/>
                  <a:pt x="175" y="4"/>
                </a:cubicBezTo>
                <a:cubicBezTo>
                  <a:pt x="172" y="3"/>
                  <a:pt x="172" y="6"/>
                  <a:pt x="168" y="9"/>
                </a:cubicBezTo>
                <a:cubicBezTo>
                  <a:pt x="164" y="12"/>
                  <a:pt x="164" y="13"/>
                  <a:pt x="162" y="15"/>
                </a:cubicBezTo>
                <a:cubicBezTo>
                  <a:pt x="160" y="17"/>
                  <a:pt x="161" y="18"/>
                  <a:pt x="162" y="20"/>
                </a:cubicBezTo>
                <a:cubicBezTo>
                  <a:pt x="162" y="20"/>
                  <a:pt x="162" y="23"/>
                  <a:pt x="162" y="24"/>
                </a:cubicBezTo>
                <a:cubicBezTo>
                  <a:pt x="161" y="26"/>
                  <a:pt x="161" y="27"/>
                  <a:pt x="162" y="29"/>
                </a:cubicBezTo>
                <a:cubicBezTo>
                  <a:pt x="163" y="31"/>
                  <a:pt x="162" y="33"/>
                  <a:pt x="161" y="35"/>
                </a:cubicBezTo>
                <a:cubicBezTo>
                  <a:pt x="160" y="37"/>
                  <a:pt x="158" y="37"/>
                  <a:pt x="156" y="41"/>
                </a:cubicBezTo>
                <a:cubicBezTo>
                  <a:pt x="155" y="44"/>
                  <a:pt x="153" y="46"/>
                  <a:pt x="150" y="49"/>
                </a:cubicBezTo>
                <a:cubicBezTo>
                  <a:pt x="146" y="51"/>
                  <a:pt x="144" y="48"/>
                  <a:pt x="143" y="49"/>
                </a:cubicBezTo>
                <a:cubicBezTo>
                  <a:pt x="141" y="49"/>
                  <a:pt x="142" y="50"/>
                  <a:pt x="142" y="51"/>
                </a:cubicBezTo>
                <a:cubicBezTo>
                  <a:pt x="143" y="53"/>
                  <a:pt x="142" y="54"/>
                  <a:pt x="140" y="55"/>
                </a:cubicBezTo>
                <a:cubicBezTo>
                  <a:pt x="139" y="55"/>
                  <a:pt x="140" y="58"/>
                  <a:pt x="139" y="63"/>
                </a:cubicBezTo>
                <a:cubicBezTo>
                  <a:pt x="137" y="67"/>
                  <a:pt x="138" y="67"/>
                  <a:pt x="138" y="70"/>
                </a:cubicBezTo>
                <a:cubicBezTo>
                  <a:pt x="138" y="74"/>
                  <a:pt x="133" y="80"/>
                  <a:pt x="132" y="83"/>
                </a:cubicBezTo>
                <a:cubicBezTo>
                  <a:pt x="130" y="85"/>
                  <a:pt x="130" y="86"/>
                  <a:pt x="126" y="91"/>
                </a:cubicBezTo>
                <a:cubicBezTo>
                  <a:pt x="122" y="96"/>
                  <a:pt x="121" y="96"/>
                  <a:pt x="118" y="98"/>
                </a:cubicBezTo>
                <a:cubicBezTo>
                  <a:pt x="114" y="100"/>
                  <a:pt x="113" y="101"/>
                  <a:pt x="111" y="102"/>
                </a:cubicBezTo>
                <a:cubicBezTo>
                  <a:pt x="109" y="104"/>
                  <a:pt x="109" y="105"/>
                  <a:pt x="106" y="104"/>
                </a:cubicBezTo>
                <a:cubicBezTo>
                  <a:pt x="104" y="104"/>
                  <a:pt x="106" y="106"/>
                  <a:pt x="105" y="108"/>
                </a:cubicBezTo>
                <a:cubicBezTo>
                  <a:pt x="105" y="109"/>
                  <a:pt x="103" y="110"/>
                  <a:pt x="101" y="112"/>
                </a:cubicBezTo>
                <a:cubicBezTo>
                  <a:pt x="99" y="114"/>
                  <a:pt x="99" y="115"/>
                  <a:pt x="96" y="116"/>
                </a:cubicBezTo>
                <a:cubicBezTo>
                  <a:pt x="93" y="116"/>
                  <a:pt x="93" y="116"/>
                  <a:pt x="92" y="120"/>
                </a:cubicBezTo>
                <a:cubicBezTo>
                  <a:pt x="90" y="123"/>
                  <a:pt x="84" y="127"/>
                  <a:pt x="81" y="127"/>
                </a:cubicBezTo>
                <a:cubicBezTo>
                  <a:pt x="78" y="127"/>
                  <a:pt x="72" y="135"/>
                  <a:pt x="72" y="135"/>
                </a:cubicBezTo>
                <a:cubicBezTo>
                  <a:pt x="72" y="135"/>
                  <a:pt x="70" y="137"/>
                  <a:pt x="69" y="137"/>
                </a:cubicBezTo>
                <a:cubicBezTo>
                  <a:pt x="69" y="138"/>
                  <a:pt x="67" y="139"/>
                  <a:pt x="66" y="140"/>
                </a:cubicBezTo>
                <a:cubicBezTo>
                  <a:pt x="64" y="141"/>
                  <a:pt x="64" y="141"/>
                  <a:pt x="61" y="141"/>
                </a:cubicBezTo>
                <a:cubicBezTo>
                  <a:pt x="59" y="141"/>
                  <a:pt x="60" y="140"/>
                  <a:pt x="59" y="139"/>
                </a:cubicBezTo>
                <a:cubicBezTo>
                  <a:pt x="58" y="138"/>
                  <a:pt x="58" y="140"/>
                  <a:pt x="57" y="140"/>
                </a:cubicBezTo>
                <a:cubicBezTo>
                  <a:pt x="56" y="140"/>
                  <a:pt x="54" y="140"/>
                  <a:pt x="54" y="140"/>
                </a:cubicBezTo>
                <a:cubicBezTo>
                  <a:pt x="54" y="140"/>
                  <a:pt x="53" y="140"/>
                  <a:pt x="52" y="142"/>
                </a:cubicBezTo>
                <a:cubicBezTo>
                  <a:pt x="51" y="145"/>
                  <a:pt x="51" y="144"/>
                  <a:pt x="51" y="146"/>
                </a:cubicBezTo>
                <a:cubicBezTo>
                  <a:pt x="50" y="147"/>
                  <a:pt x="50" y="148"/>
                  <a:pt x="48" y="148"/>
                </a:cubicBezTo>
                <a:cubicBezTo>
                  <a:pt x="47" y="149"/>
                  <a:pt x="45" y="150"/>
                  <a:pt x="46" y="151"/>
                </a:cubicBezTo>
                <a:cubicBezTo>
                  <a:pt x="46" y="152"/>
                  <a:pt x="46" y="153"/>
                  <a:pt x="46" y="153"/>
                </a:cubicBezTo>
                <a:cubicBezTo>
                  <a:pt x="45" y="153"/>
                  <a:pt x="45" y="155"/>
                  <a:pt x="44" y="156"/>
                </a:cubicBezTo>
                <a:cubicBezTo>
                  <a:pt x="43" y="157"/>
                  <a:pt x="42" y="156"/>
                  <a:pt x="41" y="157"/>
                </a:cubicBezTo>
                <a:cubicBezTo>
                  <a:pt x="40" y="158"/>
                  <a:pt x="39" y="159"/>
                  <a:pt x="38" y="161"/>
                </a:cubicBezTo>
                <a:cubicBezTo>
                  <a:pt x="37" y="163"/>
                  <a:pt x="37" y="165"/>
                  <a:pt x="39" y="166"/>
                </a:cubicBezTo>
                <a:cubicBezTo>
                  <a:pt x="42" y="168"/>
                  <a:pt x="41" y="169"/>
                  <a:pt x="41" y="169"/>
                </a:cubicBezTo>
                <a:cubicBezTo>
                  <a:pt x="41" y="169"/>
                  <a:pt x="38" y="168"/>
                  <a:pt x="38" y="167"/>
                </a:cubicBezTo>
                <a:cubicBezTo>
                  <a:pt x="37" y="166"/>
                  <a:pt x="37" y="165"/>
                  <a:pt x="36" y="165"/>
                </a:cubicBezTo>
                <a:cubicBezTo>
                  <a:pt x="34" y="165"/>
                  <a:pt x="35" y="167"/>
                  <a:pt x="33" y="166"/>
                </a:cubicBezTo>
                <a:cubicBezTo>
                  <a:pt x="31" y="165"/>
                  <a:pt x="31" y="168"/>
                  <a:pt x="31" y="169"/>
                </a:cubicBezTo>
                <a:cubicBezTo>
                  <a:pt x="31" y="171"/>
                  <a:pt x="29" y="172"/>
                  <a:pt x="29" y="172"/>
                </a:cubicBezTo>
                <a:cubicBezTo>
                  <a:pt x="29" y="172"/>
                  <a:pt x="28" y="174"/>
                  <a:pt x="27" y="175"/>
                </a:cubicBezTo>
                <a:cubicBezTo>
                  <a:pt x="27" y="175"/>
                  <a:pt x="26" y="177"/>
                  <a:pt x="24" y="177"/>
                </a:cubicBezTo>
                <a:cubicBezTo>
                  <a:pt x="23" y="178"/>
                  <a:pt x="21" y="181"/>
                  <a:pt x="21" y="181"/>
                </a:cubicBezTo>
                <a:cubicBezTo>
                  <a:pt x="21" y="181"/>
                  <a:pt x="19" y="185"/>
                  <a:pt x="19" y="186"/>
                </a:cubicBezTo>
                <a:cubicBezTo>
                  <a:pt x="19" y="187"/>
                  <a:pt x="19" y="188"/>
                  <a:pt x="18" y="187"/>
                </a:cubicBezTo>
                <a:cubicBezTo>
                  <a:pt x="17" y="186"/>
                  <a:pt x="17" y="187"/>
                  <a:pt x="16" y="186"/>
                </a:cubicBezTo>
                <a:cubicBezTo>
                  <a:pt x="16" y="185"/>
                  <a:pt x="15" y="187"/>
                  <a:pt x="14" y="188"/>
                </a:cubicBezTo>
                <a:cubicBezTo>
                  <a:pt x="14" y="189"/>
                  <a:pt x="15" y="192"/>
                  <a:pt x="15" y="193"/>
                </a:cubicBezTo>
                <a:cubicBezTo>
                  <a:pt x="16" y="193"/>
                  <a:pt x="17" y="194"/>
                  <a:pt x="18" y="193"/>
                </a:cubicBezTo>
                <a:cubicBezTo>
                  <a:pt x="19" y="193"/>
                  <a:pt x="19" y="194"/>
                  <a:pt x="20" y="193"/>
                </a:cubicBezTo>
                <a:cubicBezTo>
                  <a:pt x="21" y="193"/>
                  <a:pt x="22" y="195"/>
                  <a:pt x="22" y="195"/>
                </a:cubicBezTo>
                <a:cubicBezTo>
                  <a:pt x="22" y="195"/>
                  <a:pt x="21" y="198"/>
                  <a:pt x="20" y="197"/>
                </a:cubicBezTo>
                <a:cubicBezTo>
                  <a:pt x="19" y="197"/>
                  <a:pt x="19" y="196"/>
                  <a:pt x="17" y="195"/>
                </a:cubicBezTo>
                <a:cubicBezTo>
                  <a:pt x="16" y="194"/>
                  <a:pt x="17" y="196"/>
                  <a:pt x="18" y="196"/>
                </a:cubicBezTo>
                <a:cubicBezTo>
                  <a:pt x="19" y="197"/>
                  <a:pt x="18" y="200"/>
                  <a:pt x="18" y="200"/>
                </a:cubicBezTo>
                <a:cubicBezTo>
                  <a:pt x="18" y="200"/>
                  <a:pt x="18" y="200"/>
                  <a:pt x="17" y="199"/>
                </a:cubicBezTo>
                <a:cubicBezTo>
                  <a:pt x="16" y="197"/>
                  <a:pt x="15" y="197"/>
                  <a:pt x="15" y="197"/>
                </a:cubicBezTo>
                <a:cubicBezTo>
                  <a:pt x="15" y="196"/>
                  <a:pt x="14" y="195"/>
                  <a:pt x="12" y="195"/>
                </a:cubicBezTo>
                <a:cubicBezTo>
                  <a:pt x="11" y="194"/>
                  <a:pt x="11" y="195"/>
                  <a:pt x="11" y="196"/>
                </a:cubicBezTo>
                <a:cubicBezTo>
                  <a:pt x="10" y="197"/>
                  <a:pt x="9" y="198"/>
                  <a:pt x="9" y="199"/>
                </a:cubicBezTo>
                <a:cubicBezTo>
                  <a:pt x="8" y="200"/>
                  <a:pt x="9" y="200"/>
                  <a:pt x="9" y="200"/>
                </a:cubicBezTo>
                <a:cubicBezTo>
                  <a:pt x="9" y="200"/>
                  <a:pt x="8" y="201"/>
                  <a:pt x="7" y="202"/>
                </a:cubicBezTo>
                <a:cubicBezTo>
                  <a:pt x="6" y="203"/>
                  <a:pt x="7" y="204"/>
                  <a:pt x="7" y="204"/>
                </a:cubicBezTo>
                <a:cubicBezTo>
                  <a:pt x="8" y="203"/>
                  <a:pt x="9" y="204"/>
                  <a:pt x="8" y="205"/>
                </a:cubicBezTo>
                <a:cubicBezTo>
                  <a:pt x="8" y="205"/>
                  <a:pt x="9" y="207"/>
                  <a:pt x="11" y="206"/>
                </a:cubicBezTo>
                <a:cubicBezTo>
                  <a:pt x="12" y="205"/>
                  <a:pt x="12" y="207"/>
                  <a:pt x="12" y="207"/>
                </a:cubicBezTo>
                <a:cubicBezTo>
                  <a:pt x="12" y="207"/>
                  <a:pt x="11" y="209"/>
                  <a:pt x="10" y="208"/>
                </a:cubicBezTo>
                <a:cubicBezTo>
                  <a:pt x="9" y="207"/>
                  <a:pt x="8" y="210"/>
                  <a:pt x="8" y="211"/>
                </a:cubicBezTo>
                <a:cubicBezTo>
                  <a:pt x="8" y="212"/>
                  <a:pt x="9" y="212"/>
                  <a:pt x="10" y="211"/>
                </a:cubicBezTo>
                <a:cubicBezTo>
                  <a:pt x="11" y="211"/>
                  <a:pt x="11" y="211"/>
                  <a:pt x="12" y="211"/>
                </a:cubicBezTo>
                <a:cubicBezTo>
                  <a:pt x="12" y="211"/>
                  <a:pt x="12" y="213"/>
                  <a:pt x="10" y="213"/>
                </a:cubicBezTo>
                <a:cubicBezTo>
                  <a:pt x="8" y="214"/>
                  <a:pt x="9" y="215"/>
                  <a:pt x="7" y="214"/>
                </a:cubicBezTo>
                <a:cubicBezTo>
                  <a:pt x="4" y="213"/>
                  <a:pt x="5" y="216"/>
                  <a:pt x="2" y="215"/>
                </a:cubicBezTo>
                <a:cubicBezTo>
                  <a:pt x="0" y="215"/>
                  <a:pt x="0" y="216"/>
                  <a:pt x="0" y="217"/>
                </a:cubicBezTo>
                <a:cubicBezTo>
                  <a:pt x="0" y="218"/>
                  <a:pt x="0" y="219"/>
                  <a:pt x="1" y="221"/>
                </a:cubicBezTo>
                <a:cubicBezTo>
                  <a:pt x="1" y="223"/>
                  <a:pt x="1" y="223"/>
                  <a:pt x="2" y="224"/>
                </a:cubicBezTo>
                <a:cubicBezTo>
                  <a:pt x="3" y="224"/>
                  <a:pt x="4" y="223"/>
                  <a:pt x="4" y="221"/>
                </a:cubicBezTo>
                <a:cubicBezTo>
                  <a:pt x="4" y="219"/>
                  <a:pt x="5" y="220"/>
                  <a:pt x="6" y="219"/>
                </a:cubicBezTo>
                <a:cubicBezTo>
                  <a:pt x="8" y="218"/>
                  <a:pt x="8" y="220"/>
                  <a:pt x="8" y="220"/>
                </a:cubicBezTo>
                <a:cubicBezTo>
                  <a:pt x="8" y="221"/>
                  <a:pt x="8" y="222"/>
                  <a:pt x="7" y="223"/>
                </a:cubicBezTo>
                <a:cubicBezTo>
                  <a:pt x="6" y="223"/>
                  <a:pt x="5" y="224"/>
                  <a:pt x="5" y="226"/>
                </a:cubicBezTo>
                <a:cubicBezTo>
                  <a:pt x="5" y="227"/>
                  <a:pt x="6" y="227"/>
                  <a:pt x="7" y="227"/>
                </a:cubicBezTo>
                <a:cubicBezTo>
                  <a:pt x="8" y="227"/>
                  <a:pt x="8" y="225"/>
                  <a:pt x="9" y="223"/>
                </a:cubicBezTo>
                <a:cubicBezTo>
                  <a:pt x="11" y="221"/>
                  <a:pt x="10" y="225"/>
                  <a:pt x="9" y="226"/>
                </a:cubicBezTo>
                <a:cubicBezTo>
                  <a:pt x="9" y="227"/>
                  <a:pt x="7" y="229"/>
                  <a:pt x="7" y="231"/>
                </a:cubicBezTo>
                <a:cubicBezTo>
                  <a:pt x="6" y="233"/>
                  <a:pt x="8" y="234"/>
                  <a:pt x="11" y="232"/>
                </a:cubicBezTo>
                <a:cubicBezTo>
                  <a:pt x="13" y="231"/>
                  <a:pt x="20" y="231"/>
                  <a:pt x="23" y="232"/>
                </a:cubicBezTo>
                <a:cubicBezTo>
                  <a:pt x="26" y="232"/>
                  <a:pt x="26" y="233"/>
                  <a:pt x="26" y="231"/>
                </a:cubicBezTo>
                <a:cubicBezTo>
                  <a:pt x="26" y="230"/>
                  <a:pt x="26" y="230"/>
                  <a:pt x="26" y="229"/>
                </a:cubicBezTo>
                <a:cubicBezTo>
                  <a:pt x="27" y="228"/>
                  <a:pt x="24" y="229"/>
                  <a:pt x="30" y="228"/>
                </a:cubicBezTo>
                <a:cubicBezTo>
                  <a:pt x="37" y="228"/>
                  <a:pt x="33" y="230"/>
                  <a:pt x="36" y="233"/>
                </a:cubicBezTo>
                <a:cubicBezTo>
                  <a:pt x="38" y="235"/>
                  <a:pt x="36" y="234"/>
                  <a:pt x="37" y="236"/>
                </a:cubicBezTo>
                <a:cubicBezTo>
                  <a:pt x="38" y="238"/>
                  <a:pt x="40" y="239"/>
                  <a:pt x="42" y="238"/>
                </a:cubicBezTo>
                <a:cubicBezTo>
                  <a:pt x="43" y="237"/>
                  <a:pt x="43" y="236"/>
                  <a:pt x="44" y="237"/>
                </a:cubicBezTo>
                <a:cubicBezTo>
                  <a:pt x="46" y="237"/>
                  <a:pt x="45" y="236"/>
                  <a:pt x="48" y="236"/>
                </a:cubicBezTo>
                <a:cubicBezTo>
                  <a:pt x="50" y="236"/>
                  <a:pt x="50" y="236"/>
                  <a:pt x="50" y="238"/>
                </a:cubicBezTo>
                <a:cubicBezTo>
                  <a:pt x="51" y="240"/>
                  <a:pt x="52" y="239"/>
                  <a:pt x="55" y="241"/>
                </a:cubicBezTo>
                <a:cubicBezTo>
                  <a:pt x="57" y="243"/>
                  <a:pt x="53" y="242"/>
                  <a:pt x="51" y="244"/>
                </a:cubicBezTo>
                <a:cubicBezTo>
                  <a:pt x="50" y="246"/>
                  <a:pt x="54" y="246"/>
                  <a:pt x="55" y="245"/>
                </a:cubicBezTo>
                <a:cubicBezTo>
                  <a:pt x="56" y="244"/>
                  <a:pt x="56" y="244"/>
                  <a:pt x="57" y="244"/>
                </a:cubicBezTo>
                <a:cubicBezTo>
                  <a:pt x="57" y="244"/>
                  <a:pt x="56" y="247"/>
                  <a:pt x="57" y="247"/>
                </a:cubicBezTo>
                <a:cubicBezTo>
                  <a:pt x="58" y="248"/>
                  <a:pt x="59" y="248"/>
                  <a:pt x="59" y="246"/>
                </a:cubicBezTo>
                <a:cubicBezTo>
                  <a:pt x="60" y="244"/>
                  <a:pt x="60" y="247"/>
                  <a:pt x="62" y="245"/>
                </a:cubicBezTo>
                <a:cubicBezTo>
                  <a:pt x="64" y="244"/>
                  <a:pt x="64" y="246"/>
                  <a:pt x="65" y="245"/>
                </a:cubicBezTo>
                <a:cubicBezTo>
                  <a:pt x="67" y="244"/>
                  <a:pt x="67" y="246"/>
                  <a:pt x="67" y="246"/>
                </a:cubicBezTo>
                <a:cubicBezTo>
                  <a:pt x="67" y="246"/>
                  <a:pt x="67" y="247"/>
                  <a:pt x="67" y="248"/>
                </a:cubicBezTo>
                <a:cubicBezTo>
                  <a:pt x="67" y="250"/>
                  <a:pt x="69" y="250"/>
                  <a:pt x="70" y="250"/>
                </a:cubicBezTo>
                <a:cubicBezTo>
                  <a:pt x="71" y="249"/>
                  <a:pt x="73" y="250"/>
                  <a:pt x="74" y="248"/>
                </a:cubicBezTo>
                <a:cubicBezTo>
                  <a:pt x="75" y="246"/>
                  <a:pt x="75" y="249"/>
                  <a:pt x="77" y="248"/>
                </a:cubicBezTo>
                <a:cubicBezTo>
                  <a:pt x="78" y="246"/>
                  <a:pt x="78" y="247"/>
                  <a:pt x="79" y="246"/>
                </a:cubicBezTo>
                <a:cubicBezTo>
                  <a:pt x="80" y="246"/>
                  <a:pt x="80" y="248"/>
                  <a:pt x="81" y="248"/>
                </a:cubicBezTo>
                <a:cubicBezTo>
                  <a:pt x="82" y="248"/>
                  <a:pt x="83" y="247"/>
                  <a:pt x="85" y="246"/>
                </a:cubicBezTo>
                <a:cubicBezTo>
                  <a:pt x="87" y="246"/>
                  <a:pt x="87" y="244"/>
                  <a:pt x="90" y="244"/>
                </a:cubicBezTo>
                <a:cubicBezTo>
                  <a:pt x="93" y="243"/>
                  <a:pt x="93" y="242"/>
                  <a:pt x="94" y="241"/>
                </a:cubicBezTo>
                <a:cubicBezTo>
                  <a:pt x="95" y="239"/>
                  <a:pt x="94" y="238"/>
                  <a:pt x="94" y="236"/>
                </a:cubicBezTo>
                <a:cubicBezTo>
                  <a:pt x="95" y="234"/>
                  <a:pt x="96" y="234"/>
                  <a:pt x="99" y="232"/>
                </a:cubicBezTo>
                <a:cubicBezTo>
                  <a:pt x="102" y="230"/>
                  <a:pt x="104" y="230"/>
                  <a:pt x="105" y="230"/>
                </a:cubicBezTo>
                <a:cubicBezTo>
                  <a:pt x="105" y="229"/>
                  <a:pt x="106" y="228"/>
                  <a:pt x="106" y="226"/>
                </a:cubicBezTo>
                <a:cubicBezTo>
                  <a:pt x="107" y="224"/>
                  <a:pt x="107" y="224"/>
                  <a:pt x="108" y="222"/>
                </a:cubicBezTo>
                <a:cubicBezTo>
                  <a:pt x="109" y="220"/>
                  <a:pt x="109" y="220"/>
                  <a:pt x="111" y="218"/>
                </a:cubicBezTo>
                <a:cubicBezTo>
                  <a:pt x="113" y="217"/>
                  <a:pt x="114" y="217"/>
                  <a:pt x="117" y="215"/>
                </a:cubicBezTo>
                <a:cubicBezTo>
                  <a:pt x="119" y="214"/>
                  <a:pt x="119" y="213"/>
                  <a:pt x="118" y="212"/>
                </a:cubicBezTo>
                <a:cubicBezTo>
                  <a:pt x="117" y="211"/>
                  <a:pt x="116" y="212"/>
                  <a:pt x="116" y="209"/>
                </a:cubicBezTo>
                <a:cubicBezTo>
                  <a:pt x="115" y="205"/>
                  <a:pt x="117" y="206"/>
                  <a:pt x="119" y="204"/>
                </a:cubicBezTo>
                <a:cubicBezTo>
                  <a:pt x="121" y="203"/>
                  <a:pt x="121" y="203"/>
                  <a:pt x="122" y="201"/>
                </a:cubicBezTo>
                <a:cubicBezTo>
                  <a:pt x="123" y="199"/>
                  <a:pt x="122" y="199"/>
                  <a:pt x="124" y="198"/>
                </a:cubicBezTo>
                <a:cubicBezTo>
                  <a:pt x="127" y="197"/>
                  <a:pt x="124" y="195"/>
                  <a:pt x="124" y="191"/>
                </a:cubicBezTo>
                <a:cubicBezTo>
                  <a:pt x="124" y="187"/>
                  <a:pt x="125" y="189"/>
                  <a:pt x="127" y="187"/>
                </a:cubicBezTo>
                <a:cubicBezTo>
                  <a:pt x="129" y="185"/>
                  <a:pt x="129" y="186"/>
                  <a:pt x="131" y="183"/>
                </a:cubicBezTo>
                <a:cubicBezTo>
                  <a:pt x="133" y="180"/>
                  <a:pt x="132" y="179"/>
                  <a:pt x="133" y="176"/>
                </a:cubicBezTo>
                <a:cubicBezTo>
                  <a:pt x="134" y="172"/>
                  <a:pt x="133" y="170"/>
                  <a:pt x="132" y="168"/>
                </a:cubicBezTo>
                <a:cubicBezTo>
                  <a:pt x="132" y="166"/>
                  <a:pt x="131" y="166"/>
                  <a:pt x="132" y="164"/>
                </a:cubicBezTo>
                <a:cubicBezTo>
                  <a:pt x="134" y="162"/>
                  <a:pt x="135" y="162"/>
                  <a:pt x="136" y="159"/>
                </a:cubicBezTo>
                <a:cubicBezTo>
                  <a:pt x="138" y="156"/>
                  <a:pt x="136" y="157"/>
                  <a:pt x="137" y="153"/>
                </a:cubicBezTo>
                <a:cubicBezTo>
                  <a:pt x="138" y="149"/>
                  <a:pt x="141" y="151"/>
                  <a:pt x="144" y="148"/>
                </a:cubicBezTo>
                <a:cubicBezTo>
                  <a:pt x="147" y="146"/>
                  <a:pt x="149" y="145"/>
                  <a:pt x="152" y="143"/>
                </a:cubicBezTo>
                <a:cubicBezTo>
                  <a:pt x="155" y="141"/>
                  <a:pt x="158" y="140"/>
                  <a:pt x="159" y="139"/>
                </a:cubicBezTo>
                <a:cubicBezTo>
                  <a:pt x="160" y="139"/>
                  <a:pt x="165" y="138"/>
                  <a:pt x="167" y="136"/>
                </a:cubicBezTo>
                <a:cubicBezTo>
                  <a:pt x="169" y="134"/>
                  <a:pt x="167" y="135"/>
                  <a:pt x="167" y="133"/>
                </a:cubicBezTo>
                <a:cubicBezTo>
                  <a:pt x="167" y="130"/>
                  <a:pt x="169" y="131"/>
                  <a:pt x="170" y="131"/>
                </a:cubicBezTo>
                <a:cubicBezTo>
                  <a:pt x="171" y="130"/>
                  <a:pt x="172" y="132"/>
                  <a:pt x="173" y="131"/>
                </a:cubicBezTo>
                <a:cubicBezTo>
                  <a:pt x="173" y="130"/>
                  <a:pt x="174" y="133"/>
                  <a:pt x="174" y="134"/>
                </a:cubicBezTo>
                <a:cubicBezTo>
                  <a:pt x="174" y="134"/>
                  <a:pt x="171" y="134"/>
                  <a:pt x="170" y="134"/>
                </a:cubicBezTo>
                <a:cubicBezTo>
                  <a:pt x="168" y="134"/>
                  <a:pt x="171" y="135"/>
                  <a:pt x="171" y="135"/>
                </a:cubicBezTo>
                <a:cubicBezTo>
                  <a:pt x="172" y="135"/>
                  <a:pt x="173" y="135"/>
                  <a:pt x="175" y="135"/>
                </a:cubicBezTo>
                <a:cubicBezTo>
                  <a:pt x="177" y="134"/>
                  <a:pt x="177" y="134"/>
                  <a:pt x="178" y="134"/>
                </a:cubicBezTo>
                <a:cubicBezTo>
                  <a:pt x="179" y="134"/>
                  <a:pt x="179" y="136"/>
                  <a:pt x="180" y="137"/>
                </a:cubicBezTo>
                <a:cubicBezTo>
                  <a:pt x="181" y="137"/>
                  <a:pt x="182" y="140"/>
                  <a:pt x="183" y="139"/>
                </a:cubicBezTo>
                <a:cubicBezTo>
                  <a:pt x="185" y="139"/>
                  <a:pt x="183" y="138"/>
                  <a:pt x="183" y="136"/>
                </a:cubicBezTo>
                <a:cubicBezTo>
                  <a:pt x="183" y="134"/>
                  <a:pt x="183" y="134"/>
                  <a:pt x="184" y="132"/>
                </a:cubicBezTo>
                <a:cubicBezTo>
                  <a:pt x="185" y="130"/>
                  <a:pt x="185" y="135"/>
                  <a:pt x="185" y="135"/>
                </a:cubicBezTo>
                <a:cubicBezTo>
                  <a:pt x="185" y="135"/>
                  <a:pt x="185" y="137"/>
                  <a:pt x="186" y="137"/>
                </a:cubicBezTo>
                <a:cubicBezTo>
                  <a:pt x="187" y="138"/>
                  <a:pt x="188" y="137"/>
                  <a:pt x="189" y="136"/>
                </a:cubicBezTo>
                <a:cubicBezTo>
                  <a:pt x="190" y="135"/>
                  <a:pt x="190" y="133"/>
                  <a:pt x="190" y="131"/>
                </a:cubicBezTo>
                <a:cubicBezTo>
                  <a:pt x="189" y="129"/>
                  <a:pt x="189" y="130"/>
                  <a:pt x="187" y="129"/>
                </a:cubicBezTo>
                <a:cubicBezTo>
                  <a:pt x="185" y="129"/>
                  <a:pt x="185" y="128"/>
                  <a:pt x="184" y="127"/>
                </a:cubicBezTo>
                <a:cubicBezTo>
                  <a:pt x="183" y="126"/>
                  <a:pt x="183" y="127"/>
                  <a:pt x="182" y="127"/>
                </a:cubicBezTo>
                <a:cubicBezTo>
                  <a:pt x="181" y="126"/>
                  <a:pt x="179" y="127"/>
                  <a:pt x="177" y="126"/>
                </a:cubicBezTo>
                <a:cubicBezTo>
                  <a:pt x="175" y="126"/>
                  <a:pt x="178" y="126"/>
                  <a:pt x="179" y="125"/>
                </a:cubicBezTo>
                <a:cubicBezTo>
                  <a:pt x="181" y="125"/>
                  <a:pt x="181" y="123"/>
                  <a:pt x="180" y="123"/>
                </a:cubicBezTo>
                <a:cubicBezTo>
                  <a:pt x="179" y="122"/>
                  <a:pt x="179" y="121"/>
                  <a:pt x="177" y="119"/>
                </a:cubicBezTo>
                <a:cubicBezTo>
                  <a:pt x="176" y="117"/>
                  <a:pt x="177" y="117"/>
                  <a:pt x="178" y="115"/>
                </a:cubicBezTo>
                <a:cubicBezTo>
                  <a:pt x="179" y="114"/>
                  <a:pt x="180" y="113"/>
                  <a:pt x="179" y="111"/>
                </a:cubicBezTo>
                <a:cubicBezTo>
                  <a:pt x="179" y="109"/>
                  <a:pt x="180" y="111"/>
                  <a:pt x="181" y="109"/>
                </a:cubicBezTo>
                <a:cubicBezTo>
                  <a:pt x="183" y="108"/>
                  <a:pt x="184" y="109"/>
                  <a:pt x="185" y="107"/>
                </a:cubicBezTo>
                <a:cubicBezTo>
                  <a:pt x="186" y="105"/>
                  <a:pt x="187" y="106"/>
                  <a:pt x="188" y="104"/>
                </a:cubicBezTo>
                <a:cubicBezTo>
                  <a:pt x="189" y="103"/>
                  <a:pt x="190" y="103"/>
                  <a:pt x="191" y="101"/>
                </a:cubicBezTo>
                <a:cubicBezTo>
                  <a:pt x="193" y="98"/>
                  <a:pt x="193" y="100"/>
                  <a:pt x="195" y="99"/>
                </a:cubicBezTo>
                <a:cubicBezTo>
                  <a:pt x="197" y="98"/>
                  <a:pt x="196" y="98"/>
                  <a:pt x="197" y="96"/>
                </a:cubicBezTo>
                <a:cubicBezTo>
                  <a:pt x="197" y="94"/>
                  <a:pt x="198" y="92"/>
                  <a:pt x="199" y="91"/>
                </a:cubicBezTo>
                <a:cubicBezTo>
                  <a:pt x="200" y="89"/>
                  <a:pt x="202" y="86"/>
                  <a:pt x="202" y="84"/>
                </a:cubicBezTo>
                <a:cubicBezTo>
                  <a:pt x="203" y="82"/>
                  <a:pt x="203" y="82"/>
                  <a:pt x="204" y="80"/>
                </a:cubicBezTo>
                <a:cubicBezTo>
                  <a:pt x="205" y="79"/>
                  <a:pt x="205" y="79"/>
                  <a:pt x="208" y="79"/>
                </a:cubicBezTo>
                <a:cubicBezTo>
                  <a:pt x="210" y="79"/>
                  <a:pt x="209" y="79"/>
                  <a:pt x="209" y="77"/>
                </a:cubicBezTo>
                <a:cubicBezTo>
                  <a:pt x="210" y="76"/>
                  <a:pt x="210" y="76"/>
                  <a:pt x="210" y="74"/>
                </a:cubicBezTo>
                <a:cubicBezTo>
                  <a:pt x="210" y="72"/>
                  <a:pt x="211" y="73"/>
                  <a:pt x="212" y="72"/>
                </a:cubicBezTo>
                <a:cubicBezTo>
                  <a:pt x="214" y="71"/>
                  <a:pt x="215" y="71"/>
                  <a:pt x="216" y="70"/>
                </a:cubicBezTo>
                <a:cubicBezTo>
                  <a:pt x="217" y="69"/>
                  <a:pt x="216" y="69"/>
                  <a:pt x="216" y="66"/>
                </a:cubicBezTo>
                <a:cubicBezTo>
                  <a:pt x="215" y="64"/>
                  <a:pt x="218" y="63"/>
                  <a:pt x="221" y="59"/>
                </a:cubicBezTo>
                <a:cubicBezTo>
                  <a:pt x="224" y="55"/>
                  <a:pt x="224" y="56"/>
                  <a:pt x="226" y="52"/>
                </a:cubicBezTo>
                <a:cubicBezTo>
                  <a:pt x="226" y="52"/>
                  <a:pt x="225" y="50"/>
                  <a:pt x="224" y="48"/>
                </a:cubicBezTo>
                <a:cubicBezTo>
                  <a:pt x="223" y="47"/>
                  <a:pt x="223" y="46"/>
                  <a:pt x="223" y="44"/>
                </a:cubicBezTo>
                <a:cubicBezTo>
                  <a:pt x="222" y="42"/>
                  <a:pt x="221" y="42"/>
                  <a:pt x="220" y="39"/>
                </a:cubicBezTo>
                <a:cubicBezTo>
                  <a:pt x="219" y="37"/>
                  <a:pt x="221" y="38"/>
                  <a:pt x="221" y="36"/>
                </a:cubicBezTo>
                <a:cubicBezTo>
                  <a:pt x="221" y="33"/>
                  <a:pt x="222" y="36"/>
                  <a:pt x="223" y="35"/>
                </a:cubicBezTo>
                <a:cubicBezTo>
                  <a:pt x="224" y="35"/>
                  <a:pt x="227" y="34"/>
                  <a:pt x="229" y="33"/>
                </a:cubicBezTo>
                <a:cubicBezTo>
                  <a:pt x="230" y="31"/>
                  <a:pt x="228" y="32"/>
                  <a:pt x="227" y="31"/>
                </a:cubicBezTo>
                <a:close/>
                <a:moveTo>
                  <a:pt x="35" y="205"/>
                </a:moveTo>
                <a:cubicBezTo>
                  <a:pt x="34" y="206"/>
                  <a:pt x="33" y="206"/>
                  <a:pt x="32" y="205"/>
                </a:cubicBezTo>
                <a:cubicBezTo>
                  <a:pt x="31" y="203"/>
                  <a:pt x="31" y="205"/>
                  <a:pt x="29" y="205"/>
                </a:cubicBezTo>
                <a:cubicBezTo>
                  <a:pt x="28" y="206"/>
                  <a:pt x="26" y="205"/>
                  <a:pt x="24" y="202"/>
                </a:cubicBezTo>
                <a:cubicBezTo>
                  <a:pt x="22" y="200"/>
                  <a:pt x="25" y="201"/>
                  <a:pt x="26" y="201"/>
                </a:cubicBezTo>
                <a:cubicBezTo>
                  <a:pt x="26" y="201"/>
                  <a:pt x="27" y="202"/>
                  <a:pt x="28" y="202"/>
                </a:cubicBezTo>
                <a:cubicBezTo>
                  <a:pt x="30" y="201"/>
                  <a:pt x="30" y="201"/>
                  <a:pt x="32" y="201"/>
                </a:cubicBezTo>
                <a:cubicBezTo>
                  <a:pt x="32" y="201"/>
                  <a:pt x="34" y="202"/>
                  <a:pt x="35" y="202"/>
                </a:cubicBezTo>
                <a:cubicBezTo>
                  <a:pt x="36" y="203"/>
                  <a:pt x="35" y="204"/>
                  <a:pt x="35" y="205"/>
                </a:cubicBezTo>
                <a:close/>
                <a:moveTo>
                  <a:pt x="40" y="182"/>
                </a:moveTo>
                <a:cubicBezTo>
                  <a:pt x="40" y="183"/>
                  <a:pt x="40" y="184"/>
                  <a:pt x="39" y="186"/>
                </a:cubicBezTo>
                <a:cubicBezTo>
                  <a:pt x="39" y="187"/>
                  <a:pt x="39" y="188"/>
                  <a:pt x="38" y="189"/>
                </a:cubicBezTo>
                <a:cubicBezTo>
                  <a:pt x="38" y="190"/>
                  <a:pt x="39" y="191"/>
                  <a:pt x="39" y="192"/>
                </a:cubicBezTo>
                <a:cubicBezTo>
                  <a:pt x="39" y="194"/>
                  <a:pt x="39" y="196"/>
                  <a:pt x="38" y="197"/>
                </a:cubicBezTo>
                <a:cubicBezTo>
                  <a:pt x="37" y="198"/>
                  <a:pt x="37" y="198"/>
                  <a:pt x="34" y="197"/>
                </a:cubicBezTo>
                <a:cubicBezTo>
                  <a:pt x="32" y="197"/>
                  <a:pt x="31" y="197"/>
                  <a:pt x="29" y="195"/>
                </a:cubicBezTo>
                <a:cubicBezTo>
                  <a:pt x="27" y="194"/>
                  <a:pt x="30" y="194"/>
                  <a:pt x="31" y="194"/>
                </a:cubicBezTo>
                <a:cubicBezTo>
                  <a:pt x="32" y="194"/>
                  <a:pt x="32" y="195"/>
                  <a:pt x="34" y="196"/>
                </a:cubicBezTo>
                <a:cubicBezTo>
                  <a:pt x="35" y="197"/>
                  <a:pt x="34" y="196"/>
                  <a:pt x="36" y="195"/>
                </a:cubicBezTo>
                <a:cubicBezTo>
                  <a:pt x="37" y="194"/>
                  <a:pt x="36" y="193"/>
                  <a:pt x="35" y="191"/>
                </a:cubicBezTo>
                <a:cubicBezTo>
                  <a:pt x="34" y="190"/>
                  <a:pt x="34" y="191"/>
                  <a:pt x="32" y="190"/>
                </a:cubicBezTo>
                <a:cubicBezTo>
                  <a:pt x="31" y="189"/>
                  <a:pt x="30" y="189"/>
                  <a:pt x="31" y="186"/>
                </a:cubicBezTo>
                <a:cubicBezTo>
                  <a:pt x="31" y="183"/>
                  <a:pt x="31" y="186"/>
                  <a:pt x="32" y="187"/>
                </a:cubicBezTo>
                <a:cubicBezTo>
                  <a:pt x="33" y="187"/>
                  <a:pt x="33" y="188"/>
                  <a:pt x="34" y="188"/>
                </a:cubicBezTo>
                <a:cubicBezTo>
                  <a:pt x="35" y="188"/>
                  <a:pt x="36" y="188"/>
                  <a:pt x="35" y="186"/>
                </a:cubicBezTo>
                <a:cubicBezTo>
                  <a:pt x="34" y="185"/>
                  <a:pt x="35" y="184"/>
                  <a:pt x="37" y="185"/>
                </a:cubicBezTo>
                <a:cubicBezTo>
                  <a:pt x="37" y="185"/>
                  <a:pt x="37" y="183"/>
                  <a:pt x="37" y="182"/>
                </a:cubicBezTo>
                <a:cubicBezTo>
                  <a:pt x="37" y="180"/>
                  <a:pt x="38" y="180"/>
                  <a:pt x="40" y="179"/>
                </a:cubicBezTo>
                <a:cubicBezTo>
                  <a:pt x="42" y="178"/>
                  <a:pt x="41" y="180"/>
                  <a:pt x="40" y="182"/>
                </a:cubicBezTo>
                <a:close/>
                <a:moveTo>
                  <a:pt x="65" y="192"/>
                </a:moveTo>
                <a:cubicBezTo>
                  <a:pt x="63" y="192"/>
                  <a:pt x="64" y="190"/>
                  <a:pt x="64" y="188"/>
                </a:cubicBezTo>
                <a:cubicBezTo>
                  <a:pt x="64" y="186"/>
                  <a:pt x="64" y="186"/>
                  <a:pt x="62" y="185"/>
                </a:cubicBezTo>
                <a:cubicBezTo>
                  <a:pt x="60" y="184"/>
                  <a:pt x="60" y="185"/>
                  <a:pt x="57" y="185"/>
                </a:cubicBezTo>
                <a:cubicBezTo>
                  <a:pt x="54" y="185"/>
                  <a:pt x="55" y="183"/>
                  <a:pt x="54" y="181"/>
                </a:cubicBezTo>
                <a:cubicBezTo>
                  <a:pt x="52" y="179"/>
                  <a:pt x="51" y="178"/>
                  <a:pt x="53" y="176"/>
                </a:cubicBezTo>
                <a:cubicBezTo>
                  <a:pt x="55" y="174"/>
                  <a:pt x="55" y="178"/>
                  <a:pt x="55" y="179"/>
                </a:cubicBezTo>
                <a:cubicBezTo>
                  <a:pt x="55" y="180"/>
                  <a:pt x="57" y="181"/>
                  <a:pt x="58" y="181"/>
                </a:cubicBezTo>
                <a:cubicBezTo>
                  <a:pt x="58" y="182"/>
                  <a:pt x="59" y="182"/>
                  <a:pt x="61" y="181"/>
                </a:cubicBezTo>
                <a:cubicBezTo>
                  <a:pt x="63" y="181"/>
                  <a:pt x="63" y="182"/>
                  <a:pt x="64" y="182"/>
                </a:cubicBezTo>
                <a:cubicBezTo>
                  <a:pt x="65" y="183"/>
                  <a:pt x="65" y="184"/>
                  <a:pt x="66" y="185"/>
                </a:cubicBezTo>
                <a:cubicBezTo>
                  <a:pt x="66" y="185"/>
                  <a:pt x="67" y="188"/>
                  <a:pt x="67" y="190"/>
                </a:cubicBezTo>
                <a:cubicBezTo>
                  <a:pt x="67" y="191"/>
                  <a:pt x="67" y="192"/>
                  <a:pt x="65" y="192"/>
                </a:cubicBezTo>
                <a:close/>
                <a:moveTo>
                  <a:pt x="76" y="168"/>
                </a:moveTo>
                <a:cubicBezTo>
                  <a:pt x="75" y="169"/>
                  <a:pt x="73" y="168"/>
                  <a:pt x="71" y="166"/>
                </a:cubicBezTo>
                <a:cubicBezTo>
                  <a:pt x="70" y="164"/>
                  <a:pt x="72" y="164"/>
                  <a:pt x="73" y="162"/>
                </a:cubicBezTo>
                <a:cubicBezTo>
                  <a:pt x="74" y="160"/>
                  <a:pt x="73" y="161"/>
                  <a:pt x="73" y="158"/>
                </a:cubicBezTo>
                <a:cubicBezTo>
                  <a:pt x="73" y="155"/>
                  <a:pt x="74" y="154"/>
                  <a:pt x="75" y="154"/>
                </a:cubicBezTo>
                <a:cubicBezTo>
                  <a:pt x="76" y="154"/>
                  <a:pt x="76" y="155"/>
                  <a:pt x="76" y="155"/>
                </a:cubicBezTo>
                <a:cubicBezTo>
                  <a:pt x="76" y="155"/>
                  <a:pt x="75" y="156"/>
                  <a:pt x="76" y="158"/>
                </a:cubicBezTo>
                <a:cubicBezTo>
                  <a:pt x="76" y="159"/>
                  <a:pt x="76" y="160"/>
                  <a:pt x="75" y="161"/>
                </a:cubicBezTo>
                <a:cubicBezTo>
                  <a:pt x="75" y="162"/>
                  <a:pt x="74" y="164"/>
                  <a:pt x="74" y="165"/>
                </a:cubicBezTo>
                <a:cubicBezTo>
                  <a:pt x="74" y="166"/>
                  <a:pt x="75" y="165"/>
                  <a:pt x="76" y="165"/>
                </a:cubicBezTo>
                <a:cubicBezTo>
                  <a:pt x="77" y="164"/>
                  <a:pt x="76" y="167"/>
                  <a:pt x="76" y="168"/>
                </a:cubicBezTo>
                <a:close/>
                <a:moveTo>
                  <a:pt x="83" y="158"/>
                </a:moveTo>
                <a:cubicBezTo>
                  <a:pt x="82" y="159"/>
                  <a:pt x="81" y="160"/>
                  <a:pt x="80" y="162"/>
                </a:cubicBezTo>
                <a:cubicBezTo>
                  <a:pt x="80" y="164"/>
                  <a:pt x="80" y="164"/>
                  <a:pt x="79" y="165"/>
                </a:cubicBezTo>
                <a:cubicBezTo>
                  <a:pt x="78" y="167"/>
                  <a:pt x="78" y="161"/>
                  <a:pt x="78" y="160"/>
                </a:cubicBezTo>
                <a:cubicBezTo>
                  <a:pt x="78" y="160"/>
                  <a:pt x="79" y="158"/>
                  <a:pt x="80" y="157"/>
                </a:cubicBezTo>
                <a:cubicBezTo>
                  <a:pt x="81" y="156"/>
                  <a:pt x="81" y="154"/>
                  <a:pt x="83" y="154"/>
                </a:cubicBezTo>
                <a:cubicBezTo>
                  <a:pt x="83" y="154"/>
                  <a:pt x="83" y="157"/>
                  <a:pt x="83" y="158"/>
                </a:cubicBezTo>
                <a:close/>
                <a:moveTo>
                  <a:pt x="106" y="142"/>
                </a:moveTo>
                <a:cubicBezTo>
                  <a:pt x="106" y="144"/>
                  <a:pt x="106" y="145"/>
                  <a:pt x="106" y="147"/>
                </a:cubicBezTo>
                <a:cubicBezTo>
                  <a:pt x="106" y="148"/>
                  <a:pt x="106" y="150"/>
                  <a:pt x="106" y="151"/>
                </a:cubicBezTo>
                <a:cubicBezTo>
                  <a:pt x="105" y="151"/>
                  <a:pt x="104" y="150"/>
                  <a:pt x="104" y="149"/>
                </a:cubicBezTo>
                <a:cubicBezTo>
                  <a:pt x="103" y="148"/>
                  <a:pt x="103" y="147"/>
                  <a:pt x="104" y="146"/>
                </a:cubicBezTo>
                <a:cubicBezTo>
                  <a:pt x="104" y="145"/>
                  <a:pt x="104" y="144"/>
                  <a:pt x="103" y="142"/>
                </a:cubicBezTo>
                <a:cubicBezTo>
                  <a:pt x="103" y="140"/>
                  <a:pt x="102" y="137"/>
                  <a:pt x="103" y="137"/>
                </a:cubicBezTo>
                <a:cubicBezTo>
                  <a:pt x="103" y="137"/>
                  <a:pt x="105" y="135"/>
                  <a:pt x="106" y="137"/>
                </a:cubicBezTo>
                <a:cubicBezTo>
                  <a:pt x="106" y="138"/>
                  <a:pt x="107" y="141"/>
                  <a:pt x="106" y="14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85" name="Freeform 734"/>
          <p:cNvSpPr>
            <a:spLocks/>
          </p:cNvSpPr>
          <p:nvPr userDrawn="1"/>
        </p:nvSpPr>
        <p:spPr bwMode="auto">
          <a:xfrm>
            <a:off x="9442201" y="6416750"/>
            <a:ext cx="6700" cy="5025"/>
          </a:xfrm>
          <a:custGeom>
            <a:avLst/>
            <a:gdLst>
              <a:gd name="T0" fmla="*/ 2147483646 w 7"/>
              <a:gd name="T1" fmla="*/ 2147483646 h 6"/>
              <a:gd name="T2" fmla="*/ 2147483646 w 7"/>
              <a:gd name="T3" fmla="*/ 2147483646 h 6"/>
              <a:gd name="T4" fmla="*/ 2147483646 w 7"/>
              <a:gd name="T5" fmla="*/ 2147483646 h 6"/>
              <a:gd name="T6" fmla="*/ 2147483646 w 7"/>
              <a:gd name="T7" fmla="*/ 2147483646 h 6"/>
              <a:gd name="T8" fmla="*/ 2147483646 w 7"/>
              <a:gd name="T9" fmla="*/ 2147483646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6"/>
              <a:gd name="T17" fmla="*/ 7 w 7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6">
                <a:moveTo>
                  <a:pt x="4" y="1"/>
                </a:moveTo>
                <a:cubicBezTo>
                  <a:pt x="2" y="2"/>
                  <a:pt x="0" y="1"/>
                  <a:pt x="1" y="3"/>
                </a:cubicBezTo>
                <a:cubicBezTo>
                  <a:pt x="2" y="6"/>
                  <a:pt x="3" y="6"/>
                  <a:pt x="5" y="6"/>
                </a:cubicBezTo>
                <a:cubicBezTo>
                  <a:pt x="6" y="6"/>
                  <a:pt x="7" y="4"/>
                  <a:pt x="7" y="3"/>
                </a:cubicBezTo>
                <a:cubicBezTo>
                  <a:pt x="7" y="2"/>
                  <a:pt x="5" y="0"/>
                  <a:pt x="4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86" name="Freeform 735"/>
          <p:cNvSpPr>
            <a:spLocks/>
          </p:cNvSpPr>
          <p:nvPr userDrawn="1"/>
        </p:nvSpPr>
        <p:spPr bwMode="auto">
          <a:xfrm>
            <a:off x="9469001" y="6455276"/>
            <a:ext cx="21776" cy="25125"/>
          </a:xfrm>
          <a:custGeom>
            <a:avLst/>
            <a:gdLst>
              <a:gd name="T0" fmla="*/ 2147483646 w 23"/>
              <a:gd name="T1" fmla="*/ 2147483646 h 26"/>
              <a:gd name="T2" fmla="*/ 2147483646 w 23"/>
              <a:gd name="T3" fmla="*/ 2147483646 h 26"/>
              <a:gd name="T4" fmla="*/ 2147483646 w 23"/>
              <a:gd name="T5" fmla="*/ 2147483646 h 26"/>
              <a:gd name="T6" fmla="*/ 2147483646 w 23"/>
              <a:gd name="T7" fmla="*/ 2147483646 h 26"/>
              <a:gd name="T8" fmla="*/ 2147483646 w 23"/>
              <a:gd name="T9" fmla="*/ 2147483646 h 26"/>
              <a:gd name="T10" fmla="*/ 2147483646 w 23"/>
              <a:gd name="T11" fmla="*/ 2147483646 h 26"/>
              <a:gd name="T12" fmla="*/ 2147483646 w 23"/>
              <a:gd name="T13" fmla="*/ 2147483646 h 26"/>
              <a:gd name="T14" fmla="*/ 2147483646 w 23"/>
              <a:gd name="T15" fmla="*/ 2147483646 h 26"/>
              <a:gd name="T16" fmla="*/ 2147483646 w 23"/>
              <a:gd name="T17" fmla="*/ 2147483646 h 26"/>
              <a:gd name="T18" fmla="*/ 2147483646 w 23"/>
              <a:gd name="T19" fmla="*/ 2147483646 h 26"/>
              <a:gd name="T20" fmla="*/ 2147483646 w 23"/>
              <a:gd name="T21" fmla="*/ 2147483646 h 26"/>
              <a:gd name="T22" fmla="*/ 2147483646 w 23"/>
              <a:gd name="T23" fmla="*/ 2147483646 h 26"/>
              <a:gd name="T24" fmla="*/ 2147483646 w 23"/>
              <a:gd name="T25" fmla="*/ 2147483646 h 26"/>
              <a:gd name="T26" fmla="*/ 2147483646 w 23"/>
              <a:gd name="T27" fmla="*/ 2147483646 h 26"/>
              <a:gd name="T28" fmla="*/ 2147483646 w 23"/>
              <a:gd name="T29" fmla="*/ 2147483646 h 26"/>
              <a:gd name="T30" fmla="*/ 2147483646 w 23"/>
              <a:gd name="T31" fmla="*/ 2147483646 h 26"/>
              <a:gd name="T32" fmla="*/ 2147483646 w 23"/>
              <a:gd name="T33" fmla="*/ 2147483646 h 26"/>
              <a:gd name="T34" fmla="*/ 2147483646 w 23"/>
              <a:gd name="T35" fmla="*/ 2147483646 h 26"/>
              <a:gd name="T36" fmla="*/ 2147483646 w 23"/>
              <a:gd name="T37" fmla="*/ 2147483646 h 26"/>
              <a:gd name="T38" fmla="*/ 2147483646 w 23"/>
              <a:gd name="T39" fmla="*/ 2147483646 h 26"/>
              <a:gd name="T40" fmla="*/ 2147483646 w 23"/>
              <a:gd name="T41" fmla="*/ 2147483646 h 26"/>
              <a:gd name="T42" fmla="*/ 2147483646 w 23"/>
              <a:gd name="T43" fmla="*/ 2147483646 h 26"/>
              <a:gd name="T44" fmla="*/ 2147483646 w 23"/>
              <a:gd name="T45" fmla="*/ 2147483646 h 26"/>
              <a:gd name="T46" fmla="*/ 2147483646 w 23"/>
              <a:gd name="T47" fmla="*/ 2147483646 h 26"/>
              <a:gd name="T48" fmla="*/ 2147483646 w 23"/>
              <a:gd name="T49" fmla="*/ 2147483646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3"/>
              <a:gd name="T76" fmla="*/ 0 h 26"/>
              <a:gd name="T77" fmla="*/ 23 w 23"/>
              <a:gd name="T78" fmla="*/ 26 h 2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3" h="26">
                <a:moveTo>
                  <a:pt x="12" y="2"/>
                </a:moveTo>
                <a:cubicBezTo>
                  <a:pt x="10" y="2"/>
                  <a:pt x="9" y="1"/>
                  <a:pt x="8" y="2"/>
                </a:cubicBezTo>
                <a:cubicBezTo>
                  <a:pt x="7" y="3"/>
                  <a:pt x="6" y="3"/>
                  <a:pt x="7" y="5"/>
                </a:cubicBezTo>
                <a:cubicBezTo>
                  <a:pt x="9" y="8"/>
                  <a:pt x="9" y="8"/>
                  <a:pt x="10" y="10"/>
                </a:cubicBezTo>
                <a:cubicBezTo>
                  <a:pt x="10" y="13"/>
                  <a:pt x="11" y="13"/>
                  <a:pt x="9" y="14"/>
                </a:cubicBezTo>
                <a:cubicBezTo>
                  <a:pt x="8" y="14"/>
                  <a:pt x="6" y="12"/>
                  <a:pt x="7" y="14"/>
                </a:cubicBezTo>
                <a:cubicBezTo>
                  <a:pt x="8" y="16"/>
                  <a:pt x="9" y="15"/>
                  <a:pt x="7" y="16"/>
                </a:cubicBezTo>
                <a:cubicBezTo>
                  <a:pt x="6" y="17"/>
                  <a:pt x="5" y="17"/>
                  <a:pt x="4" y="17"/>
                </a:cubicBezTo>
                <a:cubicBezTo>
                  <a:pt x="4" y="17"/>
                  <a:pt x="1" y="18"/>
                  <a:pt x="3" y="20"/>
                </a:cubicBezTo>
                <a:cubicBezTo>
                  <a:pt x="4" y="22"/>
                  <a:pt x="5" y="23"/>
                  <a:pt x="4" y="24"/>
                </a:cubicBezTo>
                <a:cubicBezTo>
                  <a:pt x="2" y="26"/>
                  <a:pt x="0" y="26"/>
                  <a:pt x="3" y="26"/>
                </a:cubicBezTo>
                <a:cubicBezTo>
                  <a:pt x="5" y="26"/>
                  <a:pt x="7" y="26"/>
                  <a:pt x="7" y="25"/>
                </a:cubicBezTo>
                <a:cubicBezTo>
                  <a:pt x="7" y="25"/>
                  <a:pt x="6" y="22"/>
                  <a:pt x="7" y="22"/>
                </a:cubicBezTo>
                <a:cubicBezTo>
                  <a:pt x="9" y="21"/>
                  <a:pt x="8" y="19"/>
                  <a:pt x="11" y="20"/>
                </a:cubicBezTo>
                <a:cubicBezTo>
                  <a:pt x="13" y="22"/>
                  <a:pt x="12" y="22"/>
                  <a:pt x="16" y="20"/>
                </a:cubicBezTo>
                <a:cubicBezTo>
                  <a:pt x="20" y="19"/>
                  <a:pt x="23" y="18"/>
                  <a:pt x="22" y="16"/>
                </a:cubicBezTo>
                <a:cubicBezTo>
                  <a:pt x="22" y="14"/>
                  <a:pt x="22" y="12"/>
                  <a:pt x="21" y="12"/>
                </a:cubicBezTo>
                <a:cubicBezTo>
                  <a:pt x="20" y="12"/>
                  <a:pt x="21" y="10"/>
                  <a:pt x="19" y="12"/>
                </a:cubicBezTo>
                <a:cubicBezTo>
                  <a:pt x="18" y="14"/>
                  <a:pt x="17" y="13"/>
                  <a:pt x="16" y="12"/>
                </a:cubicBezTo>
                <a:cubicBezTo>
                  <a:pt x="15" y="12"/>
                  <a:pt x="14" y="8"/>
                  <a:pt x="16" y="9"/>
                </a:cubicBezTo>
                <a:cubicBezTo>
                  <a:pt x="18" y="10"/>
                  <a:pt x="20" y="10"/>
                  <a:pt x="21" y="10"/>
                </a:cubicBezTo>
                <a:cubicBezTo>
                  <a:pt x="21" y="9"/>
                  <a:pt x="21" y="8"/>
                  <a:pt x="19" y="7"/>
                </a:cubicBezTo>
                <a:cubicBezTo>
                  <a:pt x="17" y="6"/>
                  <a:pt x="16" y="5"/>
                  <a:pt x="15" y="3"/>
                </a:cubicBezTo>
                <a:cubicBezTo>
                  <a:pt x="14" y="2"/>
                  <a:pt x="14" y="0"/>
                  <a:pt x="13" y="1"/>
                </a:cubicBezTo>
                <a:cubicBezTo>
                  <a:pt x="12" y="2"/>
                  <a:pt x="12" y="2"/>
                  <a:pt x="12" y="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sp>
        <p:nvSpPr>
          <p:cNvPr id="387" name="Freeform 736"/>
          <p:cNvSpPr>
            <a:spLocks noEditPoints="1"/>
          </p:cNvSpPr>
          <p:nvPr userDrawn="1"/>
        </p:nvSpPr>
        <p:spPr bwMode="auto">
          <a:xfrm>
            <a:off x="9614734" y="5992951"/>
            <a:ext cx="174209" cy="279740"/>
          </a:xfrm>
          <a:custGeom>
            <a:avLst/>
            <a:gdLst>
              <a:gd name="T0" fmla="*/ 2147483646 w 186"/>
              <a:gd name="T1" fmla="*/ 2147483646 h 300"/>
              <a:gd name="T2" fmla="*/ 2147483646 w 186"/>
              <a:gd name="T3" fmla="*/ 2147483646 h 300"/>
              <a:gd name="T4" fmla="*/ 2147483646 w 186"/>
              <a:gd name="T5" fmla="*/ 2147483646 h 300"/>
              <a:gd name="T6" fmla="*/ 2147483646 w 186"/>
              <a:gd name="T7" fmla="*/ 2147483646 h 300"/>
              <a:gd name="T8" fmla="*/ 2147483646 w 186"/>
              <a:gd name="T9" fmla="*/ 2147483646 h 300"/>
              <a:gd name="T10" fmla="*/ 2147483646 w 186"/>
              <a:gd name="T11" fmla="*/ 2147483646 h 300"/>
              <a:gd name="T12" fmla="*/ 2147483646 w 186"/>
              <a:gd name="T13" fmla="*/ 2147483646 h 300"/>
              <a:gd name="T14" fmla="*/ 2147483646 w 186"/>
              <a:gd name="T15" fmla="*/ 2147483646 h 300"/>
              <a:gd name="T16" fmla="*/ 2147483646 w 186"/>
              <a:gd name="T17" fmla="*/ 2147483646 h 300"/>
              <a:gd name="T18" fmla="*/ 2147483646 w 186"/>
              <a:gd name="T19" fmla="*/ 2147483646 h 300"/>
              <a:gd name="T20" fmla="*/ 2147483646 w 186"/>
              <a:gd name="T21" fmla="*/ 2147483646 h 300"/>
              <a:gd name="T22" fmla="*/ 2147483646 w 186"/>
              <a:gd name="T23" fmla="*/ 2147483646 h 300"/>
              <a:gd name="T24" fmla="*/ 2147483646 w 186"/>
              <a:gd name="T25" fmla="*/ 2147483646 h 300"/>
              <a:gd name="T26" fmla="*/ 2147483646 w 186"/>
              <a:gd name="T27" fmla="*/ 2147483646 h 300"/>
              <a:gd name="T28" fmla="*/ 2147483646 w 186"/>
              <a:gd name="T29" fmla="*/ 2147483646 h 300"/>
              <a:gd name="T30" fmla="*/ 2147483646 w 186"/>
              <a:gd name="T31" fmla="*/ 2147483646 h 300"/>
              <a:gd name="T32" fmla="*/ 2147483646 w 186"/>
              <a:gd name="T33" fmla="*/ 2147483646 h 300"/>
              <a:gd name="T34" fmla="*/ 2147483646 w 186"/>
              <a:gd name="T35" fmla="*/ 2147483646 h 300"/>
              <a:gd name="T36" fmla="*/ 2147483646 w 186"/>
              <a:gd name="T37" fmla="*/ 2147483646 h 300"/>
              <a:gd name="T38" fmla="*/ 2147483646 w 186"/>
              <a:gd name="T39" fmla="*/ 2147483646 h 300"/>
              <a:gd name="T40" fmla="*/ 2147483646 w 186"/>
              <a:gd name="T41" fmla="*/ 2147483646 h 300"/>
              <a:gd name="T42" fmla="*/ 2147483646 w 186"/>
              <a:gd name="T43" fmla="*/ 2147483646 h 300"/>
              <a:gd name="T44" fmla="*/ 2147483646 w 186"/>
              <a:gd name="T45" fmla="*/ 2147483646 h 300"/>
              <a:gd name="T46" fmla="*/ 2147483646 w 186"/>
              <a:gd name="T47" fmla="*/ 2147483646 h 300"/>
              <a:gd name="T48" fmla="*/ 2147483646 w 186"/>
              <a:gd name="T49" fmla="*/ 2147483646 h 300"/>
              <a:gd name="T50" fmla="*/ 2147483646 w 186"/>
              <a:gd name="T51" fmla="*/ 2147483646 h 300"/>
              <a:gd name="T52" fmla="*/ 2147483646 w 186"/>
              <a:gd name="T53" fmla="*/ 2147483646 h 300"/>
              <a:gd name="T54" fmla="*/ 2147483646 w 186"/>
              <a:gd name="T55" fmla="*/ 2147483646 h 300"/>
              <a:gd name="T56" fmla="*/ 2147483646 w 186"/>
              <a:gd name="T57" fmla="*/ 2147483646 h 300"/>
              <a:gd name="T58" fmla="*/ 2147483646 w 186"/>
              <a:gd name="T59" fmla="*/ 2147483646 h 300"/>
              <a:gd name="T60" fmla="*/ 2147483646 w 186"/>
              <a:gd name="T61" fmla="*/ 2147483646 h 300"/>
              <a:gd name="T62" fmla="*/ 2147483646 w 186"/>
              <a:gd name="T63" fmla="*/ 2147483646 h 300"/>
              <a:gd name="T64" fmla="*/ 2147483646 w 186"/>
              <a:gd name="T65" fmla="*/ 2147483646 h 300"/>
              <a:gd name="T66" fmla="*/ 2147483646 w 186"/>
              <a:gd name="T67" fmla="*/ 2147483646 h 300"/>
              <a:gd name="T68" fmla="*/ 2147483646 w 186"/>
              <a:gd name="T69" fmla="*/ 2147483646 h 300"/>
              <a:gd name="T70" fmla="*/ 2147483646 w 186"/>
              <a:gd name="T71" fmla="*/ 2147483646 h 300"/>
              <a:gd name="T72" fmla="*/ 2147483646 w 186"/>
              <a:gd name="T73" fmla="*/ 2147483646 h 300"/>
              <a:gd name="T74" fmla="*/ 2147483646 w 186"/>
              <a:gd name="T75" fmla="*/ 2147483646 h 300"/>
              <a:gd name="T76" fmla="*/ 2147483646 w 186"/>
              <a:gd name="T77" fmla="*/ 2147483646 h 300"/>
              <a:gd name="T78" fmla="*/ 2147483646 w 186"/>
              <a:gd name="T79" fmla="*/ 2147483646 h 300"/>
              <a:gd name="T80" fmla="*/ 2147483646 w 186"/>
              <a:gd name="T81" fmla="*/ 2147483646 h 300"/>
              <a:gd name="T82" fmla="*/ 2147483646 w 186"/>
              <a:gd name="T83" fmla="*/ 2147483646 h 300"/>
              <a:gd name="T84" fmla="*/ 2147483646 w 186"/>
              <a:gd name="T85" fmla="*/ 2147483646 h 300"/>
              <a:gd name="T86" fmla="*/ 2147483646 w 186"/>
              <a:gd name="T87" fmla="*/ 2147483646 h 300"/>
              <a:gd name="T88" fmla="*/ 2147483646 w 186"/>
              <a:gd name="T89" fmla="*/ 2147483646 h 300"/>
              <a:gd name="T90" fmla="*/ 2147483646 w 186"/>
              <a:gd name="T91" fmla="*/ 2147483646 h 300"/>
              <a:gd name="T92" fmla="*/ 2147483646 w 186"/>
              <a:gd name="T93" fmla="*/ 2147483646 h 300"/>
              <a:gd name="T94" fmla="*/ 2147483646 w 186"/>
              <a:gd name="T95" fmla="*/ 2147483646 h 300"/>
              <a:gd name="T96" fmla="*/ 2147483646 w 186"/>
              <a:gd name="T97" fmla="*/ 2147483646 h 300"/>
              <a:gd name="T98" fmla="*/ 2147483646 w 186"/>
              <a:gd name="T99" fmla="*/ 2147483646 h 300"/>
              <a:gd name="T100" fmla="*/ 2147483646 w 186"/>
              <a:gd name="T101" fmla="*/ 2147483646 h 300"/>
              <a:gd name="T102" fmla="*/ 2147483646 w 186"/>
              <a:gd name="T103" fmla="*/ 2147483646 h 300"/>
              <a:gd name="T104" fmla="*/ 2147483646 w 186"/>
              <a:gd name="T105" fmla="*/ 2147483646 h 300"/>
              <a:gd name="T106" fmla="*/ 2147483646 w 186"/>
              <a:gd name="T107" fmla="*/ 2147483646 h 300"/>
              <a:gd name="T108" fmla="*/ 2147483646 w 186"/>
              <a:gd name="T109" fmla="*/ 2147483646 h 300"/>
              <a:gd name="T110" fmla="*/ 2147483646 w 186"/>
              <a:gd name="T111" fmla="*/ 2147483646 h 30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86"/>
              <a:gd name="T169" fmla="*/ 0 h 300"/>
              <a:gd name="T170" fmla="*/ 186 w 186"/>
              <a:gd name="T171" fmla="*/ 300 h 30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86" h="300">
                <a:moveTo>
                  <a:pt x="184" y="145"/>
                </a:moveTo>
                <a:cubicBezTo>
                  <a:pt x="183" y="143"/>
                  <a:pt x="179" y="144"/>
                  <a:pt x="179" y="142"/>
                </a:cubicBezTo>
                <a:cubicBezTo>
                  <a:pt x="179" y="140"/>
                  <a:pt x="176" y="137"/>
                  <a:pt x="174" y="138"/>
                </a:cubicBezTo>
                <a:cubicBezTo>
                  <a:pt x="172" y="139"/>
                  <a:pt x="170" y="136"/>
                  <a:pt x="168" y="138"/>
                </a:cubicBezTo>
                <a:cubicBezTo>
                  <a:pt x="166" y="141"/>
                  <a:pt x="163" y="144"/>
                  <a:pt x="162" y="143"/>
                </a:cubicBezTo>
                <a:cubicBezTo>
                  <a:pt x="161" y="142"/>
                  <a:pt x="160" y="143"/>
                  <a:pt x="158" y="145"/>
                </a:cubicBezTo>
                <a:cubicBezTo>
                  <a:pt x="157" y="147"/>
                  <a:pt x="144" y="157"/>
                  <a:pt x="142" y="155"/>
                </a:cubicBezTo>
                <a:cubicBezTo>
                  <a:pt x="140" y="154"/>
                  <a:pt x="139" y="156"/>
                  <a:pt x="139" y="156"/>
                </a:cubicBezTo>
                <a:cubicBezTo>
                  <a:pt x="139" y="156"/>
                  <a:pt x="139" y="153"/>
                  <a:pt x="135" y="152"/>
                </a:cubicBezTo>
                <a:cubicBezTo>
                  <a:pt x="131" y="151"/>
                  <a:pt x="125" y="151"/>
                  <a:pt x="123" y="148"/>
                </a:cubicBezTo>
                <a:cubicBezTo>
                  <a:pt x="121" y="144"/>
                  <a:pt x="117" y="142"/>
                  <a:pt x="115" y="141"/>
                </a:cubicBezTo>
                <a:cubicBezTo>
                  <a:pt x="113" y="139"/>
                  <a:pt x="109" y="138"/>
                  <a:pt x="109" y="140"/>
                </a:cubicBezTo>
                <a:cubicBezTo>
                  <a:pt x="110" y="141"/>
                  <a:pt x="104" y="138"/>
                  <a:pt x="103" y="136"/>
                </a:cubicBezTo>
                <a:cubicBezTo>
                  <a:pt x="102" y="133"/>
                  <a:pt x="103" y="132"/>
                  <a:pt x="102" y="131"/>
                </a:cubicBezTo>
                <a:cubicBezTo>
                  <a:pt x="101" y="130"/>
                  <a:pt x="105" y="130"/>
                  <a:pt x="104" y="128"/>
                </a:cubicBezTo>
                <a:cubicBezTo>
                  <a:pt x="103" y="125"/>
                  <a:pt x="101" y="125"/>
                  <a:pt x="101" y="119"/>
                </a:cubicBezTo>
                <a:cubicBezTo>
                  <a:pt x="101" y="113"/>
                  <a:pt x="103" y="112"/>
                  <a:pt x="101" y="110"/>
                </a:cubicBezTo>
                <a:cubicBezTo>
                  <a:pt x="99" y="109"/>
                  <a:pt x="99" y="105"/>
                  <a:pt x="98" y="104"/>
                </a:cubicBezTo>
                <a:cubicBezTo>
                  <a:pt x="96" y="103"/>
                  <a:pt x="99" y="102"/>
                  <a:pt x="99" y="101"/>
                </a:cubicBezTo>
                <a:cubicBezTo>
                  <a:pt x="100" y="101"/>
                  <a:pt x="101" y="100"/>
                  <a:pt x="100" y="99"/>
                </a:cubicBezTo>
                <a:cubicBezTo>
                  <a:pt x="99" y="98"/>
                  <a:pt x="97" y="102"/>
                  <a:pt x="95" y="101"/>
                </a:cubicBezTo>
                <a:cubicBezTo>
                  <a:pt x="94" y="99"/>
                  <a:pt x="93" y="98"/>
                  <a:pt x="92" y="97"/>
                </a:cubicBezTo>
                <a:cubicBezTo>
                  <a:pt x="91" y="97"/>
                  <a:pt x="94" y="94"/>
                  <a:pt x="92" y="93"/>
                </a:cubicBezTo>
                <a:cubicBezTo>
                  <a:pt x="91" y="93"/>
                  <a:pt x="91" y="91"/>
                  <a:pt x="89" y="90"/>
                </a:cubicBezTo>
                <a:cubicBezTo>
                  <a:pt x="88" y="90"/>
                  <a:pt x="86" y="88"/>
                  <a:pt x="84" y="89"/>
                </a:cubicBezTo>
                <a:cubicBezTo>
                  <a:pt x="83" y="90"/>
                  <a:pt x="86" y="94"/>
                  <a:pt x="87" y="94"/>
                </a:cubicBezTo>
                <a:cubicBezTo>
                  <a:pt x="89" y="95"/>
                  <a:pt x="90" y="98"/>
                  <a:pt x="89" y="98"/>
                </a:cubicBezTo>
                <a:cubicBezTo>
                  <a:pt x="88" y="99"/>
                  <a:pt x="89" y="100"/>
                  <a:pt x="89" y="101"/>
                </a:cubicBezTo>
                <a:cubicBezTo>
                  <a:pt x="90" y="101"/>
                  <a:pt x="89" y="101"/>
                  <a:pt x="88" y="102"/>
                </a:cubicBezTo>
                <a:cubicBezTo>
                  <a:pt x="87" y="102"/>
                  <a:pt x="86" y="103"/>
                  <a:pt x="87" y="105"/>
                </a:cubicBezTo>
                <a:cubicBezTo>
                  <a:pt x="89" y="107"/>
                  <a:pt x="91" y="109"/>
                  <a:pt x="90" y="110"/>
                </a:cubicBezTo>
                <a:cubicBezTo>
                  <a:pt x="90" y="112"/>
                  <a:pt x="91" y="113"/>
                  <a:pt x="90" y="115"/>
                </a:cubicBezTo>
                <a:cubicBezTo>
                  <a:pt x="89" y="117"/>
                  <a:pt x="88" y="120"/>
                  <a:pt x="86" y="119"/>
                </a:cubicBezTo>
                <a:cubicBezTo>
                  <a:pt x="83" y="117"/>
                  <a:pt x="81" y="116"/>
                  <a:pt x="81" y="113"/>
                </a:cubicBezTo>
                <a:cubicBezTo>
                  <a:pt x="81" y="110"/>
                  <a:pt x="83" y="108"/>
                  <a:pt x="81" y="108"/>
                </a:cubicBezTo>
                <a:cubicBezTo>
                  <a:pt x="78" y="108"/>
                  <a:pt x="75" y="108"/>
                  <a:pt x="75" y="106"/>
                </a:cubicBezTo>
                <a:cubicBezTo>
                  <a:pt x="75" y="105"/>
                  <a:pt x="75" y="105"/>
                  <a:pt x="73" y="105"/>
                </a:cubicBezTo>
                <a:cubicBezTo>
                  <a:pt x="71" y="106"/>
                  <a:pt x="70" y="104"/>
                  <a:pt x="69" y="103"/>
                </a:cubicBezTo>
                <a:cubicBezTo>
                  <a:pt x="67" y="101"/>
                  <a:pt x="65" y="101"/>
                  <a:pt x="65" y="103"/>
                </a:cubicBezTo>
                <a:cubicBezTo>
                  <a:pt x="64" y="105"/>
                  <a:pt x="62" y="104"/>
                  <a:pt x="62" y="102"/>
                </a:cubicBezTo>
                <a:cubicBezTo>
                  <a:pt x="63" y="100"/>
                  <a:pt x="65" y="101"/>
                  <a:pt x="66" y="100"/>
                </a:cubicBezTo>
                <a:cubicBezTo>
                  <a:pt x="67" y="98"/>
                  <a:pt x="65" y="96"/>
                  <a:pt x="66" y="95"/>
                </a:cubicBezTo>
                <a:cubicBezTo>
                  <a:pt x="67" y="95"/>
                  <a:pt x="68" y="95"/>
                  <a:pt x="68" y="94"/>
                </a:cubicBezTo>
                <a:cubicBezTo>
                  <a:pt x="68" y="93"/>
                  <a:pt x="64" y="96"/>
                  <a:pt x="65" y="93"/>
                </a:cubicBezTo>
                <a:cubicBezTo>
                  <a:pt x="65" y="91"/>
                  <a:pt x="64" y="89"/>
                  <a:pt x="65" y="89"/>
                </a:cubicBezTo>
                <a:cubicBezTo>
                  <a:pt x="67" y="88"/>
                  <a:pt x="65" y="86"/>
                  <a:pt x="65" y="85"/>
                </a:cubicBezTo>
                <a:cubicBezTo>
                  <a:pt x="66" y="84"/>
                  <a:pt x="69" y="85"/>
                  <a:pt x="69" y="84"/>
                </a:cubicBezTo>
                <a:cubicBezTo>
                  <a:pt x="69" y="83"/>
                  <a:pt x="67" y="82"/>
                  <a:pt x="67" y="82"/>
                </a:cubicBezTo>
                <a:cubicBezTo>
                  <a:pt x="67" y="81"/>
                  <a:pt x="69" y="81"/>
                  <a:pt x="69" y="80"/>
                </a:cubicBezTo>
                <a:cubicBezTo>
                  <a:pt x="69" y="79"/>
                  <a:pt x="64" y="79"/>
                  <a:pt x="64" y="76"/>
                </a:cubicBezTo>
                <a:cubicBezTo>
                  <a:pt x="63" y="72"/>
                  <a:pt x="64" y="70"/>
                  <a:pt x="61" y="69"/>
                </a:cubicBezTo>
                <a:cubicBezTo>
                  <a:pt x="58" y="69"/>
                  <a:pt x="57" y="67"/>
                  <a:pt x="57" y="65"/>
                </a:cubicBezTo>
                <a:cubicBezTo>
                  <a:pt x="58" y="63"/>
                  <a:pt x="59" y="62"/>
                  <a:pt x="57" y="61"/>
                </a:cubicBezTo>
                <a:cubicBezTo>
                  <a:pt x="55" y="60"/>
                  <a:pt x="53" y="60"/>
                  <a:pt x="53" y="59"/>
                </a:cubicBezTo>
                <a:cubicBezTo>
                  <a:pt x="54" y="58"/>
                  <a:pt x="55" y="57"/>
                  <a:pt x="57" y="58"/>
                </a:cubicBezTo>
                <a:cubicBezTo>
                  <a:pt x="58" y="59"/>
                  <a:pt x="60" y="58"/>
                  <a:pt x="60" y="60"/>
                </a:cubicBezTo>
                <a:cubicBezTo>
                  <a:pt x="60" y="61"/>
                  <a:pt x="61" y="63"/>
                  <a:pt x="61" y="62"/>
                </a:cubicBezTo>
                <a:cubicBezTo>
                  <a:pt x="62" y="61"/>
                  <a:pt x="62" y="60"/>
                  <a:pt x="62" y="58"/>
                </a:cubicBezTo>
                <a:cubicBezTo>
                  <a:pt x="62" y="57"/>
                  <a:pt x="63" y="56"/>
                  <a:pt x="61" y="55"/>
                </a:cubicBezTo>
                <a:cubicBezTo>
                  <a:pt x="60" y="53"/>
                  <a:pt x="61" y="52"/>
                  <a:pt x="60" y="51"/>
                </a:cubicBezTo>
                <a:cubicBezTo>
                  <a:pt x="60" y="49"/>
                  <a:pt x="61" y="51"/>
                  <a:pt x="59" y="49"/>
                </a:cubicBezTo>
                <a:cubicBezTo>
                  <a:pt x="58" y="47"/>
                  <a:pt x="59" y="47"/>
                  <a:pt x="58" y="46"/>
                </a:cubicBezTo>
                <a:cubicBezTo>
                  <a:pt x="56" y="45"/>
                  <a:pt x="55" y="46"/>
                  <a:pt x="55" y="44"/>
                </a:cubicBezTo>
                <a:cubicBezTo>
                  <a:pt x="55" y="43"/>
                  <a:pt x="55" y="42"/>
                  <a:pt x="55" y="42"/>
                </a:cubicBezTo>
                <a:cubicBezTo>
                  <a:pt x="55" y="42"/>
                  <a:pt x="57" y="42"/>
                  <a:pt x="56" y="41"/>
                </a:cubicBezTo>
                <a:cubicBezTo>
                  <a:pt x="54" y="40"/>
                  <a:pt x="54" y="41"/>
                  <a:pt x="54" y="40"/>
                </a:cubicBezTo>
                <a:cubicBezTo>
                  <a:pt x="54" y="38"/>
                  <a:pt x="57" y="36"/>
                  <a:pt x="54" y="37"/>
                </a:cubicBezTo>
                <a:cubicBezTo>
                  <a:pt x="51" y="37"/>
                  <a:pt x="51" y="38"/>
                  <a:pt x="50" y="38"/>
                </a:cubicBezTo>
                <a:cubicBezTo>
                  <a:pt x="49" y="38"/>
                  <a:pt x="49" y="38"/>
                  <a:pt x="49" y="38"/>
                </a:cubicBezTo>
                <a:cubicBezTo>
                  <a:pt x="49" y="38"/>
                  <a:pt x="48" y="37"/>
                  <a:pt x="49" y="39"/>
                </a:cubicBezTo>
                <a:cubicBezTo>
                  <a:pt x="49" y="40"/>
                  <a:pt x="48" y="42"/>
                  <a:pt x="47" y="40"/>
                </a:cubicBezTo>
                <a:cubicBezTo>
                  <a:pt x="46" y="38"/>
                  <a:pt x="48" y="36"/>
                  <a:pt x="46" y="36"/>
                </a:cubicBezTo>
                <a:cubicBezTo>
                  <a:pt x="44" y="35"/>
                  <a:pt x="42" y="33"/>
                  <a:pt x="44" y="33"/>
                </a:cubicBezTo>
                <a:cubicBezTo>
                  <a:pt x="46" y="33"/>
                  <a:pt x="47" y="35"/>
                  <a:pt x="47" y="34"/>
                </a:cubicBezTo>
                <a:cubicBezTo>
                  <a:pt x="48" y="33"/>
                  <a:pt x="47" y="31"/>
                  <a:pt x="46" y="31"/>
                </a:cubicBezTo>
                <a:cubicBezTo>
                  <a:pt x="44" y="31"/>
                  <a:pt x="41" y="33"/>
                  <a:pt x="42" y="31"/>
                </a:cubicBezTo>
                <a:cubicBezTo>
                  <a:pt x="42" y="29"/>
                  <a:pt x="43" y="26"/>
                  <a:pt x="40" y="26"/>
                </a:cubicBezTo>
                <a:cubicBezTo>
                  <a:pt x="38" y="26"/>
                  <a:pt x="35" y="27"/>
                  <a:pt x="35" y="28"/>
                </a:cubicBezTo>
                <a:cubicBezTo>
                  <a:pt x="34" y="29"/>
                  <a:pt x="35" y="26"/>
                  <a:pt x="33" y="25"/>
                </a:cubicBezTo>
                <a:cubicBezTo>
                  <a:pt x="32" y="24"/>
                  <a:pt x="31" y="23"/>
                  <a:pt x="30" y="24"/>
                </a:cubicBezTo>
                <a:cubicBezTo>
                  <a:pt x="29" y="24"/>
                  <a:pt x="30" y="26"/>
                  <a:pt x="28" y="25"/>
                </a:cubicBezTo>
                <a:cubicBezTo>
                  <a:pt x="26" y="25"/>
                  <a:pt x="24" y="24"/>
                  <a:pt x="24" y="22"/>
                </a:cubicBezTo>
                <a:cubicBezTo>
                  <a:pt x="25" y="20"/>
                  <a:pt x="26" y="19"/>
                  <a:pt x="25" y="18"/>
                </a:cubicBezTo>
                <a:cubicBezTo>
                  <a:pt x="24" y="17"/>
                  <a:pt x="23" y="18"/>
                  <a:pt x="22" y="19"/>
                </a:cubicBezTo>
                <a:cubicBezTo>
                  <a:pt x="21" y="20"/>
                  <a:pt x="21" y="22"/>
                  <a:pt x="22" y="22"/>
                </a:cubicBezTo>
                <a:cubicBezTo>
                  <a:pt x="23" y="23"/>
                  <a:pt x="23" y="27"/>
                  <a:pt x="21" y="26"/>
                </a:cubicBezTo>
                <a:cubicBezTo>
                  <a:pt x="19" y="24"/>
                  <a:pt x="21" y="23"/>
                  <a:pt x="20" y="22"/>
                </a:cubicBezTo>
                <a:cubicBezTo>
                  <a:pt x="19" y="20"/>
                  <a:pt x="16" y="20"/>
                  <a:pt x="17" y="18"/>
                </a:cubicBezTo>
                <a:cubicBezTo>
                  <a:pt x="17" y="17"/>
                  <a:pt x="17" y="17"/>
                  <a:pt x="15" y="15"/>
                </a:cubicBezTo>
                <a:cubicBezTo>
                  <a:pt x="13" y="13"/>
                  <a:pt x="12" y="11"/>
                  <a:pt x="12" y="10"/>
                </a:cubicBezTo>
                <a:cubicBezTo>
                  <a:pt x="12" y="8"/>
                  <a:pt x="12" y="7"/>
                  <a:pt x="11" y="7"/>
                </a:cubicBezTo>
                <a:cubicBezTo>
                  <a:pt x="10" y="8"/>
                  <a:pt x="9" y="8"/>
                  <a:pt x="9" y="6"/>
                </a:cubicBezTo>
                <a:cubicBezTo>
                  <a:pt x="10" y="5"/>
                  <a:pt x="12" y="7"/>
                  <a:pt x="12" y="5"/>
                </a:cubicBezTo>
                <a:cubicBezTo>
                  <a:pt x="12" y="4"/>
                  <a:pt x="12" y="4"/>
                  <a:pt x="12" y="3"/>
                </a:cubicBezTo>
                <a:cubicBezTo>
                  <a:pt x="13" y="2"/>
                  <a:pt x="14" y="0"/>
                  <a:pt x="12" y="1"/>
                </a:cubicBezTo>
                <a:cubicBezTo>
                  <a:pt x="12" y="1"/>
                  <a:pt x="10" y="2"/>
                  <a:pt x="8" y="1"/>
                </a:cubicBezTo>
                <a:cubicBezTo>
                  <a:pt x="7" y="0"/>
                  <a:pt x="7" y="2"/>
                  <a:pt x="6" y="2"/>
                </a:cubicBezTo>
                <a:cubicBezTo>
                  <a:pt x="5" y="2"/>
                  <a:pt x="2" y="0"/>
                  <a:pt x="1" y="1"/>
                </a:cubicBezTo>
                <a:cubicBezTo>
                  <a:pt x="0" y="3"/>
                  <a:pt x="0" y="4"/>
                  <a:pt x="1" y="5"/>
                </a:cubicBezTo>
                <a:cubicBezTo>
                  <a:pt x="3" y="6"/>
                  <a:pt x="16" y="21"/>
                  <a:pt x="16" y="25"/>
                </a:cubicBezTo>
                <a:cubicBezTo>
                  <a:pt x="16" y="28"/>
                  <a:pt x="17" y="31"/>
                  <a:pt x="15" y="31"/>
                </a:cubicBezTo>
                <a:cubicBezTo>
                  <a:pt x="14" y="31"/>
                  <a:pt x="12" y="32"/>
                  <a:pt x="14" y="34"/>
                </a:cubicBezTo>
                <a:cubicBezTo>
                  <a:pt x="15" y="35"/>
                  <a:pt x="16" y="36"/>
                  <a:pt x="16" y="37"/>
                </a:cubicBezTo>
                <a:cubicBezTo>
                  <a:pt x="15" y="38"/>
                  <a:pt x="22" y="47"/>
                  <a:pt x="23" y="45"/>
                </a:cubicBezTo>
                <a:cubicBezTo>
                  <a:pt x="23" y="43"/>
                  <a:pt x="24" y="41"/>
                  <a:pt x="26" y="41"/>
                </a:cubicBezTo>
                <a:cubicBezTo>
                  <a:pt x="27" y="41"/>
                  <a:pt x="29" y="40"/>
                  <a:pt x="29" y="39"/>
                </a:cubicBezTo>
                <a:cubicBezTo>
                  <a:pt x="29" y="38"/>
                  <a:pt x="30" y="39"/>
                  <a:pt x="31" y="40"/>
                </a:cubicBezTo>
                <a:cubicBezTo>
                  <a:pt x="31" y="41"/>
                  <a:pt x="31" y="42"/>
                  <a:pt x="29" y="42"/>
                </a:cubicBezTo>
                <a:cubicBezTo>
                  <a:pt x="28" y="42"/>
                  <a:pt x="25" y="42"/>
                  <a:pt x="24" y="44"/>
                </a:cubicBezTo>
                <a:cubicBezTo>
                  <a:pt x="24" y="46"/>
                  <a:pt x="21" y="48"/>
                  <a:pt x="23" y="49"/>
                </a:cubicBezTo>
                <a:cubicBezTo>
                  <a:pt x="25" y="50"/>
                  <a:pt x="38" y="67"/>
                  <a:pt x="41" y="78"/>
                </a:cubicBezTo>
                <a:cubicBezTo>
                  <a:pt x="43" y="84"/>
                  <a:pt x="43" y="83"/>
                  <a:pt x="45" y="83"/>
                </a:cubicBezTo>
                <a:cubicBezTo>
                  <a:pt x="47" y="83"/>
                  <a:pt x="49" y="80"/>
                  <a:pt x="47" y="79"/>
                </a:cubicBezTo>
                <a:cubicBezTo>
                  <a:pt x="45" y="77"/>
                  <a:pt x="41" y="73"/>
                  <a:pt x="44" y="73"/>
                </a:cubicBezTo>
                <a:cubicBezTo>
                  <a:pt x="47" y="74"/>
                  <a:pt x="48" y="74"/>
                  <a:pt x="48" y="75"/>
                </a:cubicBezTo>
                <a:cubicBezTo>
                  <a:pt x="48" y="77"/>
                  <a:pt x="49" y="78"/>
                  <a:pt x="50" y="77"/>
                </a:cubicBezTo>
                <a:cubicBezTo>
                  <a:pt x="51" y="76"/>
                  <a:pt x="49" y="72"/>
                  <a:pt x="50" y="72"/>
                </a:cubicBezTo>
                <a:cubicBezTo>
                  <a:pt x="51" y="73"/>
                  <a:pt x="51" y="76"/>
                  <a:pt x="53" y="75"/>
                </a:cubicBezTo>
                <a:cubicBezTo>
                  <a:pt x="54" y="75"/>
                  <a:pt x="56" y="74"/>
                  <a:pt x="55" y="76"/>
                </a:cubicBezTo>
                <a:cubicBezTo>
                  <a:pt x="53" y="77"/>
                  <a:pt x="52" y="77"/>
                  <a:pt x="53" y="78"/>
                </a:cubicBezTo>
                <a:cubicBezTo>
                  <a:pt x="53" y="79"/>
                  <a:pt x="55" y="78"/>
                  <a:pt x="55" y="79"/>
                </a:cubicBezTo>
                <a:cubicBezTo>
                  <a:pt x="55" y="81"/>
                  <a:pt x="53" y="81"/>
                  <a:pt x="52" y="81"/>
                </a:cubicBezTo>
                <a:cubicBezTo>
                  <a:pt x="52" y="80"/>
                  <a:pt x="50" y="80"/>
                  <a:pt x="50" y="82"/>
                </a:cubicBezTo>
                <a:cubicBezTo>
                  <a:pt x="50" y="83"/>
                  <a:pt x="52" y="85"/>
                  <a:pt x="53" y="84"/>
                </a:cubicBezTo>
                <a:cubicBezTo>
                  <a:pt x="54" y="83"/>
                  <a:pt x="56" y="82"/>
                  <a:pt x="56" y="83"/>
                </a:cubicBezTo>
                <a:cubicBezTo>
                  <a:pt x="56" y="85"/>
                  <a:pt x="54" y="85"/>
                  <a:pt x="55" y="87"/>
                </a:cubicBezTo>
                <a:cubicBezTo>
                  <a:pt x="56" y="89"/>
                  <a:pt x="56" y="91"/>
                  <a:pt x="56" y="92"/>
                </a:cubicBezTo>
                <a:cubicBezTo>
                  <a:pt x="55" y="93"/>
                  <a:pt x="54" y="94"/>
                  <a:pt x="53" y="93"/>
                </a:cubicBezTo>
                <a:cubicBezTo>
                  <a:pt x="52" y="93"/>
                  <a:pt x="55" y="90"/>
                  <a:pt x="53" y="90"/>
                </a:cubicBezTo>
                <a:cubicBezTo>
                  <a:pt x="52" y="90"/>
                  <a:pt x="51" y="89"/>
                  <a:pt x="51" y="87"/>
                </a:cubicBezTo>
                <a:cubicBezTo>
                  <a:pt x="50" y="86"/>
                  <a:pt x="50" y="86"/>
                  <a:pt x="49" y="86"/>
                </a:cubicBezTo>
                <a:cubicBezTo>
                  <a:pt x="48" y="86"/>
                  <a:pt x="46" y="86"/>
                  <a:pt x="47" y="87"/>
                </a:cubicBezTo>
                <a:cubicBezTo>
                  <a:pt x="48" y="88"/>
                  <a:pt x="51" y="91"/>
                  <a:pt x="51" y="93"/>
                </a:cubicBezTo>
                <a:cubicBezTo>
                  <a:pt x="52" y="95"/>
                  <a:pt x="57" y="106"/>
                  <a:pt x="57" y="108"/>
                </a:cubicBezTo>
                <a:cubicBezTo>
                  <a:pt x="57" y="110"/>
                  <a:pt x="59" y="111"/>
                  <a:pt x="60" y="109"/>
                </a:cubicBezTo>
                <a:cubicBezTo>
                  <a:pt x="62" y="108"/>
                  <a:pt x="63" y="105"/>
                  <a:pt x="64" y="106"/>
                </a:cubicBezTo>
                <a:cubicBezTo>
                  <a:pt x="65" y="108"/>
                  <a:pt x="66" y="108"/>
                  <a:pt x="67" y="109"/>
                </a:cubicBezTo>
                <a:cubicBezTo>
                  <a:pt x="69" y="110"/>
                  <a:pt x="70" y="111"/>
                  <a:pt x="68" y="112"/>
                </a:cubicBezTo>
                <a:cubicBezTo>
                  <a:pt x="67" y="112"/>
                  <a:pt x="64" y="113"/>
                  <a:pt x="63" y="112"/>
                </a:cubicBezTo>
                <a:cubicBezTo>
                  <a:pt x="63" y="112"/>
                  <a:pt x="62" y="111"/>
                  <a:pt x="61" y="111"/>
                </a:cubicBezTo>
                <a:cubicBezTo>
                  <a:pt x="59" y="111"/>
                  <a:pt x="57" y="111"/>
                  <a:pt x="58" y="113"/>
                </a:cubicBezTo>
                <a:cubicBezTo>
                  <a:pt x="60" y="115"/>
                  <a:pt x="61" y="118"/>
                  <a:pt x="62" y="121"/>
                </a:cubicBezTo>
                <a:cubicBezTo>
                  <a:pt x="63" y="125"/>
                  <a:pt x="62" y="127"/>
                  <a:pt x="63" y="130"/>
                </a:cubicBezTo>
                <a:cubicBezTo>
                  <a:pt x="64" y="133"/>
                  <a:pt x="65" y="135"/>
                  <a:pt x="65" y="137"/>
                </a:cubicBezTo>
                <a:cubicBezTo>
                  <a:pt x="66" y="139"/>
                  <a:pt x="67" y="141"/>
                  <a:pt x="68" y="140"/>
                </a:cubicBezTo>
                <a:cubicBezTo>
                  <a:pt x="69" y="140"/>
                  <a:pt x="71" y="141"/>
                  <a:pt x="69" y="142"/>
                </a:cubicBezTo>
                <a:cubicBezTo>
                  <a:pt x="67" y="142"/>
                  <a:pt x="63" y="141"/>
                  <a:pt x="63" y="144"/>
                </a:cubicBezTo>
                <a:cubicBezTo>
                  <a:pt x="64" y="147"/>
                  <a:pt x="63" y="149"/>
                  <a:pt x="65" y="149"/>
                </a:cubicBezTo>
                <a:cubicBezTo>
                  <a:pt x="66" y="148"/>
                  <a:pt x="68" y="149"/>
                  <a:pt x="66" y="150"/>
                </a:cubicBezTo>
                <a:cubicBezTo>
                  <a:pt x="64" y="151"/>
                  <a:pt x="64" y="151"/>
                  <a:pt x="64" y="152"/>
                </a:cubicBezTo>
                <a:cubicBezTo>
                  <a:pt x="65" y="153"/>
                  <a:pt x="67" y="152"/>
                  <a:pt x="68" y="153"/>
                </a:cubicBezTo>
                <a:cubicBezTo>
                  <a:pt x="68" y="154"/>
                  <a:pt x="67" y="154"/>
                  <a:pt x="65" y="155"/>
                </a:cubicBezTo>
                <a:cubicBezTo>
                  <a:pt x="64" y="155"/>
                  <a:pt x="61" y="153"/>
                  <a:pt x="61" y="155"/>
                </a:cubicBezTo>
                <a:cubicBezTo>
                  <a:pt x="61" y="157"/>
                  <a:pt x="62" y="161"/>
                  <a:pt x="60" y="163"/>
                </a:cubicBezTo>
                <a:cubicBezTo>
                  <a:pt x="59" y="164"/>
                  <a:pt x="58" y="164"/>
                  <a:pt x="58" y="166"/>
                </a:cubicBezTo>
                <a:cubicBezTo>
                  <a:pt x="58" y="169"/>
                  <a:pt x="58" y="180"/>
                  <a:pt x="56" y="182"/>
                </a:cubicBezTo>
                <a:cubicBezTo>
                  <a:pt x="55" y="184"/>
                  <a:pt x="53" y="188"/>
                  <a:pt x="52" y="188"/>
                </a:cubicBezTo>
                <a:cubicBezTo>
                  <a:pt x="51" y="189"/>
                  <a:pt x="48" y="190"/>
                  <a:pt x="48" y="189"/>
                </a:cubicBezTo>
                <a:cubicBezTo>
                  <a:pt x="48" y="188"/>
                  <a:pt x="47" y="188"/>
                  <a:pt x="46" y="189"/>
                </a:cubicBezTo>
                <a:cubicBezTo>
                  <a:pt x="45" y="189"/>
                  <a:pt x="43" y="188"/>
                  <a:pt x="43" y="189"/>
                </a:cubicBezTo>
                <a:cubicBezTo>
                  <a:pt x="42" y="191"/>
                  <a:pt x="41" y="191"/>
                  <a:pt x="40" y="191"/>
                </a:cubicBezTo>
                <a:cubicBezTo>
                  <a:pt x="39" y="191"/>
                  <a:pt x="39" y="191"/>
                  <a:pt x="37" y="192"/>
                </a:cubicBezTo>
                <a:cubicBezTo>
                  <a:pt x="36" y="193"/>
                  <a:pt x="32" y="194"/>
                  <a:pt x="31" y="196"/>
                </a:cubicBezTo>
                <a:cubicBezTo>
                  <a:pt x="30" y="198"/>
                  <a:pt x="28" y="202"/>
                  <a:pt x="31" y="205"/>
                </a:cubicBezTo>
                <a:cubicBezTo>
                  <a:pt x="35" y="208"/>
                  <a:pt x="40" y="211"/>
                  <a:pt x="43" y="213"/>
                </a:cubicBezTo>
                <a:cubicBezTo>
                  <a:pt x="46" y="215"/>
                  <a:pt x="48" y="218"/>
                  <a:pt x="49" y="219"/>
                </a:cubicBezTo>
                <a:cubicBezTo>
                  <a:pt x="51" y="221"/>
                  <a:pt x="56" y="224"/>
                  <a:pt x="62" y="226"/>
                </a:cubicBezTo>
                <a:cubicBezTo>
                  <a:pt x="68" y="227"/>
                  <a:pt x="72" y="229"/>
                  <a:pt x="72" y="238"/>
                </a:cubicBezTo>
                <a:cubicBezTo>
                  <a:pt x="73" y="246"/>
                  <a:pt x="74" y="246"/>
                  <a:pt x="73" y="249"/>
                </a:cubicBezTo>
                <a:cubicBezTo>
                  <a:pt x="71" y="251"/>
                  <a:pt x="70" y="251"/>
                  <a:pt x="71" y="254"/>
                </a:cubicBezTo>
                <a:cubicBezTo>
                  <a:pt x="71" y="257"/>
                  <a:pt x="72" y="258"/>
                  <a:pt x="69" y="262"/>
                </a:cubicBezTo>
                <a:cubicBezTo>
                  <a:pt x="67" y="265"/>
                  <a:pt x="65" y="266"/>
                  <a:pt x="64" y="269"/>
                </a:cubicBezTo>
                <a:cubicBezTo>
                  <a:pt x="64" y="272"/>
                  <a:pt x="65" y="270"/>
                  <a:pt x="62" y="272"/>
                </a:cubicBezTo>
                <a:cubicBezTo>
                  <a:pt x="60" y="274"/>
                  <a:pt x="58" y="278"/>
                  <a:pt x="56" y="279"/>
                </a:cubicBezTo>
                <a:cubicBezTo>
                  <a:pt x="53" y="280"/>
                  <a:pt x="51" y="280"/>
                  <a:pt x="53" y="282"/>
                </a:cubicBezTo>
                <a:cubicBezTo>
                  <a:pt x="54" y="285"/>
                  <a:pt x="56" y="287"/>
                  <a:pt x="58" y="286"/>
                </a:cubicBezTo>
                <a:cubicBezTo>
                  <a:pt x="61" y="285"/>
                  <a:pt x="60" y="290"/>
                  <a:pt x="62" y="288"/>
                </a:cubicBezTo>
                <a:cubicBezTo>
                  <a:pt x="65" y="286"/>
                  <a:pt x="68" y="287"/>
                  <a:pt x="69" y="289"/>
                </a:cubicBezTo>
                <a:cubicBezTo>
                  <a:pt x="69" y="290"/>
                  <a:pt x="68" y="294"/>
                  <a:pt x="70" y="294"/>
                </a:cubicBezTo>
                <a:cubicBezTo>
                  <a:pt x="72" y="294"/>
                  <a:pt x="71" y="300"/>
                  <a:pt x="74" y="297"/>
                </a:cubicBezTo>
                <a:cubicBezTo>
                  <a:pt x="77" y="294"/>
                  <a:pt x="83" y="294"/>
                  <a:pt x="86" y="290"/>
                </a:cubicBezTo>
                <a:cubicBezTo>
                  <a:pt x="89" y="286"/>
                  <a:pt x="92" y="285"/>
                  <a:pt x="94" y="284"/>
                </a:cubicBezTo>
                <a:cubicBezTo>
                  <a:pt x="96" y="283"/>
                  <a:pt x="94" y="279"/>
                  <a:pt x="97" y="278"/>
                </a:cubicBezTo>
                <a:cubicBezTo>
                  <a:pt x="100" y="278"/>
                  <a:pt x="98" y="273"/>
                  <a:pt x="100" y="272"/>
                </a:cubicBezTo>
                <a:cubicBezTo>
                  <a:pt x="103" y="271"/>
                  <a:pt x="102" y="269"/>
                  <a:pt x="105" y="265"/>
                </a:cubicBezTo>
                <a:cubicBezTo>
                  <a:pt x="107" y="261"/>
                  <a:pt x="108" y="263"/>
                  <a:pt x="110" y="261"/>
                </a:cubicBezTo>
                <a:cubicBezTo>
                  <a:pt x="111" y="260"/>
                  <a:pt x="109" y="258"/>
                  <a:pt x="111" y="257"/>
                </a:cubicBezTo>
                <a:cubicBezTo>
                  <a:pt x="113" y="256"/>
                  <a:pt x="115" y="256"/>
                  <a:pt x="116" y="254"/>
                </a:cubicBezTo>
                <a:cubicBezTo>
                  <a:pt x="117" y="253"/>
                  <a:pt x="115" y="251"/>
                  <a:pt x="117" y="250"/>
                </a:cubicBezTo>
                <a:cubicBezTo>
                  <a:pt x="119" y="249"/>
                  <a:pt x="117" y="247"/>
                  <a:pt x="119" y="246"/>
                </a:cubicBezTo>
                <a:cubicBezTo>
                  <a:pt x="120" y="245"/>
                  <a:pt x="122" y="245"/>
                  <a:pt x="123" y="241"/>
                </a:cubicBezTo>
                <a:cubicBezTo>
                  <a:pt x="125" y="237"/>
                  <a:pt x="128" y="233"/>
                  <a:pt x="130" y="229"/>
                </a:cubicBezTo>
                <a:cubicBezTo>
                  <a:pt x="133" y="225"/>
                  <a:pt x="130" y="224"/>
                  <a:pt x="132" y="224"/>
                </a:cubicBezTo>
                <a:cubicBezTo>
                  <a:pt x="134" y="224"/>
                  <a:pt x="133" y="222"/>
                  <a:pt x="131" y="222"/>
                </a:cubicBezTo>
                <a:cubicBezTo>
                  <a:pt x="130" y="222"/>
                  <a:pt x="128" y="221"/>
                  <a:pt x="128" y="218"/>
                </a:cubicBezTo>
                <a:cubicBezTo>
                  <a:pt x="129" y="216"/>
                  <a:pt x="128" y="215"/>
                  <a:pt x="128" y="213"/>
                </a:cubicBezTo>
                <a:cubicBezTo>
                  <a:pt x="127" y="212"/>
                  <a:pt x="127" y="211"/>
                  <a:pt x="128" y="210"/>
                </a:cubicBezTo>
                <a:cubicBezTo>
                  <a:pt x="129" y="209"/>
                  <a:pt x="130" y="205"/>
                  <a:pt x="132" y="204"/>
                </a:cubicBezTo>
                <a:cubicBezTo>
                  <a:pt x="135" y="202"/>
                  <a:pt x="137" y="200"/>
                  <a:pt x="141" y="200"/>
                </a:cubicBezTo>
                <a:cubicBezTo>
                  <a:pt x="145" y="199"/>
                  <a:pt x="154" y="199"/>
                  <a:pt x="155" y="199"/>
                </a:cubicBezTo>
                <a:cubicBezTo>
                  <a:pt x="156" y="199"/>
                  <a:pt x="158" y="202"/>
                  <a:pt x="159" y="201"/>
                </a:cubicBezTo>
                <a:cubicBezTo>
                  <a:pt x="160" y="200"/>
                  <a:pt x="160" y="198"/>
                  <a:pt x="160" y="196"/>
                </a:cubicBezTo>
                <a:cubicBezTo>
                  <a:pt x="160" y="194"/>
                  <a:pt x="159" y="191"/>
                  <a:pt x="161" y="190"/>
                </a:cubicBezTo>
                <a:cubicBezTo>
                  <a:pt x="164" y="189"/>
                  <a:pt x="160" y="185"/>
                  <a:pt x="162" y="184"/>
                </a:cubicBezTo>
                <a:cubicBezTo>
                  <a:pt x="164" y="183"/>
                  <a:pt x="165" y="187"/>
                  <a:pt x="167" y="185"/>
                </a:cubicBezTo>
                <a:cubicBezTo>
                  <a:pt x="169" y="184"/>
                  <a:pt x="169" y="184"/>
                  <a:pt x="171" y="182"/>
                </a:cubicBezTo>
                <a:cubicBezTo>
                  <a:pt x="173" y="179"/>
                  <a:pt x="175" y="180"/>
                  <a:pt x="174" y="178"/>
                </a:cubicBezTo>
                <a:cubicBezTo>
                  <a:pt x="174" y="175"/>
                  <a:pt x="175" y="176"/>
                  <a:pt x="176" y="175"/>
                </a:cubicBezTo>
                <a:cubicBezTo>
                  <a:pt x="176" y="174"/>
                  <a:pt x="176" y="172"/>
                  <a:pt x="176" y="170"/>
                </a:cubicBezTo>
                <a:cubicBezTo>
                  <a:pt x="177" y="169"/>
                  <a:pt x="176" y="168"/>
                  <a:pt x="176" y="167"/>
                </a:cubicBezTo>
                <a:cubicBezTo>
                  <a:pt x="176" y="166"/>
                  <a:pt x="176" y="163"/>
                  <a:pt x="177" y="163"/>
                </a:cubicBezTo>
                <a:cubicBezTo>
                  <a:pt x="178" y="164"/>
                  <a:pt x="177" y="159"/>
                  <a:pt x="178" y="159"/>
                </a:cubicBezTo>
                <a:cubicBezTo>
                  <a:pt x="179" y="160"/>
                  <a:pt x="179" y="157"/>
                  <a:pt x="180" y="156"/>
                </a:cubicBezTo>
                <a:cubicBezTo>
                  <a:pt x="181" y="155"/>
                  <a:pt x="180" y="152"/>
                  <a:pt x="182" y="151"/>
                </a:cubicBezTo>
                <a:cubicBezTo>
                  <a:pt x="184" y="150"/>
                  <a:pt x="186" y="147"/>
                  <a:pt x="184" y="145"/>
                </a:cubicBezTo>
                <a:close/>
                <a:moveTo>
                  <a:pt x="102" y="186"/>
                </a:moveTo>
                <a:cubicBezTo>
                  <a:pt x="100" y="186"/>
                  <a:pt x="100" y="190"/>
                  <a:pt x="99" y="191"/>
                </a:cubicBezTo>
                <a:cubicBezTo>
                  <a:pt x="98" y="191"/>
                  <a:pt x="93" y="190"/>
                  <a:pt x="93" y="188"/>
                </a:cubicBezTo>
                <a:cubicBezTo>
                  <a:pt x="94" y="185"/>
                  <a:pt x="95" y="185"/>
                  <a:pt x="95" y="184"/>
                </a:cubicBezTo>
                <a:cubicBezTo>
                  <a:pt x="94" y="183"/>
                  <a:pt x="92" y="184"/>
                  <a:pt x="91" y="182"/>
                </a:cubicBezTo>
                <a:cubicBezTo>
                  <a:pt x="90" y="181"/>
                  <a:pt x="94" y="180"/>
                  <a:pt x="95" y="178"/>
                </a:cubicBezTo>
                <a:cubicBezTo>
                  <a:pt x="96" y="177"/>
                  <a:pt x="98" y="179"/>
                  <a:pt x="99" y="180"/>
                </a:cubicBezTo>
                <a:cubicBezTo>
                  <a:pt x="100" y="181"/>
                  <a:pt x="102" y="180"/>
                  <a:pt x="103" y="179"/>
                </a:cubicBezTo>
                <a:cubicBezTo>
                  <a:pt x="103" y="179"/>
                  <a:pt x="105" y="181"/>
                  <a:pt x="105" y="183"/>
                </a:cubicBezTo>
                <a:cubicBezTo>
                  <a:pt x="105" y="184"/>
                  <a:pt x="104" y="185"/>
                  <a:pt x="102" y="18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 sz="2400" dirty="0"/>
          </a:p>
        </p:txBody>
      </p:sp>
      <p:pic>
        <p:nvPicPr>
          <p:cNvPr id="388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9" name="Rectangle 388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0" name="Rectangle 389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1" name="Rectangle 390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2" name="Rectangle 391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4" name="Rectangle 393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5" name="ZoneTexte 394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397" name="Rectangle 396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8" name="Rectangle 397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6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29386980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26" y="273049"/>
            <a:ext cx="4011084" cy="1162051"/>
          </a:xfrm>
        </p:spPr>
        <p:txBody>
          <a:bodyPr anchor="b"/>
          <a:lstStyle>
            <a:lvl1pPr algn="l">
              <a:defRPr sz="2667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66"/>
            <a:ext cx="6815667" cy="5853113"/>
          </a:xfrm>
        </p:spPr>
        <p:txBody>
          <a:bodyPr>
            <a:normAutofit/>
          </a:bodyPr>
          <a:lstStyle>
            <a:lvl1pPr>
              <a:defRPr sz="3733">
                <a:latin typeface="Arial" pitchFamily="34" charset="0"/>
                <a:cs typeface="Arial" pitchFamily="34" charset="0"/>
              </a:defRPr>
            </a:lvl1pPr>
            <a:lvl2pPr>
              <a:defRPr sz="3200">
                <a:latin typeface="Arial" pitchFamily="34" charset="0"/>
                <a:cs typeface="Arial" pitchFamily="34" charset="0"/>
              </a:defRPr>
            </a:lvl2pPr>
            <a:lvl3pPr>
              <a:defRPr sz="2667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</p:spPr>
        <p:txBody>
          <a:bodyPr/>
          <a:lstStyle>
            <a:lvl1pPr marL="0" indent="0">
              <a:buNone/>
              <a:defRPr sz="1867">
                <a:latin typeface="Arial" pitchFamily="34" charset="0"/>
                <a:cs typeface="Arial" pitchFamily="34" charset="0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 algn="ctr"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endParaRPr lang="fr-FR" dirty="0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8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ZoneTexte 24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6273904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>
                <a:latin typeface="Arial" pitchFamily="34" charset="0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53"/>
            <a:ext cx="7315200" cy="804863"/>
          </a:xfrm>
        </p:spPr>
        <p:txBody>
          <a:bodyPr/>
          <a:lstStyle>
            <a:lvl1pPr marL="0" indent="0">
              <a:buNone/>
              <a:defRPr sz="1867">
                <a:latin typeface="Arial" pitchFamily="34" charset="0"/>
                <a:cs typeface="Arial" pitchFamily="34" charset="0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8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 algn="ctr"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endParaRPr lang="fr-FR" dirty="0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8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ZoneTexte 24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33028008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104" y="4101075"/>
            <a:ext cx="1841793" cy="606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ZoneTexte 20"/>
          <p:cNvSpPr txBox="1"/>
          <p:nvPr userDrawn="1"/>
        </p:nvSpPr>
        <p:spPr>
          <a:xfrm>
            <a:off x="5322070" y="4773150"/>
            <a:ext cx="1467453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333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ww.servier.com</a:t>
            </a:r>
          </a:p>
        </p:txBody>
      </p:sp>
      <p:sp>
        <p:nvSpPr>
          <p:cNvPr id="17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2474153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4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endParaRPr lang="fr-FR" dirty="0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7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ZoneTexte 26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9" name="Rectangle 28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rgbClr val="7030A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3682559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06377"/>
            <a:ext cx="2743200" cy="4387851"/>
          </a:xfrm>
        </p:spPr>
        <p:txBody>
          <a:bodyPr vert="eaVert">
            <a:normAutofit/>
          </a:bodyPr>
          <a:lstStyle>
            <a:lvl1pPr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06377"/>
            <a:ext cx="8026400" cy="4387851"/>
          </a:xfrm>
        </p:spPr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endParaRPr lang="fr-FR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ZoneTexte 22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rgbClr val="7030A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34969524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667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133">
                <a:latin typeface="Arial" pitchFamily="34" charset="0"/>
                <a:cs typeface="Arial" pitchFamily="34" charset="0"/>
              </a:defRPr>
            </a:lvl3pPr>
            <a:lvl4pPr>
              <a:defRPr sz="1867">
                <a:latin typeface="Arial" pitchFamily="34" charset="0"/>
                <a:cs typeface="Arial" pitchFamily="34" charset="0"/>
              </a:defRPr>
            </a:lvl4pPr>
            <a:lvl5pPr>
              <a:defRPr sz="1867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Rectangle 8"/>
          <p:cNvSpPr/>
          <p:nvPr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11585539" y="452674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13126" y="56040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61" y="217877"/>
            <a:ext cx="5145692" cy="349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fr-FR" sz="1600" b="0" kern="1200" dirty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fr-FR"/>
              <a:t>Modifiez les styles du texte du masque</a:t>
            </a:r>
          </a:p>
        </p:txBody>
      </p:sp>
      <p:sp>
        <p:nvSpPr>
          <p:cNvPr id="1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/>
              <a:t>for internal use only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3" y="6318814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Espace réservé de la date 3"/>
          <p:cNvSpPr txBox="1">
            <a:spLocks/>
          </p:cNvSpPr>
          <p:nvPr/>
        </p:nvSpPr>
        <p:spPr>
          <a:xfrm>
            <a:off x="11184565" y="2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37181597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974A04D-072E-4A70-9173-C8016CE54BF2}"/>
              </a:ext>
            </a:extLst>
          </p:cNvPr>
          <p:cNvSpPr/>
          <p:nvPr/>
        </p:nvSpPr>
        <p:spPr>
          <a:xfrm flipH="1">
            <a:off x="11747500" y="1736726"/>
            <a:ext cx="95251" cy="96839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DFD96DF-2844-46AF-AED3-0FA79A97BCFD}"/>
              </a:ext>
            </a:extLst>
          </p:cNvPr>
          <p:cNvSpPr/>
          <p:nvPr/>
        </p:nvSpPr>
        <p:spPr>
          <a:xfrm flipH="1">
            <a:off x="250826" y="2"/>
            <a:ext cx="144463" cy="144463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B3DDECF-8799-4B52-9AD9-7D8992FB3363}"/>
              </a:ext>
            </a:extLst>
          </p:cNvPr>
          <p:cNvSpPr/>
          <p:nvPr/>
        </p:nvSpPr>
        <p:spPr>
          <a:xfrm>
            <a:off x="11699876" y="260350"/>
            <a:ext cx="492125" cy="1427163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368FCF0-F12B-4D46-9C3D-4762813E7CEC}"/>
              </a:ext>
            </a:extLst>
          </p:cNvPr>
          <p:cNvSpPr/>
          <p:nvPr/>
        </p:nvSpPr>
        <p:spPr>
          <a:xfrm>
            <a:off x="0" y="260350"/>
            <a:ext cx="492125" cy="1427163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85D4F4A-2085-4090-9747-8DD0F62C0C51}"/>
              </a:ext>
            </a:extLst>
          </p:cNvPr>
          <p:cNvSpPr txBox="1"/>
          <p:nvPr/>
        </p:nvSpPr>
        <p:spPr>
          <a:xfrm>
            <a:off x="11585576" y="452439"/>
            <a:ext cx="720725" cy="2974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2191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A564A04C-F9DF-469F-9EF1-744FD655896B}" type="slidenum">
              <a:rPr lang="fr-FR" sz="1333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121914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1333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B4AB34-25F7-449C-8BA5-C7CBCB0A0386}"/>
              </a:ext>
            </a:extLst>
          </p:cNvPr>
          <p:cNvSpPr/>
          <p:nvPr/>
        </p:nvSpPr>
        <p:spPr>
          <a:xfrm>
            <a:off x="312739" y="55563"/>
            <a:ext cx="358775" cy="37465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8DDB624F-CD7B-4F83-981F-BA7373AF2A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689" y="6318251"/>
            <a:ext cx="966787" cy="319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0BE62EF-92C9-44DC-BD89-BFBB0E60CC61}"/>
              </a:ext>
            </a:extLst>
          </p:cNvPr>
          <p:cNvSpPr/>
          <p:nvPr/>
        </p:nvSpPr>
        <p:spPr>
          <a:xfrm flipH="1">
            <a:off x="11603039" y="1590675"/>
            <a:ext cx="192087" cy="192088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12ABA4-396E-48AC-959B-E0566E4958A2}"/>
              </a:ext>
            </a:extLst>
          </p:cNvPr>
          <p:cNvSpPr/>
          <p:nvPr/>
        </p:nvSpPr>
        <p:spPr>
          <a:xfrm flipH="1" flipV="1">
            <a:off x="203201" y="104775"/>
            <a:ext cx="77788" cy="762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D7657A0B-142B-4C4F-9FB4-3402201040CF}"/>
              </a:ext>
            </a:extLst>
          </p:cNvPr>
          <p:cNvSpPr txBox="1">
            <a:spLocks/>
          </p:cNvSpPr>
          <p:nvPr/>
        </p:nvSpPr>
        <p:spPr>
          <a:xfrm>
            <a:off x="11183938" y="1"/>
            <a:ext cx="1008063" cy="249239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202A321-4829-4635-8E67-A1C47C788623}" type="datetime1">
              <a:rPr lang="fr-FR" sz="800" smtClean="0">
                <a:solidFill>
                  <a:srgbClr val="0071BA">
                    <a:lumMod val="75000"/>
                  </a:srgbClr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0/12/2020</a:t>
            </a:fld>
            <a:endParaRPr lang="fr-FR" sz="800" dirty="0">
              <a:solidFill>
                <a:srgbClr val="0071BA">
                  <a:lumMod val="75000"/>
                </a:srgbClr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/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667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133">
                <a:latin typeface="Arial" pitchFamily="34" charset="0"/>
                <a:cs typeface="Arial" pitchFamily="34" charset="0"/>
              </a:defRPr>
            </a:lvl3pPr>
            <a:lvl4pPr>
              <a:defRPr sz="1867">
                <a:latin typeface="Arial" pitchFamily="34" charset="0"/>
                <a:cs typeface="Arial" pitchFamily="34" charset="0"/>
              </a:defRPr>
            </a:lvl4pPr>
            <a:lvl5pPr>
              <a:defRPr sz="1867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62" y="217878"/>
            <a:ext cx="5145692" cy="34992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fr-FR" sz="1600" b="0" kern="1200" dirty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14AB3B47-941E-4A24-A234-2C00ACB8AC0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457189" eaLnBrk="0" fontAlgn="base" hangingPunct="0">
              <a:spcBef>
                <a:spcPct val="0"/>
              </a:spcBef>
              <a:spcAft>
                <a:spcPct val="0"/>
              </a:spcAft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fr-FR"/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1154713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39E46B41-210A-4B78-98D9-9EFC114E51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689" y="6318251"/>
            <a:ext cx="966787" cy="319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B4CD30B-A6E5-4615-8F6C-74E45C7804BB}"/>
              </a:ext>
            </a:extLst>
          </p:cNvPr>
          <p:cNvSpPr/>
          <p:nvPr/>
        </p:nvSpPr>
        <p:spPr>
          <a:xfrm flipH="1">
            <a:off x="250826" y="2"/>
            <a:ext cx="144463" cy="144463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FC2EA1-2240-4101-AE2C-AC4411A204F8}"/>
              </a:ext>
            </a:extLst>
          </p:cNvPr>
          <p:cNvSpPr/>
          <p:nvPr/>
        </p:nvSpPr>
        <p:spPr>
          <a:xfrm>
            <a:off x="0" y="260350"/>
            <a:ext cx="492125" cy="1427163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3E07239-102A-4DAD-9165-101006B0C39F}"/>
              </a:ext>
            </a:extLst>
          </p:cNvPr>
          <p:cNvSpPr/>
          <p:nvPr/>
        </p:nvSpPr>
        <p:spPr>
          <a:xfrm>
            <a:off x="312739" y="55563"/>
            <a:ext cx="358775" cy="37465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2FA13E-4F9A-46C6-AAEA-F21F0A4C6E37}"/>
              </a:ext>
            </a:extLst>
          </p:cNvPr>
          <p:cNvSpPr/>
          <p:nvPr/>
        </p:nvSpPr>
        <p:spPr>
          <a:xfrm flipH="1" flipV="1">
            <a:off x="203201" y="104775"/>
            <a:ext cx="77788" cy="762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0D38036-F46B-4E48-8612-33B969C8417B}"/>
              </a:ext>
            </a:extLst>
          </p:cNvPr>
          <p:cNvSpPr/>
          <p:nvPr/>
        </p:nvSpPr>
        <p:spPr>
          <a:xfrm>
            <a:off x="11699876" y="260350"/>
            <a:ext cx="492125" cy="1427163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82C9C72-86BF-4370-931E-59AE045BC497}"/>
              </a:ext>
            </a:extLst>
          </p:cNvPr>
          <p:cNvSpPr txBox="1"/>
          <p:nvPr/>
        </p:nvSpPr>
        <p:spPr>
          <a:xfrm>
            <a:off x="11585576" y="452439"/>
            <a:ext cx="720725" cy="2974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2191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E415706-40E5-48B3-A0CB-D6BBDCC87809}" type="slidenum">
              <a:rPr lang="fr-FR" sz="1333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121914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1333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AC3EAD-5120-4CF8-9A8E-1D42606BB2ED}"/>
              </a:ext>
            </a:extLst>
          </p:cNvPr>
          <p:cNvSpPr/>
          <p:nvPr/>
        </p:nvSpPr>
        <p:spPr>
          <a:xfrm flipH="1">
            <a:off x="11747500" y="1736726"/>
            <a:ext cx="95251" cy="96839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F2C851-7E00-41F3-B9A6-5C078CE7D54D}"/>
              </a:ext>
            </a:extLst>
          </p:cNvPr>
          <p:cNvSpPr/>
          <p:nvPr/>
        </p:nvSpPr>
        <p:spPr>
          <a:xfrm flipH="1">
            <a:off x="11603039" y="1590675"/>
            <a:ext cx="192087" cy="192088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838D5CE4-49F7-409F-8259-702E070FE4E8}"/>
              </a:ext>
            </a:extLst>
          </p:cNvPr>
          <p:cNvSpPr txBox="1">
            <a:spLocks/>
          </p:cNvSpPr>
          <p:nvPr/>
        </p:nvSpPr>
        <p:spPr>
          <a:xfrm>
            <a:off x="11183938" y="1"/>
            <a:ext cx="1008063" cy="249239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202A321-4829-4635-8E67-A1C47C788623}" type="datetime1">
              <a:rPr lang="fr-FR" sz="800" smtClean="0">
                <a:solidFill>
                  <a:srgbClr val="0071BA">
                    <a:lumMod val="75000"/>
                  </a:srgbClr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0/12/2020</a:t>
            </a:fld>
            <a:endParaRPr lang="fr-FR" sz="800" dirty="0">
              <a:solidFill>
                <a:srgbClr val="0071BA">
                  <a:lumMod val="75000"/>
                </a:srgbClr>
              </a:solidFill>
            </a:endParaRP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/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8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62" y="217878"/>
            <a:ext cx="5145692" cy="3499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F647F0E-8774-4A08-922A-1FCE16B053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457189" eaLnBrk="0" fontAlgn="base" hangingPunct="0">
              <a:spcBef>
                <a:spcPct val="0"/>
              </a:spcBef>
              <a:spcAft>
                <a:spcPct val="0"/>
              </a:spcAft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fr-FR"/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1439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495C861-2905-4654-AD2D-958CA9B19369}"/>
              </a:ext>
            </a:extLst>
          </p:cNvPr>
          <p:cNvSpPr/>
          <p:nvPr/>
        </p:nvSpPr>
        <p:spPr>
          <a:xfrm flipH="1">
            <a:off x="11747500" y="1736726"/>
            <a:ext cx="95251" cy="96839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AAD6AB-758C-47C0-9C59-C577614D87E8}"/>
              </a:ext>
            </a:extLst>
          </p:cNvPr>
          <p:cNvSpPr/>
          <p:nvPr/>
        </p:nvSpPr>
        <p:spPr>
          <a:xfrm flipH="1">
            <a:off x="250826" y="2"/>
            <a:ext cx="144463" cy="144463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9D7153-A590-49DE-BE40-BA0EB68B8474}"/>
              </a:ext>
            </a:extLst>
          </p:cNvPr>
          <p:cNvSpPr/>
          <p:nvPr/>
        </p:nvSpPr>
        <p:spPr>
          <a:xfrm>
            <a:off x="11699876" y="260350"/>
            <a:ext cx="492125" cy="1427163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633481-5BFD-42E6-8CEC-322B174C7A5F}"/>
              </a:ext>
            </a:extLst>
          </p:cNvPr>
          <p:cNvSpPr/>
          <p:nvPr/>
        </p:nvSpPr>
        <p:spPr>
          <a:xfrm>
            <a:off x="0" y="260350"/>
            <a:ext cx="492125" cy="1427163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4341CCB1-41B1-4B58-89DA-B47B33BCAC2F}"/>
              </a:ext>
            </a:extLst>
          </p:cNvPr>
          <p:cNvSpPr txBox="1"/>
          <p:nvPr/>
        </p:nvSpPr>
        <p:spPr>
          <a:xfrm>
            <a:off x="11585576" y="452439"/>
            <a:ext cx="720725" cy="2974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2191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EC23A25-DE04-45C9-A3F4-B4C765449BAA}" type="slidenum">
              <a:rPr lang="fr-FR" sz="1333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121914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1333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709BB7C-C4EE-4C2E-86BB-3D425AB1F10A}"/>
              </a:ext>
            </a:extLst>
          </p:cNvPr>
          <p:cNvSpPr/>
          <p:nvPr/>
        </p:nvSpPr>
        <p:spPr>
          <a:xfrm>
            <a:off x="312739" y="55563"/>
            <a:ext cx="358775" cy="37465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22B5CE17-BAB2-4751-8FE2-2076CF13FD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689" y="6318251"/>
            <a:ext cx="966787" cy="319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F48095A-5382-4133-8133-3888291FDDE1}"/>
              </a:ext>
            </a:extLst>
          </p:cNvPr>
          <p:cNvSpPr/>
          <p:nvPr/>
        </p:nvSpPr>
        <p:spPr>
          <a:xfrm flipH="1">
            <a:off x="11603039" y="1590675"/>
            <a:ext cx="192087" cy="192088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1F7C27-4D26-4E73-9B15-C7CBDA2AA381}"/>
              </a:ext>
            </a:extLst>
          </p:cNvPr>
          <p:cNvSpPr/>
          <p:nvPr/>
        </p:nvSpPr>
        <p:spPr>
          <a:xfrm flipH="1" flipV="1">
            <a:off x="203201" y="104775"/>
            <a:ext cx="77788" cy="762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9F24A717-98FF-4C74-ABF0-88CA466F1924}"/>
              </a:ext>
            </a:extLst>
          </p:cNvPr>
          <p:cNvSpPr txBox="1">
            <a:spLocks/>
          </p:cNvSpPr>
          <p:nvPr/>
        </p:nvSpPr>
        <p:spPr>
          <a:xfrm>
            <a:off x="11183938" y="1"/>
            <a:ext cx="1008063" cy="249239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202A321-4829-4635-8E67-A1C47C788623}" type="datetime1">
              <a:rPr lang="fr-FR" sz="800" smtClean="0">
                <a:solidFill>
                  <a:srgbClr val="0071BA">
                    <a:lumMod val="75000"/>
                  </a:srgbClr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0/12/2020</a:t>
            </a:fld>
            <a:endParaRPr lang="fr-FR" sz="800" dirty="0">
              <a:solidFill>
                <a:srgbClr val="0071BA">
                  <a:lumMod val="75000"/>
                </a:srgbClr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/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667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133">
                <a:latin typeface="Arial" pitchFamily="34" charset="0"/>
                <a:cs typeface="Arial" pitchFamily="34" charset="0"/>
              </a:defRPr>
            </a:lvl3pPr>
            <a:lvl4pPr>
              <a:defRPr sz="1867">
                <a:latin typeface="Arial" pitchFamily="34" charset="0"/>
                <a:cs typeface="Arial" pitchFamily="34" charset="0"/>
              </a:defRPr>
            </a:lvl4pPr>
            <a:lvl5pPr>
              <a:defRPr sz="1867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62" y="217878"/>
            <a:ext cx="5145692" cy="34992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fr-FR" sz="1600" b="0" kern="1200" dirty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7ACECE62-B6C9-46AB-87E6-9758F8E9162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457189" eaLnBrk="0" fontAlgn="base" hangingPunct="0">
              <a:spcBef>
                <a:spcPct val="0"/>
              </a:spcBef>
              <a:spcAft>
                <a:spcPct val="0"/>
              </a:spcAft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fr-FR"/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26467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667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133">
                <a:latin typeface="Arial" pitchFamily="34" charset="0"/>
                <a:cs typeface="Arial" pitchFamily="34" charset="0"/>
              </a:defRPr>
            </a:lvl3pPr>
            <a:lvl4pPr>
              <a:defRPr sz="1867">
                <a:latin typeface="Arial" pitchFamily="34" charset="0"/>
                <a:cs typeface="Arial" pitchFamily="34" charset="0"/>
              </a:defRPr>
            </a:lvl4pPr>
            <a:lvl5pPr>
              <a:defRPr sz="1867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endParaRPr lang="fr-FR" dirty="0"/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41118420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3" y="6318814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609600" y="547201"/>
            <a:ext cx="10972800" cy="96158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8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11664618" y="701627"/>
            <a:ext cx="561713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>
                <a:solidFill>
                  <a:schemeClr val="bg1"/>
                </a:solidFill>
              </a:defRPr>
            </a:lvl1pPr>
          </a:lstStyle>
          <a:p>
            <a:fld id="{CA5E4F70-AC98-411B-A073-92B5B573BC35}" type="slidenum">
              <a:rPr lang="en-US" smtClean="0">
                <a:solidFill>
                  <a:prstClr val="white"/>
                </a:solidFill>
              </a:rPr>
              <a:pPr/>
              <a:t>‹N°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Espace réservé du pied de page 17"/>
          <p:cNvSpPr>
            <a:spLocks noGrp="1"/>
          </p:cNvSpPr>
          <p:nvPr>
            <p:ph type="ftr" sz="quarter" idx="3"/>
          </p:nvPr>
        </p:nvSpPr>
        <p:spPr>
          <a:xfrm>
            <a:off x="113148" y="640253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33" b="0">
                <a:solidFill>
                  <a:srgbClr val="4D4D4D"/>
                </a:solidFill>
              </a:defRPr>
            </a:lvl1pPr>
          </a:lstStyle>
          <a:p>
            <a:r>
              <a:rPr lang="en-US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69700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667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133">
                <a:latin typeface="Arial" pitchFamily="34" charset="0"/>
                <a:cs typeface="Arial" pitchFamily="34" charset="0"/>
              </a:defRPr>
            </a:lvl3pPr>
            <a:lvl4pPr>
              <a:defRPr sz="1867">
                <a:latin typeface="Arial" pitchFamily="34" charset="0"/>
                <a:cs typeface="Arial" pitchFamily="34" charset="0"/>
              </a:defRPr>
            </a:lvl4pPr>
            <a:lvl5pPr>
              <a:defRPr sz="1867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585538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13125" y="56040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endParaRPr lang="fr-FR" dirty="0"/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2" y="6318814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11184565" y="2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28630395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519936" y="2130441"/>
            <a:ext cx="6432715" cy="1470025"/>
          </a:xfrm>
        </p:spPr>
        <p:txBody>
          <a:bodyPr>
            <a:noAutofit/>
          </a:bodyPr>
          <a:lstStyle>
            <a:lvl1pPr>
              <a:defRPr sz="4267" b="1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711957" y="3886200"/>
            <a:ext cx="6048672" cy="1752600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pic>
        <p:nvPicPr>
          <p:cNvPr id="1026" name="Picture 2" descr="D:\LOGO SERVIER blanc [Converti].e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7436" y="2638426"/>
            <a:ext cx="2197219" cy="782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58053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667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133">
                <a:latin typeface="Arial" pitchFamily="34" charset="0"/>
                <a:cs typeface="Arial" pitchFamily="34" charset="0"/>
              </a:defRPr>
            </a:lvl3pPr>
            <a:lvl4pPr>
              <a:defRPr sz="1867">
                <a:latin typeface="Arial" pitchFamily="34" charset="0"/>
                <a:cs typeface="Arial" pitchFamily="34" charset="0"/>
              </a:defRPr>
            </a:lvl4pPr>
            <a:lvl5pPr>
              <a:defRPr sz="1867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7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58" y="217875"/>
            <a:ext cx="5145692" cy="349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fr-FR" sz="1600" b="0" kern="1200" dirty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fr-FR"/>
              <a:t>Modifiez les styles du texte du masque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6692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58" y="217875"/>
            <a:ext cx="5145692" cy="3499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Freeform 141"/>
          <p:cNvSpPr>
            <a:spLocks/>
          </p:cNvSpPr>
          <p:nvPr userDrawn="1"/>
        </p:nvSpPr>
        <p:spPr bwMode="auto">
          <a:xfrm>
            <a:off x="5964708" y="3729902"/>
            <a:ext cx="115581" cy="139033"/>
          </a:xfrm>
          <a:custGeom>
            <a:avLst/>
            <a:gdLst>
              <a:gd name="T0" fmla="*/ 2147483646 w 37"/>
              <a:gd name="T1" fmla="*/ 2147483646 h 51"/>
              <a:gd name="T2" fmla="*/ 2147483646 w 37"/>
              <a:gd name="T3" fmla="*/ 2147483646 h 51"/>
              <a:gd name="T4" fmla="*/ 2147483646 w 37"/>
              <a:gd name="T5" fmla="*/ 2147483646 h 51"/>
              <a:gd name="T6" fmla="*/ 2147483646 w 37"/>
              <a:gd name="T7" fmla="*/ 2147483646 h 51"/>
              <a:gd name="T8" fmla="*/ 2147483646 w 37"/>
              <a:gd name="T9" fmla="*/ 2147483646 h 51"/>
              <a:gd name="T10" fmla="*/ 2147483646 w 37"/>
              <a:gd name="T11" fmla="*/ 2147483646 h 51"/>
              <a:gd name="T12" fmla="*/ 2147483646 w 37"/>
              <a:gd name="T13" fmla="*/ 2147483646 h 51"/>
              <a:gd name="T14" fmla="*/ 2147483646 w 37"/>
              <a:gd name="T15" fmla="*/ 2147483646 h 51"/>
              <a:gd name="T16" fmla="*/ 2147483646 w 37"/>
              <a:gd name="T17" fmla="*/ 2147483646 h 51"/>
              <a:gd name="T18" fmla="*/ 2147483646 w 37"/>
              <a:gd name="T19" fmla="*/ 2147483646 h 51"/>
              <a:gd name="T20" fmla="*/ 2147483646 w 37"/>
              <a:gd name="T21" fmla="*/ 2147483646 h 51"/>
              <a:gd name="T22" fmla="*/ 2147483646 w 37"/>
              <a:gd name="T23" fmla="*/ 2147483646 h 51"/>
              <a:gd name="T24" fmla="*/ 2147483646 w 37"/>
              <a:gd name="T25" fmla="*/ 2147483646 h 51"/>
              <a:gd name="T26" fmla="*/ 0 w 37"/>
              <a:gd name="T27" fmla="*/ 2147483646 h 51"/>
              <a:gd name="T28" fmla="*/ 2147483646 w 37"/>
              <a:gd name="T29" fmla="*/ 2147483646 h 51"/>
              <a:gd name="T30" fmla="*/ 0 w 37"/>
              <a:gd name="T31" fmla="*/ 2147483646 h 51"/>
              <a:gd name="T32" fmla="*/ 2147483646 w 37"/>
              <a:gd name="T33" fmla="*/ 2147483646 h 51"/>
              <a:gd name="T34" fmla="*/ 2147483646 w 37"/>
              <a:gd name="T35" fmla="*/ 2147483646 h 51"/>
              <a:gd name="T36" fmla="*/ 2147483646 w 37"/>
              <a:gd name="T37" fmla="*/ 2147483646 h 51"/>
              <a:gd name="T38" fmla="*/ 2147483646 w 37"/>
              <a:gd name="T39" fmla="*/ 2147483646 h 51"/>
              <a:gd name="T40" fmla="*/ 2147483646 w 37"/>
              <a:gd name="T41" fmla="*/ 2147483646 h 51"/>
              <a:gd name="T42" fmla="*/ 2147483646 w 37"/>
              <a:gd name="T43" fmla="*/ 2147483646 h 51"/>
              <a:gd name="T44" fmla="*/ 2147483646 w 37"/>
              <a:gd name="T45" fmla="*/ 2147483646 h 51"/>
              <a:gd name="T46" fmla="*/ 2147483646 w 37"/>
              <a:gd name="T47" fmla="*/ 2147483646 h 51"/>
              <a:gd name="T48" fmla="*/ 2147483646 w 37"/>
              <a:gd name="T49" fmla="*/ 2147483646 h 51"/>
              <a:gd name="T50" fmla="*/ 2147483646 w 37"/>
              <a:gd name="T51" fmla="*/ 2147483646 h 51"/>
              <a:gd name="T52" fmla="*/ 2147483646 w 37"/>
              <a:gd name="T53" fmla="*/ 2147483646 h 51"/>
              <a:gd name="T54" fmla="*/ 2147483646 w 37"/>
              <a:gd name="T55" fmla="*/ 2147483646 h 51"/>
              <a:gd name="T56" fmla="*/ 2147483646 w 37"/>
              <a:gd name="T57" fmla="*/ 2147483646 h 51"/>
              <a:gd name="T58" fmla="*/ 2147483646 w 37"/>
              <a:gd name="T59" fmla="*/ 2147483646 h 51"/>
              <a:gd name="T60" fmla="*/ 2147483646 w 37"/>
              <a:gd name="T61" fmla="*/ 2147483646 h 51"/>
              <a:gd name="T62" fmla="*/ 2147483646 w 37"/>
              <a:gd name="T63" fmla="*/ 2147483646 h 51"/>
              <a:gd name="T64" fmla="*/ 2147483646 w 37"/>
              <a:gd name="T65" fmla="*/ 2147483646 h 51"/>
              <a:gd name="T66" fmla="*/ 2147483646 w 37"/>
              <a:gd name="T67" fmla="*/ 2147483646 h 51"/>
              <a:gd name="T68" fmla="*/ 2147483646 w 37"/>
              <a:gd name="T69" fmla="*/ 2147483646 h 51"/>
              <a:gd name="T70" fmla="*/ 2147483646 w 37"/>
              <a:gd name="T71" fmla="*/ 2147483646 h 51"/>
              <a:gd name="T72" fmla="*/ 2147483646 w 37"/>
              <a:gd name="T73" fmla="*/ 2147483646 h 51"/>
              <a:gd name="T74" fmla="*/ 2147483646 w 37"/>
              <a:gd name="T75" fmla="*/ 2147483646 h 51"/>
              <a:gd name="T76" fmla="*/ 2147483646 w 37"/>
              <a:gd name="T77" fmla="*/ 2147483646 h 51"/>
              <a:gd name="T78" fmla="*/ 2147483646 w 37"/>
              <a:gd name="T79" fmla="*/ 2147483646 h 5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7"/>
              <a:gd name="T121" fmla="*/ 0 h 51"/>
              <a:gd name="T122" fmla="*/ 37 w 37"/>
              <a:gd name="T123" fmla="*/ 51 h 5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7" h="51">
                <a:moveTo>
                  <a:pt x="36" y="37"/>
                </a:moveTo>
                <a:cubicBezTo>
                  <a:pt x="35" y="34"/>
                  <a:pt x="34" y="31"/>
                  <a:pt x="33" y="29"/>
                </a:cubicBezTo>
                <a:cubicBezTo>
                  <a:pt x="34" y="28"/>
                  <a:pt x="35" y="27"/>
                  <a:pt x="35" y="26"/>
                </a:cubicBezTo>
                <a:cubicBezTo>
                  <a:pt x="35" y="25"/>
                  <a:pt x="34" y="24"/>
                  <a:pt x="33" y="23"/>
                </a:cubicBezTo>
                <a:cubicBezTo>
                  <a:pt x="32" y="22"/>
                  <a:pt x="30" y="22"/>
                  <a:pt x="29" y="21"/>
                </a:cubicBezTo>
                <a:cubicBezTo>
                  <a:pt x="27" y="20"/>
                  <a:pt x="25" y="19"/>
                  <a:pt x="23" y="18"/>
                </a:cubicBezTo>
                <a:cubicBezTo>
                  <a:pt x="23" y="17"/>
                  <a:pt x="24" y="16"/>
                  <a:pt x="24" y="14"/>
                </a:cubicBezTo>
                <a:cubicBezTo>
                  <a:pt x="22" y="14"/>
                  <a:pt x="20" y="13"/>
                  <a:pt x="18" y="13"/>
                </a:cubicBezTo>
                <a:cubicBezTo>
                  <a:pt x="17" y="11"/>
                  <a:pt x="16" y="10"/>
                  <a:pt x="15" y="8"/>
                </a:cubicBezTo>
                <a:cubicBezTo>
                  <a:pt x="14" y="6"/>
                  <a:pt x="13" y="3"/>
                  <a:pt x="12" y="1"/>
                </a:cubicBezTo>
                <a:cubicBezTo>
                  <a:pt x="11" y="0"/>
                  <a:pt x="11" y="1"/>
                  <a:pt x="9" y="1"/>
                </a:cubicBezTo>
                <a:cubicBezTo>
                  <a:pt x="8" y="1"/>
                  <a:pt x="6" y="0"/>
                  <a:pt x="5" y="1"/>
                </a:cubicBezTo>
                <a:cubicBezTo>
                  <a:pt x="3" y="2"/>
                  <a:pt x="3" y="3"/>
                  <a:pt x="1" y="3"/>
                </a:cubicBezTo>
                <a:cubicBezTo>
                  <a:pt x="0" y="4"/>
                  <a:pt x="0" y="4"/>
                  <a:pt x="0" y="4"/>
                </a:cubicBezTo>
                <a:cubicBezTo>
                  <a:pt x="0" y="4"/>
                  <a:pt x="1" y="6"/>
                  <a:pt x="1" y="7"/>
                </a:cubicBezTo>
                <a:cubicBezTo>
                  <a:pt x="1" y="7"/>
                  <a:pt x="0" y="8"/>
                  <a:pt x="0" y="9"/>
                </a:cubicBezTo>
                <a:cubicBezTo>
                  <a:pt x="1" y="9"/>
                  <a:pt x="1" y="12"/>
                  <a:pt x="1" y="13"/>
                </a:cubicBezTo>
                <a:cubicBezTo>
                  <a:pt x="2" y="13"/>
                  <a:pt x="3" y="13"/>
                  <a:pt x="3" y="13"/>
                </a:cubicBezTo>
                <a:cubicBezTo>
                  <a:pt x="3" y="14"/>
                  <a:pt x="3" y="16"/>
                  <a:pt x="2" y="17"/>
                </a:cubicBezTo>
                <a:cubicBezTo>
                  <a:pt x="2" y="18"/>
                  <a:pt x="2" y="18"/>
                  <a:pt x="2" y="18"/>
                </a:cubicBezTo>
                <a:cubicBezTo>
                  <a:pt x="4" y="18"/>
                  <a:pt x="5" y="19"/>
                  <a:pt x="4" y="21"/>
                </a:cubicBezTo>
                <a:cubicBezTo>
                  <a:pt x="4" y="22"/>
                  <a:pt x="3" y="23"/>
                  <a:pt x="4" y="24"/>
                </a:cubicBezTo>
                <a:cubicBezTo>
                  <a:pt x="4" y="26"/>
                  <a:pt x="6" y="26"/>
                  <a:pt x="8" y="27"/>
                </a:cubicBezTo>
                <a:cubicBezTo>
                  <a:pt x="7" y="28"/>
                  <a:pt x="4" y="28"/>
                  <a:pt x="3" y="30"/>
                </a:cubicBezTo>
                <a:cubicBezTo>
                  <a:pt x="3" y="31"/>
                  <a:pt x="6" y="32"/>
                  <a:pt x="6" y="34"/>
                </a:cubicBezTo>
                <a:cubicBezTo>
                  <a:pt x="5" y="34"/>
                  <a:pt x="4" y="35"/>
                  <a:pt x="4" y="35"/>
                </a:cubicBezTo>
                <a:cubicBezTo>
                  <a:pt x="5" y="37"/>
                  <a:pt x="5" y="37"/>
                  <a:pt x="5" y="37"/>
                </a:cubicBezTo>
                <a:cubicBezTo>
                  <a:pt x="7" y="39"/>
                  <a:pt x="7" y="39"/>
                  <a:pt x="7" y="39"/>
                </a:cubicBezTo>
                <a:cubicBezTo>
                  <a:pt x="7" y="40"/>
                  <a:pt x="7" y="40"/>
                  <a:pt x="7" y="40"/>
                </a:cubicBezTo>
                <a:cubicBezTo>
                  <a:pt x="10" y="41"/>
                  <a:pt x="10" y="41"/>
                  <a:pt x="10" y="41"/>
                </a:cubicBezTo>
                <a:cubicBezTo>
                  <a:pt x="11" y="42"/>
                  <a:pt x="11" y="42"/>
                  <a:pt x="11" y="42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3"/>
                  <a:pt x="13" y="43"/>
                  <a:pt x="13" y="44"/>
                </a:cubicBezTo>
                <a:cubicBezTo>
                  <a:pt x="13" y="43"/>
                  <a:pt x="13" y="42"/>
                  <a:pt x="14" y="42"/>
                </a:cubicBezTo>
                <a:cubicBezTo>
                  <a:pt x="15" y="40"/>
                  <a:pt x="17" y="40"/>
                  <a:pt x="18" y="41"/>
                </a:cubicBezTo>
                <a:cubicBezTo>
                  <a:pt x="21" y="43"/>
                  <a:pt x="23" y="48"/>
                  <a:pt x="26" y="50"/>
                </a:cubicBezTo>
                <a:cubicBezTo>
                  <a:pt x="28" y="51"/>
                  <a:pt x="30" y="49"/>
                  <a:pt x="32" y="48"/>
                </a:cubicBezTo>
                <a:cubicBezTo>
                  <a:pt x="33" y="47"/>
                  <a:pt x="33" y="47"/>
                  <a:pt x="33" y="47"/>
                </a:cubicBezTo>
                <a:cubicBezTo>
                  <a:pt x="33" y="45"/>
                  <a:pt x="36" y="43"/>
                  <a:pt x="37" y="41"/>
                </a:cubicBezTo>
                <a:cubicBezTo>
                  <a:pt x="37" y="40"/>
                  <a:pt x="36" y="38"/>
                  <a:pt x="36" y="3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 142"/>
          <p:cNvSpPr>
            <a:spLocks/>
          </p:cNvSpPr>
          <p:nvPr userDrawn="1"/>
        </p:nvSpPr>
        <p:spPr bwMode="auto">
          <a:xfrm>
            <a:off x="5951307" y="3825382"/>
            <a:ext cx="53603" cy="56953"/>
          </a:xfrm>
          <a:custGeom>
            <a:avLst/>
            <a:gdLst>
              <a:gd name="T0" fmla="*/ 2147483646 w 17"/>
              <a:gd name="T1" fmla="*/ 2147483646 h 21"/>
              <a:gd name="T2" fmla="*/ 2147483646 w 17"/>
              <a:gd name="T3" fmla="*/ 2147483646 h 21"/>
              <a:gd name="T4" fmla="*/ 2147483646 w 17"/>
              <a:gd name="T5" fmla="*/ 2147483646 h 21"/>
              <a:gd name="T6" fmla="*/ 2147483646 w 17"/>
              <a:gd name="T7" fmla="*/ 2147483646 h 21"/>
              <a:gd name="T8" fmla="*/ 2147483646 w 17"/>
              <a:gd name="T9" fmla="*/ 0 h 21"/>
              <a:gd name="T10" fmla="*/ 2147483646 w 17"/>
              <a:gd name="T11" fmla="*/ 0 h 21"/>
              <a:gd name="T12" fmla="*/ 2147483646 w 17"/>
              <a:gd name="T13" fmla="*/ 2147483646 h 21"/>
              <a:gd name="T14" fmla="*/ 2147483646 w 17"/>
              <a:gd name="T15" fmla="*/ 2147483646 h 21"/>
              <a:gd name="T16" fmla="*/ 2147483646 w 17"/>
              <a:gd name="T17" fmla="*/ 2147483646 h 21"/>
              <a:gd name="T18" fmla="*/ 2147483646 w 17"/>
              <a:gd name="T19" fmla="*/ 2147483646 h 21"/>
              <a:gd name="T20" fmla="*/ 2147483646 w 17"/>
              <a:gd name="T21" fmla="*/ 2147483646 h 21"/>
              <a:gd name="T22" fmla="*/ 2147483646 w 17"/>
              <a:gd name="T23" fmla="*/ 2147483646 h 21"/>
              <a:gd name="T24" fmla="*/ 2147483646 w 17"/>
              <a:gd name="T25" fmla="*/ 2147483646 h 21"/>
              <a:gd name="T26" fmla="*/ 2147483646 w 17"/>
              <a:gd name="T27" fmla="*/ 2147483646 h 21"/>
              <a:gd name="T28" fmla="*/ 2147483646 w 17"/>
              <a:gd name="T29" fmla="*/ 2147483646 h 21"/>
              <a:gd name="T30" fmla="*/ 2147483646 w 17"/>
              <a:gd name="T31" fmla="*/ 2147483646 h 21"/>
              <a:gd name="T32" fmla="*/ 2147483646 w 17"/>
              <a:gd name="T33" fmla="*/ 2147483646 h 21"/>
              <a:gd name="T34" fmla="*/ 2147483646 w 17"/>
              <a:gd name="T35" fmla="*/ 2147483646 h 21"/>
              <a:gd name="T36" fmla="*/ 2147483646 w 17"/>
              <a:gd name="T37" fmla="*/ 2147483646 h 21"/>
              <a:gd name="T38" fmla="*/ 2147483646 w 17"/>
              <a:gd name="T39" fmla="*/ 2147483646 h 21"/>
              <a:gd name="T40" fmla="*/ 2147483646 w 17"/>
              <a:gd name="T41" fmla="*/ 2147483646 h 21"/>
              <a:gd name="T42" fmla="*/ 0 w 17"/>
              <a:gd name="T43" fmla="*/ 2147483646 h 21"/>
              <a:gd name="T44" fmla="*/ 2147483646 w 17"/>
              <a:gd name="T45" fmla="*/ 2147483646 h 2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7"/>
              <a:gd name="T70" fmla="*/ 0 h 21"/>
              <a:gd name="T71" fmla="*/ 17 w 17"/>
              <a:gd name="T72" fmla="*/ 21 h 2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7" h="21">
                <a:moveTo>
                  <a:pt x="1" y="12"/>
                </a:moveTo>
                <a:cubicBezTo>
                  <a:pt x="1" y="9"/>
                  <a:pt x="3" y="6"/>
                  <a:pt x="3" y="3"/>
                </a:cubicBezTo>
                <a:cubicBezTo>
                  <a:pt x="4" y="3"/>
                  <a:pt x="5" y="3"/>
                  <a:pt x="5" y="3"/>
                </a:cubicBezTo>
                <a:cubicBezTo>
                  <a:pt x="6" y="2"/>
                  <a:pt x="5" y="2"/>
                  <a:pt x="6" y="1"/>
                </a:cubicBezTo>
                <a:cubicBezTo>
                  <a:pt x="6" y="1"/>
                  <a:pt x="6" y="1"/>
                  <a:pt x="7" y="0"/>
                </a:cubicBezTo>
                <a:cubicBezTo>
                  <a:pt x="7" y="0"/>
                  <a:pt x="7" y="0"/>
                  <a:pt x="8" y="0"/>
                </a:cubicBezTo>
                <a:cubicBezTo>
                  <a:pt x="9" y="2"/>
                  <a:pt x="9" y="2"/>
                  <a:pt x="9" y="2"/>
                </a:cubicBezTo>
                <a:cubicBezTo>
                  <a:pt x="11" y="4"/>
                  <a:pt x="11" y="4"/>
                  <a:pt x="11" y="4"/>
                </a:cubicBezTo>
                <a:cubicBezTo>
                  <a:pt x="11" y="5"/>
                  <a:pt x="11" y="5"/>
                  <a:pt x="11" y="5"/>
                </a:cubicBezTo>
                <a:cubicBezTo>
                  <a:pt x="14" y="6"/>
                  <a:pt x="14" y="6"/>
                  <a:pt x="14" y="6"/>
                </a:cubicBezTo>
                <a:cubicBezTo>
                  <a:pt x="15" y="7"/>
                  <a:pt x="15" y="7"/>
                  <a:pt x="15" y="7"/>
                </a:cubicBezTo>
                <a:cubicBezTo>
                  <a:pt x="17" y="8"/>
                  <a:pt x="17" y="8"/>
                  <a:pt x="17" y="8"/>
                </a:cubicBezTo>
                <a:cubicBezTo>
                  <a:pt x="17" y="9"/>
                  <a:pt x="17" y="10"/>
                  <a:pt x="16" y="11"/>
                </a:cubicBezTo>
                <a:cubicBezTo>
                  <a:pt x="16" y="12"/>
                  <a:pt x="16" y="12"/>
                  <a:pt x="16" y="12"/>
                </a:cubicBezTo>
                <a:cubicBezTo>
                  <a:pt x="15" y="11"/>
                  <a:pt x="14" y="11"/>
                  <a:pt x="12" y="11"/>
                </a:cubicBezTo>
                <a:cubicBezTo>
                  <a:pt x="9" y="12"/>
                  <a:pt x="9" y="12"/>
                  <a:pt x="9" y="15"/>
                </a:cubicBezTo>
                <a:cubicBezTo>
                  <a:pt x="9" y="17"/>
                  <a:pt x="8" y="19"/>
                  <a:pt x="8" y="21"/>
                </a:cubicBezTo>
                <a:cubicBezTo>
                  <a:pt x="8" y="21"/>
                  <a:pt x="8" y="21"/>
                  <a:pt x="8" y="21"/>
                </a:cubicBezTo>
                <a:cubicBezTo>
                  <a:pt x="7" y="21"/>
                  <a:pt x="7" y="20"/>
                  <a:pt x="6" y="18"/>
                </a:cubicBezTo>
                <a:cubicBezTo>
                  <a:pt x="4" y="16"/>
                  <a:pt x="4" y="17"/>
                  <a:pt x="2" y="17"/>
                </a:cubicBezTo>
                <a:cubicBezTo>
                  <a:pt x="1" y="16"/>
                  <a:pt x="1" y="16"/>
                  <a:pt x="1" y="16"/>
                </a:cubicBezTo>
                <a:cubicBezTo>
                  <a:pt x="0" y="14"/>
                  <a:pt x="0" y="14"/>
                  <a:pt x="0" y="14"/>
                </a:cubicBezTo>
                <a:lnTo>
                  <a:pt x="1" y="1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Freeform 137"/>
          <p:cNvSpPr>
            <a:spLocks/>
          </p:cNvSpPr>
          <p:nvPr userDrawn="1"/>
        </p:nvSpPr>
        <p:spPr bwMode="auto">
          <a:xfrm>
            <a:off x="5259493" y="3371431"/>
            <a:ext cx="112232" cy="167509"/>
          </a:xfrm>
          <a:custGeom>
            <a:avLst/>
            <a:gdLst>
              <a:gd name="T0" fmla="*/ 2147483646 w 42"/>
              <a:gd name="T1" fmla="*/ 2147483646 h 61"/>
              <a:gd name="T2" fmla="*/ 2147483646 w 42"/>
              <a:gd name="T3" fmla="*/ 2147483646 h 61"/>
              <a:gd name="T4" fmla="*/ 2147483646 w 42"/>
              <a:gd name="T5" fmla="*/ 2147483646 h 61"/>
              <a:gd name="T6" fmla="*/ 2147483646 w 42"/>
              <a:gd name="T7" fmla="*/ 2147483646 h 61"/>
              <a:gd name="T8" fmla="*/ 2147483646 w 42"/>
              <a:gd name="T9" fmla="*/ 2147483646 h 61"/>
              <a:gd name="T10" fmla="*/ 2147483646 w 42"/>
              <a:gd name="T11" fmla="*/ 2147483646 h 61"/>
              <a:gd name="T12" fmla="*/ 2147483646 w 42"/>
              <a:gd name="T13" fmla="*/ 2147483646 h 61"/>
              <a:gd name="T14" fmla="*/ 2147483646 w 42"/>
              <a:gd name="T15" fmla="*/ 2147483646 h 61"/>
              <a:gd name="T16" fmla="*/ 2147483646 w 42"/>
              <a:gd name="T17" fmla="*/ 2147483646 h 61"/>
              <a:gd name="T18" fmla="*/ 2147483646 w 42"/>
              <a:gd name="T19" fmla="*/ 2147483646 h 61"/>
              <a:gd name="T20" fmla="*/ 2147483646 w 42"/>
              <a:gd name="T21" fmla="*/ 2147483646 h 61"/>
              <a:gd name="T22" fmla="*/ 2147483646 w 42"/>
              <a:gd name="T23" fmla="*/ 2147483646 h 61"/>
              <a:gd name="T24" fmla="*/ 2147483646 w 42"/>
              <a:gd name="T25" fmla="*/ 2147483646 h 61"/>
              <a:gd name="T26" fmla="*/ 2147483646 w 42"/>
              <a:gd name="T27" fmla="*/ 2147483646 h 61"/>
              <a:gd name="T28" fmla="*/ 2147483646 w 42"/>
              <a:gd name="T29" fmla="*/ 2147483646 h 61"/>
              <a:gd name="T30" fmla="*/ 2147483646 w 42"/>
              <a:gd name="T31" fmla="*/ 2147483646 h 61"/>
              <a:gd name="T32" fmla="*/ 2147483646 w 42"/>
              <a:gd name="T33" fmla="*/ 2147483646 h 61"/>
              <a:gd name="T34" fmla="*/ 2147483646 w 42"/>
              <a:gd name="T35" fmla="*/ 2147483646 h 61"/>
              <a:gd name="T36" fmla="*/ 2147483646 w 42"/>
              <a:gd name="T37" fmla="*/ 2147483646 h 61"/>
              <a:gd name="T38" fmla="*/ 2147483646 w 42"/>
              <a:gd name="T39" fmla="*/ 2147483646 h 61"/>
              <a:gd name="T40" fmla="*/ 2147483646 w 42"/>
              <a:gd name="T41" fmla="*/ 2147483646 h 61"/>
              <a:gd name="T42" fmla="*/ 2147483646 w 42"/>
              <a:gd name="T43" fmla="*/ 2147483646 h 61"/>
              <a:gd name="T44" fmla="*/ 2147483646 w 42"/>
              <a:gd name="T45" fmla="*/ 2147483646 h 61"/>
              <a:gd name="T46" fmla="*/ 2147483646 w 42"/>
              <a:gd name="T47" fmla="*/ 2147483646 h 61"/>
              <a:gd name="T48" fmla="*/ 2147483646 w 42"/>
              <a:gd name="T49" fmla="*/ 2147483646 h 61"/>
              <a:gd name="T50" fmla="*/ 2147483646 w 42"/>
              <a:gd name="T51" fmla="*/ 2147483646 h 61"/>
              <a:gd name="T52" fmla="*/ 2147483646 w 42"/>
              <a:gd name="T53" fmla="*/ 2147483646 h 61"/>
              <a:gd name="T54" fmla="*/ 2147483646 w 42"/>
              <a:gd name="T55" fmla="*/ 2147483646 h 61"/>
              <a:gd name="T56" fmla="*/ 2147483646 w 42"/>
              <a:gd name="T57" fmla="*/ 2147483646 h 61"/>
              <a:gd name="T58" fmla="*/ 2147483646 w 42"/>
              <a:gd name="T59" fmla="*/ 2147483646 h 61"/>
              <a:gd name="T60" fmla="*/ 2147483646 w 42"/>
              <a:gd name="T61" fmla="*/ 2147483646 h 61"/>
              <a:gd name="T62" fmla="*/ 2147483646 w 42"/>
              <a:gd name="T63" fmla="*/ 2147483646 h 61"/>
              <a:gd name="T64" fmla="*/ 2147483646 w 42"/>
              <a:gd name="T65" fmla="*/ 2147483646 h 61"/>
              <a:gd name="T66" fmla="*/ 2147483646 w 42"/>
              <a:gd name="T67" fmla="*/ 2147483646 h 61"/>
              <a:gd name="T68" fmla="*/ 2147483646 w 42"/>
              <a:gd name="T69" fmla="*/ 2147483646 h 61"/>
              <a:gd name="T70" fmla="*/ 2147483646 w 42"/>
              <a:gd name="T71" fmla="*/ 2147483646 h 61"/>
              <a:gd name="T72" fmla="*/ 2147483646 w 42"/>
              <a:gd name="T73" fmla="*/ 2147483646 h 61"/>
              <a:gd name="T74" fmla="*/ 2147483646 w 42"/>
              <a:gd name="T75" fmla="*/ 2147483646 h 61"/>
              <a:gd name="T76" fmla="*/ 2147483646 w 42"/>
              <a:gd name="T77" fmla="*/ 2147483646 h 61"/>
              <a:gd name="T78" fmla="*/ 2147483646 w 42"/>
              <a:gd name="T79" fmla="*/ 2147483646 h 61"/>
              <a:gd name="T80" fmla="*/ 2147483646 w 42"/>
              <a:gd name="T81" fmla="*/ 2147483646 h 61"/>
              <a:gd name="T82" fmla="*/ 2147483646 w 42"/>
              <a:gd name="T83" fmla="*/ 2147483646 h 61"/>
              <a:gd name="T84" fmla="*/ 2147483646 w 42"/>
              <a:gd name="T85" fmla="*/ 2147483646 h 61"/>
              <a:gd name="T86" fmla="*/ 2147483646 w 42"/>
              <a:gd name="T87" fmla="*/ 2147483646 h 61"/>
              <a:gd name="T88" fmla="*/ 2147483646 w 42"/>
              <a:gd name="T89" fmla="*/ 2147483646 h 61"/>
              <a:gd name="T90" fmla="*/ 2147483646 w 42"/>
              <a:gd name="T91" fmla="*/ 2147483646 h 61"/>
              <a:gd name="T92" fmla="*/ 2147483646 w 42"/>
              <a:gd name="T93" fmla="*/ 2147483646 h 61"/>
              <a:gd name="T94" fmla="*/ 2147483646 w 42"/>
              <a:gd name="T95" fmla="*/ 2147483646 h 61"/>
              <a:gd name="T96" fmla="*/ 2147483646 w 42"/>
              <a:gd name="T97" fmla="*/ 2147483646 h 61"/>
              <a:gd name="T98" fmla="*/ 2147483646 w 42"/>
              <a:gd name="T99" fmla="*/ 2147483646 h 61"/>
              <a:gd name="T100" fmla="*/ 2147483646 w 42"/>
              <a:gd name="T101" fmla="*/ 2147483646 h 61"/>
              <a:gd name="T102" fmla="*/ 2147483646 w 42"/>
              <a:gd name="T103" fmla="*/ 2147483646 h 61"/>
              <a:gd name="T104" fmla="*/ 2147483646 w 42"/>
              <a:gd name="T105" fmla="*/ 2147483646 h 61"/>
              <a:gd name="T106" fmla="*/ 2147483646 w 42"/>
              <a:gd name="T107" fmla="*/ 2147483646 h 61"/>
              <a:gd name="T108" fmla="*/ 2147483646 w 42"/>
              <a:gd name="T109" fmla="*/ 2147483646 h 61"/>
              <a:gd name="T110" fmla="*/ 2147483646 w 42"/>
              <a:gd name="T111" fmla="*/ 2147483646 h 6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2"/>
              <a:gd name="T169" fmla="*/ 0 h 61"/>
              <a:gd name="T170" fmla="*/ 42 w 42"/>
              <a:gd name="T171" fmla="*/ 61 h 6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2" h="61">
                <a:moveTo>
                  <a:pt x="41" y="36"/>
                </a:moveTo>
                <a:cubicBezTo>
                  <a:pt x="41" y="35"/>
                  <a:pt x="41" y="33"/>
                  <a:pt x="40" y="32"/>
                </a:cubicBezTo>
                <a:cubicBezTo>
                  <a:pt x="39" y="31"/>
                  <a:pt x="39" y="29"/>
                  <a:pt x="39" y="28"/>
                </a:cubicBezTo>
                <a:cubicBezTo>
                  <a:pt x="38" y="26"/>
                  <a:pt x="37" y="25"/>
                  <a:pt x="38" y="24"/>
                </a:cubicBezTo>
                <a:cubicBezTo>
                  <a:pt x="39" y="23"/>
                  <a:pt x="39" y="22"/>
                  <a:pt x="40" y="22"/>
                </a:cubicBezTo>
                <a:cubicBezTo>
                  <a:pt x="40" y="22"/>
                  <a:pt x="40" y="22"/>
                  <a:pt x="40" y="22"/>
                </a:cubicBezTo>
                <a:cubicBezTo>
                  <a:pt x="40" y="22"/>
                  <a:pt x="40" y="21"/>
                  <a:pt x="39" y="20"/>
                </a:cubicBezTo>
                <a:cubicBezTo>
                  <a:pt x="38" y="20"/>
                  <a:pt x="36" y="21"/>
                  <a:pt x="36" y="21"/>
                </a:cubicBezTo>
                <a:cubicBezTo>
                  <a:pt x="35" y="21"/>
                  <a:pt x="36" y="19"/>
                  <a:pt x="36" y="19"/>
                </a:cubicBezTo>
                <a:cubicBezTo>
                  <a:pt x="36" y="19"/>
                  <a:pt x="33" y="16"/>
                  <a:pt x="33" y="16"/>
                </a:cubicBezTo>
                <a:cubicBezTo>
                  <a:pt x="32" y="16"/>
                  <a:pt x="31" y="19"/>
                  <a:pt x="31" y="20"/>
                </a:cubicBezTo>
                <a:cubicBezTo>
                  <a:pt x="30" y="21"/>
                  <a:pt x="27" y="20"/>
                  <a:pt x="27" y="20"/>
                </a:cubicBezTo>
                <a:cubicBezTo>
                  <a:pt x="25" y="17"/>
                  <a:pt x="25" y="17"/>
                  <a:pt x="25" y="17"/>
                </a:cubicBezTo>
                <a:cubicBezTo>
                  <a:pt x="25" y="17"/>
                  <a:pt x="23" y="17"/>
                  <a:pt x="23" y="15"/>
                </a:cubicBezTo>
                <a:cubicBezTo>
                  <a:pt x="23" y="14"/>
                  <a:pt x="25" y="14"/>
                  <a:pt x="25" y="14"/>
                </a:cubicBezTo>
                <a:cubicBezTo>
                  <a:pt x="25" y="14"/>
                  <a:pt x="26" y="14"/>
                  <a:pt x="27" y="13"/>
                </a:cubicBezTo>
                <a:cubicBezTo>
                  <a:pt x="27" y="13"/>
                  <a:pt x="25" y="12"/>
                  <a:pt x="25" y="11"/>
                </a:cubicBezTo>
                <a:cubicBezTo>
                  <a:pt x="26" y="11"/>
                  <a:pt x="27" y="11"/>
                  <a:pt x="28" y="11"/>
                </a:cubicBezTo>
                <a:cubicBezTo>
                  <a:pt x="28" y="11"/>
                  <a:pt x="29" y="10"/>
                  <a:pt x="29" y="10"/>
                </a:cubicBezTo>
                <a:cubicBezTo>
                  <a:pt x="31" y="6"/>
                  <a:pt x="31" y="6"/>
                  <a:pt x="31" y="6"/>
                </a:cubicBezTo>
                <a:cubicBezTo>
                  <a:pt x="30" y="6"/>
                  <a:pt x="30" y="6"/>
                  <a:pt x="31" y="5"/>
                </a:cubicBezTo>
                <a:cubicBezTo>
                  <a:pt x="32" y="5"/>
                  <a:pt x="33" y="3"/>
                  <a:pt x="32" y="3"/>
                </a:cubicBezTo>
                <a:cubicBezTo>
                  <a:pt x="30" y="2"/>
                  <a:pt x="31" y="0"/>
                  <a:pt x="30" y="1"/>
                </a:cubicBezTo>
                <a:cubicBezTo>
                  <a:pt x="29" y="2"/>
                  <a:pt x="27" y="2"/>
                  <a:pt x="28" y="3"/>
                </a:cubicBezTo>
                <a:cubicBezTo>
                  <a:pt x="29" y="5"/>
                  <a:pt x="30" y="5"/>
                  <a:pt x="28" y="6"/>
                </a:cubicBezTo>
                <a:cubicBezTo>
                  <a:pt x="27" y="7"/>
                  <a:pt x="26" y="8"/>
                  <a:pt x="26" y="6"/>
                </a:cubicBezTo>
                <a:cubicBezTo>
                  <a:pt x="26" y="5"/>
                  <a:pt x="26" y="3"/>
                  <a:pt x="25" y="3"/>
                </a:cubicBezTo>
                <a:cubicBezTo>
                  <a:pt x="24" y="4"/>
                  <a:pt x="23" y="4"/>
                  <a:pt x="23" y="5"/>
                </a:cubicBezTo>
                <a:cubicBezTo>
                  <a:pt x="22" y="7"/>
                  <a:pt x="19" y="5"/>
                  <a:pt x="20" y="7"/>
                </a:cubicBezTo>
                <a:cubicBezTo>
                  <a:pt x="20" y="9"/>
                  <a:pt x="22" y="9"/>
                  <a:pt x="19" y="10"/>
                </a:cubicBezTo>
                <a:cubicBezTo>
                  <a:pt x="16" y="11"/>
                  <a:pt x="15" y="12"/>
                  <a:pt x="17" y="13"/>
                </a:cubicBezTo>
                <a:cubicBezTo>
                  <a:pt x="19" y="14"/>
                  <a:pt x="20" y="13"/>
                  <a:pt x="21" y="13"/>
                </a:cubicBezTo>
                <a:cubicBezTo>
                  <a:pt x="22" y="14"/>
                  <a:pt x="23" y="14"/>
                  <a:pt x="21" y="15"/>
                </a:cubicBezTo>
                <a:cubicBezTo>
                  <a:pt x="20" y="16"/>
                  <a:pt x="18" y="15"/>
                  <a:pt x="19" y="16"/>
                </a:cubicBezTo>
                <a:cubicBezTo>
                  <a:pt x="19" y="18"/>
                  <a:pt x="20" y="17"/>
                  <a:pt x="19" y="19"/>
                </a:cubicBezTo>
                <a:cubicBezTo>
                  <a:pt x="18" y="20"/>
                  <a:pt x="18" y="21"/>
                  <a:pt x="17" y="20"/>
                </a:cubicBezTo>
                <a:cubicBezTo>
                  <a:pt x="17" y="19"/>
                  <a:pt x="15" y="17"/>
                  <a:pt x="15" y="18"/>
                </a:cubicBezTo>
                <a:cubicBezTo>
                  <a:pt x="14" y="19"/>
                  <a:pt x="15" y="20"/>
                  <a:pt x="14" y="20"/>
                </a:cubicBezTo>
                <a:cubicBezTo>
                  <a:pt x="14" y="21"/>
                  <a:pt x="13" y="21"/>
                  <a:pt x="12" y="20"/>
                </a:cubicBezTo>
                <a:cubicBezTo>
                  <a:pt x="12" y="19"/>
                  <a:pt x="12" y="17"/>
                  <a:pt x="10" y="18"/>
                </a:cubicBezTo>
                <a:cubicBezTo>
                  <a:pt x="9" y="18"/>
                  <a:pt x="10" y="18"/>
                  <a:pt x="8" y="18"/>
                </a:cubicBezTo>
                <a:cubicBezTo>
                  <a:pt x="6" y="19"/>
                  <a:pt x="7" y="20"/>
                  <a:pt x="8" y="21"/>
                </a:cubicBezTo>
                <a:cubicBezTo>
                  <a:pt x="8" y="21"/>
                  <a:pt x="8" y="21"/>
                  <a:pt x="7" y="22"/>
                </a:cubicBezTo>
                <a:cubicBezTo>
                  <a:pt x="6" y="22"/>
                  <a:pt x="6" y="23"/>
                  <a:pt x="7" y="23"/>
                </a:cubicBezTo>
                <a:cubicBezTo>
                  <a:pt x="8" y="24"/>
                  <a:pt x="6" y="25"/>
                  <a:pt x="5" y="24"/>
                </a:cubicBezTo>
                <a:cubicBezTo>
                  <a:pt x="4" y="24"/>
                  <a:pt x="2" y="23"/>
                  <a:pt x="4" y="24"/>
                </a:cubicBezTo>
                <a:cubicBezTo>
                  <a:pt x="5" y="25"/>
                  <a:pt x="5" y="25"/>
                  <a:pt x="6" y="26"/>
                </a:cubicBezTo>
                <a:cubicBezTo>
                  <a:pt x="7" y="27"/>
                  <a:pt x="7" y="28"/>
                  <a:pt x="7" y="27"/>
                </a:cubicBezTo>
                <a:cubicBezTo>
                  <a:pt x="8" y="26"/>
                  <a:pt x="7" y="25"/>
                  <a:pt x="8" y="26"/>
                </a:cubicBezTo>
                <a:cubicBezTo>
                  <a:pt x="9" y="26"/>
                  <a:pt x="10" y="27"/>
                  <a:pt x="8" y="27"/>
                </a:cubicBezTo>
                <a:cubicBezTo>
                  <a:pt x="7" y="28"/>
                  <a:pt x="6" y="27"/>
                  <a:pt x="6" y="28"/>
                </a:cubicBezTo>
                <a:cubicBezTo>
                  <a:pt x="5" y="29"/>
                  <a:pt x="6" y="29"/>
                  <a:pt x="5" y="30"/>
                </a:cubicBezTo>
                <a:cubicBezTo>
                  <a:pt x="4" y="31"/>
                  <a:pt x="3" y="29"/>
                  <a:pt x="4" y="31"/>
                </a:cubicBezTo>
                <a:cubicBezTo>
                  <a:pt x="5" y="33"/>
                  <a:pt x="5" y="31"/>
                  <a:pt x="7" y="33"/>
                </a:cubicBezTo>
                <a:cubicBezTo>
                  <a:pt x="8" y="34"/>
                  <a:pt x="8" y="33"/>
                  <a:pt x="9" y="33"/>
                </a:cubicBezTo>
                <a:cubicBezTo>
                  <a:pt x="10" y="33"/>
                  <a:pt x="10" y="33"/>
                  <a:pt x="10" y="34"/>
                </a:cubicBezTo>
                <a:cubicBezTo>
                  <a:pt x="11" y="35"/>
                  <a:pt x="10" y="34"/>
                  <a:pt x="12" y="35"/>
                </a:cubicBezTo>
                <a:cubicBezTo>
                  <a:pt x="14" y="35"/>
                  <a:pt x="14" y="35"/>
                  <a:pt x="15" y="34"/>
                </a:cubicBezTo>
                <a:cubicBezTo>
                  <a:pt x="15" y="34"/>
                  <a:pt x="14" y="34"/>
                  <a:pt x="14" y="32"/>
                </a:cubicBezTo>
                <a:cubicBezTo>
                  <a:pt x="14" y="31"/>
                  <a:pt x="13" y="30"/>
                  <a:pt x="14" y="31"/>
                </a:cubicBezTo>
                <a:cubicBezTo>
                  <a:pt x="16" y="31"/>
                  <a:pt x="16" y="32"/>
                  <a:pt x="16" y="33"/>
                </a:cubicBezTo>
                <a:cubicBezTo>
                  <a:pt x="15" y="34"/>
                  <a:pt x="15" y="33"/>
                  <a:pt x="15" y="34"/>
                </a:cubicBezTo>
                <a:cubicBezTo>
                  <a:pt x="16" y="35"/>
                  <a:pt x="17" y="35"/>
                  <a:pt x="16" y="36"/>
                </a:cubicBezTo>
                <a:cubicBezTo>
                  <a:pt x="14" y="36"/>
                  <a:pt x="14" y="36"/>
                  <a:pt x="13" y="37"/>
                </a:cubicBezTo>
                <a:cubicBezTo>
                  <a:pt x="12" y="37"/>
                  <a:pt x="12" y="36"/>
                  <a:pt x="12" y="37"/>
                </a:cubicBezTo>
                <a:cubicBezTo>
                  <a:pt x="11" y="39"/>
                  <a:pt x="11" y="39"/>
                  <a:pt x="11" y="40"/>
                </a:cubicBezTo>
                <a:cubicBezTo>
                  <a:pt x="10" y="40"/>
                  <a:pt x="11" y="42"/>
                  <a:pt x="10" y="42"/>
                </a:cubicBezTo>
                <a:cubicBezTo>
                  <a:pt x="9" y="43"/>
                  <a:pt x="10" y="42"/>
                  <a:pt x="8" y="44"/>
                </a:cubicBezTo>
                <a:cubicBezTo>
                  <a:pt x="7" y="45"/>
                  <a:pt x="6" y="45"/>
                  <a:pt x="6" y="45"/>
                </a:cubicBezTo>
                <a:cubicBezTo>
                  <a:pt x="7" y="46"/>
                  <a:pt x="8" y="45"/>
                  <a:pt x="10" y="45"/>
                </a:cubicBezTo>
                <a:cubicBezTo>
                  <a:pt x="10" y="45"/>
                  <a:pt x="10" y="45"/>
                  <a:pt x="11" y="45"/>
                </a:cubicBezTo>
                <a:cubicBezTo>
                  <a:pt x="12" y="45"/>
                  <a:pt x="12" y="45"/>
                  <a:pt x="13" y="45"/>
                </a:cubicBezTo>
                <a:cubicBezTo>
                  <a:pt x="14" y="45"/>
                  <a:pt x="14" y="43"/>
                  <a:pt x="14" y="42"/>
                </a:cubicBezTo>
                <a:cubicBezTo>
                  <a:pt x="15" y="42"/>
                  <a:pt x="16" y="40"/>
                  <a:pt x="16" y="42"/>
                </a:cubicBezTo>
                <a:cubicBezTo>
                  <a:pt x="16" y="44"/>
                  <a:pt x="16" y="44"/>
                  <a:pt x="17" y="44"/>
                </a:cubicBezTo>
                <a:cubicBezTo>
                  <a:pt x="18" y="45"/>
                  <a:pt x="16" y="45"/>
                  <a:pt x="15" y="45"/>
                </a:cubicBezTo>
                <a:cubicBezTo>
                  <a:pt x="13" y="45"/>
                  <a:pt x="9" y="46"/>
                  <a:pt x="8" y="47"/>
                </a:cubicBezTo>
                <a:cubicBezTo>
                  <a:pt x="8" y="47"/>
                  <a:pt x="7" y="45"/>
                  <a:pt x="7" y="48"/>
                </a:cubicBezTo>
                <a:cubicBezTo>
                  <a:pt x="8" y="50"/>
                  <a:pt x="8" y="50"/>
                  <a:pt x="7" y="51"/>
                </a:cubicBezTo>
                <a:cubicBezTo>
                  <a:pt x="7" y="51"/>
                  <a:pt x="6" y="51"/>
                  <a:pt x="5" y="50"/>
                </a:cubicBezTo>
                <a:cubicBezTo>
                  <a:pt x="5" y="50"/>
                  <a:pt x="4" y="47"/>
                  <a:pt x="3" y="49"/>
                </a:cubicBezTo>
                <a:cubicBezTo>
                  <a:pt x="3" y="50"/>
                  <a:pt x="0" y="52"/>
                  <a:pt x="2" y="52"/>
                </a:cubicBezTo>
                <a:cubicBezTo>
                  <a:pt x="4" y="52"/>
                  <a:pt x="4" y="51"/>
                  <a:pt x="6" y="52"/>
                </a:cubicBezTo>
                <a:cubicBezTo>
                  <a:pt x="7" y="52"/>
                  <a:pt x="2" y="55"/>
                  <a:pt x="3" y="55"/>
                </a:cubicBezTo>
                <a:cubicBezTo>
                  <a:pt x="3" y="56"/>
                  <a:pt x="3" y="55"/>
                  <a:pt x="4" y="55"/>
                </a:cubicBezTo>
                <a:cubicBezTo>
                  <a:pt x="5" y="56"/>
                  <a:pt x="5" y="56"/>
                  <a:pt x="6" y="57"/>
                </a:cubicBezTo>
                <a:cubicBezTo>
                  <a:pt x="6" y="57"/>
                  <a:pt x="6" y="56"/>
                  <a:pt x="7" y="56"/>
                </a:cubicBezTo>
                <a:cubicBezTo>
                  <a:pt x="8" y="55"/>
                  <a:pt x="9" y="53"/>
                  <a:pt x="9" y="55"/>
                </a:cubicBezTo>
                <a:cubicBezTo>
                  <a:pt x="9" y="56"/>
                  <a:pt x="8" y="57"/>
                  <a:pt x="7" y="58"/>
                </a:cubicBezTo>
                <a:cubicBezTo>
                  <a:pt x="5" y="58"/>
                  <a:pt x="4" y="59"/>
                  <a:pt x="5" y="59"/>
                </a:cubicBezTo>
                <a:cubicBezTo>
                  <a:pt x="5" y="60"/>
                  <a:pt x="5" y="60"/>
                  <a:pt x="6" y="59"/>
                </a:cubicBezTo>
                <a:cubicBezTo>
                  <a:pt x="8" y="58"/>
                  <a:pt x="7" y="58"/>
                  <a:pt x="8" y="57"/>
                </a:cubicBezTo>
                <a:cubicBezTo>
                  <a:pt x="9" y="57"/>
                  <a:pt x="10" y="57"/>
                  <a:pt x="10" y="58"/>
                </a:cubicBezTo>
                <a:cubicBezTo>
                  <a:pt x="9" y="58"/>
                  <a:pt x="8" y="59"/>
                  <a:pt x="8" y="60"/>
                </a:cubicBezTo>
                <a:cubicBezTo>
                  <a:pt x="8" y="60"/>
                  <a:pt x="5" y="60"/>
                  <a:pt x="7" y="60"/>
                </a:cubicBezTo>
                <a:cubicBezTo>
                  <a:pt x="10" y="60"/>
                  <a:pt x="9" y="57"/>
                  <a:pt x="11" y="59"/>
                </a:cubicBezTo>
                <a:cubicBezTo>
                  <a:pt x="13" y="60"/>
                  <a:pt x="12" y="60"/>
                  <a:pt x="14" y="60"/>
                </a:cubicBezTo>
                <a:cubicBezTo>
                  <a:pt x="16" y="60"/>
                  <a:pt x="17" y="61"/>
                  <a:pt x="18" y="59"/>
                </a:cubicBezTo>
                <a:cubicBezTo>
                  <a:pt x="20" y="57"/>
                  <a:pt x="19" y="55"/>
                  <a:pt x="21" y="55"/>
                </a:cubicBezTo>
                <a:cubicBezTo>
                  <a:pt x="22" y="56"/>
                  <a:pt x="20" y="53"/>
                  <a:pt x="23" y="54"/>
                </a:cubicBezTo>
                <a:cubicBezTo>
                  <a:pt x="25" y="54"/>
                  <a:pt x="25" y="55"/>
                  <a:pt x="26" y="54"/>
                </a:cubicBezTo>
                <a:cubicBezTo>
                  <a:pt x="28" y="54"/>
                  <a:pt x="27" y="52"/>
                  <a:pt x="29" y="52"/>
                </a:cubicBezTo>
                <a:cubicBezTo>
                  <a:pt x="31" y="52"/>
                  <a:pt x="31" y="52"/>
                  <a:pt x="32" y="52"/>
                </a:cubicBezTo>
                <a:cubicBezTo>
                  <a:pt x="32" y="52"/>
                  <a:pt x="31" y="51"/>
                  <a:pt x="33" y="51"/>
                </a:cubicBezTo>
                <a:cubicBezTo>
                  <a:pt x="34" y="50"/>
                  <a:pt x="33" y="49"/>
                  <a:pt x="34" y="50"/>
                </a:cubicBezTo>
                <a:cubicBezTo>
                  <a:pt x="35" y="51"/>
                  <a:pt x="34" y="51"/>
                  <a:pt x="36" y="51"/>
                </a:cubicBezTo>
                <a:cubicBezTo>
                  <a:pt x="37" y="51"/>
                  <a:pt x="37" y="50"/>
                  <a:pt x="38" y="50"/>
                </a:cubicBezTo>
                <a:cubicBezTo>
                  <a:pt x="39" y="50"/>
                  <a:pt x="40" y="50"/>
                  <a:pt x="39" y="49"/>
                </a:cubicBezTo>
                <a:cubicBezTo>
                  <a:pt x="38" y="47"/>
                  <a:pt x="38" y="47"/>
                  <a:pt x="39" y="46"/>
                </a:cubicBezTo>
                <a:cubicBezTo>
                  <a:pt x="40" y="46"/>
                  <a:pt x="39" y="48"/>
                  <a:pt x="40" y="45"/>
                </a:cubicBezTo>
                <a:cubicBezTo>
                  <a:pt x="42" y="41"/>
                  <a:pt x="42" y="40"/>
                  <a:pt x="41" y="39"/>
                </a:cubicBezTo>
                <a:cubicBezTo>
                  <a:pt x="41" y="38"/>
                  <a:pt x="41" y="37"/>
                  <a:pt x="41" y="3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Freeform 139"/>
          <p:cNvSpPr>
            <a:spLocks/>
          </p:cNvSpPr>
          <p:nvPr userDrawn="1"/>
        </p:nvSpPr>
        <p:spPr bwMode="auto">
          <a:xfrm>
            <a:off x="5321472" y="3374782"/>
            <a:ext cx="63653" cy="67004"/>
          </a:xfrm>
          <a:custGeom>
            <a:avLst/>
            <a:gdLst>
              <a:gd name="T0" fmla="*/ 2147483646 w 24"/>
              <a:gd name="T1" fmla="*/ 2147483646 h 25"/>
              <a:gd name="T2" fmla="*/ 2147483646 w 24"/>
              <a:gd name="T3" fmla="*/ 2147483646 h 25"/>
              <a:gd name="T4" fmla="*/ 2147483646 w 24"/>
              <a:gd name="T5" fmla="*/ 2147483646 h 25"/>
              <a:gd name="T6" fmla="*/ 2147483646 w 24"/>
              <a:gd name="T7" fmla="*/ 2147483646 h 25"/>
              <a:gd name="T8" fmla="*/ 2147483646 w 24"/>
              <a:gd name="T9" fmla="*/ 2147483646 h 25"/>
              <a:gd name="T10" fmla="*/ 2147483646 w 24"/>
              <a:gd name="T11" fmla="*/ 2147483646 h 25"/>
              <a:gd name="T12" fmla="*/ 2147483646 w 24"/>
              <a:gd name="T13" fmla="*/ 2147483646 h 25"/>
              <a:gd name="T14" fmla="*/ 2147483646 w 24"/>
              <a:gd name="T15" fmla="*/ 2147483646 h 25"/>
              <a:gd name="T16" fmla="*/ 2147483646 w 24"/>
              <a:gd name="T17" fmla="*/ 2147483646 h 25"/>
              <a:gd name="T18" fmla="*/ 2147483646 w 24"/>
              <a:gd name="T19" fmla="*/ 2147483646 h 25"/>
              <a:gd name="T20" fmla="*/ 2147483646 w 24"/>
              <a:gd name="T21" fmla="*/ 2147483646 h 25"/>
              <a:gd name="T22" fmla="*/ 2147483646 w 24"/>
              <a:gd name="T23" fmla="*/ 2147483646 h 25"/>
              <a:gd name="T24" fmla="*/ 2147483646 w 24"/>
              <a:gd name="T25" fmla="*/ 2147483646 h 25"/>
              <a:gd name="T26" fmla="*/ 2147483646 w 24"/>
              <a:gd name="T27" fmla="*/ 2147483646 h 25"/>
              <a:gd name="T28" fmla="*/ 2147483646 w 24"/>
              <a:gd name="T29" fmla="*/ 2147483646 h 25"/>
              <a:gd name="T30" fmla="*/ 2147483646 w 24"/>
              <a:gd name="T31" fmla="*/ 2147483646 h 25"/>
              <a:gd name="T32" fmla="*/ 2147483646 w 24"/>
              <a:gd name="T33" fmla="*/ 2147483646 h 25"/>
              <a:gd name="T34" fmla="*/ 2147483646 w 24"/>
              <a:gd name="T35" fmla="*/ 2147483646 h 25"/>
              <a:gd name="T36" fmla="*/ 0 w 24"/>
              <a:gd name="T37" fmla="*/ 2147483646 h 25"/>
              <a:gd name="T38" fmla="*/ 2147483646 w 24"/>
              <a:gd name="T39" fmla="*/ 2147483646 h 25"/>
              <a:gd name="T40" fmla="*/ 2147483646 w 24"/>
              <a:gd name="T41" fmla="*/ 2147483646 h 25"/>
              <a:gd name="T42" fmla="*/ 2147483646 w 24"/>
              <a:gd name="T43" fmla="*/ 2147483646 h 25"/>
              <a:gd name="T44" fmla="*/ 2147483646 w 24"/>
              <a:gd name="T45" fmla="*/ 2147483646 h 25"/>
              <a:gd name="T46" fmla="*/ 2147483646 w 24"/>
              <a:gd name="T47" fmla="*/ 2147483646 h 25"/>
              <a:gd name="T48" fmla="*/ 2147483646 w 24"/>
              <a:gd name="T49" fmla="*/ 2147483646 h 25"/>
              <a:gd name="T50" fmla="*/ 2147483646 w 24"/>
              <a:gd name="T51" fmla="*/ 2147483646 h 25"/>
              <a:gd name="T52" fmla="*/ 2147483646 w 24"/>
              <a:gd name="T53" fmla="*/ 2147483646 h 25"/>
              <a:gd name="T54" fmla="*/ 2147483646 w 24"/>
              <a:gd name="T55" fmla="*/ 2147483646 h 25"/>
              <a:gd name="T56" fmla="*/ 2147483646 w 24"/>
              <a:gd name="T57" fmla="*/ 2147483646 h 25"/>
              <a:gd name="T58" fmla="*/ 2147483646 w 24"/>
              <a:gd name="T59" fmla="*/ 2147483646 h 25"/>
              <a:gd name="T60" fmla="*/ 2147483646 w 24"/>
              <a:gd name="T61" fmla="*/ 2147483646 h 25"/>
              <a:gd name="T62" fmla="*/ 2147483646 w 24"/>
              <a:gd name="T63" fmla="*/ 2147483646 h 25"/>
              <a:gd name="T64" fmla="*/ 2147483646 w 24"/>
              <a:gd name="T65" fmla="*/ 2147483646 h 2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4"/>
              <a:gd name="T100" fmla="*/ 0 h 25"/>
              <a:gd name="T101" fmla="*/ 24 w 24"/>
              <a:gd name="T102" fmla="*/ 25 h 2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4" h="25">
                <a:moveTo>
                  <a:pt x="23" y="14"/>
                </a:moveTo>
                <a:cubicBezTo>
                  <a:pt x="23" y="13"/>
                  <a:pt x="24" y="12"/>
                  <a:pt x="23" y="12"/>
                </a:cubicBezTo>
                <a:cubicBezTo>
                  <a:pt x="22" y="12"/>
                  <a:pt x="21" y="11"/>
                  <a:pt x="21" y="12"/>
                </a:cubicBezTo>
                <a:cubicBezTo>
                  <a:pt x="20" y="13"/>
                  <a:pt x="20" y="14"/>
                  <a:pt x="19" y="13"/>
                </a:cubicBezTo>
                <a:cubicBezTo>
                  <a:pt x="19" y="13"/>
                  <a:pt x="20" y="11"/>
                  <a:pt x="20" y="10"/>
                </a:cubicBezTo>
                <a:cubicBezTo>
                  <a:pt x="21" y="10"/>
                  <a:pt x="23" y="9"/>
                  <a:pt x="21" y="8"/>
                </a:cubicBezTo>
                <a:cubicBezTo>
                  <a:pt x="19" y="7"/>
                  <a:pt x="20" y="6"/>
                  <a:pt x="18" y="6"/>
                </a:cubicBezTo>
                <a:cubicBezTo>
                  <a:pt x="17" y="5"/>
                  <a:pt x="17" y="3"/>
                  <a:pt x="16" y="4"/>
                </a:cubicBezTo>
                <a:cubicBezTo>
                  <a:pt x="15" y="4"/>
                  <a:pt x="15" y="0"/>
                  <a:pt x="14" y="2"/>
                </a:cubicBezTo>
                <a:cubicBezTo>
                  <a:pt x="13" y="3"/>
                  <a:pt x="12" y="2"/>
                  <a:pt x="11" y="3"/>
                </a:cubicBezTo>
                <a:cubicBezTo>
                  <a:pt x="10" y="4"/>
                  <a:pt x="10" y="4"/>
                  <a:pt x="9" y="4"/>
                </a:cubicBezTo>
                <a:cubicBezTo>
                  <a:pt x="9" y="5"/>
                  <a:pt x="8" y="5"/>
                  <a:pt x="8" y="5"/>
                </a:cubicBezTo>
                <a:cubicBezTo>
                  <a:pt x="8" y="5"/>
                  <a:pt x="8" y="5"/>
                  <a:pt x="8" y="5"/>
                </a:cubicBezTo>
                <a:cubicBezTo>
                  <a:pt x="6" y="9"/>
                  <a:pt x="6" y="9"/>
                  <a:pt x="6" y="9"/>
                </a:cubicBezTo>
                <a:cubicBezTo>
                  <a:pt x="6" y="9"/>
                  <a:pt x="6" y="11"/>
                  <a:pt x="5" y="11"/>
                </a:cubicBezTo>
                <a:cubicBezTo>
                  <a:pt x="4" y="11"/>
                  <a:pt x="3" y="10"/>
                  <a:pt x="3" y="11"/>
                </a:cubicBezTo>
                <a:cubicBezTo>
                  <a:pt x="2" y="11"/>
                  <a:pt x="4" y="12"/>
                  <a:pt x="4" y="13"/>
                </a:cubicBezTo>
                <a:cubicBezTo>
                  <a:pt x="3" y="13"/>
                  <a:pt x="3" y="13"/>
                  <a:pt x="3" y="13"/>
                </a:cubicBezTo>
                <a:cubicBezTo>
                  <a:pt x="3" y="13"/>
                  <a:pt x="0" y="13"/>
                  <a:pt x="0" y="14"/>
                </a:cubicBezTo>
                <a:cubicBezTo>
                  <a:pt x="0" y="16"/>
                  <a:pt x="2" y="16"/>
                  <a:pt x="2" y="16"/>
                </a:cubicBezTo>
                <a:cubicBezTo>
                  <a:pt x="4" y="19"/>
                  <a:pt x="4" y="19"/>
                  <a:pt x="4" y="19"/>
                </a:cubicBezTo>
                <a:cubicBezTo>
                  <a:pt x="4" y="19"/>
                  <a:pt x="7" y="20"/>
                  <a:pt x="8" y="19"/>
                </a:cubicBezTo>
                <a:cubicBezTo>
                  <a:pt x="8" y="18"/>
                  <a:pt x="9" y="15"/>
                  <a:pt x="10" y="15"/>
                </a:cubicBezTo>
                <a:cubicBezTo>
                  <a:pt x="10" y="15"/>
                  <a:pt x="13" y="18"/>
                  <a:pt x="13" y="18"/>
                </a:cubicBezTo>
                <a:cubicBezTo>
                  <a:pt x="13" y="18"/>
                  <a:pt x="12" y="21"/>
                  <a:pt x="13" y="21"/>
                </a:cubicBezTo>
                <a:cubicBezTo>
                  <a:pt x="13" y="21"/>
                  <a:pt x="15" y="19"/>
                  <a:pt x="16" y="19"/>
                </a:cubicBezTo>
                <a:cubicBezTo>
                  <a:pt x="17" y="20"/>
                  <a:pt x="17" y="21"/>
                  <a:pt x="17" y="21"/>
                </a:cubicBezTo>
                <a:cubicBezTo>
                  <a:pt x="17" y="21"/>
                  <a:pt x="17" y="21"/>
                  <a:pt x="17" y="21"/>
                </a:cubicBezTo>
                <a:cubicBezTo>
                  <a:pt x="17" y="21"/>
                  <a:pt x="17" y="21"/>
                  <a:pt x="17" y="21"/>
                </a:cubicBezTo>
                <a:cubicBezTo>
                  <a:pt x="17" y="21"/>
                  <a:pt x="17" y="21"/>
                  <a:pt x="18" y="21"/>
                </a:cubicBezTo>
                <a:cubicBezTo>
                  <a:pt x="20" y="22"/>
                  <a:pt x="19" y="25"/>
                  <a:pt x="21" y="21"/>
                </a:cubicBezTo>
                <a:cubicBezTo>
                  <a:pt x="23" y="18"/>
                  <a:pt x="24" y="18"/>
                  <a:pt x="24" y="17"/>
                </a:cubicBezTo>
                <a:cubicBezTo>
                  <a:pt x="24" y="16"/>
                  <a:pt x="24" y="15"/>
                  <a:pt x="23" y="1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Line 3"/>
          <p:cNvSpPr>
            <a:spLocks noChangeShapeType="1"/>
          </p:cNvSpPr>
          <p:nvPr userDrawn="1"/>
        </p:nvSpPr>
        <p:spPr bwMode="auto">
          <a:xfrm>
            <a:off x="3477195" y="4783535"/>
            <a:ext cx="1676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Line 4"/>
          <p:cNvSpPr>
            <a:spLocks noChangeShapeType="1"/>
          </p:cNvSpPr>
          <p:nvPr userDrawn="1"/>
        </p:nvSpPr>
        <p:spPr bwMode="auto">
          <a:xfrm>
            <a:off x="3519073" y="4890740"/>
            <a:ext cx="1675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Line 5"/>
          <p:cNvSpPr>
            <a:spLocks noChangeShapeType="1"/>
          </p:cNvSpPr>
          <p:nvPr userDrawn="1"/>
        </p:nvSpPr>
        <p:spPr bwMode="auto">
          <a:xfrm>
            <a:off x="5555985" y="4277656"/>
            <a:ext cx="1675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Line 6"/>
          <p:cNvSpPr>
            <a:spLocks noChangeShapeType="1"/>
          </p:cNvSpPr>
          <p:nvPr userDrawn="1"/>
        </p:nvSpPr>
        <p:spPr bwMode="auto">
          <a:xfrm>
            <a:off x="3931145" y="4202278"/>
            <a:ext cx="1675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Line 7"/>
          <p:cNvSpPr>
            <a:spLocks noChangeShapeType="1"/>
          </p:cNvSpPr>
          <p:nvPr userDrawn="1"/>
        </p:nvSpPr>
        <p:spPr bwMode="auto">
          <a:xfrm>
            <a:off x="3964648" y="4286033"/>
            <a:ext cx="1675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Line 8"/>
          <p:cNvSpPr>
            <a:spLocks noChangeShapeType="1"/>
          </p:cNvSpPr>
          <p:nvPr userDrawn="1"/>
        </p:nvSpPr>
        <p:spPr bwMode="auto">
          <a:xfrm>
            <a:off x="5591162" y="3798580"/>
            <a:ext cx="1676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Line 41"/>
          <p:cNvSpPr>
            <a:spLocks noChangeShapeType="1"/>
          </p:cNvSpPr>
          <p:nvPr userDrawn="1"/>
        </p:nvSpPr>
        <p:spPr bwMode="auto">
          <a:xfrm>
            <a:off x="3936171" y="4870639"/>
            <a:ext cx="1676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Line 305"/>
          <p:cNvSpPr>
            <a:spLocks noChangeShapeType="1"/>
          </p:cNvSpPr>
          <p:nvPr userDrawn="1"/>
        </p:nvSpPr>
        <p:spPr bwMode="auto">
          <a:xfrm>
            <a:off x="5936231" y="4383187"/>
            <a:ext cx="1676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Freeform 363"/>
          <p:cNvSpPr>
            <a:spLocks/>
          </p:cNvSpPr>
          <p:nvPr userDrawn="1"/>
        </p:nvSpPr>
        <p:spPr bwMode="auto">
          <a:xfrm>
            <a:off x="3261110" y="4662928"/>
            <a:ext cx="120607" cy="128981"/>
          </a:xfrm>
          <a:custGeom>
            <a:avLst/>
            <a:gdLst>
              <a:gd name="T0" fmla="*/ 2147483646 w 130"/>
              <a:gd name="T1" fmla="*/ 2147483646 h 138"/>
              <a:gd name="T2" fmla="*/ 2147483646 w 130"/>
              <a:gd name="T3" fmla="*/ 2147483646 h 138"/>
              <a:gd name="T4" fmla="*/ 2147483646 w 130"/>
              <a:gd name="T5" fmla="*/ 2147483646 h 138"/>
              <a:gd name="T6" fmla="*/ 2147483646 w 130"/>
              <a:gd name="T7" fmla="*/ 2147483646 h 138"/>
              <a:gd name="T8" fmla="*/ 2147483646 w 130"/>
              <a:gd name="T9" fmla="*/ 2147483646 h 138"/>
              <a:gd name="T10" fmla="*/ 2147483646 w 130"/>
              <a:gd name="T11" fmla="*/ 2147483646 h 138"/>
              <a:gd name="T12" fmla="*/ 2147483646 w 130"/>
              <a:gd name="T13" fmla="*/ 2147483646 h 138"/>
              <a:gd name="T14" fmla="*/ 2147483646 w 130"/>
              <a:gd name="T15" fmla="*/ 2147483646 h 138"/>
              <a:gd name="T16" fmla="*/ 2147483646 w 130"/>
              <a:gd name="T17" fmla="*/ 2147483646 h 138"/>
              <a:gd name="T18" fmla="*/ 2147483646 w 130"/>
              <a:gd name="T19" fmla="*/ 2147483646 h 138"/>
              <a:gd name="T20" fmla="*/ 2147483646 w 130"/>
              <a:gd name="T21" fmla="*/ 2147483646 h 138"/>
              <a:gd name="T22" fmla="*/ 2147483646 w 130"/>
              <a:gd name="T23" fmla="*/ 2147483646 h 138"/>
              <a:gd name="T24" fmla="*/ 2147483646 w 130"/>
              <a:gd name="T25" fmla="*/ 2147483646 h 138"/>
              <a:gd name="T26" fmla="*/ 2147483646 w 130"/>
              <a:gd name="T27" fmla="*/ 2147483646 h 138"/>
              <a:gd name="T28" fmla="*/ 2147483646 w 130"/>
              <a:gd name="T29" fmla="*/ 2147483646 h 138"/>
              <a:gd name="T30" fmla="*/ 2147483646 w 130"/>
              <a:gd name="T31" fmla="*/ 2147483646 h 138"/>
              <a:gd name="T32" fmla="*/ 2147483646 w 130"/>
              <a:gd name="T33" fmla="*/ 2147483646 h 138"/>
              <a:gd name="T34" fmla="*/ 2147483646 w 130"/>
              <a:gd name="T35" fmla="*/ 2147483646 h 138"/>
              <a:gd name="T36" fmla="*/ 2147483646 w 130"/>
              <a:gd name="T37" fmla="*/ 2147483646 h 138"/>
              <a:gd name="T38" fmla="*/ 2147483646 w 130"/>
              <a:gd name="T39" fmla="*/ 2147483646 h 138"/>
              <a:gd name="T40" fmla="*/ 2147483646 w 130"/>
              <a:gd name="T41" fmla="*/ 2147483646 h 138"/>
              <a:gd name="T42" fmla="*/ 0 w 130"/>
              <a:gd name="T43" fmla="*/ 2147483646 h 138"/>
              <a:gd name="T44" fmla="*/ 0 w 130"/>
              <a:gd name="T45" fmla="*/ 2147483646 h 138"/>
              <a:gd name="T46" fmla="*/ 2147483646 w 130"/>
              <a:gd name="T47" fmla="*/ 2147483646 h 138"/>
              <a:gd name="T48" fmla="*/ 2147483646 w 130"/>
              <a:gd name="T49" fmla="*/ 2147483646 h 138"/>
              <a:gd name="T50" fmla="*/ 2147483646 w 130"/>
              <a:gd name="T51" fmla="*/ 2147483646 h 138"/>
              <a:gd name="T52" fmla="*/ 2147483646 w 130"/>
              <a:gd name="T53" fmla="*/ 2147483646 h 138"/>
              <a:gd name="T54" fmla="*/ 2147483646 w 130"/>
              <a:gd name="T55" fmla="*/ 2147483646 h 138"/>
              <a:gd name="T56" fmla="*/ 2147483646 w 130"/>
              <a:gd name="T57" fmla="*/ 2147483646 h 138"/>
              <a:gd name="T58" fmla="*/ 2147483646 w 130"/>
              <a:gd name="T59" fmla="*/ 2147483646 h 138"/>
              <a:gd name="T60" fmla="*/ 2147483646 w 130"/>
              <a:gd name="T61" fmla="*/ 2147483646 h 138"/>
              <a:gd name="T62" fmla="*/ 2147483646 w 130"/>
              <a:gd name="T63" fmla="*/ 2147483646 h 138"/>
              <a:gd name="T64" fmla="*/ 2147483646 w 130"/>
              <a:gd name="T65" fmla="*/ 2147483646 h 138"/>
              <a:gd name="T66" fmla="*/ 2147483646 w 130"/>
              <a:gd name="T67" fmla="*/ 2147483646 h 13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30"/>
              <a:gd name="T103" fmla="*/ 0 h 138"/>
              <a:gd name="T104" fmla="*/ 130 w 130"/>
              <a:gd name="T105" fmla="*/ 138 h 13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30" h="138">
                <a:moveTo>
                  <a:pt x="102" y="10"/>
                </a:moveTo>
                <a:cubicBezTo>
                  <a:pt x="100" y="13"/>
                  <a:pt x="96" y="17"/>
                  <a:pt x="95" y="22"/>
                </a:cubicBezTo>
                <a:cubicBezTo>
                  <a:pt x="93" y="28"/>
                  <a:pt x="92" y="27"/>
                  <a:pt x="93" y="37"/>
                </a:cubicBezTo>
                <a:cubicBezTo>
                  <a:pt x="94" y="47"/>
                  <a:pt x="94" y="36"/>
                  <a:pt x="91" y="54"/>
                </a:cubicBezTo>
                <a:cubicBezTo>
                  <a:pt x="87" y="71"/>
                  <a:pt x="87" y="74"/>
                  <a:pt x="89" y="76"/>
                </a:cubicBezTo>
                <a:cubicBezTo>
                  <a:pt x="92" y="78"/>
                  <a:pt x="100" y="73"/>
                  <a:pt x="100" y="73"/>
                </a:cubicBezTo>
                <a:cubicBezTo>
                  <a:pt x="100" y="74"/>
                  <a:pt x="100" y="74"/>
                  <a:pt x="100" y="74"/>
                </a:cubicBezTo>
                <a:cubicBezTo>
                  <a:pt x="100" y="77"/>
                  <a:pt x="109" y="75"/>
                  <a:pt x="109" y="75"/>
                </a:cubicBezTo>
                <a:cubicBezTo>
                  <a:pt x="126" y="72"/>
                  <a:pt x="126" y="72"/>
                  <a:pt x="126" y="72"/>
                </a:cubicBezTo>
                <a:cubicBezTo>
                  <a:pt x="126" y="72"/>
                  <a:pt x="127" y="73"/>
                  <a:pt x="130" y="74"/>
                </a:cubicBezTo>
                <a:cubicBezTo>
                  <a:pt x="129" y="76"/>
                  <a:pt x="129" y="76"/>
                  <a:pt x="129" y="76"/>
                </a:cubicBezTo>
                <a:cubicBezTo>
                  <a:pt x="126" y="79"/>
                  <a:pt x="120" y="80"/>
                  <a:pt x="116" y="83"/>
                </a:cubicBezTo>
                <a:cubicBezTo>
                  <a:pt x="111" y="86"/>
                  <a:pt x="105" y="89"/>
                  <a:pt x="101" y="93"/>
                </a:cubicBezTo>
                <a:cubicBezTo>
                  <a:pt x="97" y="96"/>
                  <a:pt x="91" y="99"/>
                  <a:pt x="89" y="103"/>
                </a:cubicBezTo>
                <a:cubicBezTo>
                  <a:pt x="87" y="106"/>
                  <a:pt x="88" y="111"/>
                  <a:pt x="86" y="114"/>
                </a:cubicBezTo>
                <a:cubicBezTo>
                  <a:pt x="83" y="121"/>
                  <a:pt x="73" y="125"/>
                  <a:pt x="68" y="129"/>
                </a:cubicBezTo>
                <a:cubicBezTo>
                  <a:pt x="64" y="131"/>
                  <a:pt x="62" y="134"/>
                  <a:pt x="59" y="137"/>
                </a:cubicBezTo>
                <a:cubicBezTo>
                  <a:pt x="58" y="138"/>
                  <a:pt x="58" y="138"/>
                  <a:pt x="58" y="138"/>
                </a:cubicBezTo>
                <a:cubicBezTo>
                  <a:pt x="55" y="138"/>
                  <a:pt x="53" y="138"/>
                  <a:pt x="51" y="135"/>
                </a:cubicBezTo>
                <a:cubicBezTo>
                  <a:pt x="47" y="128"/>
                  <a:pt x="38" y="135"/>
                  <a:pt x="33" y="133"/>
                </a:cubicBezTo>
                <a:cubicBezTo>
                  <a:pt x="28" y="132"/>
                  <a:pt x="14" y="127"/>
                  <a:pt x="4" y="117"/>
                </a:cubicBezTo>
                <a:cubicBezTo>
                  <a:pt x="3" y="116"/>
                  <a:pt x="2" y="114"/>
                  <a:pt x="0" y="113"/>
                </a:cubicBezTo>
                <a:cubicBezTo>
                  <a:pt x="0" y="112"/>
                  <a:pt x="0" y="112"/>
                  <a:pt x="0" y="112"/>
                </a:cubicBezTo>
                <a:cubicBezTo>
                  <a:pt x="1" y="107"/>
                  <a:pt x="1" y="95"/>
                  <a:pt x="2" y="89"/>
                </a:cubicBezTo>
                <a:cubicBezTo>
                  <a:pt x="3" y="81"/>
                  <a:pt x="5" y="76"/>
                  <a:pt x="11" y="72"/>
                </a:cubicBezTo>
                <a:cubicBezTo>
                  <a:pt x="18" y="68"/>
                  <a:pt x="12" y="61"/>
                  <a:pt x="25" y="64"/>
                </a:cubicBezTo>
                <a:cubicBezTo>
                  <a:pt x="39" y="66"/>
                  <a:pt x="52" y="67"/>
                  <a:pt x="54" y="64"/>
                </a:cubicBezTo>
                <a:cubicBezTo>
                  <a:pt x="55" y="61"/>
                  <a:pt x="57" y="47"/>
                  <a:pt x="50" y="43"/>
                </a:cubicBezTo>
                <a:cubicBezTo>
                  <a:pt x="42" y="38"/>
                  <a:pt x="32" y="35"/>
                  <a:pt x="36" y="31"/>
                </a:cubicBezTo>
                <a:cubicBezTo>
                  <a:pt x="40" y="28"/>
                  <a:pt x="45" y="18"/>
                  <a:pt x="48" y="16"/>
                </a:cubicBezTo>
                <a:cubicBezTo>
                  <a:pt x="51" y="13"/>
                  <a:pt x="46" y="0"/>
                  <a:pt x="58" y="7"/>
                </a:cubicBezTo>
                <a:cubicBezTo>
                  <a:pt x="69" y="13"/>
                  <a:pt x="65" y="9"/>
                  <a:pt x="76" y="8"/>
                </a:cubicBezTo>
                <a:cubicBezTo>
                  <a:pt x="87" y="7"/>
                  <a:pt x="81" y="7"/>
                  <a:pt x="87" y="7"/>
                </a:cubicBezTo>
                <a:cubicBezTo>
                  <a:pt x="90" y="6"/>
                  <a:pt x="98" y="8"/>
                  <a:pt x="102" y="1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reeform 364"/>
          <p:cNvSpPr>
            <a:spLocks/>
          </p:cNvSpPr>
          <p:nvPr userDrawn="1"/>
        </p:nvSpPr>
        <p:spPr bwMode="auto">
          <a:xfrm>
            <a:off x="3341514" y="4728257"/>
            <a:ext cx="164159" cy="90455"/>
          </a:xfrm>
          <a:custGeom>
            <a:avLst/>
            <a:gdLst>
              <a:gd name="T0" fmla="*/ 2147483646 w 176"/>
              <a:gd name="T1" fmla="*/ 2147483646 h 98"/>
              <a:gd name="T2" fmla="*/ 2147483646 w 176"/>
              <a:gd name="T3" fmla="*/ 2147483646 h 98"/>
              <a:gd name="T4" fmla="*/ 2147483646 w 176"/>
              <a:gd name="T5" fmla="*/ 2147483646 h 98"/>
              <a:gd name="T6" fmla="*/ 2147483646 w 176"/>
              <a:gd name="T7" fmla="*/ 2147483646 h 98"/>
              <a:gd name="T8" fmla="*/ 2147483646 w 176"/>
              <a:gd name="T9" fmla="*/ 2147483646 h 98"/>
              <a:gd name="T10" fmla="*/ 2147483646 w 176"/>
              <a:gd name="T11" fmla="*/ 2147483646 h 98"/>
              <a:gd name="T12" fmla="*/ 2147483646 w 176"/>
              <a:gd name="T13" fmla="*/ 2147483646 h 98"/>
              <a:gd name="T14" fmla="*/ 2147483646 w 176"/>
              <a:gd name="T15" fmla="*/ 2147483646 h 98"/>
              <a:gd name="T16" fmla="*/ 2147483646 w 176"/>
              <a:gd name="T17" fmla="*/ 2147483646 h 98"/>
              <a:gd name="T18" fmla="*/ 2147483646 w 176"/>
              <a:gd name="T19" fmla="*/ 2147483646 h 98"/>
              <a:gd name="T20" fmla="*/ 2147483646 w 176"/>
              <a:gd name="T21" fmla="*/ 2147483646 h 98"/>
              <a:gd name="T22" fmla="*/ 2147483646 w 176"/>
              <a:gd name="T23" fmla="*/ 2147483646 h 98"/>
              <a:gd name="T24" fmla="*/ 2147483646 w 176"/>
              <a:gd name="T25" fmla="*/ 2147483646 h 98"/>
              <a:gd name="T26" fmla="*/ 2147483646 w 176"/>
              <a:gd name="T27" fmla="*/ 2147483646 h 98"/>
              <a:gd name="T28" fmla="*/ 2147483646 w 176"/>
              <a:gd name="T29" fmla="*/ 2147483646 h 98"/>
              <a:gd name="T30" fmla="*/ 2147483646 w 176"/>
              <a:gd name="T31" fmla="*/ 2147483646 h 98"/>
              <a:gd name="T32" fmla="*/ 2147483646 w 176"/>
              <a:gd name="T33" fmla="*/ 2147483646 h 98"/>
              <a:gd name="T34" fmla="*/ 2147483646 w 176"/>
              <a:gd name="T35" fmla="*/ 2147483646 h 98"/>
              <a:gd name="T36" fmla="*/ 2147483646 w 176"/>
              <a:gd name="T37" fmla="*/ 2147483646 h 98"/>
              <a:gd name="T38" fmla="*/ 2147483646 w 176"/>
              <a:gd name="T39" fmla="*/ 2147483646 h 98"/>
              <a:gd name="T40" fmla="*/ 2147483646 w 176"/>
              <a:gd name="T41" fmla="*/ 2147483646 h 98"/>
              <a:gd name="T42" fmla="*/ 2147483646 w 176"/>
              <a:gd name="T43" fmla="*/ 2147483646 h 98"/>
              <a:gd name="T44" fmla="*/ 2147483646 w 176"/>
              <a:gd name="T45" fmla="*/ 2147483646 h 98"/>
              <a:gd name="T46" fmla="*/ 2147483646 w 176"/>
              <a:gd name="T47" fmla="*/ 2147483646 h 98"/>
              <a:gd name="T48" fmla="*/ 2147483646 w 176"/>
              <a:gd name="T49" fmla="*/ 2147483646 h 98"/>
              <a:gd name="T50" fmla="*/ 2147483646 w 176"/>
              <a:gd name="T51" fmla="*/ 2147483646 h 98"/>
              <a:gd name="T52" fmla="*/ 2147483646 w 176"/>
              <a:gd name="T53" fmla="*/ 2147483646 h 98"/>
              <a:gd name="T54" fmla="*/ 2147483646 w 176"/>
              <a:gd name="T55" fmla="*/ 2147483646 h 98"/>
              <a:gd name="T56" fmla="*/ 2147483646 w 176"/>
              <a:gd name="T57" fmla="*/ 2147483646 h 98"/>
              <a:gd name="T58" fmla="*/ 2147483646 w 176"/>
              <a:gd name="T59" fmla="*/ 2147483646 h 98"/>
              <a:gd name="T60" fmla="*/ 2147483646 w 176"/>
              <a:gd name="T61" fmla="*/ 2147483646 h 98"/>
              <a:gd name="T62" fmla="*/ 2147483646 w 176"/>
              <a:gd name="T63" fmla="*/ 2147483646 h 98"/>
              <a:gd name="T64" fmla="*/ 2147483646 w 176"/>
              <a:gd name="T65" fmla="*/ 2147483646 h 98"/>
              <a:gd name="T66" fmla="*/ 2147483646 w 176"/>
              <a:gd name="T67" fmla="*/ 2147483646 h 98"/>
              <a:gd name="T68" fmla="*/ 2147483646 w 176"/>
              <a:gd name="T69" fmla="*/ 2147483646 h 9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76"/>
              <a:gd name="T106" fmla="*/ 0 h 98"/>
              <a:gd name="T107" fmla="*/ 176 w 176"/>
              <a:gd name="T108" fmla="*/ 98 h 9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76" h="98">
                <a:moveTo>
                  <a:pt x="1" y="41"/>
                </a:moveTo>
                <a:cubicBezTo>
                  <a:pt x="0" y="46"/>
                  <a:pt x="4" y="52"/>
                  <a:pt x="8" y="56"/>
                </a:cubicBezTo>
                <a:cubicBezTo>
                  <a:pt x="15" y="65"/>
                  <a:pt x="22" y="72"/>
                  <a:pt x="33" y="69"/>
                </a:cubicBezTo>
                <a:cubicBezTo>
                  <a:pt x="35" y="74"/>
                  <a:pt x="43" y="71"/>
                  <a:pt x="45" y="76"/>
                </a:cubicBezTo>
                <a:cubicBezTo>
                  <a:pt x="45" y="78"/>
                  <a:pt x="43" y="86"/>
                  <a:pt x="42" y="89"/>
                </a:cubicBezTo>
                <a:cubicBezTo>
                  <a:pt x="49" y="90"/>
                  <a:pt x="49" y="90"/>
                  <a:pt x="49" y="90"/>
                </a:cubicBezTo>
                <a:cubicBezTo>
                  <a:pt x="52" y="90"/>
                  <a:pt x="57" y="95"/>
                  <a:pt x="56" y="98"/>
                </a:cubicBezTo>
                <a:cubicBezTo>
                  <a:pt x="58" y="98"/>
                  <a:pt x="58" y="98"/>
                  <a:pt x="58" y="98"/>
                </a:cubicBezTo>
                <a:cubicBezTo>
                  <a:pt x="63" y="97"/>
                  <a:pt x="68" y="96"/>
                  <a:pt x="72" y="93"/>
                </a:cubicBezTo>
                <a:cubicBezTo>
                  <a:pt x="76" y="89"/>
                  <a:pt x="76" y="84"/>
                  <a:pt x="78" y="79"/>
                </a:cubicBezTo>
                <a:cubicBezTo>
                  <a:pt x="81" y="73"/>
                  <a:pt x="82" y="71"/>
                  <a:pt x="89" y="71"/>
                </a:cubicBezTo>
                <a:cubicBezTo>
                  <a:pt x="92" y="72"/>
                  <a:pt x="94" y="73"/>
                  <a:pt x="96" y="72"/>
                </a:cubicBezTo>
                <a:cubicBezTo>
                  <a:pt x="99" y="71"/>
                  <a:pt x="99" y="67"/>
                  <a:pt x="103" y="67"/>
                </a:cubicBezTo>
                <a:cubicBezTo>
                  <a:pt x="105" y="67"/>
                  <a:pt x="106" y="70"/>
                  <a:pt x="109" y="70"/>
                </a:cubicBezTo>
                <a:cubicBezTo>
                  <a:pt x="114" y="70"/>
                  <a:pt x="116" y="63"/>
                  <a:pt x="118" y="59"/>
                </a:cubicBezTo>
                <a:cubicBezTo>
                  <a:pt x="125" y="50"/>
                  <a:pt x="127" y="47"/>
                  <a:pt x="138" y="47"/>
                </a:cubicBezTo>
                <a:cubicBezTo>
                  <a:pt x="143" y="47"/>
                  <a:pt x="149" y="49"/>
                  <a:pt x="153" y="47"/>
                </a:cubicBezTo>
                <a:cubicBezTo>
                  <a:pt x="157" y="47"/>
                  <a:pt x="160" y="44"/>
                  <a:pt x="163" y="43"/>
                </a:cubicBezTo>
                <a:cubicBezTo>
                  <a:pt x="166" y="42"/>
                  <a:pt x="168" y="42"/>
                  <a:pt x="170" y="41"/>
                </a:cubicBezTo>
                <a:cubicBezTo>
                  <a:pt x="172" y="40"/>
                  <a:pt x="173" y="39"/>
                  <a:pt x="175" y="39"/>
                </a:cubicBezTo>
                <a:cubicBezTo>
                  <a:pt x="176" y="39"/>
                  <a:pt x="176" y="39"/>
                  <a:pt x="176" y="39"/>
                </a:cubicBezTo>
                <a:cubicBezTo>
                  <a:pt x="175" y="35"/>
                  <a:pt x="174" y="32"/>
                  <a:pt x="174" y="32"/>
                </a:cubicBezTo>
                <a:cubicBezTo>
                  <a:pt x="163" y="22"/>
                  <a:pt x="163" y="22"/>
                  <a:pt x="163" y="22"/>
                </a:cubicBezTo>
                <a:cubicBezTo>
                  <a:pt x="163" y="22"/>
                  <a:pt x="145" y="23"/>
                  <a:pt x="141" y="14"/>
                </a:cubicBezTo>
                <a:cubicBezTo>
                  <a:pt x="138" y="5"/>
                  <a:pt x="139" y="0"/>
                  <a:pt x="129" y="1"/>
                </a:cubicBezTo>
                <a:cubicBezTo>
                  <a:pt x="119" y="3"/>
                  <a:pt x="114" y="4"/>
                  <a:pt x="105" y="7"/>
                </a:cubicBezTo>
                <a:cubicBezTo>
                  <a:pt x="96" y="10"/>
                  <a:pt x="94" y="5"/>
                  <a:pt x="85" y="4"/>
                </a:cubicBezTo>
                <a:cubicBezTo>
                  <a:pt x="76" y="4"/>
                  <a:pt x="63" y="7"/>
                  <a:pt x="55" y="7"/>
                </a:cubicBezTo>
                <a:cubicBezTo>
                  <a:pt x="51" y="7"/>
                  <a:pt x="47" y="5"/>
                  <a:pt x="43" y="4"/>
                </a:cubicBezTo>
                <a:cubicBezTo>
                  <a:pt x="42" y="6"/>
                  <a:pt x="42" y="6"/>
                  <a:pt x="42" y="6"/>
                </a:cubicBezTo>
                <a:cubicBezTo>
                  <a:pt x="39" y="9"/>
                  <a:pt x="33" y="10"/>
                  <a:pt x="29" y="13"/>
                </a:cubicBezTo>
                <a:cubicBezTo>
                  <a:pt x="23" y="16"/>
                  <a:pt x="18" y="19"/>
                  <a:pt x="13" y="23"/>
                </a:cubicBezTo>
                <a:cubicBezTo>
                  <a:pt x="10" y="26"/>
                  <a:pt x="4" y="29"/>
                  <a:pt x="2" y="33"/>
                </a:cubicBezTo>
                <a:cubicBezTo>
                  <a:pt x="1" y="35"/>
                  <a:pt x="1" y="37"/>
                  <a:pt x="1" y="39"/>
                </a:cubicBezTo>
                <a:lnTo>
                  <a:pt x="1" y="4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Freeform 365"/>
          <p:cNvSpPr>
            <a:spLocks/>
          </p:cNvSpPr>
          <p:nvPr userDrawn="1"/>
        </p:nvSpPr>
        <p:spPr bwMode="auto">
          <a:xfrm>
            <a:off x="8983225" y="6111883"/>
            <a:ext cx="80404" cy="80404"/>
          </a:xfrm>
          <a:custGeom>
            <a:avLst/>
            <a:gdLst>
              <a:gd name="T0" fmla="*/ 2147483646 w 86"/>
              <a:gd name="T1" fmla="*/ 2147483646 h 87"/>
              <a:gd name="T2" fmla="*/ 2147483646 w 86"/>
              <a:gd name="T3" fmla="*/ 2147483646 h 87"/>
              <a:gd name="T4" fmla="*/ 2147483646 w 86"/>
              <a:gd name="T5" fmla="*/ 2147483646 h 87"/>
              <a:gd name="T6" fmla="*/ 2147483646 w 86"/>
              <a:gd name="T7" fmla="*/ 2147483646 h 87"/>
              <a:gd name="T8" fmla="*/ 2147483646 w 86"/>
              <a:gd name="T9" fmla="*/ 2147483646 h 87"/>
              <a:gd name="T10" fmla="*/ 2147483646 w 86"/>
              <a:gd name="T11" fmla="*/ 2147483646 h 87"/>
              <a:gd name="T12" fmla="*/ 2147483646 w 86"/>
              <a:gd name="T13" fmla="*/ 2147483646 h 87"/>
              <a:gd name="T14" fmla="*/ 2147483646 w 86"/>
              <a:gd name="T15" fmla="*/ 2147483646 h 87"/>
              <a:gd name="T16" fmla="*/ 2147483646 w 86"/>
              <a:gd name="T17" fmla="*/ 2147483646 h 87"/>
              <a:gd name="T18" fmla="*/ 2147483646 w 86"/>
              <a:gd name="T19" fmla="*/ 2147483646 h 87"/>
              <a:gd name="T20" fmla="*/ 2147483646 w 86"/>
              <a:gd name="T21" fmla="*/ 2147483646 h 87"/>
              <a:gd name="T22" fmla="*/ 2147483646 w 86"/>
              <a:gd name="T23" fmla="*/ 2147483646 h 87"/>
              <a:gd name="T24" fmla="*/ 2147483646 w 86"/>
              <a:gd name="T25" fmla="*/ 2147483646 h 87"/>
              <a:gd name="T26" fmla="*/ 2147483646 w 86"/>
              <a:gd name="T27" fmla="*/ 2147483646 h 87"/>
              <a:gd name="T28" fmla="*/ 2147483646 w 86"/>
              <a:gd name="T29" fmla="*/ 2147483646 h 87"/>
              <a:gd name="T30" fmla="*/ 2147483646 w 86"/>
              <a:gd name="T31" fmla="*/ 2147483646 h 87"/>
              <a:gd name="T32" fmla="*/ 2147483646 w 86"/>
              <a:gd name="T33" fmla="*/ 2147483646 h 87"/>
              <a:gd name="T34" fmla="*/ 2147483646 w 86"/>
              <a:gd name="T35" fmla="*/ 2147483646 h 87"/>
              <a:gd name="T36" fmla="*/ 2147483646 w 86"/>
              <a:gd name="T37" fmla="*/ 2147483646 h 87"/>
              <a:gd name="T38" fmla="*/ 2147483646 w 86"/>
              <a:gd name="T39" fmla="*/ 2147483646 h 87"/>
              <a:gd name="T40" fmla="*/ 2147483646 w 86"/>
              <a:gd name="T41" fmla="*/ 2147483646 h 87"/>
              <a:gd name="T42" fmla="*/ 2147483646 w 86"/>
              <a:gd name="T43" fmla="*/ 2147483646 h 8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6"/>
              <a:gd name="T67" fmla="*/ 0 h 87"/>
              <a:gd name="T68" fmla="*/ 86 w 86"/>
              <a:gd name="T69" fmla="*/ 87 h 8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6" h="87">
                <a:moveTo>
                  <a:pt x="59" y="10"/>
                </a:moveTo>
                <a:cubicBezTo>
                  <a:pt x="56" y="6"/>
                  <a:pt x="53" y="11"/>
                  <a:pt x="48" y="12"/>
                </a:cubicBezTo>
                <a:cubicBezTo>
                  <a:pt x="42" y="14"/>
                  <a:pt x="35" y="13"/>
                  <a:pt x="31" y="10"/>
                </a:cubicBezTo>
                <a:cubicBezTo>
                  <a:pt x="27" y="7"/>
                  <a:pt x="15" y="0"/>
                  <a:pt x="10" y="1"/>
                </a:cubicBezTo>
                <a:cubicBezTo>
                  <a:pt x="5" y="2"/>
                  <a:pt x="5" y="6"/>
                  <a:pt x="5" y="10"/>
                </a:cubicBezTo>
                <a:cubicBezTo>
                  <a:pt x="6" y="14"/>
                  <a:pt x="0" y="16"/>
                  <a:pt x="7" y="23"/>
                </a:cubicBezTo>
                <a:cubicBezTo>
                  <a:pt x="14" y="29"/>
                  <a:pt x="18" y="29"/>
                  <a:pt x="19" y="36"/>
                </a:cubicBezTo>
                <a:cubicBezTo>
                  <a:pt x="19" y="44"/>
                  <a:pt x="19" y="46"/>
                  <a:pt x="18" y="51"/>
                </a:cubicBezTo>
                <a:cubicBezTo>
                  <a:pt x="18" y="55"/>
                  <a:pt x="13" y="55"/>
                  <a:pt x="18" y="58"/>
                </a:cubicBezTo>
                <a:cubicBezTo>
                  <a:pt x="23" y="61"/>
                  <a:pt x="32" y="61"/>
                  <a:pt x="31" y="66"/>
                </a:cubicBezTo>
                <a:cubicBezTo>
                  <a:pt x="29" y="71"/>
                  <a:pt x="27" y="87"/>
                  <a:pt x="32" y="86"/>
                </a:cubicBezTo>
                <a:cubicBezTo>
                  <a:pt x="38" y="86"/>
                  <a:pt x="50" y="86"/>
                  <a:pt x="51" y="81"/>
                </a:cubicBezTo>
                <a:cubicBezTo>
                  <a:pt x="52" y="75"/>
                  <a:pt x="50" y="67"/>
                  <a:pt x="55" y="68"/>
                </a:cubicBezTo>
                <a:cubicBezTo>
                  <a:pt x="61" y="68"/>
                  <a:pt x="63" y="71"/>
                  <a:pt x="64" y="69"/>
                </a:cubicBezTo>
                <a:cubicBezTo>
                  <a:pt x="66" y="68"/>
                  <a:pt x="65" y="57"/>
                  <a:pt x="69" y="66"/>
                </a:cubicBezTo>
                <a:cubicBezTo>
                  <a:pt x="73" y="76"/>
                  <a:pt x="78" y="73"/>
                  <a:pt x="75" y="67"/>
                </a:cubicBezTo>
                <a:cubicBezTo>
                  <a:pt x="72" y="60"/>
                  <a:pt x="72" y="55"/>
                  <a:pt x="73" y="52"/>
                </a:cubicBezTo>
                <a:cubicBezTo>
                  <a:pt x="75" y="49"/>
                  <a:pt x="75" y="47"/>
                  <a:pt x="78" y="42"/>
                </a:cubicBezTo>
                <a:cubicBezTo>
                  <a:pt x="81" y="37"/>
                  <a:pt x="82" y="30"/>
                  <a:pt x="83" y="25"/>
                </a:cubicBezTo>
                <a:cubicBezTo>
                  <a:pt x="84" y="20"/>
                  <a:pt x="86" y="16"/>
                  <a:pt x="85" y="11"/>
                </a:cubicBezTo>
                <a:cubicBezTo>
                  <a:pt x="84" y="7"/>
                  <a:pt x="82" y="5"/>
                  <a:pt x="79" y="4"/>
                </a:cubicBezTo>
                <a:cubicBezTo>
                  <a:pt x="77" y="2"/>
                  <a:pt x="62" y="14"/>
                  <a:pt x="59" y="1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Freeform 366"/>
          <p:cNvSpPr>
            <a:spLocks/>
          </p:cNvSpPr>
          <p:nvPr userDrawn="1"/>
        </p:nvSpPr>
        <p:spPr bwMode="auto">
          <a:xfrm>
            <a:off x="8966474" y="6083408"/>
            <a:ext cx="8375" cy="18425"/>
          </a:xfrm>
          <a:custGeom>
            <a:avLst/>
            <a:gdLst>
              <a:gd name="T0" fmla="*/ 2147483646 w 9"/>
              <a:gd name="T1" fmla="*/ 2147483646 h 20"/>
              <a:gd name="T2" fmla="*/ 0 w 9"/>
              <a:gd name="T3" fmla="*/ 2147483646 h 20"/>
              <a:gd name="T4" fmla="*/ 2147483646 w 9"/>
              <a:gd name="T5" fmla="*/ 2147483646 h 20"/>
              <a:gd name="T6" fmla="*/ 2147483646 w 9"/>
              <a:gd name="T7" fmla="*/ 2147483646 h 20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20"/>
              <a:gd name="T14" fmla="*/ 9 w 9"/>
              <a:gd name="T15" fmla="*/ 20 h 2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20">
                <a:moveTo>
                  <a:pt x="6" y="3"/>
                </a:moveTo>
                <a:cubicBezTo>
                  <a:pt x="4" y="0"/>
                  <a:pt x="1" y="3"/>
                  <a:pt x="0" y="9"/>
                </a:cubicBezTo>
                <a:cubicBezTo>
                  <a:pt x="0" y="14"/>
                  <a:pt x="2" y="20"/>
                  <a:pt x="4" y="18"/>
                </a:cubicBezTo>
                <a:cubicBezTo>
                  <a:pt x="7" y="15"/>
                  <a:pt x="9" y="7"/>
                  <a:pt x="6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Freeform 367"/>
          <p:cNvSpPr>
            <a:spLocks/>
          </p:cNvSpPr>
          <p:nvPr userDrawn="1"/>
        </p:nvSpPr>
        <p:spPr bwMode="auto">
          <a:xfrm>
            <a:off x="9050229" y="6085082"/>
            <a:ext cx="13401" cy="20101"/>
          </a:xfrm>
          <a:custGeom>
            <a:avLst/>
            <a:gdLst>
              <a:gd name="T0" fmla="*/ 2147483646 w 15"/>
              <a:gd name="T1" fmla="*/ 2147483646 h 21"/>
              <a:gd name="T2" fmla="*/ 2147483646 w 15"/>
              <a:gd name="T3" fmla="*/ 2147483646 h 21"/>
              <a:gd name="T4" fmla="*/ 2147483646 w 15"/>
              <a:gd name="T5" fmla="*/ 2147483646 h 21"/>
              <a:gd name="T6" fmla="*/ 2147483646 w 15"/>
              <a:gd name="T7" fmla="*/ 2147483646 h 21"/>
              <a:gd name="T8" fmla="*/ 2147483646 w 15"/>
              <a:gd name="T9" fmla="*/ 2147483646 h 2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"/>
              <a:gd name="T16" fmla="*/ 0 h 21"/>
              <a:gd name="T17" fmla="*/ 15 w 15"/>
              <a:gd name="T18" fmla="*/ 21 h 2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" h="21">
                <a:moveTo>
                  <a:pt x="4" y="2"/>
                </a:moveTo>
                <a:cubicBezTo>
                  <a:pt x="0" y="4"/>
                  <a:pt x="3" y="8"/>
                  <a:pt x="4" y="12"/>
                </a:cubicBezTo>
                <a:cubicBezTo>
                  <a:pt x="6" y="16"/>
                  <a:pt x="7" y="21"/>
                  <a:pt x="9" y="19"/>
                </a:cubicBezTo>
                <a:cubicBezTo>
                  <a:pt x="11" y="18"/>
                  <a:pt x="15" y="14"/>
                  <a:pt x="15" y="14"/>
                </a:cubicBezTo>
                <a:cubicBezTo>
                  <a:pt x="15" y="14"/>
                  <a:pt x="9" y="0"/>
                  <a:pt x="4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Freeform 368"/>
          <p:cNvSpPr>
            <a:spLocks/>
          </p:cNvSpPr>
          <p:nvPr userDrawn="1"/>
        </p:nvSpPr>
        <p:spPr bwMode="auto">
          <a:xfrm>
            <a:off x="9455601" y="5597629"/>
            <a:ext cx="90455" cy="73704"/>
          </a:xfrm>
          <a:custGeom>
            <a:avLst/>
            <a:gdLst>
              <a:gd name="T0" fmla="*/ 2147483646 w 96"/>
              <a:gd name="T1" fmla="*/ 2147483646 h 80"/>
              <a:gd name="T2" fmla="*/ 2147483646 w 96"/>
              <a:gd name="T3" fmla="*/ 2147483646 h 80"/>
              <a:gd name="T4" fmla="*/ 2147483646 w 96"/>
              <a:gd name="T5" fmla="*/ 2147483646 h 80"/>
              <a:gd name="T6" fmla="*/ 2147483646 w 96"/>
              <a:gd name="T7" fmla="*/ 2147483646 h 80"/>
              <a:gd name="T8" fmla="*/ 2147483646 w 96"/>
              <a:gd name="T9" fmla="*/ 2147483646 h 80"/>
              <a:gd name="T10" fmla="*/ 2147483646 w 96"/>
              <a:gd name="T11" fmla="*/ 2147483646 h 80"/>
              <a:gd name="T12" fmla="*/ 2147483646 w 96"/>
              <a:gd name="T13" fmla="*/ 2147483646 h 80"/>
              <a:gd name="T14" fmla="*/ 2147483646 w 96"/>
              <a:gd name="T15" fmla="*/ 2147483646 h 80"/>
              <a:gd name="T16" fmla="*/ 2147483646 w 96"/>
              <a:gd name="T17" fmla="*/ 2147483646 h 80"/>
              <a:gd name="T18" fmla="*/ 2147483646 w 96"/>
              <a:gd name="T19" fmla="*/ 2147483646 h 80"/>
              <a:gd name="T20" fmla="*/ 2147483646 w 96"/>
              <a:gd name="T21" fmla="*/ 2147483646 h 80"/>
              <a:gd name="T22" fmla="*/ 2147483646 w 96"/>
              <a:gd name="T23" fmla="*/ 2147483646 h 80"/>
              <a:gd name="T24" fmla="*/ 2147483646 w 96"/>
              <a:gd name="T25" fmla="*/ 2147483646 h 80"/>
              <a:gd name="T26" fmla="*/ 2147483646 w 96"/>
              <a:gd name="T27" fmla="*/ 2147483646 h 80"/>
              <a:gd name="T28" fmla="*/ 2147483646 w 96"/>
              <a:gd name="T29" fmla="*/ 2147483646 h 80"/>
              <a:gd name="T30" fmla="*/ 2147483646 w 96"/>
              <a:gd name="T31" fmla="*/ 2147483646 h 80"/>
              <a:gd name="T32" fmla="*/ 2147483646 w 96"/>
              <a:gd name="T33" fmla="*/ 2147483646 h 80"/>
              <a:gd name="T34" fmla="*/ 2147483646 w 96"/>
              <a:gd name="T35" fmla="*/ 2147483646 h 80"/>
              <a:gd name="T36" fmla="*/ 2147483646 w 96"/>
              <a:gd name="T37" fmla="*/ 2147483646 h 80"/>
              <a:gd name="T38" fmla="*/ 2147483646 w 96"/>
              <a:gd name="T39" fmla="*/ 2147483646 h 80"/>
              <a:gd name="T40" fmla="*/ 2147483646 w 96"/>
              <a:gd name="T41" fmla="*/ 2147483646 h 80"/>
              <a:gd name="T42" fmla="*/ 2147483646 w 96"/>
              <a:gd name="T43" fmla="*/ 2147483646 h 80"/>
              <a:gd name="T44" fmla="*/ 2147483646 w 96"/>
              <a:gd name="T45" fmla="*/ 2147483646 h 80"/>
              <a:gd name="T46" fmla="*/ 2147483646 w 96"/>
              <a:gd name="T47" fmla="*/ 2147483646 h 80"/>
              <a:gd name="T48" fmla="*/ 2147483646 w 96"/>
              <a:gd name="T49" fmla="*/ 2147483646 h 80"/>
              <a:gd name="T50" fmla="*/ 2147483646 w 96"/>
              <a:gd name="T51" fmla="*/ 2147483646 h 80"/>
              <a:gd name="T52" fmla="*/ 2147483646 w 96"/>
              <a:gd name="T53" fmla="*/ 2147483646 h 80"/>
              <a:gd name="T54" fmla="*/ 2147483646 w 96"/>
              <a:gd name="T55" fmla="*/ 2147483646 h 80"/>
              <a:gd name="T56" fmla="*/ 2147483646 w 96"/>
              <a:gd name="T57" fmla="*/ 2147483646 h 80"/>
              <a:gd name="T58" fmla="*/ 2147483646 w 96"/>
              <a:gd name="T59" fmla="*/ 2147483646 h 80"/>
              <a:gd name="T60" fmla="*/ 2147483646 w 96"/>
              <a:gd name="T61" fmla="*/ 2147483646 h 80"/>
              <a:gd name="T62" fmla="*/ 2147483646 w 96"/>
              <a:gd name="T63" fmla="*/ 2147483646 h 80"/>
              <a:gd name="T64" fmla="*/ 2147483646 w 96"/>
              <a:gd name="T65" fmla="*/ 2147483646 h 80"/>
              <a:gd name="T66" fmla="*/ 2147483646 w 96"/>
              <a:gd name="T67" fmla="*/ 2147483646 h 80"/>
              <a:gd name="T68" fmla="*/ 2147483646 w 96"/>
              <a:gd name="T69" fmla="*/ 2147483646 h 80"/>
              <a:gd name="T70" fmla="*/ 2147483646 w 96"/>
              <a:gd name="T71" fmla="*/ 2147483646 h 80"/>
              <a:gd name="T72" fmla="*/ 2147483646 w 96"/>
              <a:gd name="T73" fmla="*/ 2147483646 h 80"/>
              <a:gd name="T74" fmla="*/ 2147483646 w 96"/>
              <a:gd name="T75" fmla="*/ 2147483646 h 8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96"/>
              <a:gd name="T115" fmla="*/ 0 h 80"/>
              <a:gd name="T116" fmla="*/ 96 w 96"/>
              <a:gd name="T117" fmla="*/ 80 h 8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96" h="80">
                <a:moveTo>
                  <a:pt x="2" y="1"/>
                </a:moveTo>
                <a:cubicBezTo>
                  <a:pt x="1" y="1"/>
                  <a:pt x="0" y="3"/>
                  <a:pt x="2" y="3"/>
                </a:cubicBezTo>
                <a:cubicBezTo>
                  <a:pt x="3" y="3"/>
                  <a:pt x="5" y="4"/>
                  <a:pt x="5" y="4"/>
                </a:cubicBezTo>
                <a:cubicBezTo>
                  <a:pt x="5" y="5"/>
                  <a:pt x="3" y="6"/>
                  <a:pt x="3" y="6"/>
                </a:cubicBezTo>
                <a:cubicBezTo>
                  <a:pt x="3" y="6"/>
                  <a:pt x="2" y="8"/>
                  <a:pt x="2" y="8"/>
                </a:cubicBezTo>
                <a:cubicBezTo>
                  <a:pt x="3" y="9"/>
                  <a:pt x="4" y="8"/>
                  <a:pt x="5" y="8"/>
                </a:cubicBezTo>
                <a:cubicBezTo>
                  <a:pt x="6" y="9"/>
                  <a:pt x="5" y="7"/>
                  <a:pt x="6" y="8"/>
                </a:cubicBezTo>
                <a:cubicBezTo>
                  <a:pt x="7" y="9"/>
                  <a:pt x="5" y="11"/>
                  <a:pt x="5" y="12"/>
                </a:cubicBezTo>
                <a:cubicBezTo>
                  <a:pt x="6" y="13"/>
                  <a:pt x="10" y="14"/>
                  <a:pt x="10" y="16"/>
                </a:cubicBezTo>
                <a:cubicBezTo>
                  <a:pt x="11" y="17"/>
                  <a:pt x="10" y="18"/>
                  <a:pt x="11" y="19"/>
                </a:cubicBezTo>
                <a:cubicBezTo>
                  <a:pt x="12" y="19"/>
                  <a:pt x="13" y="20"/>
                  <a:pt x="14" y="21"/>
                </a:cubicBezTo>
                <a:cubicBezTo>
                  <a:pt x="15" y="22"/>
                  <a:pt x="15" y="23"/>
                  <a:pt x="15" y="23"/>
                </a:cubicBezTo>
                <a:cubicBezTo>
                  <a:pt x="14" y="24"/>
                  <a:pt x="20" y="27"/>
                  <a:pt x="20" y="28"/>
                </a:cubicBezTo>
                <a:cubicBezTo>
                  <a:pt x="21" y="29"/>
                  <a:pt x="23" y="29"/>
                  <a:pt x="23" y="30"/>
                </a:cubicBezTo>
                <a:cubicBezTo>
                  <a:pt x="24" y="31"/>
                  <a:pt x="22" y="32"/>
                  <a:pt x="23" y="33"/>
                </a:cubicBezTo>
                <a:cubicBezTo>
                  <a:pt x="23" y="34"/>
                  <a:pt x="26" y="36"/>
                  <a:pt x="27" y="35"/>
                </a:cubicBezTo>
                <a:cubicBezTo>
                  <a:pt x="27" y="34"/>
                  <a:pt x="26" y="31"/>
                  <a:pt x="27" y="34"/>
                </a:cubicBezTo>
                <a:cubicBezTo>
                  <a:pt x="29" y="37"/>
                  <a:pt x="27" y="37"/>
                  <a:pt x="29" y="39"/>
                </a:cubicBezTo>
                <a:cubicBezTo>
                  <a:pt x="31" y="40"/>
                  <a:pt x="32" y="42"/>
                  <a:pt x="32" y="42"/>
                </a:cubicBezTo>
                <a:cubicBezTo>
                  <a:pt x="32" y="42"/>
                  <a:pt x="30" y="44"/>
                  <a:pt x="31" y="44"/>
                </a:cubicBezTo>
                <a:cubicBezTo>
                  <a:pt x="33" y="44"/>
                  <a:pt x="34" y="42"/>
                  <a:pt x="35" y="43"/>
                </a:cubicBezTo>
                <a:cubicBezTo>
                  <a:pt x="36" y="44"/>
                  <a:pt x="37" y="46"/>
                  <a:pt x="37" y="46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49"/>
                  <a:pt x="40" y="48"/>
                  <a:pt x="41" y="49"/>
                </a:cubicBezTo>
                <a:cubicBezTo>
                  <a:pt x="42" y="51"/>
                  <a:pt x="45" y="52"/>
                  <a:pt x="46" y="52"/>
                </a:cubicBezTo>
                <a:cubicBezTo>
                  <a:pt x="48" y="53"/>
                  <a:pt x="51" y="56"/>
                  <a:pt x="51" y="56"/>
                </a:cubicBezTo>
                <a:cubicBezTo>
                  <a:pt x="51" y="56"/>
                  <a:pt x="53" y="58"/>
                  <a:pt x="55" y="58"/>
                </a:cubicBezTo>
                <a:cubicBezTo>
                  <a:pt x="56" y="58"/>
                  <a:pt x="58" y="57"/>
                  <a:pt x="59" y="59"/>
                </a:cubicBezTo>
                <a:cubicBezTo>
                  <a:pt x="59" y="60"/>
                  <a:pt x="60" y="61"/>
                  <a:pt x="61" y="62"/>
                </a:cubicBezTo>
                <a:cubicBezTo>
                  <a:pt x="62" y="62"/>
                  <a:pt x="62" y="62"/>
                  <a:pt x="63" y="64"/>
                </a:cubicBezTo>
                <a:cubicBezTo>
                  <a:pt x="65" y="65"/>
                  <a:pt x="63" y="59"/>
                  <a:pt x="66" y="63"/>
                </a:cubicBezTo>
                <a:cubicBezTo>
                  <a:pt x="69" y="67"/>
                  <a:pt x="69" y="67"/>
                  <a:pt x="68" y="68"/>
                </a:cubicBezTo>
                <a:cubicBezTo>
                  <a:pt x="68" y="68"/>
                  <a:pt x="66" y="67"/>
                  <a:pt x="67" y="68"/>
                </a:cubicBezTo>
                <a:cubicBezTo>
                  <a:pt x="68" y="69"/>
                  <a:pt x="70" y="69"/>
                  <a:pt x="72" y="70"/>
                </a:cubicBezTo>
                <a:cubicBezTo>
                  <a:pt x="74" y="72"/>
                  <a:pt x="74" y="72"/>
                  <a:pt x="76" y="73"/>
                </a:cubicBezTo>
                <a:cubicBezTo>
                  <a:pt x="77" y="73"/>
                  <a:pt x="78" y="69"/>
                  <a:pt x="80" y="71"/>
                </a:cubicBezTo>
                <a:cubicBezTo>
                  <a:pt x="82" y="73"/>
                  <a:pt x="81" y="75"/>
                  <a:pt x="83" y="76"/>
                </a:cubicBezTo>
                <a:cubicBezTo>
                  <a:pt x="86" y="76"/>
                  <a:pt x="87" y="74"/>
                  <a:pt x="87" y="76"/>
                </a:cubicBezTo>
                <a:cubicBezTo>
                  <a:pt x="87" y="78"/>
                  <a:pt x="87" y="79"/>
                  <a:pt x="88" y="80"/>
                </a:cubicBezTo>
                <a:cubicBezTo>
                  <a:pt x="90" y="80"/>
                  <a:pt x="88" y="76"/>
                  <a:pt x="91" y="78"/>
                </a:cubicBezTo>
                <a:cubicBezTo>
                  <a:pt x="94" y="79"/>
                  <a:pt x="95" y="78"/>
                  <a:pt x="95" y="77"/>
                </a:cubicBezTo>
                <a:cubicBezTo>
                  <a:pt x="96" y="75"/>
                  <a:pt x="95" y="72"/>
                  <a:pt x="95" y="72"/>
                </a:cubicBezTo>
                <a:cubicBezTo>
                  <a:pt x="95" y="72"/>
                  <a:pt x="92" y="72"/>
                  <a:pt x="92" y="71"/>
                </a:cubicBezTo>
                <a:cubicBezTo>
                  <a:pt x="91" y="70"/>
                  <a:pt x="91" y="67"/>
                  <a:pt x="90" y="67"/>
                </a:cubicBezTo>
                <a:cubicBezTo>
                  <a:pt x="89" y="67"/>
                  <a:pt x="87" y="67"/>
                  <a:pt x="86" y="66"/>
                </a:cubicBezTo>
                <a:cubicBezTo>
                  <a:pt x="85" y="64"/>
                  <a:pt x="85" y="62"/>
                  <a:pt x="84" y="61"/>
                </a:cubicBezTo>
                <a:cubicBezTo>
                  <a:pt x="83" y="60"/>
                  <a:pt x="82" y="60"/>
                  <a:pt x="81" y="60"/>
                </a:cubicBezTo>
                <a:cubicBezTo>
                  <a:pt x="79" y="60"/>
                  <a:pt x="78" y="58"/>
                  <a:pt x="77" y="57"/>
                </a:cubicBezTo>
                <a:cubicBezTo>
                  <a:pt x="76" y="56"/>
                  <a:pt x="76" y="53"/>
                  <a:pt x="75" y="54"/>
                </a:cubicBezTo>
                <a:cubicBezTo>
                  <a:pt x="74" y="55"/>
                  <a:pt x="73" y="53"/>
                  <a:pt x="73" y="54"/>
                </a:cubicBezTo>
                <a:cubicBezTo>
                  <a:pt x="72" y="55"/>
                  <a:pt x="72" y="51"/>
                  <a:pt x="70" y="51"/>
                </a:cubicBezTo>
                <a:cubicBezTo>
                  <a:pt x="69" y="51"/>
                  <a:pt x="68" y="50"/>
                  <a:pt x="68" y="49"/>
                </a:cubicBezTo>
                <a:cubicBezTo>
                  <a:pt x="67" y="49"/>
                  <a:pt x="67" y="47"/>
                  <a:pt x="67" y="48"/>
                </a:cubicBezTo>
                <a:cubicBezTo>
                  <a:pt x="66" y="49"/>
                  <a:pt x="65" y="49"/>
                  <a:pt x="64" y="48"/>
                </a:cubicBezTo>
                <a:cubicBezTo>
                  <a:pt x="64" y="47"/>
                  <a:pt x="63" y="44"/>
                  <a:pt x="63" y="45"/>
                </a:cubicBezTo>
                <a:cubicBezTo>
                  <a:pt x="63" y="47"/>
                  <a:pt x="61" y="47"/>
                  <a:pt x="61" y="46"/>
                </a:cubicBezTo>
                <a:cubicBezTo>
                  <a:pt x="61" y="46"/>
                  <a:pt x="62" y="44"/>
                  <a:pt x="61" y="44"/>
                </a:cubicBezTo>
                <a:cubicBezTo>
                  <a:pt x="59" y="44"/>
                  <a:pt x="60" y="43"/>
                  <a:pt x="59" y="44"/>
                </a:cubicBezTo>
                <a:cubicBezTo>
                  <a:pt x="59" y="46"/>
                  <a:pt x="58" y="46"/>
                  <a:pt x="58" y="45"/>
                </a:cubicBezTo>
                <a:cubicBezTo>
                  <a:pt x="57" y="44"/>
                  <a:pt x="58" y="42"/>
                  <a:pt x="56" y="41"/>
                </a:cubicBezTo>
                <a:cubicBezTo>
                  <a:pt x="55" y="41"/>
                  <a:pt x="54" y="41"/>
                  <a:pt x="52" y="40"/>
                </a:cubicBezTo>
                <a:cubicBezTo>
                  <a:pt x="50" y="40"/>
                  <a:pt x="49" y="37"/>
                  <a:pt x="50" y="37"/>
                </a:cubicBezTo>
                <a:cubicBezTo>
                  <a:pt x="51" y="37"/>
                  <a:pt x="52" y="36"/>
                  <a:pt x="51" y="36"/>
                </a:cubicBezTo>
                <a:cubicBezTo>
                  <a:pt x="50" y="36"/>
                  <a:pt x="46" y="29"/>
                  <a:pt x="46" y="29"/>
                </a:cubicBezTo>
                <a:cubicBezTo>
                  <a:pt x="46" y="29"/>
                  <a:pt x="44" y="28"/>
                  <a:pt x="43" y="29"/>
                </a:cubicBezTo>
                <a:cubicBezTo>
                  <a:pt x="42" y="29"/>
                  <a:pt x="40" y="26"/>
                  <a:pt x="40" y="25"/>
                </a:cubicBezTo>
                <a:cubicBezTo>
                  <a:pt x="40" y="23"/>
                  <a:pt x="40" y="22"/>
                  <a:pt x="38" y="22"/>
                </a:cubicBezTo>
                <a:cubicBezTo>
                  <a:pt x="37" y="22"/>
                  <a:pt x="33" y="21"/>
                  <a:pt x="31" y="20"/>
                </a:cubicBezTo>
                <a:cubicBezTo>
                  <a:pt x="29" y="19"/>
                  <a:pt x="27" y="18"/>
                  <a:pt x="26" y="16"/>
                </a:cubicBezTo>
                <a:cubicBezTo>
                  <a:pt x="25" y="14"/>
                  <a:pt x="24" y="12"/>
                  <a:pt x="23" y="11"/>
                </a:cubicBezTo>
                <a:cubicBezTo>
                  <a:pt x="21" y="10"/>
                  <a:pt x="21" y="10"/>
                  <a:pt x="19" y="8"/>
                </a:cubicBezTo>
                <a:cubicBezTo>
                  <a:pt x="17" y="6"/>
                  <a:pt x="15" y="4"/>
                  <a:pt x="14" y="5"/>
                </a:cubicBezTo>
                <a:cubicBezTo>
                  <a:pt x="13" y="6"/>
                  <a:pt x="11" y="4"/>
                  <a:pt x="11" y="5"/>
                </a:cubicBezTo>
                <a:cubicBezTo>
                  <a:pt x="11" y="7"/>
                  <a:pt x="5" y="2"/>
                  <a:pt x="5" y="2"/>
                </a:cubicBezTo>
                <a:cubicBezTo>
                  <a:pt x="5" y="2"/>
                  <a:pt x="4" y="0"/>
                  <a:pt x="3" y="1"/>
                </a:cubicBezTo>
                <a:cubicBezTo>
                  <a:pt x="2" y="1"/>
                  <a:pt x="2" y="1"/>
                  <a:pt x="2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Freeform 369"/>
          <p:cNvSpPr>
            <a:spLocks/>
          </p:cNvSpPr>
          <p:nvPr userDrawn="1"/>
        </p:nvSpPr>
        <p:spPr bwMode="auto">
          <a:xfrm>
            <a:off x="9539355" y="5616055"/>
            <a:ext cx="11725" cy="15076"/>
          </a:xfrm>
          <a:custGeom>
            <a:avLst/>
            <a:gdLst>
              <a:gd name="T0" fmla="*/ 2147483646 w 13"/>
              <a:gd name="T1" fmla="*/ 0 h 16"/>
              <a:gd name="T2" fmla="*/ 2147483646 w 13"/>
              <a:gd name="T3" fmla="*/ 0 h 16"/>
              <a:gd name="T4" fmla="*/ 2147483646 w 13"/>
              <a:gd name="T5" fmla="*/ 2147483646 h 16"/>
              <a:gd name="T6" fmla="*/ 2147483646 w 13"/>
              <a:gd name="T7" fmla="*/ 2147483646 h 16"/>
              <a:gd name="T8" fmla="*/ 2147483646 w 13"/>
              <a:gd name="T9" fmla="*/ 2147483646 h 16"/>
              <a:gd name="T10" fmla="*/ 2147483646 w 13"/>
              <a:gd name="T11" fmla="*/ 2147483646 h 16"/>
              <a:gd name="T12" fmla="*/ 2147483646 w 13"/>
              <a:gd name="T13" fmla="*/ 2147483646 h 16"/>
              <a:gd name="T14" fmla="*/ 2147483646 w 13"/>
              <a:gd name="T15" fmla="*/ 2147483646 h 16"/>
              <a:gd name="T16" fmla="*/ 2147483646 w 13"/>
              <a:gd name="T17" fmla="*/ 2147483646 h 16"/>
              <a:gd name="T18" fmla="*/ 2147483646 w 13"/>
              <a:gd name="T19" fmla="*/ 2147483646 h 16"/>
              <a:gd name="T20" fmla="*/ 2147483646 w 13"/>
              <a:gd name="T21" fmla="*/ 2147483646 h 16"/>
              <a:gd name="T22" fmla="*/ 2147483646 w 13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3"/>
              <a:gd name="T37" fmla="*/ 0 h 16"/>
              <a:gd name="T38" fmla="*/ 13 w 13"/>
              <a:gd name="T39" fmla="*/ 16 h 1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3" h="16">
                <a:moveTo>
                  <a:pt x="8" y="0"/>
                </a:moveTo>
                <a:cubicBezTo>
                  <a:pt x="8" y="0"/>
                  <a:pt x="3" y="0"/>
                  <a:pt x="3" y="0"/>
                </a:cubicBezTo>
                <a:cubicBezTo>
                  <a:pt x="2" y="0"/>
                  <a:pt x="1" y="1"/>
                  <a:pt x="2" y="2"/>
                </a:cubicBezTo>
                <a:cubicBezTo>
                  <a:pt x="3" y="2"/>
                  <a:pt x="5" y="3"/>
                  <a:pt x="5" y="3"/>
                </a:cubicBezTo>
                <a:cubicBezTo>
                  <a:pt x="5" y="4"/>
                  <a:pt x="3" y="6"/>
                  <a:pt x="3" y="6"/>
                </a:cubicBezTo>
                <a:cubicBezTo>
                  <a:pt x="2" y="7"/>
                  <a:pt x="1" y="6"/>
                  <a:pt x="1" y="7"/>
                </a:cubicBezTo>
                <a:cubicBezTo>
                  <a:pt x="0" y="7"/>
                  <a:pt x="5" y="12"/>
                  <a:pt x="6" y="13"/>
                </a:cubicBezTo>
                <a:cubicBezTo>
                  <a:pt x="8" y="14"/>
                  <a:pt x="8" y="16"/>
                  <a:pt x="9" y="16"/>
                </a:cubicBezTo>
                <a:cubicBezTo>
                  <a:pt x="10" y="16"/>
                  <a:pt x="10" y="16"/>
                  <a:pt x="12" y="15"/>
                </a:cubicBezTo>
                <a:cubicBezTo>
                  <a:pt x="13" y="15"/>
                  <a:pt x="11" y="11"/>
                  <a:pt x="11" y="9"/>
                </a:cubicBezTo>
                <a:cubicBezTo>
                  <a:pt x="11" y="8"/>
                  <a:pt x="9" y="8"/>
                  <a:pt x="9" y="6"/>
                </a:cubicBezTo>
                <a:cubicBezTo>
                  <a:pt x="9" y="4"/>
                  <a:pt x="12" y="3"/>
                  <a:pt x="8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Freeform 370"/>
          <p:cNvSpPr>
            <a:spLocks/>
          </p:cNvSpPr>
          <p:nvPr userDrawn="1"/>
        </p:nvSpPr>
        <p:spPr bwMode="auto">
          <a:xfrm>
            <a:off x="9522605" y="5607680"/>
            <a:ext cx="8375" cy="10051"/>
          </a:xfrm>
          <a:custGeom>
            <a:avLst/>
            <a:gdLst>
              <a:gd name="T0" fmla="*/ 2147483646 w 9"/>
              <a:gd name="T1" fmla="*/ 2147483646 h 12"/>
              <a:gd name="T2" fmla="*/ 2147483646 w 9"/>
              <a:gd name="T3" fmla="*/ 2147483646 h 12"/>
              <a:gd name="T4" fmla="*/ 2147483646 w 9"/>
              <a:gd name="T5" fmla="*/ 2147483646 h 12"/>
              <a:gd name="T6" fmla="*/ 2147483646 w 9"/>
              <a:gd name="T7" fmla="*/ 2147483646 h 12"/>
              <a:gd name="T8" fmla="*/ 2147483646 w 9"/>
              <a:gd name="T9" fmla="*/ 2147483646 h 12"/>
              <a:gd name="T10" fmla="*/ 0 w 9"/>
              <a:gd name="T11" fmla="*/ 2147483646 h 12"/>
              <a:gd name="T12" fmla="*/ 2147483646 w 9"/>
              <a:gd name="T13" fmla="*/ 2147483646 h 12"/>
              <a:gd name="T14" fmla="*/ 2147483646 w 9"/>
              <a:gd name="T15" fmla="*/ 2147483646 h 12"/>
              <a:gd name="T16" fmla="*/ 2147483646 w 9"/>
              <a:gd name="T17" fmla="*/ 2147483646 h 12"/>
              <a:gd name="T18" fmla="*/ 2147483646 w 9"/>
              <a:gd name="T19" fmla="*/ 2147483646 h 12"/>
              <a:gd name="T20" fmla="*/ 2147483646 w 9"/>
              <a:gd name="T21" fmla="*/ 2147483646 h 12"/>
              <a:gd name="T22" fmla="*/ 2147483646 w 9"/>
              <a:gd name="T23" fmla="*/ 0 h 12"/>
              <a:gd name="T24" fmla="*/ 2147483646 w 9"/>
              <a:gd name="T25" fmla="*/ 2147483646 h 1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2"/>
              <a:gd name="T41" fmla="*/ 9 w 9"/>
              <a:gd name="T42" fmla="*/ 12 h 1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2">
                <a:moveTo>
                  <a:pt x="3" y="1"/>
                </a:moveTo>
                <a:cubicBezTo>
                  <a:pt x="3" y="1"/>
                  <a:pt x="4" y="0"/>
                  <a:pt x="6" y="1"/>
                </a:cubicBezTo>
                <a:cubicBezTo>
                  <a:pt x="7" y="2"/>
                  <a:pt x="6" y="4"/>
                  <a:pt x="6" y="4"/>
                </a:cubicBezTo>
                <a:cubicBezTo>
                  <a:pt x="5" y="5"/>
                  <a:pt x="5" y="6"/>
                  <a:pt x="5" y="7"/>
                </a:cubicBezTo>
                <a:cubicBezTo>
                  <a:pt x="5" y="8"/>
                  <a:pt x="3" y="8"/>
                  <a:pt x="2" y="9"/>
                </a:cubicBezTo>
                <a:cubicBezTo>
                  <a:pt x="2" y="11"/>
                  <a:pt x="0" y="12"/>
                  <a:pt x="0" y="12"/>
                </a:cubicBezTo>
                <a:cubicBezTo>
                  <a:pt x="0" y="12"/>
                  <a:pt x="2" y="11"/>
                  <a:pt x="4" y="11"/>
                </a:cubicBezTo>
                <a:cubicBezTo>
                  <a:pt x="6" y="11"/>
                  <a:pt x="6" y="8"/>
                  <a:pt x="6" y="8"/>
                </a:cubicBezTo>
                <a:cubicBezTo>
                  <a:pt x="7" y="7"/>
                  <a:pt x="5" y="6"/>
                  <a:pt x="6" y="6"/>
                </a:cubicBezTo>
                <a:cubicBezTo>
                  <a:pt x="6" y="5"/>
                  <a:pt x="6" y="4"/>
                  <a:pt x="8" y="4"/>
                </a:cubicBezTo>
                <a:cubicBezTo>
                  <a:pt x="9" y="3"/>
                  <a:pt x="9" y="2"/>
                  <a:pt x="9" y="2"/>
                </a:cubicBezTo>
                <a:cubicBezTo>
                  <a:pt x="9" y="1"/>
                  <a:pt x="8" y="0"/>
                  <a:pt x="8" y="0"/>
                </a:cubicBezTo>
                <a:cubicBezTo>
                  <a:pt x="7" y="0"/>
                  <a:pt x="3" y="1"/>
                  <a:pt x="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Freeform 371"/>
          <p:cNvSpPr>
            <a:spLocks/>
          </p:cNvSpPr>
          <p:nvPr userDrawn="1"/>
        </p:nvSpPr>
        <p:spPr bwMode="auto">
          <a:xfrm>
            <a:off x="9559456" y="5634481"/>
            <a:ext cx="11725" cy="10051"/>
          </a:xfrm>
          <a:custGeom>
            <a:avLst/>
            <a:gdLst>
              <a:gd name="T0" fmla="*/ 2147483646 w 12"/>
              <a:gd name="T1" fmla="*/ 2147483646 h 11"/>
              <a:gd name="T2" fmla="*/ 2147483646 w 12"/>
              <a:gd name="T3" fmla="*/ 2147483646 h 11"/>
              <a:gd name="T4" fmla="*/ 0 w 12"/>
              <a:gd name="T5" fmla="*/ 2147483646 h 11"/>
              <a:gd name="T6" fmla="*/ 2147483646 w 12"/>
              <a:gd name="T7" fmla="*/ 2147483646 h 11"/>
              <a:gd name="T8" fmla="*/ 2147483646 w 12"/>
              <a:gd name="T9" fmla="*/ 2147483646 h 11"/>
              <a:gd name="T10" fmla="*/ 2147483646 w 12"/>
              <a:gd name="T11" fmla="*/ 2147483646 h 11"/>
              <a:gd name="T12" fmla="*/ 2147483646 w 12"/>
              <a:gd name="T13" fmla="*/ 2147483646 h 11"/>
              <a:gd name="T14" fmla="*/ 2147483646 w 12"/>
              <a:gd name="T15" fmla="*/ 2147483646 h 11"/>
              <a:gd name="T16" fmla="*/ 2147483646 w 12"/>
              <a:gd name="T17" fmla="*/ 2147483646 h 11"/>
              <a:gd name="T18" fmla="*/ 2147483646 w 12"/>
              <a:gd name="T19" fmla="*/ 2147483646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11"/>
              <a:gd name="T32" fmla="*/ 12 w 12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11">
                <a:moveTo>
                  <a:pt x="5" y="1"/>
                </a:moveTo>
                <a:cubicBezTo>
                  <a:pt x="4" y="2"/>
                  <a:pt x="3" y="2"/>
                  <a:pt x="2" y="2"/>
                </a:cubicBezTo>
                <a:cubicBezTo>
                  <a:pt x="1" y="2"/>
                  <a:pt x="0" y="0"/>
                  <a:pt x="0" y="3"/>
                </a:cubicBezTo>
                <a:cubicBezTo>
                  <a:pt x="0" y="6"/>
                  <a:pt x="2" y="9"/>
                  <a:pt x="4" y="9"/>
                </a:cubicBezTo>
                <a:cubicBezTo>
                  <a:pt x="5" y="9"/>
                  <a:pt x="5" y="8"/>
                  <a:pt x="6" y="10"/>
                </a:cubicBezTo>
                <a:cubicBezTo>
                  <a:pt x="7" y="11"/>
                  <a:pt x="9" y="9"/>
                  <a:pt x="10" y="10"/>
                </a:cubicBezTo>
                <a:cubicBezTo>
                  <a:pt x="11" y="10"/>
                  <a:pt x="12" y="8"/>
                  <a:pt x="12" y="8"/>
                </a:cubicBezTo>
                <a:cubicBezTo>
                  <a:pt x="11" y="4"/>
                  <a:pt x="11" y="4"/>
                  <a:pt x="11" y="4"/>
                </a:cubicBezTo>
                <a:cubicBezTo>
                  <a:pt x="11" y="4"/>
                  <a:pt x="8" y="4"/>
                  <a:pt x="7" y="4"/>
                </a:cubicBezTo>
                <a:cubicBezTo>
                  <a:pt x="6" y="3"/>
                  <a:pt x="7" y="0"/>
                  <a:pt x="5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Freeform 372"/>
          <p:cNvSpPr>
            <a:spLocks/>
          </p:cNvSpPr>
          <p:nvPr userDrawn="1"/>
        </p:nvSpPr>
        <p:spPr bwMode="auto">
          <a:xfrm>
            <a:off x="8231108" y="5297787"/>
            <a:ext cx="973229" cy="773893"/>
          </a:xfrm>
          <a:custGeom>
            <a:avLst/>
            <a:gdLst>
              <a:gd name="T0" fmla="*/ 2147483646 w 1042"/>
              <a:gd name="T1" fmla="*/ 2147483646 h 829"/>
              <a:gd name="T2" fmla="*/ 2147483646 w 1042"/>
              <a:gd name="T3" fmla="*/ 2147483646 h 829"/>
              <a:gd name="T4" fmla="*/ 2147483646 w 1042"/>
              <a:gd name="T5" fmla="*/ 2147483646 h 829"/>
              <a:gd name="T6" fmla="*/ 2147483646 w 1042"/>
              <a:gd name="T7" fmla="*/ 2147483646 h 829"/>
              <a:gd name="T8" fmla="*/ 2147483646 w 1042"/>
              <a:gd name="T9" fmla="*/ 2147483646 h 829"/>
              <a:gd name="T10" fmla="*/ 2147483646 w 1042"/>
              <a:gd name="T11" fmla="*/ 2147483646 h 829"/>
              <a:gd name="T12" fmla="*/ 2147483646 w 1042"/>
              <a:gd name="T13" fmla="*/ 2147483646 h 829"/>
              <a:gd name="T14" fmla="*/ 2147483646 w 1042"/>
              <a:gd name="T15" fmla="*/ 2147483646 h 829"/>
              <a:gd name="T16" fmla="*/ 2147483646 w 1042"/>
              <a:gd name="T17" fmla="*/ 2147483646 h 829"/>
              <a:gd name="T18" fmla="*/ 2147483646 w 1042"/>
              <a:gd name="T19" fmla="*/ 2147483646 h 829"/>
              <a:gd name="T20" fmla="*/ 2147483646 w 1042"/>
              <a:gd name="T21" fmla="*/ 2147483646 h 829"/>
              <a:gd name="T22" fmla="*/ 2147483646 w 1042"/>
              <a:gd name="T23" fmla="*/ 2147483646 h 829"/>
              <a:gd name="T24" fmla="*/ 2147483646 w 1042"/>
              <a:gd name="T25" fmla="*/ 2147483646 h 829"/>
              <a:gd name="T26" fmla="*/ 2147483646 w 1042"/>
              <a:gd name="T27" fmla="*/ 2147483646 h 829"/>
              <a:gd name="T28" fmla="*/ 2147483646 w 1042"/>
              <a:gd name="T29" fmla="*/ 2147483646 h 829"/>
              <a:gd name="T30" fmla="*/ 2147483646 w 1042"/>
              <a:gd name="T31" fmla="*/ 2147483646 h 829"/>
              <a:gd name="T32" fmla="*/ 2147483646 w 1042"/>
              <a:gd name="T33" fmla="*/ 2147483646 h 829"/>
              <a:gd name="T34" fmla="*/ 2147483646 w 1042"/>
              <a:gd name="T35" fmla="*/ 2147483646 h 829"/>
              <a:gd name="T36" fmla="*/ 2147483646 w 1042"/>
              <a:gd name="T37" fmla="*/ 2147483646 h 829"/>
              <a:gd name="T38" fmla="*/ 2147483646 w 1042"/>
              <a:gd name="T39" fmla="*/ 2147483646 h 829"/>
              <a:gd name="T40" fmla="*/ 2147483646 w 1042"/>
              <a:gd name="T41" fmla="*/ 2147483646 h 829"/>
              <a:gd name="T42" fmla="*/ 2147483646 w 1042"/>
              <a:gd name="T43" fmla="*/ 2147483646 h 829"/>
              <a:gd name="T44" fmla="*/ 2147483646 w 1042"/>
              <a:gd name="T45" fmla="*/ 2147483646 h 829"/>
              <a:gd name="T46" fmla="*/ 2147483646 w 1042"/>
              <a:gd name="T47" fmla="*/ 2147483646 h 829"/>
              <a:gd name="T48" fmla="*/ 2147483646 w 1042"/>
              <a:gd name="T49" fmla="*/ 2147483646 h 829"/>
              <a:gd name="T50" fmla="*/ 2147483646 w 1042"/>
              <a:gd name="T51" fmla="*/ 2147483646 h 829"/>
              <a:gd name="T52" fmla="*/ 2147483646 w 1042"/>
              <a:gd name="T53" fmla="*/ 2147483646 h 829"/>
              <a:gd name="T54" fmla="*/ 2147483646 w 1042"/>
              <a:gd name="T55" fmla="*/ 2147483646 h 829"/>
              <a:gd name="T56" fmla="*/ 2147483646 w 1042"/>
              <a:gd name="T57" fmla="*/ 2147483646 h 829"/>
              <a:gd name="T58" fmla="*/ 2147483646 w 1042"/>
              <a:gd name="T59" fmla="*/ 2147483646 h 829"/>
              <a:gd name="T60" fmla="*/ 2147483646 w 1042"/>
              <a:gd name="T61" fmla="*/ 2147483646 h 829"/>
              <a:gd name="T62" fmla="*/ 2147483646 w 1042"/>
              <a:gd name="T63" fmla="*/ 2147483646 h 829"/>
              <a:gd name="T64" fmla="*/ 2147483646 w 1042"/>
              <a:gd name="T65" fmla="*/ 2147483646 h 829"/>
              <a:gd name="T66" fmla="*/ 2147483646 w 1042"/>
              <a:gd name="T67" fmla="*/ 2147483646 h 829"/>
              <a:gd name="T68" fmla="*/ 2147483646 w 1042"/>
              <a:gd name="T69" fmla="*/ 2147483646 h 829"/>
              <a:gd name="T70" fmla="*/ 2147483646 w 1042"/>
              <a:gd name="T71" fmla="*/ 2147483646 h 829"/>
              <a:gd name="T72" fmla="*/ 2147483646 w 1042"/>
              <a:gd name="T73" fmla="*/ 2147483646 h 829"/>
              <a:gd name="T74" fmla="*/ 2147483646 w 1042"/>
              <a:gd name="T75" fmla="*/ 2147483646 h 829"/>
              <a:gd name="T76" fmla="*/ 2147483646 w 1042"/>
              <a:gd name="T77" fmla="*/ 2147483646 h 829"/>
              <a:gd name="T78" fmla="*/ 2147483646 w 1042"/>
              <a:gd name="T79" fmla="*/ 2147483646 h 829"/>
              <a:gd name="T80" fmla="*/ 2147483646 w 1042"/>
              <a:gd name="T81" fmla="*/ 2147483646 h 829"/>
              <a:gd name="T82" fmla="*/ 2147483646 w 1042"/>
              <a:gd name="T83" fmla="*/ 2147483646 h 829"/>
              <a:gd name="T84" fmla="*/ 2147483646 w 1042"/>
              <a:gd name="T85" fmla="*/ 2147483646 h 829"/>
              <a:gd name="T86" fmla="*/ 2147483646 w 1042"/>
              <a:gd name="T87" fmla="*/ 2147483646 h 829"/>
              <a:gd name="T88" fmla="*/ 2147483646 w 1042"/>
              <a:gd name="T89" fmla="*/ 2147483646 h 829"/>
              <a:gd name="T90" fmla="*/ 2147483646 w 1042"/>
              <a:gd name="T91" fmla="*/ 2147483646 h 829"/>
              <a:gd name="T92" fmla="*/ 2147483646 w 1042"/>
              <a:gd name="T93" fmla="*/ 2147483646 h 829"/>
              <a:gd name="T94" fmla="*/ 2147483646 w 1042"/>
              <a:gd name="T95" fmla="*/ 2147483646 h 829"/>
              <a:gd name="T96" fmla="*/ 2147483646 w 1042"/>
              <a:gd name="T97" fmla="*/ 2147483646 h 829"/>
              <a:gd name="T98" fmla="*/ 2147483646 w 1042"/>
              <a:gd name="T99" fmla="*/ 2147483646 h 829"/>
              <a:gd name="T100" fmla="*/ 2147483646 w 1042"/>
              <a:gd name="T101" fmla="*/ 2147483646 h 829"/>
              <a:gd name="T102" fmla="*/ 2147483646 w 1042"/>
              <a:gd name="T103" fmla="*/ 2147483646 h 829"/>
              <a:gd name="T104" fmla="*/ 2147483646 w 1042"/>
              <a:gd name="T105" fmla="*/ 2147483646 h 829"/>
              <a:gd name="T106" fmla="*/ 2147483646 w 1042"/>
              <a:gd name="T107" fmla="*/ 2147483646 h 829"/>
              <a:gd name="T108" fmla="*/ 2147483646 w 1042"/>
              <a:gd name="T109" fmla="*/ 2147483646 h 829"/>
              <a:gd name="T110" fmla="*/ 2147483646 w 1042"/>
              <a:gd name="T111" fmla="*/ 2147483646 h 829"/>
              <a:gd name="T112" fmla="*/ 2147483646 w 1042"/>
              <a:gd name="T113" fmla="*/ 2147483646 h 829"/>
              <a:gd name="T114" fmla="*/ 2147483646 w 1042"/>
              <a:gd name="T115" fmla="*/ 2147483646 h 829"/>
              <a:gd name="T116" fmla="*/ 2147483646 w 1042"/>
              <a:gd name="T117" fmla="*/ 2147483646 h 829"/>
              <a:gd name="T118" fmla="*/ 2147483646 w 1042"/>
              <a:gd name="T119" fmla="*/ 2147483646 h 829"/>
              <a:gd name="T120" fmla="*/ 2147483646 w 1042"/>
              <a:gd name="T121" fmla="*/ 2147483646 h 82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042"/>
              <a:gd name="T184" fmla="*/ 0 h 829"/>
              <a:gd name="T185" fmla="*/ 1042 w 1042"/>
              <a:gd name="T186" fmla="*/ 829 h 82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042" h="829">
                <a:moveTo>
                  <a:pt x="732" y="793"/>
                </a:moveTo>
                <a:cubicBezTo>
                  <a:pt x="741" y="799"/>
                  <a:pt x="737" y="802"/>
                  <a:pt x="746" y="802"/>
                </a:cubicBezTo>
                <a:cubicBezTo>
                  <a:pt x="755" y="802"/>
                  <a:pt x="751" y="793"/>
                  <a:pt x="762" y="801"/>
                </a:cubicBezTo>
                <a:cubicBezTo>
                  <a:pt x="774" y="810"/>
                  <a:pt x="764" y="803"/>
                  <a:pt x="780" y="807"/>
                </a:cubicBezTo>
                <a:cubicBezTo>
                  <a:pt x="795" y="811"/>
                  <a:pt x="794" y="808"/>
                  <a:pt x="801" y="803"/>
                </a:cubicBezTo>
                <a:cubicBezTo>
                  <a:pt x="808" y="798"/>
                  <a:pt x="801" y="788"/>
                  <a:pt x="810" y="794"/>
                </a:cubicBezTo>
                <a:cubicBezTo>
                  <a:pt x="820" y="799"/>
                  <a:pt x="817" y="796"/>
                  <a:pt x="818" y="802"/>
                </a:cubicBezTo>
                <a:cubicBezTo>
                  <a:pt x="818" y="809"/>
                  <a:pt x="817" y="803"/>
                  <a:pt x="826" y="802"/>
                </a:cubicBezTo>
                <a:cubicBezTo>
                  <a:pt x="836" y="802"/>
                  <a:pt x="832" y="805"/>
                  <a:pt x="830" y="810"/>
                </a:cubicBezTo>
                <a:cubicBezTo>
                  <a:pt x="829" y="815"/>
                  <a:pt x="837" y="816"/>
                  <a:pt x="837" y="816"/>
                </a:cubicBezTo>
                <a:cubicBezTo>
                  <a:pt x="837" y="816"/>
                  <a:pt x="843" y="811"/>
                  <a:pt x="844" y="817"/>
                </a:cubicBezTo>
                <a:cubicBezTo>
                  <a:pt x="845" y="823"/>
                  <a:pt x="849" y="824"/>
                  <a:pt x="851" y="820"/>
                </a:cubicBezTo>
                <a:cubicBezTo>
                  <a:pt x="853" y="816"/>
                  <a:pt x="856" y="809"/>
                  <a:pt x="857" y="817"/>
                </a:cubicBezTo>
                <a:cubicBezTo>
                  <a:pt x="858" y="825"/>
                  <a:pt x="859" y="829"/>
                  <a:pt x="861" y="826"/>
                </a:cubicBezTo>
                <a:cubicBezTo>
                  <a:pt x="863" y="824"/>
                  <a:pt x="863" y="810"/>
                  <a:pt x="863" y="810"/>
                </a:cubicBezTo>
                <a:cubicBezTo>
                  <a:pt x="865" y="804"/>
                  <a:pt x="865" y="804"/>
                  <a:pt x="865" y="804"/>
                </a:cubicBezTo>
                <a:cubicBezTo>
                  <a:pt x="865" y="804"/>
                  <a:pt x="873" y="801"/>
                  <a:pt x="874" y="797"/>
                </a:cubicBezTo>
                <a:cubicBezTo>
                  <a:pt x="875" y="792"/>
                  <a:pt x="878" y="790"/>
                  <a:pt x="880" y="790"/>
                </a:cubicBezTo>
                <a:cubicBezTo>
                  <a:pt x="883" y="790"/>
                  <a:pt x="892" y="787"/>
                  <a:pt x="895" y="790"/>
                </a:cubicBezTo>
                <a:cubicBezTo>
                  <a:pt x="898" y="793"/>
                  <a:pt x="901" y="789"/>
                  <a:pt x="907" y="789"/>
                </a:cubicBezTo>
                <a:cubicBezTo>
                  <a:pt x="913" y="788"/>
                  <a:pt x="921" y="791"/>
                  <a:pt x="923" y="784"/>
                </a:cubicBezTo>
                <a:cubicBezTo>
                  <a:pt x="925" y="777"/>
                  <a:pt x="928" y="778"/>
                  <a:pt x="931" y="777"/>
                </a:cubicBezTo>
                <a:cubicBezTo>
                  <a:pt x="934" y="776"/>
                  <a:pt x="933" y="769"/>
                  <a:pt x="931" y="760"/>
                </a:cubicBezTo>
                <a:cubicBezTo>
                  <a:pt x="929" y="752"/>
                  <a:pt x="930" y="747"/>
                  <a:pt x="934" y="742"/>
                </a:cubicBezTo>
                <a:cubicBezTo>
                  <a:pt x="939" y="737"/>
                  <a:pt x="938" y="730"/>
                  <a:pt x="943" y="722"/>
                </a:cubicBezTo>
                <a:cubicBezTo>
                  <a:pt x="948" y="714"/>
                  <a:pt x="949" y="710"/>
                  <a:pt x="953" y="704"/>
                </a:cubicBezTo>
                <a:cubicBezTo>
                  <a:pt x="958" y="698"/>
                  <a:pt x="959" y="708"/>
                  <a:pt x="961" y="691"/>
                </a:cubicBezTo>
                <a:cubicBezTo>
                  <a:pt x="964" y="675"/>
                  <a:pt x="983" y="658"/>
                  <a:pt x="987" y="654"/>
                </a:cubicBezTo>
                <a:cubicBezTo>
                  <a:pt x="992" y="649"/>
                  <a:pt x="998" y="643"/>
                  <a:pt x="1001" y="640"/>
                </a:cubicBezTo>
                <a:cubicBezTo>
                  <a:pt x="1004" y="637"/>
                  <a:pt x="1009" y="630"/>
                  <a:pt x="1006" y="629"/>
                </a:cubicBezTo>
                <a:cubicBezTo>
                  <a:pt x="1002" y="628"/>
                  <a:pt x="1006" y="621"/>
                  <a:pt x="1006" y="621"/>
                </a:cubicBezTo>
                <a:cubicBezTo>
                  <a:pt x="1006" y="621"/>
                  <a:pt x="1014" y="616"/>
                  <a:pt x="1014" y="613"/>
                </a:cubicBezTo>
                <a:cubicBezTo>
                  <a:pt x="1014" y="609"/>
                  <a:pt x="1015" y="606"/>
                  <a:pt x="1018" y="604"/>
                </a:cubicBezTo>
                <a:cubicBezTo>
                  <a:pt x="1020" y="601"/>
                  <a:pt x="1020" y="592"/>
                  <a:pt x="1018" y="590"/>
                </a:cubicBezTo>
                <a:cubicBezTo>
                  <a:pt x="1016" y="589"/>
                  <a:pt x="1016" y="583"/>
                  <a:pt x="1020" y="582"/>
                </a:cubicBezTo>
                <a:cubicBezTo>
                  <a:pt x="1024" y="581"/>
                  <a:pt x="1020" y="564"/>
                  <a:pt x="1024" y="563"/>
                </a:cubicBezTo>
                <a:cubicBezTo>
                  <a:pt x="1029" y="562"/>
                  <a:pt x="1027" y="559"/>
                  <a:pt x="1030" y="555"/>
                </a:cubicBezTo>
                <a:cubicBezTo>
                  <a:pt x="1033" y="551"/>
                  <a:pt x="1029" y="548"/>
                  <a:pt x="1035" y="544"/>
                </a:cubicBezTo>
                <a:cubicBezTo>
                  <a:pt x="1041" y="540"/>
                  <a:pt x="1038" y="547"/>
                  <a:pt x="1040" y="534"/>
                </a:cubicBezTo>
                <a:cubicBezTo>
                  <a:pt x="1042" y="521"/>
                  <a:pt x="1041" y="516"/>
                  <a:pt x="1039" y="510"/>
                </a:cubicBezTo>
                <a:cubicBezTo>
                  <a:pt x="1039" y="510"/>
                  <a:pt x="1039" y="510"/>
                  <a:pt x="1039" y="510"/>
                </a:cubicBezTo>
                <a:cubicBezTo>
                  <a:pt x="1038" y="505"/>
                  <a:pt x="1039" y="499"/>
                  <a:pt x="1036" y="500"/>
                </a:cubicBezTo>
                <a:cubicBezTo>
                  <a:pt x="1033" y="501"/>
                  <a:pt x="1027" y="501"/>
                  <a:pt x="1026" y="495"/>
                </a:cubicBezTo>
                <a:cubicBezTo>
                  <a:pt x="1025" y="489"/>
                  <a:pt x="1025" y="482"/>
                  <a:pt x="1026" y="480"/>
                </a:cubicBezTo>
                <a:cubicBezTo>
                  <a:pt x="1026" y="478"/>
                  <a:pt x="1027" y="444"/>
                  <a:pt x="1026" y="440"/>
                </a:cubicBezTo>
                <a:cubicBezTo>
                  <a:pt x="1026" y="437"/>
                  <a:pt x="1024" y="437"/>
                  <a:pt x="1023" y="434"/>
                </a:cubicBezTo>
                <a:cubicBezTo>
                  <a:pt x="1022" y="431"/>
                  <a:pt x="1022" y="425"/>
                  <a:pt x="1018" y="424"/>
                </a:cubicBezTo>
                <a:cubicBezTo>
                  <a:pt x="1015" y="422"/>
                  <a:pt x="1007" y="417"/>
                  <a:pt x="1007" y="417"/>
                </a:cubicBezTo>
                <a:cubicBezTo>
                  <a:pt x="1007" y="417"/>
                  <a:pt x="1001" y="410"/>
                  <a:pt x="1002" y="408"/>
                </a:cubicBezTo>
                <a:cubicBezTo>
                  <a:pt x="1003" y="406"/>
                  <a:pt x="1004" y="400"/>
                  <a:pt x="1003" y="398"/>
                </a:cubicBezTo>
                <a:cubicBezTo>
                  <a:pt x="1003" y="397"/>
                  <a:pt x="999" y="393"/>
                  <a:pt x="999" y="393"/>
                </a:cubicBezTo>
                <a:cubicBezTo>
                  <a:pt x="999" y="393"/>
                  <a:pt x="979" y="379"/>
                  <a:pt x="979" y="372"/>
                </a:cubicBezTo>
                <a:cubicBezTo>
                  <a:pt x="980" y="366"/>
                  <a:pt x="977" y="365"/>
                  <a:pt x="977" y="359"/>
                </a:cubicBezTo>
                <a:cubicBezTo>
                  <a:pt x="978" y="352"/>
                  <a:pt x="979" y="340"/>
                  <a:pt x="970" y="343"/>
                </a:cubicBezTo>
                <a:cubicBezTo>
                  <a:pt x="961" y="346"/>
                  <a:pt x="961" y="348"/>
                  <a:pt x="960" y="344"/>
                </a:cubicBezTo>
                <a:cubicBezTo>
                  <a:pt x="958" y="340"/>
                  <a:pt x="957" y="329"/>
                  <a:pt x="954" y="337"/>
                </a:cubicBezTo>
                <a:cubicBezTo>
                  <a:pt x="951" y="345"/>
                  <a:pt x="951" y="355"/>
                  <a:pt x="946" y="351"/>
                </a:cubicBezTo>
                <a:cubicBezTo>
                  <a:pt x="942" y="348"/>
                  <a:pt x="942" y="341"/>
                  <a:pt x="942" y="341"/>
                </a:cubicBezTo>
                <a:cubicBezTo>
                  <a:pt x="942" y="332"/>
                  <a:pt x="942" y="332"/>
                  <a:pt x="942" y="332"/>
                </a:cubicBezTo>
                <a:cubicBezTo>
                  <a:pt x="942" y="332"/>
                  <a:pt x="946" y="321"/>
                  <a:pt x="940" y="317"/>
                </a:cubicBezTo>
                <a:cubicBezTo>
                  <a:pt x="934" y="313"/>
                  <a:pt x="933" y="309"/>
                  <a:pt x="933" y="309"/>
                </a:cubicBezTo>
                <a:cubicBezTo>
                  <a:pt x="933" y="309"/>
                  <a:pt x="940" y="299"/>
                  <a:pt x="934" y="298"/>
                </a:cubicBezTo>
                <a:cubicBezTo>
                  <a:pt x="928" y="298"/>
                  <a:pt x="926" y="299"/>
                  <a:pt x="923" y="295"/>
                </a:cubicBezTo>
                <a:cubicBezTo>
                  <a:pt x="921" y="292"/>
                  <a:pt x="921" y="287"/>
                  <a:pt x="923" y="286"/>
                </a:cubicBezTo>
                <a:cubicBezTo>
                  <a:pt x="926" y="284"/>
                  <a:pt x="927" y="280"/>
                  <a:pt x="922" y="278"/>
                </a:cubicBezTo>
                <a:cubicBezTo>
                  <a:pt x="918" y="275"/>
                  <a:pt x="914" y="269"/>
                  <a:pt x="912" y="271"/>
                </a:cubicBezTo>
                <a:cubicBezTo>
                  <a:pt x="910" y="272"/>
                  <a:pt x="906" y="263"/>
                  <a:pt x="903" y="265"/>
                </a:cubicBezTo>
                <a:cubicBezTo>
                  <a:pt x="900" y="267"/>
                  <a:pt x="898" y="262"/>
                  <a:pt x="895" y="261"/>
                </a:cubicBezTo>
                <a:cubicBezTo>
                  <a:pt x="892" y="260"/>
                  <a:pt x="887" y="254"/>
                  <a:pt x="887" y="254"/>
                </a:cubicBezTo>
                <a:cubicBezTo>
                  <a:pt x="887" y="254"/>
                  <a:pt x="884" y="243"/>
                  <a:pt x="881" y="249"/>
                </a:cubicBezTo>
                <a:cubicBezTo>
                  <a:pt x="878" y="255"/>
                  <a:pt x="872" y="251"/>
                  <a:pt x="872" y="251"/>
                </a:cubicBezTo>
                <a:cubicBezTo>
                  <a:pt x="865" y="246"/>
                  <a:pt x="865" y="246"/>
                  <a:pt x="865" y="246"/>
                </a:cubicBezTo>
                <a:cubicBezTo>
                  <a:pt x="860" y="237"/>
                  <a:pt x="860" y="237"/>
                  <a:pt x="860" y="237"/>
                </a:cubicBezTo>
                <a:cubicBezTo>
                  <a:pt x="859" y="226"/>
                  <a:pt x="859" y="226"/>
                  <a:pt x="859" y="226"/>
                </a:cubicBezTo>
                <a:cubicBezTo>
                  <a:pt x="856" y="215"/>
                  <a:pt x="856" y="215"/>
                  <a:pt x="856" y="215"/>
                </a:cubicBezTo>
                <a:cubicBezTo>
                  <a:pt x="856" y="215"/>
                  <a:pt x="860" y="206"/>
                  <a:pt x="858" y="201"/>
                </a:cubicBezTo>
                <a:cubicBezTo>
                  <a:pt x="856" y="196"/>
                  <a:pt x="854" y="193"/>
                  <a:pt x="850" y="189"/>
                </a:cubicBezTo>
                <a:cubicBezTo>
                  <a:pt x="846" y="185"/>
                  <a:pt x="843" y="176"/>
                  <a:pt x="843" y="173"/>
                </a:cubicBezTo>
                <a:cubicBezTo>
                  <a:pt x="843" y="170"/>
                  <a:pt x="833" y="174"/>
                  <a:pt x="834" y="168"/>
                </a:cubicBezTo>
                <a:cubicBezTo>
                  <a:pt x="835" y="163"/>
                  <a:pt x="841" y="153"/>
                  <a:pt x="836" y="151"/>
                </a:cubicBezTo>
                <a:cubicBezTo>
                  <a:pt x="832" y="150"/>
                  <a:pt x="830" y="140"/>
                  <a:pt x="833" y="136"/>
                </a:cubicBezTo>
                <a:cubicBezTo>
                  <a:pt x="835" y="133"/>
                  <a:pt x="837" y="124"/>
                  <a:pt x="834" y="122"/>
                </a:cubicBezTo>
                <a:cubicBezTo>
                  <a:pt x="832" y="120"/>
                  <a:pt x="833" y="114"/>
                  <a:pt x="829" y="116"/>
                </a:cubicBezTo>
                <a:cubicBezTo>
                  <a:pt x="825" y="118"/>
                  <a:pt x="833" y="114"/>
                  <a:pt x="818" y="109"/>
                </a:cubicBezTo>
                <a:cubicBezTo>
                  <a:pt x="804" y="104"/>
                  <a:pt x="808" y="98"/>
                  <a:pt x="804" y="104"/>
                </a:cubicBezTo>
                <a:cubicBezTo>
                  <a:pt x="799" y="109"/>
                  <a:pt x="798" y="110"/>
                  <a:pt x="794" y="105"/>
                </a:cubicBezTo>
                <a:cubicBezTo>
                  <a:pt x="790" y="100"/>
                  <a:pt x="788" y="90"/>
                  <a:pt x="789" y="86"/>
                </a:cubicBezTo>
                <a:cubicBezTo>
                  <a:pt x="790" y="81"/>
                  <a:pt x="789" y="76"/>
                  <a:pt x="789" y="73"/>
                </a:cubicBezTo>
                <a:cubicBezTo>
                  <a:pt x="788" y="69"/>
                  <a:pt x="787" y="66"/>
                  <a:pt x="784" y="63"/>
                </a:cubicBezTo>
                <a:cubicBezTo>
                  <a:pt x="781" y="61"/>
                  <a:pt x="777" y="61"/>
                  <a:pt x="780" y="55"/>
                </a:cubicBezTo>
                <a:cubicBezTo>
                  <a:pt x="783" y="50"/>
                  <a:pt x="787" y="46"/>
                  <a:pt x="781" y="47"/>
                </a:cubicBezTo>
                <a:cubicBezTo>
                  <a:pt x="774" y="48"/>
                  <a:pt x="771" y="44"/>
                  <a:pt x="774" y="40"/>
                </a:cubicBezTo>
                <a:cubicBezTo>
                  <a:pt x="776" y="36"/>
                  <a:pt x="777" y="33"/>
                  <a:pt x="773" y="31"/>
                </a:cubicBezTo>
                <a:cubicBezTo>
                  <a:pt x="769" y="29"/>
                  <a:pt x="767" y="30"/>
                  <a:pt x="766" y="25"/>
                </a:cubicBezTo>
                <a:cubicBezTo>
                  <a:pt x="765" y="20"/>
                  <a:pt x="764" y="19"/>
                  <a:pt x="762" y="15"/>
                </a:cubicBezTo>
                <a:cubicBezTo>
                  <a:pt x="760" y="10"/>
                  <a:pt x="761" y="0"/>
                  <a:pt x="755" y="4"/>
                </a:cubicBezTo>
                <a:cubicBezTo>
                  <a:pt x="748" y="7"/>
                  <a:pt x="744" y="7"/>
                  <a:pt x="746" y="16"/>
                </a:cubicBezTo>
                <a:cubicBezTo>
                  <a:pt x="747" y="25"/>
                  <a:pt x="743" y="23"/>
                  <a:pt x="740" y="31"/>
                </a:cubicBezTo>
                <a:cubicBezTo>
                  <a:pt x="738" y="38"/>
                  <a:pt x="735" y="32"/>
                  <a:pt x="735" y="39"/>
                </a:cubicBezTo>
                <a:cubicBezTo>
                  <a:pt x="735" y="46"/>
                  <a:pt x="735" y="51"/>
                  <a:pt x="736" y="59"/>
                </a:cubicBezTo>
                <a:cubicBezTo>
                  <a:pt x="738" y="68"/>
                  <a:pt x="739" y="63"/>
                  <a:pt x="738" y="73"/>
                </a:cubicBezTo>
                <a:cubicBezTo>
                  <a:pt x="737" y="83"/>
                  <a:pt x="737" y="82"/>
                  <a:pt x="735" y="89"/>
                </a:cubicBezTo>
                <a:cubicBezTo>
                  <a:pt x="732" y="95"/>
                  <a:pt x="729" y="110"/>
                  <a:pt x="733" y="115"/>
                </a:cubicBezTo>
                <a:cubicBezTo>
                  <a:pt x="736" y="120"/>
                  <a:pt x="731" y="124"/>
                  <a:pt x="735" y="127"/>
                </a:cubicBezTo>
                <a:cubicBezTo>
                  <a:pt x="738" y="130"/>
                  <a:pt x="744" y="130"/>
                  <a:pt x="740" y="133"/>
                </a:cubicBezTo>
                <a:cubicBezTo>
                  <a:pt x="735" y="137"/>
                  <a:pt x="731" y="140"/>
                  <a:pt x="730" y="147"/>
                </a:cubicBezTo>
                <a:cubicBezTo>
                  <a:pt x="729" y="153"/>
                  <a:pt x="728" y="169"/>
                  <a:pt x="723" y="174"/>
                </a:cubicBezTo>
                <a:cubicBezTo>
                  <a:pt x="719" y="178"/>
                  <a:pt x="719" y="179"/>
                  <a:pt x="719" y="184"/>
                </a:cubicBezTo>
                <a:cubicBezTo>
                  <a:pt x="719" y="189"/>
                  <a:pt x="722" y="186"/>
                  <a:pt x="717" y="192"/>
                </a:cubicBezTo>
                <a:cubicBezTo>
                  <a:pt x="712" y="198"/>
                  <a:pt x="688" y="212"/>
                  <a:pt x="678" y="202"/>
                </a:cubicBezTo>
                <a:cubicBezTo>
                  <a:pt x="669" y="193"/>
                  <a:pt x="676" y="194"/>
                  <a:pt x="669" y="193"/>
                </a:cubicBezTo>
                <a:cubicBezTo>
                  <a:pt x="662" y="192"/>
                  <a:pt x="662" y="185"/>
                  <a:pt x="661" y="182"/>
                </a:cubicBezTo>
                <a:cubicBezTo>
                  <a:pt x="659" y="178"/>
                  <a:pt x="646" y="178"/>
                  <a:pt x="641" y="178"/>
                </a:cubicBezTo>
                <a:cubicBezTo>
                  <a:pt x="640" y="178"/>
                  <a:pt x="639" y="178"/>
                  <a:pt x="638" y="178"/>
                </a:cubicBezTo>
                <a:cubicBezTo>
                  <a:pt x="637" y="178"/>
                  <a:pt x="637" y="178"/>
                  <a:pt x="637" y="178"/>
                </a:cubicBezTo>
                <a:cubicBezTo>
                  <a:pt x="636" y="177"/>
                  <a:pt x="636" y="177"/>
                  <a:pt x="636" y="177"/>
                </a:cubicBezTo>
                <a:cubicBezTo>
                  <a:pt x="635" y="177"/>
                  <a:pt x="634" y="176"/>
                  <a:pt x="633" y="173"/>
                </a:cubicBezTo>
                <a:cubicBezTo>
                  <a:pt x="630" y="169"/>
                  <a:pt x="627" y="163"/>
                  <a:pt x="627" y="163"/>
                </a:cubicBezTo>
                <a:cubicBezTo>
                  <a:pt x="627" y="163"/>
                  <a:pt x="626" y="161"/>
                  <a:pt x="618" y="161"/>
                </a:cubicBezTo>
                <a:cubicBezTo>
                  <a:pt x="611" y="160"/>
                  <a:pt x="618" y="161"/>
                  <a:pt x="606" y="156"/>
                </a:cubicBezTo>
                <a:cubicBezTo>
                  <a:pt x="593" y="151"/>
                  <a:pt x="594" y="143"/>
                  <a:pt x="586" y="144"/>
                </a:cubicBezTo>
                <a:cubicBezTo>
                  <a:pt x="579" y="144"/>
                  <a:pt x="572" y="143"/>
                  <a:pt x="574" y="140"/>
                </a:cubicBezTo>
                <a:cubicBezTo>
                  <a:pt x="576" y="136"/>
                  <a:pt x="582" y="138"/>
                  <a:pt x="573" y="130"/>
                </a:cubicBezTo>
                <a:cubicBezTo>
                  <a:pt x="565" y="122"/>
                  <a:pt x="563" y="121"/>
                  <a:pt x="564" y="119"/>
                </a:cubicBezTo>
                <a:cubicBezTo>
                  <a:pt x="565" y="117"/>
                  <a:pt x="575" y="109"/>
                  <a:pt x="575" y="102"/>
                </a:cubicBezTo>
                <a:cubicBezTo>
                  <a:pt x="576" y="94"/>
                  <a:pt x="571" y="94"/>
                  <a:pt x="573" y="89"/>
                </a:cubicBezTo>
                <a:cubicBezTo>
                  <a:pt x="575" y="84"/>
                  <a:pt x="579" y="72"/>
                  <a:pt x="582" y="79"/>
                </a:cubicBezTo>
                <a:cubicBezTo>
                  <a:pt x="585" y="86"/>
                  <a:pt x="585" y="85"/>
                  <a:pt x="588" y="79"/>
                </a:cubicBezTo>
                <a:cubicBezTo>
                  <a:pt x="592" y="73"/>
                  <a:pt x="591" y="69"/>
                  <a:pt x="593" y="64"/>
                </a:cubicBezTo>
                <a:cubicBezTo>
                  <a:pt x="595" y="59"/>
                  <a:pt x="596" y="61"/>
                  <a:pt x="598" y="55"/>
                </a:cubicBezTo>
                <a:cubicBezTo>
                  <a:pt x="600" y="50"/>
                  <a:pt x="607" y="46"/>
                  <a:pt x="600" y="48"/>
                </a:cubicBezTo>
                <a:cubicBezTo>
                  <a:pt x="594" y="50"/>
                  <a:pt x="592" y="55"/>
                  <a:pt x="591" y="50"/>
                </a:cubicBezTo>
                <a:cubicBezTo>
                  <a:pt x="591" y="45"/>
                  <a:pt x="586" y="43"/>
                  <a:pt x="584" y="46"/>
                </a:cubicBezTo>
                <a:cubicBezTo>
                  <a:pt x="582" y="50"/>
                  <a:pt x="582" y="59"/>
                  <a:pt x="579" y="58"/>
                </a:cubicBezTo>
                <a:cubicBezTo>
                  <a:pt x="576" y="56"/>
                  <a:pt x="572" y="58"/>
                  <a:pt x="572" y="53"/>
                </a:cubicBezTo>
                <a:cubicBezTo>
                  <a:pt x="573" y="48"/>
                  <a:pt x="573" y="42"/>
                  <a:pt x="573" y="42"/>
                </a:cubicBezTo>
                <a:cubicBezTo>
                  <a:pt x="573" y="42"/>
                  <a:pt x="572" y="34"/>
                  <a:pt x="567" y="42"/>
                </a:cubicBezTo>
                <a:cubicBezTo>
                  <a:pt x="561" y="49"/>
                  <a:pt x="556" y="47"/>
                  <a:pt x="556" y="47"/>
                </a:cubicBezTo>
                <a:cubicBezTo>
                  <a:pt x="556" y="47"/>
                  <a:pt x="555" y="41"/>
                  <a:pt x="553" y="46"/>
                </a:cubicBezTo>
                <a:cubicBezTo>
                  <a:pt x="552" y="50"/>
                  <a:pt x="556" y="52"/>
                  <a:pt x="553" y="54"/>
                </a:cubicBezTo>
                <a:cubicBezTo>
                  <a:pt x="549" y="55"/>
                  <a:pt x="549" y="54"/>
                  <a:pt x="546" y="51"/>
                </a:cubicBezTo>
                <a:cubicBezTo>
                  <a:pt x="544" y="49"/>
                  <a:pt x="544" y="47"/>
                  <a:pt x="544" y="47"/>
                </a:cubicBezTo>
                <a:cubicBezTo>
                  <a:pt x="544" y="47"/>
                  <a:pt x="536" y="57"/>
                  <a:pt x="535" y="53"/>
                </a:cubicBezTo>
                <a:cubicBezTo>
                  <a:pt x="534" y="49"/>
                  <a:pt x="534" y="40"/>
                  <a:pt x="532" y="43"/>
                </a:cubicBezTo>
                <a:cubicBezTo>
                  <a:pt x="530" y="47"/>
                  <a:pt x="524" y="45"/>
                  <a:pt x="521" y="46"/>
                </a:cubicBezTo>
                <a:cubicBezTo>
                  <a:pt x="518" y="46"/>
                  <a:pt x="516" y="46"/>
                  <a:pt x="513" y="44"/>
                </a:cubicBezTo>
                <a:cubicBezTo>
                  <a:pt x="510" y="42"/>
                  <a:pt x="506" y="38"/>
                  <a:pt x="506" y="38"/>
                </a:cubicBezTo>
                <a:cubicBezTo>
                  <a:pt x="495" y="34"/>
                  <a:pt x="495" y="34"/>
                  <a:pt x="495" y="34"/>
                </a:cubicBezTo>
                <a:cubicBezTo>
                  <a:pt x="490" y="31"/>
                  <a:pt x="490" y="31"/>
                  <a:pt x="490" y="31"/>
                </a:cubicBezTo>
                <a:cubicBezTo>
                  <a:pt x="490" y="31"/>
                  <a:pt x="483" y="19"/>
                  <a:pt x="477" y="24"/>
                </a:cubicBezTo>
                <a:cubicBezTo>
                  <a:pt x="471" y="28"/>
                  <a:pt x="474" y="24"/>
                  <a:pt x="468" y="26"/>
                </a:cubicBezTo>
                <a:cubicBezTo>
                  <a:pt x="462" y="27"/>
                  <a:pt x="452" y="26"/>
                  <a:pt x="456" y="30"/>
                </a:cubicBezTo>
                <a:cubicBezTo>
                  <a:pt x="461" y="34"/>
                  <a:pt x="467" y="35"/>
                  <a:pt x="471" y="37"/>
                </a:cubicBezTo>
                <a:cubicBezTo>
                  <a:pt x="476" y="39"/>
                  <a:pt x="478" y="44"/>
                  <a:pt x="478" y="44"/>
                </a:cubicBezTo>
                <a:cubicBezTo>
                  <a:pt x="478" y="44"/>
                  <a:pt x="479" y="45"/>
                  <a:pt x="484" y="51"/>
                </a:cubicBezTo>
                <a:cubicBezTo>
                  <a:pt x="489" y="58"/>
                  <a:pt x="496" y="61"/>
                  <a:pt x="488" y="61"/>
                </a:cubicBezTo>
                <a:cubicBezTo>
                  <a:pt x="480" y="61"/>
                  <a:pt x="472" y="55"/>
                  <a:pt x="472" y="55"/>
                </a:cubicBezTo>
                <a:cubicBezTo>
                  <a:pt x="472" y="55"/>
                  <a:pt x="474" y="43"/>
                  <a:pt x="464" y="54"/>
                </a:cubicBezTo>
                <a:cubicBezTo>
                  <a:pt x="455" y="64"/>
                  <a:pt x="461" y="57"/>
                  <a:pt x="449" y="61"/>
                </a:cubicBezTo>
                <a:cubicBezTo>
                  <a:pt x="437" y="64"/>
                  <a:pt x="447" y="52"/>
                  <a:pt x="443" y="53"/>
                </a:cubicBezTo>
                <a:cubicBezTo>
                  <a:pt x="439" y="54"/>
                  <a:pt x="432" y="53"/>
                  <a:pt x="432" y="58"/>
                </a:cubicBezTo>
                <a:cubicBezTo>
                  <a:pt x="431" y="63"/>
                  <a:pt x="432" y="67"/>
                  <a:pt x="432" y="67"/>
                </a:cubicBezTo>
                <a:cubicBezTo>
                  <a:pt x="432" y="67"/>
                  <a:pt x="429" y="69"/>
                  <a:pt x="425" y="70"/>
                </a:cubicBezTo>
                <a:cubicBezTo>
                  <a:pt x="422" y="71"/>
                  <a:pt x="420" y="71"/>
                  <a:pt x="420" y="71"/>
                </a:cubicBezTo>
                <a:cubicBezTo>
                  <a:pt x="420" y="71"/>
                  <a:pt x="418" y="73"/>
                  <a:pt x="416" y="79"/>
                </a:cubicBezTo>
                <a:cubicBezTo>
                  <a:pt x="414" y="85"/>
                  <a:pt x="419" y="86"/>
                  <a:pt x="416" y="90"/>
                </a:cubicBezTo>
                <a:cubicBezTo>
                  <a:pt x="413" y="94"/>
                  <a:pt x="411" y="95"/>
                  <a:pt x="411" y="95"/>
                </a:cubicBezTo>
                <a:cubicBezTo>
                  <a:pt x="411" y="95"/>
                  <a:pt x="406" y="96"/>
                  <a:pt x="405" y="101"/>
                </a:cubicBezTo>
                <a:cubicBezTo>
                  <a:pt x="403" y="105"/>
                  <a:pt x="404" y="111"/>
                  <a:pt x="404" y="111"/>
                </a:cubicBezTo>
                <a:cubicBezTo>
                  <a:pt x="404" y="111"/>
                  <a:pt x="397" y="112"/>
                  <a:pt x="396" y="116"/>
                </a:cubicBezTo>
                <a:cubicBezTo>
                  <a:pt x="396" y="119"/>
                  <a:pt x="395" y="122"/>
                  <a:pt x="395" y="122"/>
                </a:cubicBezTo>
                <a:cubicBezTo>
                  <a:pt x="395" y="122"/>
                  <a:pt x="400" y="124"/>
                  <a:pt x="399" y="130"/>
                </a:cubicBezTo>
                <a:cubicBezTo>
                  <a:pt x="399" y="136"/>
                  <a:pt x="399" y="138"/>
                  <a:pt x="398" y="141"/>
                </a:cubicBezTo>
                <a:cubicBezTo>
                  <a:pt x="397" y="143"/>
                  <a:pt x="394" y="142"/>
                  <a:pt x="394" y="142"/>
                </a:cubicBezTo>
                <a:cubicBezTo>
                  <a:pt x="394" y="142"/>
                  <a:pt x="391" y="137"/>
                  <a:pt x="390" y="139"/>
                </a:cubicBezTo>
                <a:cubicBezTo>
                  <a:pt x="389" y="141"/>
                  <a:pt x="386" y="141"/>
                  <a:pt x="386" y="141"/>
                </a:cubicBezTo>
                <a:cubicBezTo>
                  <a:pt x="386" y="141"/>
                  <a:pt x="386" y="141"/>
                  <a:pt x="386" y="141"/>
                </a:cubicBezTo>
                <a:cubicBezTo>
                  <a:pt x="370" y="137"/>
                  <a:pt x="370" y="137"/>
                  <a:pt x="370" y="137"/>
                </a:cubicBezTo>
                <a:cubicBezTo>
                  <a:pt x="370" y="137"/>
                  <a:pt x="365" y="147"/>
                  <a:pt x="362" y="148"/>
                </a:cubicBezTo>
                <a:cubicBezTo>
                  <a:pt x="359" y="148"/>
                  <a:pt x="360" y="141"/>
                  <a:pt x="360" y="139"/>
                </a:cubicBezTo>
                <a:cubicBezTo>
                  <a:pt x="360" y="137"/>
                  <a:pt x="353" y="136"/>
                  <a:pt x="353" y="136"/>
                </a:cubicBezTo>
                <a:cubicBezTo>
                  <a:pt x="353" y="136"/>
                  <a:pt x="348" y="135"/>
                  <a:pt x="347" y="131"/>
                </a:cubicBezTo>
                <a:cubicBezTo>
                  <a:pt x="346" y="127"/>
                  <a:pt x="344" y="123"/>
                  <a:pt x="340" y="118"/>
                </a:cubicBezTo>
                <a:cubicBezTo>
                  <a:pt x="336" y="114"/>
                  <a:pt x="327" y="111"/>
                  <a:pt x="324" y="113"/>
                </a:cubicBezTo>
                <a:cubicBezTo>
                  <a:pt x="321" y="114"/>
                  <a:pt x="317" y="119"/>
                  <a:pt x="315" y="121"/>
                </a:cubicBezTo>
                <a:cubicBezTo>
                  <a:pt x="313" y="124"/>
                  <a:pt x="308" y="125"/>
                  <a:pt x="308" y="125"/>
                </a:cubicBezTo>
                <a:cubicBezTo>
                  <a:pt x="305" y="125"/>
                  <a:pt x="306" y="117"/>
                  <a:pt x="304" y="118"/>
                </a:cubicBezTo>
                <a:cubicBezTo>
                  <a:pt x="302" y="119"/>
                  <a:pt x="300" y="119"/>
                  <a:pt x="300" y="123"/>
                </a:cubicBezTo>
                <a:cubicBezTo>
                  <a:pt x="300" y="126"/>
                  <a:pt x="302" y="141"/>
                  <a:pt x="300" y="141"/>
                </a:cubicBezTo>
                <a:cubicBezTo>
                  <a:pt x="299" y="142"/>
                  <a:pt x="295" y="139"/>
                  <a:pt x="293" y="137"/>
                </a:cubicBezTo>
                <a:cubicBezTo>
                  <a:pt x="291" y="136"/>
                  <a:pt x="290" y="129"/>
                  <a:pt x="288" y="134"/>
                </a:cubicBezTo>
                <a:cubicBezTo>
                  <a:pt x="285" y="139"/>
                  <a:pt x="276" y="140"/>
                  <a:pt x="276" y="145"/>
                </a:cubicBezTo>
                <a:cubicBezTo>
                  <a:pt x="276" y="149"/>
                  <a:pt x="281" y="153"/>
                  <a:pt x="278" y="156"/>
                </a:cubicBezTo>
                <a:cubicBezTo>
                  <a:pt x="275" y="159"/>
                  <a:pt x="272" y="158"/>
                  <a:pt x="273" y="161"/>
                </a:cubicBezTo>
                <a:cubicBezTo>
                  <a:pt x="275" y="164"/>
                  <a:pt x="279" y="168"/>
                  <a:pt x="278" y="169"/>
                </a:cubicBezTo>
                <a:cubicBezTo>
                  <a:pt x="278" y="171"/>
                  <a:pt x="272" y="169"/>
                  <a:pt x="271" y="169"/>
                </a:cubicBezTo>
                <a:cubicBezTo>
                  <a:pt x="269" y="169"/>
                  <a:pt x="267" y="163"/>
                  <a:pt x="265" y="166"/>
                </a:cubicBezTo>
                <a:cubicBezTo>
                  <a:pt x="263" y="170"/>
                  <a:pt x="259" y="171"/>
                  <a:pt x="260" y="175"/>
                </a:cubicBezTo>
                <a:cubicBezTo>
                  <a:pt x="261" y="178"/>
                  <a:pt x="267" y="178"/>
                  <a:pt x="267" y="178"/>
                </a:cubicBezTo>
                <a:cubicBezTo>
                  <a:pt x="265" y="186"/>
                  <a:pt x="267" y="178"/>
                  <a:pt x="265" y="186"/>
                </a:cubicBezTo>
                <a:cubicBezTo>
                  <a:pt x="262" y="194"/>
                  <a:pt x="251" y="194"/>
                  <a:pt x="248" y="193"/>
                </a:cubicBezTo>
                <a:cubicBezTo>
                  <a:pt x="246" y="191"/>
                  <a:pt x="240" y="189"/>
                  <a:pt x="238" y="193"/>
                </a:cubicBezTo>
                <a:cubicBezTo>
                  <a:pt x="236" y="197"/>
                  <a:pt x="237" y="209"/>
                  <a:pt x="239" y="210"/>
                </a:cubicBezTo>
                <a:cubicBezTo>
                  <a:pt x="240" y="211"/>
                  <a:pt x="244" y="214"/>
                  <a:pt x="242" y="215"/>
                </a:cubicBezTo>
                <a:cubicBezTo>
                  <a:pt x="241" y="216"/>
                  <a:pt x="241" y="218"/>
                  <a:pt x="240" y="219"/>
                </a:cubicBezTo>
                <a:cubicBezTo>
                  <a:pt x="238" y="220"/>
                  <a:pt x="232" y="220"/>
                  <a:pt x="230" y="217"/>
                </a:cubicBezTo>
                <a:cubicBezTo>
                  <a:pt x="228" y="215"/>
                  <a:pt x="227" y="212"/>
                  <a:pt x="224" y="208"/>
                </a:cubicBezTo>
                <a:cubicBezTo>
                  <a:pt x="220" y="205"/>
                  <a:pt x="220" y="200"/>
                  <a:pt x="217" y="204"/>
                </a:cubicBezTo>
                <a:cubicBezTo>
                  <a:pt x="214" y="209"/>
                  <a:pt x="217" y="208"/>
                  <a:pt x="212" y="215"/>
                </a:cubicBezTo>
                <a:cubicBezTo>
                  <a:pt x="207" y="221"/>
                  <a:pt x="203" y="227"/>
                  <a:pt x="201" y="232"/>
                </a:cubicBezTo>
                <a:cubicBezTo>
                  <a:pt x="200" y="236"/>
                  <a:pt x="201" y="243"/>
                  <a:pt x="205" y="247"/>
                </a:cubicBezTo>
                <a:cubicBezTo>
                  <a:pt x="208" y="250"/>
                  <a:pt x="218" y="252"/>
                  <a:pt x="212" y="257"/>
                </a:cubicBezTo>
                <a:cubicBezTo>
                  <a:pt x="207" y="262"/>
                  <a:pt x="203" y="264"/>
                  <a:pt x="201" y="268"/>
                </a:cubicBezTo>
                <a:cubicBezTo>
                  <a:pt x="199" y="273"/>
                  <a:pt x="196" y="270"/>
                  <a:pt x="195" y="274"/>
                </a:cubicBezTo>
                <a:cubicBezTo>
                  <a:pt x="195" y="278"/>
                  <a:pt x="191" y="292"/>
                  <a:pt x="190" y="294"/>
                </a:cubicBezTo>
                <a:cubicBezTo>
                  <a:pt x="189" y="296"/>
                  <a:pt x="182" y="297"/>
                  <a:pt x="178" y="303"/>
                </a:cubicBezTo>
                <a:cubicBezTo>
                  <a:pt x="174" y="308"/>
                  <a:pt x="159" y="316"/>
                  <a:pt x="152" y="316"/>
                </a:cubicBezTo>
                <a:cubicBezTo>
                  <a:pt x="145" y="316"/>
                  <a:pt x="143" y="316"/>
                  <a:pt x="136" y="323"/>
                </a:cubicBezTo>
                <a:cubicBezTo>
                  <a:pt x="129" y="330"/>
                  <a:pt x="127" y="321"/>
                  <a:pt x="124" y="330"/>
                </a:cubicBezTo>
                <a:cubicBezTo>
                  <a:pt x="121" y="339"/>
                  <a:pt x="113" y="342"/>
                  <a:pt x="110" y="343"/>
                </a:cubicBezTo>
                <a:cubicBezTo>
                  <a:pt x="107" y="345"/>
                  <a:pt x="105" y="341"/>
                  <a:pt x="103" y="348"/>
                </a:cubicBezTo>
                <a:cubicBezTo>
                  <a:pt x="100" y="355"/>
                  <a:pt x="98" y="353"/>
                  <a:pt x="92" y="355"/>
                </a:cubicBezTo>
                <a:cubicBezTo>
                  <a:pt x="87" y="357"/>
                  <a:pt x="77" y="351"/>
                  <a:pt x="72" y="355"/>
                </a:cubicBezTo>
                <a:cubicBezTo>
                  <a:pt x="67" y="360"/>
                  <a:pt x="64" y="370"/>
                  <a:pt x="44" y="387"/>
                </a:cubicBezTo>
                <a:cubicBezTo>
                  <a:pt x="23" y="404"/>
                  <a:pt x="26" y="411"/>
                  <a:pt x="23" y="417"/>
                </a:cubicBezTo>
                <a:cubicBezTo>
                  <a:pt x="21" y="423"/>
                  <a:pt x="15" y="425"/>
                  <a:pt x="16" y="419"/>
                </a:cubicBezTo>
                <a:cubicBezTo>
                  <a:pt x="17" y="412"/>
                  <a:pt x="16" y="402"/>
                  <a:pt x="12" y="408"/>
                </a:cubicBezTo>
                <a:cubicBezTo>
                  <a:pt x="8" y="415"/>
                  <a:pt x="0" y="431"/>
                  <a:pt x="5" y="431"/>
                </a:cubicBezTo>
                <a:cubicBezTo>
                  <a:pt x="9" y="431"/>
                  <a:pt x="14" y="430"/>
                  <a:pt x="15" y="436"/>
                </a:cubicBezTo>
                <a:cubicBezTo>
                  <a:pt x="17" y="442"/>
                  <a:pt x="18" y="454"/>
                  <a:pt x="18" y="456"/>
                </a:cubicBezTo>
                <a:cubicBezTo>
                  <a:pt x="17" y="458"/>
                  <a:pt x="13" y="457"/>
                  <a:pt x="12" y="466"/>
                </a:cubicBezTo>
                <a:cubicBezTo>
                  <a:pt x="11" y="474"/>
                  <a:pt x="9" y="485"/>
                  <a:pt x="18" y="493"/>
                </a:cubicBezTo>
                <a:cubicBezTo>
                  <a:pt x="27" y="501"/>
                  <a:pt x="44" y="519"/>
                  <a:pt x="44" y="527"/>
                </a:cubicBezTo>
                <a:cubicBezTo>
                  <a:pt x="45" y="536"/>
                  <a:pt x="48" y="540"/>
                  <a:pt x="42" y="535"/>
                </a:cubicBezTo>
                <a:cubicBezTo>
                  <a:pt x="36" y="531"/>
                  <a:pt x="20" y="514"/>
                  <a:pt x="19" y="516"/>
                </a:cubicBezTo>
                <a:cubicBezTo>
                  <a:pt x="18" y="518"/>
                  <a:pt x="22" y="521"/>
                  <a:pt x="26" y="526"/>
                </a:cubicBezTo>
                <a:cubicBezTo>
                  <a:pt x="30" y="531"/>
                  <a:pt x="40" y="539"/>
                  <a:pt x="37" y="544"/>
                </a:cubicBezTo>
                <a:cubicBezTo>
                  <a:pt x="34" y="548"/>
                  <a:pt x="22" y="533"/>
                  <a:pt x="20" y="537"/>
                </a:cubicBezTo>
                <a:cubicBezTo>
                  <a:pt x="18" y="541"/>
                  <a:pt x="21" y="543"/>
                  <a:pt x="27" y="548"/>
                </a:cubicBezTo>
                <a:cubicBezTo>
                  <a:pt x="34" y="553"/>
                  <a:pt x="38" y="556"/>
                  <a:pt x="45" y="563"/>
                </a:cubicBezTo>
                <a:cubicBezTo>
                  <a:pt x="51" y="571"/>
                  <a:pt x="48" y="575"/>
                  <a:pt x="53" y="582"/>
                </a:cubicBezTo>
                <a:cubicBezTo>
                  <a:pt x="58" y="590"/>
                  <a:pt x="50" y="585"/>
                  <a:pt x="60" y="594"/>
                </a:cubicBezTo>
                <a:cubicBezTo>
                  <a:pt x="71" y="602"/>
                  <a:pt x="83" y="609"/>
                  <a:pt x="84" y="620"/>
                </a:cubicBezTo>
                <a:cubicBezTo>
                  <a:pt x="85" y="631"/>
                  <a:pt x="84" y="636"/>
                  <a:pt x="89" y="644"/>
                </a:cubicBezTo>
                <a:cubicBezTo>
                  <a:pt x="95" y="652"/>
                  <a:pt x="100" y="667"/>
                  <a:pt x="109" y="676"/>
                </a:cubicBezTo>
                <a:cubicBezTo>
                  <a:pt x="118" y="685"/>
                  <a:pt x="120" y="690"/>
                  <a:pt x="121" y="695"/>
                </a:cubicBezTo>
                <a:cubicBezTo>
                  <a:pt x="122" y="701"/>
                  <a:pt x="123" y="707"/>
                  <a:pt x="125" y="709"/>
                </a:cubicBezTo>
                <a:cubicBezTo>
                  <a:pt x="126" y="712"/>
                  <a:pt x="123" y="711"/>
                  <a:pt x="122" y="716"/>
                </a:cubicBezTo>
                <a:cubicBezTo>
                  <a:pt x="121" y="720"/>
                  <a:pt x="119" y="727"/>
                  <a:pt x="120" y="734"/>
                </a:cubicBezTo>
                <a:cubicBezTo>
                  <a:pt x="122" y="741"/>
                  <a:pt x="120" y="744"/>
                  <a:pt x="116" y="742"/>
                </a:cubicBezTo>
                <a:cubicBezTo>
                  <a:pt x="112" y="740"/>
                  <a:pt x="103" y="737"/>
                  <a:pt x="108" y="743"/>
                </a:cubicBezTo>
                <a:cubicBezTo>
                  <a:pt x="114" y="749"/>
                  <a:pt x="116" y="752"/>
                  <a:pt x="119" y="757"/>
                </a:cubicBezTo>
                <a:cubicBezTo>
                  <a:pt x="121" y="761"/>
                  <a:pt x="115" y="767"/>
                  <a:pt x="122" y="766"/>
                </a:cubicBezTo>
                <a:cubicBezTo>
                  <a:pt x="129" y="764"/>
                  <a:pt x="134" y="764"/>
                  <a:pt x="139" y="768"/>
                </a:cubicBezTo>
                <a:cubicBezTo>
                  <a:pt x="143" y="771"/>
                  <a:pt x="147" y="776"/>
                  <a:pt x="153" y="774"/>
                </a:cubicBezTo>
                <a:cubicBezTo>
                  <a:pt x="158" y="772"/>
                  <a:pt x="159" y="765"/>
                  <a:pt x="165" y="771"/>
                </a:cubicBezTo>
                <a:cubicBezTo>
                  <a:pt x="170" y="778"/>
                  <a:pt x="173" y="769"/>
                  <a:pt x="178" y="768"/>
                </a:cubicBezTo>
                <a:cubicBezTo>
                  <a:pt x="183" y="768"/>
                  <a:pt x="187" y="767"/>
                  <a:pt x="191" y="767"/>
                </a:cubicBezTo>
                <a:cubicBezTo>
                  <a:pt x="194" y="768"/>
                  <a:pt x="196" y="765"/>
                  <a:pt x="200" y="762"/>
                </a:cubicBezTo>
                <a:cubicBezTo>
                  <a:pt x="204" y="759"/>
                  <a:pt x="204" y="756"/>
                  <a:pt x="212" y="753"/>
                </a:cubicBezTo>
                <a:cubicBezTo>
                  <a:pt x="219" y="750"/>
                  <a:pt x="222" y="756"/>
                  <a:pt x="222" y="744"/>
                </a:cubicBezTo>
                <a:cubicBezTo>
                  <a:pt x="223" y="732"/>
                  <a:pt x="223" y="730"/>
                  <a:pt x="234" y="726"/>
                </a:cubicBezTo>
                <a:cubicBezTo>
                  <a:pt x="245" y="722"/>
                  <a:pt x="268" y="717"/>
                  <a:pt x="272" y="717"/>
                </a:cubicBezTo>
                <a:cubicBezTo>
                  <a:pt x="276" y="716"/>
                  <a:pt x="273" y="711"/>
                  <a:pt x="280" y="716"/>
                </a:cubicBezTo>
                <a:cubicBezTo>
                  <a:pt x="288" y="721"/>
                  <a:pt x="288" y="712"/>
                  <a:pt x="294" y="713"/>
                </a:cubicBezTo>
                <a:cubicBezTo>
                  <a:pt x="300" y="715"/>
                  <a:pt x="289" y="716"/>
                  <a:pt x="303" y="713"/>
                </a:cubicBezTo>
                <a:cubicBezTo>
                  <a:pt x="317" y="710"/>
                  <a:pt x="316" y="705"/>
                  <a:pt x="321" y="694"/>
                </a:cubicBezTo>
                <a:cubicBezTo>
                  <a:pt x="325" y="684"/>
                  <a:pt x="317" y="685"/>
                  <a:pt x="333" y="678"/>
                </a:cubicBezTo>
                <a:cubicBezTo>
                  <a:pt x="349" y="671"/>
                  <a:pt x="359" y="652"/>
                  <a:pt x="380" y="653"/>
                </a:cubicBezTo>
                <a:cubicBezTo>
                  <a:pt x="401" y="655"/>
                  <a:pt x="408" y="649"/>
                  <a:pt x="419" y="640"/>
                </a:cubicBezTo>
                <a:cubicBezTo>
                  <a:pt x="426" y="633"/>
                  <a:pt x="428" y="629"/>
                  <a:pt x="433" y="628"/>
                </a:cubicBezTo>
                <a:cubicBezTo>
                  <a:pt x="433" y="628"/>
                  <a:pt x="433" y="628"/>
                  <a:pt x="433" y="628"/>
                </a:cubicBezTo>
                <a:cubicBezTo>
                  <a:pt x="435" y="627"/>
                  <a:pt x="438" y="627"/>
                  <a:pt x="442" y="627"/>
                </a:cubicBezTo>
                <a:cubicBezTo>
                  <a:pt x="455" y="627"/>
                  <a:pt x="477" y="612"/>
                  <a:pt x="493" y="623"/>
                </a:cubicBezTo>
                <a:cubicBezTo>
                  <a:pt x="509" y="634"/>
                  <a:pt x="512" y="637"/>
                  <a:pt x="518" y="632"/>
                </a:cubicBezTo>
                <a:cubicBezTo>
                  <a:pt x="524" y="627"/>
                  <a:pt x="523" y="620"/>
                  <a:pt x="531" y="627"/>
                </a:cubicBezTo>
                <a:cubicBezTo>
                  <a:pt x="538" y="634"/>
                  <a:pt x="543" y="619"/>
                  <a:pt x="549" y="631"/>
                </a:cubicBezTo>
                <a:cubicBezTo>
                  <a:pt x="556" y="643"/>
                  <a:pt x="558" y="639"/>
                  <a:pt x="564" y="648"/>
                </a:cubicBezTo>
                <a:cubicBezTo>
                  <a:pt x="570" y="657"/>
                  <a:pt x="567" y="650"/>
                  <a:pt x="572" y="661"/>
                </a:cubicBezTo>
                <a:cubicBezTo>
                  <a:pt x="578" y="672"/>
                  <a:pt x="582" y="662"/>
                  <a:pt x="582" y="673"/>
                </a:cubicBezTo>
                <a:cubicBezTo>
                  <a:pt x="582" y="683"/>
                  <a:pt x="584" y="692"/>
                  <a:pt x="584" y="692"/>
                </a:cubicBezTo>
                <a:cubicBezTo>
                  <a:pt x="595" y="698"/>
                  <a:pt x="595" y="698"/>
                  <a:pt x="595" y="698"/>
                </a:cubicBezTo>
                <a:cubicBezTo>
                  <a:pt x="598" y="706"/>
                  <a:pt x="598" y="706"/>
                  <a:pt x="598" y="706"/>
                </a:cubicBezTo>
                <a:cubicBezTo>
                  <a:pt x="598" y="706"/>
                  <a:pt x="600" y="719"/>
                  <a:pt x="605" y="710"/>
                </a:cubicBezTo>
                <a:cubicBezTo>
                  <a:pt x="609" y="700"/>
                  <a:pt x="605" y="697"/>
                  <a:pt x="613" y="689"/>
                </a:cubicBezTo>
                <a:cubicBezTo>
                  <a:pt x="621" y="680"/>
                  <a:pt x="632" y="673"/>
                  <a:pt x="636" y="670"/>
                </a:cubicBezTo>
                <a:cubicBezTo>
                  <a:pt x="639" y="666"/>
                  <a:pt x="642" y="666"/>
                  <a:pt x="644" y="652"/>
                </a:cubicBezTo>
                <a:cubicBezTo>
                  <a:pt x="646" y="638"/>
                  <a:pt x="642" y="622"/>
                  <a:pt x="649" y="634"/>
                </a:cubicBezTo>
                <a:cubicBezTo>
                  <a:pt x="656" y="646"/>
                  <a:pt x="652" y="646"/>
                  <a:pt x="653" y="654"/>
                </a:cubicBezTo>
                <a:cubicBezTo>
                  <a:pt x="654" y="661"/>
                  <a:pt x="646" y="669"/>
                  <a:pt x="645" y="679"/>
                </a:cubicBezTo>
                <a:cubicBezTo>
                  <a:pt x="644" y="688"/>
                  <a:pt x="649" y="691"/>
                  <a:pt x="647" y="697"/>
                </a:cubicBezTo>
                <a:cubicBezTo>
                  <a:pt x="645" y="704"/>
                  <a:pt x="633" y="698"/>
                  <a:pt x="636" y="706"/>
                </a:cubicBezTo>
                <a:cubicBezTo>
                  <a:pt x="640" y="714"/>
                  <a:pt x="650" y="714"/>
                  <a:pt x="652" y="705"/>
                </a:cubicBezTo>
                <a:cubicBezTo>
                  <a:pt x="653" y="696"/>
                  <a:pt x="651" y="676"/>
                  <a:pt x="658" y="683"/>
                </a:cubicBezTo>
                <a:cubicBezTo>
                  <a:pt x="665" y="691"/>
                  <a:pt x="665" y="691"/>
                  <a:pt x="669" y="697"/>
                </a:cubicBezTo>
                <a:cubicBezTo>
                  <a:pt x="672" y="704"/>
                  <a:pt x="676" y="707"/>
                  <a:pt x="669" y="715"/>
                </a:cubicBezTo>
                <a:cubicBezTo>
                  <a:pt x="663" y="723"/>
                  <a:pt x="671" y="724"/>
                  <a:pt x="673" y="724"/>
                </a:cubicBezTo>
                <a:cubicBezTo>
                  <a:pt x="676" y="724"/>
                  <a:pt x="679" y="722"/>
                  <a:pt x="681" y="719"/>
                </a:cubicBezTo>
                <a:cubicBezTo>
                  <a:pt x="684" y="716"/>
                  <a:pt x="686" y="715"/>
                  <a:pt x="686" y="715"/>
                </a:cubicBezTo>
                <a:cubicBezTo>
                  <a:pt x="687" y="733"/>
                  <a:pt x="687" y="733"/>
                  <a:pt x="687" y="733"/>
                </a:cubicBezTo>
                <a:cubicBezTo>
                  <a:pt x="687" y="733"/>
                  <a:pt x="687" y="733"/>
                  <a:pt x="694" y="737"/>
                </a:cubicBezTo>
                <a:cubicBezTo>
                  <a:pt x="700" y="740"/>
                  <a:pt x="703" y="748"/>
                  <a:pt x="703" y="753"/>
                </a:cubicBezTo>
                <a:cubicBezTo>
                  <a:pt x="704" y="758"/>
                  <a:pt x="702" y="755"/>
                  <a:pt x="700" y="761"/>
                </a:cubicBezTo>
                <a:cubicBezTo>
                  <a:pt x="699" y="768"/>
                  <a:pt x="700" y="767"/>
                  <a:pt x="706" y="773"/>
                </a:cubicBezTo>
                <a:cubicBezTo>
                  <a:pt x="712" y="780"/>
                  <a:pt x="713" y="774"/>
                  <a:pt x="715" y="782"/>
                </a:cubicBezTo>
                <a:cubicBezTo>
                  <a:pt x="718" y="789"/>
                  <a:pt x="712" y="791"/>
                  <a:pt x="719" y="793"/>
                </a:cubicBezTo>
                <a:cubicBezTo>
                  <a:pt x="725" y="795"/>
                  <a:pt x="718" y="782"/>
                  <a:pt x="730" y="791"/>
                </a:cubicBezTo>
                <a:cubicBezTo>
                  <a:pt x="731" y="791"/>
                  <a:pt x="731" y="792"/>
                  <a:pt x="732" y="792"/>
                </a:cubicBezTo>
                <a:lnTo>
                  <a:pt x="732" y="79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Freeform 373"/>
          <p:cNvSpPr>
            <a:spLocks/>
          </p:cNvSpPr>
          <p:nvPr userDrawn="1"/>
        </p:nvSpPr>
        <p:spPr bwMode="auto">
          <a:xfrm>
            <a:off x="3313037" y="4763433"/>
            <a:ext cx="70353" cy="51928"/>
          </a:xfrm>
          <a:custGeom>
            <a:avLst/>
            <a:gdLst>
              <a:gd name="T0" fmla="*/ 2147483646 w 75"/>
              <a:gd name="T1" fmla="*/ 2147483646 h 55"/>
              <a:gd name="T2" fmla="*/ 2147483646 w 75"/>
              <a:gd name="T3" fmla="*/ 2147483646 h 55"/>
              <a:gd name="T4" fmla="*/ 2147483646 w 75"/>
              <a:gd name="T5" fmla="*/ 2147483646 h 55"/>
              <a:gd name="T6" fmla="*/ 2147483646 w 75"/>
              <a:gd name="T7" fmla="*/ 2147483646 h 55"/>
              <a:gd name="T8" fmla="*/ 2147483646 w 75"/>
              <a:gd name="T9" fmla="*/ 2147483646 h 55"/>
              <a:gd name="T10" fmla="*/ 2147483646 w 75"/>
              <a:gd name="T11" fmla="*/ 2147483646 h 55"/>
              <a:gd name="T12" fmla="*/ 2147483646 w 75"/>
              <a:gd name="T13" fmla="*/ 2147483646 h 55"/>
              <a:gd name="T14" fmla="*/ 2147483646 w 75"/>
              <a:gd name="T15" fmla="*/ 2147483646 h 55"/>
              <a:gd name="T16" fmla="*/ 2147483646 w 75"/>
              <a:gd name="T17" fmla="*/ 2147483646 h 55"/>
              <a:gd name="T18" fmla="*/ 2147483646 w 75"/>
              <a:gd name="T19" fmla="*/ 2147483646 h 55"/>
              <a:gd name="T20" fmla="*/ 2147483646 w 75"/>
              <a:gd name="T21" fmla="*/ 2147483646 h 55"/>
              <a:gd name="T22" fmla="*/ 0 w 75"/>
              <a:gd name="T23" fmla="*/ 2147483646 h 55"/>
              <a:gd name="T24" fmla="*/ 2147483646 w 75"/>
              <a:gd name="T25" fmla="*/ 2147483646 h 55"/>
              <a:gd name="T26" fmla="*/ 2147483646 w 75"/>
              <a:gd name="T27" fmla="*/ 2147483646 h 55"/>
              <a:gd name="T28" fmla="*/ 2147483646 w 75"/>
              <a:gd name="T29" fmla="*/ 2147483646 h 55"/>
              <a:gd name="T30" fmla="*/ 2147483646 w 75"/>
              <a:gd name="T31" fmla="*/ 0 h 55"/>
              <a:gd name="T32" fmla="*/ 2147483646 w 75"/>
              <a:gd name="T33" fmla="*/ 2147483646 h 5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75"/>
              <a:gd name="T52" fmla="*/ 0 h 55"/>
              <a:gd name="T53" fmla="*/ 75 w 75"/>
              <a:gd name="T54" fmla="*/ 55 h 55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75" h="55">
                <a:moveTo>
                  <a:pt x="31" y="2"/>
                </a:moveTo>
                <a:cubicBezTo>
                  <a:pt x="30" y="7"/>
                  <a:pt x="35" y="13"/>
                  <a:pt x="38" y="17"/>
                </a:cubicBezTo>
                <a:cubicBezTo>
                  <a:pt x="45" y="26"/>
                  <a:pt x="52" y="33"/>
                  <a:pt x="63" y="30"/>
                </a:cubicBezTo>
                <a:cubicBezTo>
                  <a:pt x="65" y="35"/>
                  <a:pt x="73" y="32"/>
                  <a:pt x="75" y="37"/>
                </a:cubicBezTo>
                <a:cubicBezTo>
                  <a:pt x="75" y="39"/>
                  <a:pt x="73" y="47"/>
                  <a:pt x="72" y="50"/>
                </a:cubicBezTo>
                <a:cubicBezTo>
                  <a:pt x="72" y="51"/>
                  <a:pt x="72" y="51"/>
                  <a:pt x="72" y="51"/>
                </a:cubicBezTo>
                <a:cubicBezTo>
                  <a:pt x="71" y="52"/>
                  <a:pt x="71" y="52"/>
                  <a:pt x="71" y="52"/>
                </a:cubicBezTo>
                <a:cubicBezTo>
                  <a:pt x="65" y="53"/>
                  <a:pt x="58" y="55"/>
                  <a:pt x="55" y="55"/>
                </a:cubicBezTo>
                <a:cubicBezTo>
                  <a:pt x="52" y="55"/>
                  <a:pt x="47" y="52"/>
                  <a:pt x="37" y="51"/>
                </a:cubicBezTo>
                <a:cubicBezTo>
                  <a:pt x="26" y="50"/>
                  <a:pt x="29" y="50"/>
                  <a:pt x="23" y="42"/>
                </a:cubicBezTo>
                <a:cubicBezTo>
                  <a:pt x="16" y="34"/>
                  <a:pt x="15" y="39"/>
                  <a:pt x="9" y="33"/>
                </a:cubicBezTo>
                <a:cubicBezTo>
                  <a:pt x="6" y="30"/>
                  <a:pt x="3" y="30"/>
                  <a:pt x="0" y="29"/>
                </a:cubicBezTo>
                <a:cubicBezTo>
                  <a:pt x="1" y="29"/>
                  <a:pt x="1" y="29"/>
                  <a:pt x="1" y="29"/>
                </a:cubicBezTo>
                <a:cubicBezTo>
                  <a:pt x="5" y="26"/>
                  <a:pt x="6" y="23"/>
                  <a:pt x="11" y="20"/>
                </a:cubicBezTo>
                <a:cubicBezTo>
                  <a:pt x="16" y="16"/>
                  <a:pt x="26" y="12"/>
                  <a:pt x="29" y="5"/>
                </a:cubicBezTo>
                <a:cubicBezTo>
                  <a:pt x="30" y="4"/>
                  <a:pt x="30" y="2"/>
                  <a:pt x="30" y="0"/>
                </a:cubicBezTo>
                <a:lnTo>
                  <a:pt x="31" y="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Freeform 374"/>
          <p:cNvSpPr>
            <a:spLocks/>
          </p:cNvSpPr>
          <p:nvPr userDrawn="1"/>
        </p:nvSpPr>
        <p:spPr bwMode="auto">
          <a:xfrm>
            <a:off x="3386740" y="4763433"/>
            <a:ext cx="127307" cy="125632"/>
          </a:xfrm>
          <a:custGeom>
            <a:avLst/>
            <a:gdLst>
              <a:gd name="T0" fmla="*/ 2147483646 w 135"/>
              <a:gd name="T1" fmla="*/ 0 h 134"/>
              <a:gd name="T2" fmla="*/ 2147483646 w 135"/>
              <a:gd name="T3" fmla="*/ 2147483646 h 134"/>
              <a:gd name="T4" fmla="*/ 2147483646 w 135"/>
              <a:gd name="T5" fmla="*/ 2147483646 h 134"/>
              <a:gd name="T6" fmla="*/ 2147483646 w 135"/>
              <a:gd name="T7" fmla="*/ 2147483646 h 134"/>
              <a:gd name="T8" fmla="*/ 2147483646 w 135"/>
              <a:gd name="T9" fmla="*/ 2147483646 h 134"/>
              <a:gd name="T10" fmla="*/ 2147483646 w 135"/>
              <a:gd name="T11" fmla="*/ 2147483646 h 134"/>
              <a:gd name="T12" fmla="*/ 2147483646 w 135"/>
              <a:gd name="T13" fmla="*/ 2147483646 h 134"/>
              <a:gd name="T14" fmla="*/ 2147483646 w 135"/>
              <a:gd name="T15" fmla="*/ 2147483646 h 134"/>
              <a:gd name="T16" fmla="*/ 2147483646 w 135"/>
              <a:gd name="T17" fmla="*/ 2147483646 h 134"/>
              <a:gd name="T18" fmla="*/ 2147483646 w 135"/>
              <a:gd name="T19" fmla="*/ 2147483646 h 134"/>
              <a:gd name="T20" fmla="*/ 2147483646 w 135"/>
              <a:gd name="T21" fmla="*/ 2147483646 h 134"/>
              <a:gd name="T22" fmla="*/ 2147483646 w 135"/>
              <a:gd name="T23" fmla="*/ 2147483646 h 134"/>
              <a:gd name="T24" fmla="*/ 2147483646 w 135"/>
              <a:gd name="T25" fmla="*/ 2147483646 h 134"/>
              <a:gd name="T26" fmla="*/ 2147483646 w 135"/>
              <a:gd name="T27" fmla="*/ 2147483646 h 134"/>
              <a:gd name="T28" fmla="*/ 2147483646 w 135"/>
              <a:gd name="T29" fmla="*/ 2147483646 h 134"/>
              <a:gd name="T30" fmla="*/ 2147483646 w 135"/>
              <a:gd name="T31" fmla="*/ 2147483646 h 134"/>
              <a:gd name="T32" fmla="*/ 2147483646 w 135"/>
              <a:gd name="T33" fmla="*/ 2147483646 h 134"/>
              <a:gd name="T34" fmla="*/ 2147483646 w 135"/>
              <a:gd name="T35" fmla="*/ 2147483646 h 134"/>
              <a:gd name="T36" fmla="*/ 2147483646 w 135"/>
              <a:gd name="T37" fmla="*/ 2147483646 h 134"/>
              <a:gd name="T38" fmla="*/ 2147483646 w 135"/>
              <a:gd name="T39" fmla="*/ 2147483646 h 134"/>
              <a:gd name="T40" fmla="*/ 2147483646 w 135"/>
              <a:gd name="T41" fmla="*/ 2147483646 h 134"/>
              <a:gd name="T42" fmla="*/ 2147483646 w 135"/>
              <a:gd name="T43" fmla="*/ 2147483646 h 134"/>
              <a:gd name="T44" fmla="*/ 2147483646 w 135"/>
              <a:gd name="T45" fmla="*/ 2147483646 h 134"/>
              <a:gd name="T46" fmla="*/ 2147483646 w 135"/>
              <a:gd name="T47" fmla="*/ 2147483646 h 134"/>
              <a:gd name="T48" fmla="*/ 2147483646 w 135"/>
              <a:gd name="T49" fmla="*/ 2147483646 h 134"/>
              <a:gd name="T50" fmla="*/ 2147483646 w 135"/>
              <a:gd name="T51" fmla="*/ 2147483646 h 134"/>
              <a:gd name="T52" fmla="*/ 2147483646 w 135"/>
              <a:gd name="T53" fmla="*/ 2147483646 h 134"/>
              <a:gd name="T54" fmla="*/ 2147483646 w 135"/>
              <a:gd name="T55" fmla="*/ 2147483646 h 134"/>
              <a:gd name="T56" fmla="*/ 2147483646 w 135"/>
              <a:gd name="T57" fmla="*/ 2147483646 h 134"/>
              <a:gd name="T58" fmla="*/ 2147483646 w 135"/>
              <a:gd name="T59" fmla="*/ 2147483646 h 134"/>
              <a:gd name="T60" fmla="*/ 2147483646 w 135"/>
              <a:gd name="T61" fmla="*/ 2147483646 h 134"/>
              <a:gd name="T62" fmla="*/ 2147483646 w 135"/>
              <a:gd name="T63" fmla="*/ 2147483646 h 134"/>
              <a:gd name="T64" fmla="*/ 2147483646 w 135"/>
              <a:gd name="T65" fmla="*/ 2147483646 h 134"/>
              <a:gd name="T66" fmla="*/ 2147483646 w 135"/>
              <a:gd name="T67" fmla="*/ 0 h 134"/>
              <a:gd name="T68" fmla="*/ 2147483646 w 135"/>
              <a:gd name="T69" fmla="*/ 0 h 13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35"/>
              <a:gd name="T106" fmla="*/ 0 h 134"/>
              <a:gd name="T107" fmla="*/ 135 w 135"/>
              <a:gd name="T108" fmla="*/ 134 h 13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35" h="134">
                <a:moveTo>
                  <a:pt x="127" y="0"/>
                </a:moveTo>
                <a:cubicBezTo>
                  <a:pt x="128" y="3"/>
                  <a:pt x="129" y="7"/>
                  <a:pt x="131" y="10"/>
                </a:cubicBezTo>
                <a:cubicBezTo>
                  <a:pt x="135" y="18"/>
                  <a:pt x="130" y="31"/>
                  <a:pt x="124" y="39"/>
                </a:cubicBezTo>
                <a:cubicBezTo>
                  <a:pt x="117" y="47"/>
                  <a:pt x="121" y="64"/>
                  <a:pt x="116" y="80"/>
                </a:cubicBezTo>
                <a:cubicBezTo>
                  <a:pt x="111" y="97"/>
                  <a:pt x="110" y="98"/>
                  <a:pt x="115" y="107"/>
                </a:cubicBezTo>
                <a:cubicBezTo>
                  <a:pt x="118" y="113"/>
                  <a:pt x="116" y="116"/>
                  <a:pt x="118" y="128"/>
                </a:cubicBezTo>
                <a:cubicBezTo>
                  <a:pt x="117" y="129"/>
                  <a:pt x="117" y="129"/>
                  <a:pt x="117" y="129"/>
                </a:cubicBezTo>
                <a:cubicBezTo>
                  <a:pt x="110" y="130"/>
                  <a:pt x="106" y="134"/>
                  <a:pt x="99" y="129"/>
                </a:cubicBezTo>
                <a:cubicBezTo>
                  <a:pt x="93" y="125"/>
                  <a:pt x="90" y="119"/>
                  <a:pt x="81" y="120"/>
                </a:cubicBezTo>
                <a:cubicBezTo>
                  <a:pt x="81" y="119"/>
                  <a:pt x="81" y="119"/>
                  <a:pt x="81" y="119"/>
                </a:cubicBezTo>
                <a:cubicBezTo>
                  <a:pt x="78" y="114"/>
                  <a:pt x="68" y="106"/>
                  <a:pt x="65" y="103"/>
                </a:cubicBezTo>
                <a:cubicBezTo>
                  <a:pt x="62" y="100"/>
                  <a:pt x="62" y="97"/>
                  <a:pt x="59" y="94"/>
                </a:cubicBezTo>
                <a:cubicBezTo>
                  <a:pt x="56" y="91"/>
                  <a:pt x="54" y="90"/>
                  <a:pt x="51" y="90"/>
                </a:cubicBezTo>
                <a:cubicBezTo>
                  <a:pt x="49" y="89"/>
                  <a:pt x="48" y="98"/>
                  <a:pt x="49" y="101"/>
                </a:cubicBezTo>
                <a:cubicBezTo>
                  <a:pt x="50" y="104"/>
                  <a:pt x="56" y="112"/>
                  <a:pt x="57" y="114"/>
                </a:cubicBezTo>
                <a:cubicBezTo>
                  <a:pt x="59" y="115"/>
                  <a:pt x="56" y="117"/>
                  <a:pt x="55" y="118"/>
                </a:cubicBezTo>
                <a:cubicBezTo>
                  <a:pt x="54" y="119"/>
                  <a:pt x="46" y="114"/>
                  <a:pt x="40" y="106"/>
                </a:cubicBezTo>
                <a:cubicBezTo>
                  <a:pt x="34" y="99"/>
                  <a:pt x="31" y="98"/>
                  <a:pt x="25" y="90"/>
                </a:cubicBezTo>
                <a:cubicBezTo>
                  <a:pt x="19" y="82"/>
                  <a:pt x="15" y="77"/>
                  <a:pt x="9" y="71"/>
                </a:cubicBezTo>
                <a:cubicBezTo>
                  <a:pt x="2" y="65"/>
                  <a:pt x="0" y="64"/>
                  <a:pt x="5" y="61"/>
                </a:cubicBezTo>
                <a:cubicBezTo>
                  <a:pt x="6" y="61"/>
                  <a:pt x="6" y="60"/>
                  <a:pt x="7" y="59"/>
                </a:cubicBezTo>
                <a:cubicBezTo>
                  <a:pt x="8" y="59"/>
                  <a:pt x="8" y="59"/>
                  <a:pt x="8" y="59"/>
                </a:cubicBezTo>
                <a:cubicBezTo>
                  <a:pt x="13" y="59"/>
                  <a:pt x="18" y="57"/>
                  <a:pt x="22" y="54"/>
                </a:cubicBezTo>
                <a:cubicBezTo>
                  <a:pt x="27" y="50"/>
                  <a:pt x="27" y="45"/>
                  <a:pt x="29" y="40"/>
                </a:cubicBezTo>
                <a:cubicBezTo>
                  <a:pt x="31" y="34"/>
                  <a:pt x="33" y="32"/>
                  <a:pt x="40" y="33"/>
                </a:cubicBezTo>
                <a:cubicBezTo>
                  <a:pt x="43" y="33"/>
                  <a:pt x="44" y="34"/>
                  <a:pt x="47" y="33"/>
                </a:cubicBezTo>
                <a:cubicBezTo>
                  <a:pt x="50" y="32"/>
                  <a:pt x="49" y="28"/>
                  <a:pt x="53" y="28"/>
                </a:cubicBezTo>
                <a:cubicBezTo>
                  <a:pt x="56" y="29"/>
                  <a:pt x="56" y="31"/>
                  <a:pt x="59" y="31"/>
                </a:cubicBezTo>
                <a:cubicBezTo>
                  <a:pt x="64" y="31"/>
                  <a:pt x="67" y="24"/>
                  <a:pt x="69" y="20"/>
                </a:cubicBezTo>
                <a:cubicBezTo>
                  <a:pt x="75" y="11"/>
                  <a:pt x="78" y="8"/>
                  <a:pt x="89" y="8"/>
                </a:cubicBezTo>
                <a:cubicBezTo>
                  <a:pt x="93" y="8"/>
                  <a:pt x="100" y="10"/>
                  <a:pt x="104" y="9"/>
                </a:cubicBezTo>
                <a:cubicBezTo>
                  <a:pt x="107" y="8"/>
                  <a:pt x="110" y="5"/>
                  <a:pt x="114" y="4"/>
                </a:cubicBezTo>
                <a:cubicBezTo>
                  <a:pt x="117" y="4"/>
                  <a:pt x="118" y="3"/>
                  <a:pt x="121" y="2"/>
                </a:cubicBezTo>
                <a:cubicBezTo>
                  <a:pt x="123" y="1"/>
                  <a:pt x="124" y="0"/>
                  <a:pt x="126" y="0"/>
                </a:cubicBezTo>
                <a:lnTo>
                  <a:pt x="12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Freeform 375"/>
          <p:cNvSpPr>
            <a:spLocks/>
          </p:cNvSpPr>
          <p:nvPr userDrawn="1"/>
        </p:nvSpPr>
        <p:spPr bwMode="auto">
          <a:xfrm>
            <a:off x="3433644" y="4873990"/>
            <a:ext cx="87105" cy="88780"/>
          </a:xfrm>
          <a:custGeom>
            <a:avLst/>
            <a:gdLst>
              <a:gd name="T0" fmla="*/ 2147483646 w 93"/>
              <a:gd name="T1" fmla="*/ 2147483646 h 96"/>
              <a:gd name="T2" fmla="*/ 2147483646 w 93"/>
              <a:gd name="T3" fmla="*/ 2147483646 h 96"/>
              <a:gd name="T4" fmla="*/ 2147483646 w 93"/>
              <a:gd name="T5" fmla="*/ 2147483646 h 96"/>
              <a:gd name="T6" fmla="*/ 2147483646 w 93"/>
              <a:gd name="T7" fmla="*/ 2147483646 h 96"/>
              <a:gd name="T8" fmla="*/ 2147483646 w 93"/>
              <a:gd name="T9" fmla="*/ 2147483646 h 96"/>
              <a:gd name="T10" fmla="*/ 2147483646 w 93"/>
              <a:gd name="T11" fmla="*/ 2147483646 h 96"/>
              <a:gd name="T12" fmla="*/ 2147483646 w 93"/>
              <a:gd name="T13" fmla="*/ 2147483646 h 96"/>
              <a:gd name="T14" fmla="*/ 2147483646 w 93"/>
              <a:gd name="T15" fmla="*/ 2147483646 h 96"/>
              <a:gd name="T16" fmla="*/ 2147483646 w 93"/>
              <a:gd name="T17" fmla="*/ 2147483646 h 96"/>
              <a:gd name="T18" fmla="*/ 2147483646 w 93"/>
              <a:gd name="T19" fmla="*/ 2147483646 h 96"/>
              <a:gd name="T20" fmla="*/ 2147483646 w 93"/>
              <a:gd name="T21" fmla="*/ 2147483646 h 96"/>
              <a:gd name="T22" fmla="*/ 2147483646 w 93"/>
              <a:gd name="T23" fmla="*/ 2147483646 h 96"/>
              <a:gd name="T24" fmla="*/ 2147483646 w 93"/>
              <a:gd name="T25" fmla="*/ 0 h 96"/>
              <a:gd name="T26" fmla="*/ 2147483646 w 93"/>
              <a:gd name="T27" fmla="*/ 2147483646 h 96"/>
              <a:gd name="T28" fmla="*/ 2147483646 w 93"/>
              <a:gd name="T29" fmla="*/ 2147483646 h 96"/>
              <a:gd name="T30" fmla="*/ 2147483646 w 93"/>
              <a:gd name="T31" fmla="*/ 2147483646 h 96"/>
              <a:gd name="T32" fmla="*/ 2147483646 w 93"/>
              <a:gd name="T33" fmla="*/ 2147483646 h 96"/>
              <a:gd name="T34" fmla="*/ 2147483646 w 93"/>
              <a:gd name="T35" fmla="*/ 2147483646 h 96"/>
              <a:gd name="T36" fmla="*/ 2147483646 w 93"/>
              <a:gd name="T37" fmla="*/ 2147483646 h 96"/>
              <a:gd name="T38" fmla="*/ 2147483646 w 93"/>
              <a:gd name="T39" fmla="*/ 2147483646 h 96"/>
              <a:gd name="T40" fmla="*/ 2147483646 w 93"/>
              <a:gd name="T41" fmla="*/ 2147483646 h 96"/>
              <a:gd name="T42" fmla="*/ 2147483646 w 93"/>
              <a:gd name="T43" fmla="*/ 2147483646 h 96"/>
              <a:gd name="T44" fmla="*/ 2147483646 w 93"/>
              <a:gd name="T45" fmla="*/ 2147483646 h 96"/>
              <a:gd name="T46" fmla="*/ 2147483646 w 93"/>
              <a:gd name="T47" fmla="*/ 2147483646 h 96"/>
              <a:gd name="T48" fmla="*/ 2147483646 w 93"/>
              <a:gd name="T49" fmla="*/ 2147483646 h 96"/>
              <a:gd name="T50" fmla="*/ 2147483646 w 93"/>
              <a:gd name="T51" fmla="*/ 2147483646 h 9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93"/>
              <a:gd name="T79" fmla="*/ 0 h 96"/>
              <a:gd name="T80" fmla="*/ 93 w 93"/>
              <a:gd name="T81" fmla="*/ 96 h 9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93" h="96">
                <a:moveTo>
                  <a:pt x="85" y="94"/>
                </a:moveTo>
                <a:cubicBezTo>
                  <a:pt x="85" y="91"/>
                  <a:pt x="86" y="87"/>
                  <a:pt x="87" y="84"/>
                </a:cubicBezTo>
                <a:cubicBezTo>
                  <a:pt x="90" y="79"/>
                  <a:pt x="92" y="79"/>
                  <a:pt x="90" y="74"/>
                </a:cubicBezTo>
                <a:cubicBezTo>
                  <a:pt x="88" y="65"/>
                  <a:pt x="81" y="56"/>
                  <a:pt x="93" y="52"/>
                </a:cubicBezTo>
                <a:cubicBezTo>
                  <a:pt x="93" y="51"/>
                  <a:pt x="93" y="51"/>
                  <a:pt x="93" y="51"/>
                </a:cubicBezTo>
                <a:cubicBezTo>
                  <a:pt x="84" y="44"/>
                  <a:pt x="75" y="34"/>
                  <a:pt x="72" y="24"/>
                </a:cubicBezTo>
                <a:cubicBezTo>
                  <a:pt x="70" y="18"/>
                  <a:pt x="69" y="14"/>
                  <a:pt x="68" y="11"/>
                </a:cubicBezTo>
                <a:cubicBezTo>
                  <a:pt x="67" y="12"/>
                  <a:pt x="67" y="12"/>
                  <a:pt x="67" y="12"/>
                </a:cubicBezTo>
                <a:cubicBezTo>
                  <a:pt x="60" y="14"/>
                  <a:pt x="56" y="17"/>
                  <a:pt x="49" y="13"/>
                </a:cubicBezTo>
                <a:cubicBezTo>
                  <a:pt x="43" y="9"/>
                  <a:pt x="39" y="2"/>
                  <a:pt x="31" y="3"/>
                </a:cubicBezTo>
                <a:cubicBezTo>
                  <a:pt x="31" y="3"/>
                  <a:pt x="31" y="3"/>
                  <a:pt x="31" y="3"/>
                </a:cubicBezTo>
                <a:cubicBezTo>
                  <a:pt x="29" y="5"/>
                  <a:pt x="26" y="9"/>
                  <a:pt x="25" y="8"/>
                </a:cubicBezTo>
                <a:cubicBezTo>
                  <a:pt x="23" y="8"/>
                  <a:pt x="9" y="0"/>
                  <a:pt x="9" y="0"/>
                </a:cubicBezTo>
                <a:cubicBezTo>
                  <a:pt x="9" y="0"/>
                  <a:pt x="4" y="1"/>
                  <a:pt x="4" y="4"/>
                </a:cubicBezTo>
                <a:cubicBezTo>
                  <a:pt x="3" y="6"/>
                  <a:pt x="0" y="20"/>
                  <a:pt x="1" y="24"/>
                </a:cubicBezTo>
                <a:cubicBezTo>
                  <a:pt x="2" y="28"/>
                  <a:pt x="3" y="38"/>
                  <a:pt x="7" y="39"/>
                </a:cubicBezTo>
                <a:cubicBezTo>
                  <a:pt x="12" y="41"/>
                  <a:pt x="17" y="48"/>
                  <a:pt x="22" y="47"/>
                </a:cubicBezTo>
                <a:cubicBezTo>
                  <a:pt x="26" y="46"/>
                  <a:pt x="21" y="38"/>
                  <a:pt x="26" y="40"/>
                </a:cubicBezTo>
                <a:cubicBezTo>
                  <a:pt x="32" y="41"/>
                  <a:pt x="35" y="44"/>
                  <a:pt x="38" y="48"/>
                </a:cubicBezTo>
                <a:cubicBezTo>
                  <a:pt x="42" y="51"/>
                  <a:pt x="45" y="52"/>
                  <a:pt x="48" y="54"/>
                </a:cubicBezTo>
                <a:cubicBezTo>
                  <a:pt x="50" y="57"/>
                  <a:pt x="63" y="70"/>
                  <a:pt x="64" y="74"/>
                </a:cubicBezTo>
                <a:cubicBezTo>
                  <a:pt x="66" y="77"/>
                  <a:pt x="61" y="86"/>
                  <a:pt x="61" y="88"/>
                </a:cubicBezTo>
                <a:cubicBezTo>
                  <a:pt x="62" y="90"/>
                  <a:pt x="74" y="96"/>
                  <a:pt x="77" y="95"/>
                </a:cubicBezTo>
                <a:cubicBezTo>
                  <a:pt x="80" y="94"/>
                  <a:pt x="81" y="85"/>
                  <a:pt x="83" y="88"/>
                </a:cubicBezTo>
                <a:cubicBezTo>
                  <a:pt x="85" y="90"/>
                  <a:pt x="84" y="92"/>
                  <a:pt x="84" y="94"/>
                </a:cubicBezTo>
                <a:lnTo>
                  <a:pt x="85" y="9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Freeform 376"/>
          <p:cNvSpPr>
            <a:spLocks/>
          </p:cNvSpPr>
          <p:nvPr userDrawn="1"/>
        </p:nvSpPr>
        <p:spPr bwMode="auto">
          <a:xfrm>
            <a:off x="3509023" y="4922568"/>
            <a:ext cx="175884" cy="70353"/>
          </a:xfrm>
          <a:custGeom>
            <a:avLst/>
            <a:gdLst>
              <a:gd name="T0" fmla="*/ 2147483646 w 188"/>
              <a:gd name="T1" fmla="*/ 2147483646 h 76"/>
              <a:gd name="T2" fmla="*/ 2147483646 w 188"/>
              <a:gd name="T3" fmla="*/ 2147483646 h 76"/>
              <a:gd name="T4" fmla="*/ 2147483646 w 188"/>
              <a:gd name="T5" fmla="*/ 2147483646 h 76"/>
              <a:gd name="T6" fmla="*/ 2147483646 w 188"/>
              <a:gd name="T7" fmla="*/ 2147483646 h 76"/>
              <a:gd name="T8" fmla="*/ 2147483646 w 188"/>
              <a:gd name="T9" fmla="*/ 2147483646 h 76"/>
              <a:gd name="T10" fmla="*/ 2147483646 w 188"/>
              <a:gd name="T11" fmla="*/ 2147483646 h 76"/>
              <a:gd name="T12" fmla="*/ 2147483646 w 188"/>
              <a:gd name="T13" fmla="*/ 2147483646 h 76"/>
              <a:gd name="T14" fmla="*/ 2147483646 w 188"/>
              <a:gd name="T15" fmla="*/ 2147483646 h 76"/>
              <a:gd name="T16" fmla="*/ 2147483646 w 188"/>
              <a:gd name="T17" fmla="*/ 2147483646 h 76"/>
              <a:gd name="T18" fmla="*/ 2147483646 w 188"/>
              <a:gd name="T19" fmla="*/ 2147483646 h 76"/>
              <a:gd name="T20" fmla="*/ 2147483646 w 188"/>
              <a:gd name="T21" fmla="*/ 2147483646 h 76"/>
              <a:gd name="T22" fmla="*/ 2147483646 w 188"/>
              <a:gd name="T23" fmla="*/ 2147483646 h 76"/>
              <a:gd name="T24" fmla="*/ 2147483646 w 188"/>
              <a:gd name="T25" fmla="*/ 2147483646 h 76"/>
              <a:gd name="T26" fmla="*/ 2147483646 w 188"/>
              <a:gd name="T27" fmla="*/ 2147483646 h 76"/>
              <a:gd name="T28" fmla="*/ 2147483646 w 188"/>
              <a:gd name="T29" fmla="*/ 0 h 76"/>
              <a:gd name="T30" fmla="*/ 2147483646 w 188"/>
              <a:gd name="T31" fmla="*/ 0 h 76"/>
              <a:gd name="T32" fmla="*/ 2147483646 w 188"/>
              <a:gd name="T33" fmla="*/ 2147483646 h 76"/>
              <a:gd name="T34" fmla="*/ 2147483646 w 188"/>
              <a:gd name="T35" fmla="*/ 2147483646 h 76"/>
              <a:gd name="T36" fmla="*/ 2147483646 w 188"/>
              <a:gd name="T37" fmla="*/ 2147483646 h 76"/>
              <a:gd name="T38" fmla="*/ 2147483646 w 188"/>
              <a:gd name="T39" fmla="*/ 2147483646 h 76"/>
              <a:gd name="T40" fmla="*/ 2147483646 w 188"/>
              <a:gd name="T41" fmla="*/ 2147483646 h 76"/>
              <a:gd name="T42" fmla="*/ 2147483646 w 188"/>
              <a:gd name="T43" fmla="*/ 2147483646 h 76"/>
              <a:gd name="T44" fmla="*/ 2147483646 w 188"/>
              <a:gd name="T45" fmla="*/ 2147483646 h 76"/>
              <a:gd name="T46" fmla="*/ 2147483646 w 188"/>
              <a:gd name="T47" fmla="*/ 2147483646 h 76"/>
              <a:gd name="T48" fmla="*/ 2147483646 w 188"/>
              <a:gd name="T49" fmla="*/ 2147483646 h 76"/>
              <a:gd name="T50" fmla="*/ 2147483646 w 188"/>
              <a:gd name="T51" fmla="*/ 2147483646 h 76"/>
              <a:gd name="T52" fmla="*/ 2147483646 w 188"/>
              <a:gd name="T53" fmla="*/ 2147483646 h 76"/>
              <a:gd name="T54" fmla="*/ 2147483646 w 188"/>
              <a:gd name="T55" fmla="*/ 2147483646 h 76"/>
              <a:gd name="T56" fmla="*/ 2147483646 w 188"/>
              <a:gd name="T57" fmla="*/ 2147483646 h 76"/>
              <a:gd name="T58" fmla="*/ 2147483646 w 188"/>
              <a:gd name="T59" fmla="*/ 2147483646 h 76"/>
              <a:gd name="T60" fmla="*/ 2147483646 w 188"/>
              <a:gd name="T61" fmla="*/ 2147483646 h 76"/>
              <a:gd name="T62" fmla="*/ 2147483646 w 188"/>
              <a:gd name="T63" fmla="*/ 2147483646 h 76"/>
              <a:gd name="T64" fmla="*/ 2147483646 w 188"/>
              <a:gd name="T65" fmla="*/ 2147483646 h 76"/>
              <a:gd name="T66" fmla="*/ 2147483646 w 188"/>
              <a:gd name="T67" fmla="*/ 2147483646 h 76"/>
              <a:gd name="T68" fmla="*/ 2147483646 w 188"/>
              <a:gd name="T69" fmla="*/ 2147483646 h 76"/>
              <a:gd name="T70" fmla="*/ 2147483646 w 188"/>
              <a:gd name="T71" fmla="*/ 2147483646 h 76"/>
              <a:gd name="T72" fmla="*/ 2147483646 w 188"/>
              <a:gd name="T73" fmla="*/ 2147483646 h 76"/>
              <a:gd name="T74" fmla="*/ 2147483646 w 188"/>
              <a:gd name="T75" fmla="*/ 2147483646 h 76"/>
              <a:gd name="T76" fmla="*/ 2147483646 w 188"/>
              <a:gd name="T77" fmla="*/ 2147483646 h 76"/>
              <a:gd name="T78" fmla="*/ 2147483646 w 188"/>
              <a:gd name="T79" fmla="*/ 2147483646 h 76"/>
              <a:gd name="T80" fmla="*/ 2147483646 w 188"/>
              <a:gd name="T81" fmla="*/ 2147483646 h 7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88"/>
              <a:gd name="T124" fmla="*/ 0 h 76"/>
              <a:gd name="T125" fmla="*/ 188 w 188"/>
              <a:gd name="T126" fmla="*/ 76 h 7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88" h="76">
                <a:moveTo>
                  <a:pt x="163" y="72"/>
                </a:moveTo>
                <a:cubicBezTo>
                  <a:pt x="167" y="73"/>
                  <a:pt x="175" y="67"/>
                  <a:pt x="178" y="63"/>
                </a:cubicBezTo>
                <a:cubicBezTo>
                  <a:pt x="180" y="60"/>
                  <a:pt x="184" y="56"/>
                  <a:pt x="186" y="53"/>
                </a:cubicBezTo>
                <a:cubicBezTo>
                  <a:pt x="188" y="49"/>
                  <a:pt x="186" y="45"/>
                  <a:pt x="186" y="41"/>
                </a:cubicBezTo>
                <a:cubicBezTo>
                  <a:pt x="186" y="40"/>
                  <a:pt x="186" y="40"/>
                  <a:pt x="186" y="40"/>
                </a:cubicBezTo>
                <a:cubicBezTo>
                  <a:pt x="184" y="37"/>
                  <a:pt x="182" y="34"/>
                  <a:pt x="182" y="34"/>
                </a:cubicBezTo>
                <a:cubicBezTo>
                  <a:pt x="170" y="22"/>
                  <a:pt x="170" y="22"/>
                  <a:pt x="170" y="22"/>
                </a:cubicBezTo>
                <a:cubicBezTo>
                  <a:pt x="170" y="22"/>
                  <a:pt x="166" y="8"/>
                  <a:pt x="158" y="11"/>
                </a:cubicBezTo>
                <a:cubicBezTo>
                  <a:pt x="151" y="15"/>
                  <a:pt x="145" y="8"/>
                  <a:pt x="145" y="8"/>
                </a:cubicBezTo>
                <a:cubicBezTo>
                  <a:pt x="145" y="8"/>
                  <a:pt x="133" y="2"/>
                  <a:pt x="125" y="3"/>
                </a:cubicBezTo>
                <a:cubicBezTo>
                  <a:pt x="117" y="4"/>
                  <a:pt x="103" y="0"/>
                  <a:pt x="100" y="5"/>
                </a:cubicBezTo>
                <a:cubicBezTo>
                  <a:pt x="97" y="9"/>
                  <a:pt x="92" y="11"/>
                  <a:pt x="80" y="16"/>
                </a:cubicBezTo>
                <a:cubicBezTo>
                  <a:pt x="68" y="21"/>
                  <a:pt x="54" y="18"/>
                  <a:pt x="54" y="18"/>
                </a:cubicBezTo>
                <a:cubicBezTo>
                  <a:pt x="33" y="14"/>
                  <a:pt x="33" y="14"/>
                  <a:pt x="33" y="14"/>
                </a:cubicBezTo>
                <a:cubicBezTo>
                  <a:pt x="33" y="14"/>
                  <a:pt x="23" y="8"/>
                  <a:pt x="13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0" y="4"/>
                  <a:pt x="7" y="13"/>
                  <a:pt x="9" y="22"/>
                </a:cubicBezTo>
                <a:cubicBezTo>
                  <a:pt x="11" y="27"/>
                  <a:pt x="9" y="27"/>
                  <a:pt x="6" y="32"/>
                </a:cubicBezTo>
                <a:cubicBezTo>
                  <a:pt x="5" y="36"/>
                  <a:pt x="3" y="42"/>
                  <a:pt x="4" y="45"/>
                </a:cubicBezTo>
                <a:cubicBezTo>
                  <a:pt x="7" y="45"/>
                  <a:pt x="7" y="45"/>
                  <a:pt x="7" y="45"/>
                </a:cubicBezTo>
                <a:cubicBezTo>
                  <a:pt x="13" y="48"/>
                  <a:pt x="15" y="44"/>
                  <a:pt x="22" y="45"/>
                </a:cubicBezTo>
                <a:cubicBezTo>
                  <a:pt x="29" y="46"/>
                  <a:pt x="30" y="42"/>
                  <a:pt x="37" y="47"/>
                </a:cubicBezTo>
                <a:cubicBezTo>
                  <a:pt x="44" y="51"/>
                  <a:pt x="46" y="48"/>
                  <a:pt x="49" y="53"/>
                </a:cubicBezTo>
                <a:cubicBezTo>
                  <a:pt x="52" y="59"/>
                  <a:pt x="51" y="62"/>
                  <a:pt x="55" y="64"/>
                </a:cubicBezTo>
                <a:cubicBezTo>
                  <a:pt x="59" y="65"/>
                  <a:pt x="58" y="61"/>
                  <a:pt x="63" y="62"/>
                </a:cubicBezTo>
                <a:cubicBezTo>
                  <a:pt x="67" y="62"/>
                  <a:pt x="69" y="65"/>
                  <a:pt x="74" y="70"/>
                </a:cubicBezTo>
                <a:cubicBezTo>
                  <a:pt x="79" y="76"/>
                  <a:pt x="83" y="67"/>
                  <a:pt x="88" y="67"/>
                </a:cubicBezTo>
                <a:cubicBezTo>
                  <a:pt x="93" y="67"/>
                  <a:pt x="96" y="66"/>
                  <a:pt x="96" y="64"/>
                </a:cubicBezTo>
                <a:cubicBezTo>
                  <a:pt x="96" y="62"/>
                  <a:pt x="91" y="48"/>
                  <a:pt x="90" y="48"/>
                </a:cubicBezTo>
                <a:cubicBezTo>
                  <a:pt x="88" y="48"/>
                  <a:pt x="95" y="39"/>
                  <a:pt x="98" y="37"/>
                </a:cubicBezTo>
                <a:cubicBezTo>
                  <a:pt x="100" y="36"/>
                  <a:pt x="110" y="29"/>
                  <a:pt x="110" y="26"/>
                </a:cubicBezTo>
                <a:cubicBezTo>
                  <a:pt x="109" y="23"/>
                  <a:pt x="112" y="20"/>
                  <a:pt x="115" y="20"/>
                </a:cubicBezTo>
                <a:cubicBezTo>
                  <a:pt x="118" y="20"/>
                  <a:pt x="116" y="14"/>
                  <a:pt x="121" y="19"/>
                </a:cubicBezTo>
                <a:cubicBezTo>
                  <a:pt x="126" y="23"/>
                  <a:pt x="129" y="20"/>
                  <a:pt x="133" y="26"/>
                </a:cubicBezTo>
                <a:cubicBezTo>
                  <a:pt x="137" y="32"/>
                  <a:pt x="133" y="32"/>
                  <a:pt x="137" y="34"/>
                </a:cubicBezTo>
                <a:cubicBezTo>
                  <a:pt x="141" y="36"/>
                  <a:pt x="148" y="31"/>
                  <a:pt x="149" y="37"/>
                </a:cubicBezTo>
                <a:cubicBezTo>
                  <a:pt x="150" y="43"/>
                  <a:pt x="145" y="41"/>
                  <a:pt x="144" y="45"/>
                </a:cubicBezTo>
                <a:cubicBezTo>
                  <a:pt x="144" y="50"/>
                  <a:pt x="143" y="52"/>
                  <a:pt x="148" y="55"/>
                </a:cubicBezTo>
                <a:cubicBezTo>
                  <a:pt x="153" y="58"/>
                  <a:pt x="152" y="65"/>
                  <a:pt x="156" y="70"/>
                </a:cubicBezTo>
                <a:cubicBezTo>
                  <a:pt x="158" y="72"/>
                  <a:pt x="159" y="72"/>
                  <a:pt x="161" y="72"/>
                </a:cubicBezTo>
                <a:lnTo>
                  <a:pt x="163" y="7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Freeform 377"/>
          <p:cNvSpPr>
            <a:spLocks/>
          </p:cNvSpPr>
          <p:nvPr userDrawn="1"/>
        </p:nvSpPr>
        <p:spPr bwMode="auto">
          <a:xfrm>
            <a:off x="4132158" y="4937643"/>
            <a:ext cx="144057" cy="209387"/>
          </a:xfrm>
          <a:custGeom>
            <a:avLst/>
            <a:gdLst>
              <a:gd name="T0" fmla="*/ 2147483646 w 154"/>
              <a:gd name="T1" fmla="*/ 2147483646 h 225"/>
              <a:gd name="T2" fmla="*/ 2147483646 w 154"/>
              <a:gd name="T3" fmla="*/ 2147483646 h 225"/>
              <a:gd name="T4" fmla="*/ 2147483646 w 154"/>
              <a:gd name="T5" fmla="*/ 2147483646 h 225"/>
              <a:gd name="T6" fmla="*/ 2147483646 w 154"/>
              <a:gd name="T7" fmla="*/ 2147483646 h 225"/>
              <a:gd name="T8" fmla="*/ 2147483646 w 154"/>
              <a:gd name="T9" fmla="*/ 0 h 225"/>
              <a:gd name="T10" fmla="*/ 2147483646 w 154"/>
              <a:gd name="T11" fmla="*/ 2147483646 h 225"/>
              <a:gd name="T12" fmla="*/ 2147483646 w 154"/>
              <a:gd name="T13" fmla="*/ 2147483646 h 225"/>
              <a:gd name="T14" fmla="*/ 2147483646 w 154"/>
              <a:gd name="T15" fmla="*/ 2147483646 h 225"/>
              <a:gd name="T16" fmla="*/ 2147483646 w 154"/>
              <a:gd name="T17" fmla="*/ 2147483646 h 225"/>
              <a:gd name="T18" fmla="*/ 2147483646 w 154"/>
              <a:gd name="T19" fmla="*/ 2147483646 h 225"/>
              <a:gd name="T20" fmla="*/ 0 w 154"/>
              <a:gd name="T21" fmla="*/ 2147483646 h 225"/>
              <a:gd name="T22" fmla="*/ 2147483646 w 154"/>
              <a:gd name="T23" fmla="*/ 2147483646 h 225"/>
              <a:gd name="T24" fmla="*/ 2147483646 w 154"/>
              <a:gd name="T25" fmla="*/ 2147483646 h 225"/>
              <a:gd name="T26" fmla="*/ 2147483646 w 154"/>
              <a:gd name="T27" fmla="*/ 2147483646 h 225"/>
              <a:gd name="T28" fmla="*/ 2147483646 w 154"/>
              <a:gd name="T29" fmla="*/ 2147483646 h 225"/>
              <a:gd name="T30" fmla="*/ 2147483646 w 154"/>
              <a:gd name="T31" fmla="*/ 2147483646 h 225"/>
              <a:gd name="T32" fmla="*/ 2147483646 w 154"/>
              <a:gd name="T33" fmla="*/ 2147483646 h 225"/>
              <a:gd name="T34" fmla="*/ 2147483646 w 154"/>
              <a:gd name="T35" fmla="*/ 2147483646 h 225"/>
              <a:gd name="T36" fmla="*/ 2147483646 w 154"/>
              <a:gd name="T37" fmla="*/ 2147483646 h 225"/>
              <a:gd name="T38" fmla="*/ 2147483646 w 154"/>
              <a:gd name="T39" fmla="*/ 2147483646 h 225"/>
              <a:gd name="T40" fmla="*/ 2147483646 w 154"/>
              <a:gd name="T41" fmla="*/ 2147483646 h 225"/>
              <a:gd name="T42" fmla="*/ 2147483646 w 154"/>
              <a:gd name="T43" fmla="*/ 2147483646 h 225"/>
              <a:gd name="T44" fmla="*/ 2147483646 w 154"/>
              <a:gd name="T45" fmla="*/ 2147483646 h 225"/>
              <a:gd name="T46" fmla="*/ 2147483646 w 154"/>
              <a:gd name="T47" fmla="*/ 2147483646 h 225"/>
              <a:gd name="T48" fmla="*/ 2147483646 w 154"/>
              <a:gd name="T49" fmla="*/ 2147483646 h 225"/>
              <a:gd name="T50" fmla="*/ 2147483646 w 154"/>
              <a:gd name="T51" fmla="*/ 2147483646 h 225"/>
              <a:gd name="T52" fmla="*/ 2147483646 w 154"/>
              <a:gd name="T53" fmla="*/ 2147483646 h 225"/>
              <a:gd name="T54" fmla="*/ 2147483646 w 154"/>
              <a:gd name="T55" fmla="*/ 2147483646 h 225"/>
              <a:gd name="T56" fmla="*/ 2147483646 w 154"/>
              <a:gd name="T57" fmla="*/ 2147483646 h 225"/>
              <a:gd name="T58" fmla="*/ 2147483646 w 154"/>
              <a:gd name="T59" fmla="*/ 2147483646 h 225"/>
              <a:gd name="T60" fmla="*/ 2147483646 w 154"/>
              <a:gd name="T61" fmla="*/ 2147483646 h 225"/>
              <a:gd name="T62" fmla="*/ 2147483646 w 154"/>
              <a:gd name="T63" fmla="*/ 2147483646 h 225"/>
              <a:gd name="T64" fmla="*/ 2147483646 w 154"/>
              <a:gd name="T65" fmla="*/ 2147483646 h 225"/>
              <a:gd name="T66" fmla="*/ 2147483646 w 154"/>
              <a:gd name="T67" fmla="*/ 2147483646 h 225"/>
              <a:gd name="T68" fmla="*/ 2147483646 w 154"/>
              <a:gd name="T69" fmla="*/ 2147483646 h 225"/>
              <a:gd name="T70" fmla="*/ 2147483646 w 154"/>
              <a:gd name="T71" fmla="*/ 2147483646 h 225"/>
              <a:gd name="T72" fmla="*/ 2147483646 w 154"/>
              <a:gd name="T73" fmla="*/ 2147483646 h 225"/>
              <a:gd name="T74" fmla="*/ 2147483646 w 154"/>
              <a:gd name="T75" fmla="*/ 2147483646 h 225"/>
              <a:gd name="T76" fmla="*/ 2147483646 w 154"/>
              <a:gd name="T77" fmla="*/ 2147483646 h 225"/>
              <a:gd name="T78" fmla="*/ 2147483646 w 154"/>
              <a:gd name="T79" fmla="*/ 2147483646 h 22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54"/>
              <a:gd name="T121" fmla="*/ 0 h 225"/>
              <a:gd name="T122" fmla="*/ 154 w 154"/>
              <a:gd name="T123" fmla="*/ 225 h 22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54" h="225">
                <a:moveTo>
                  <a:pt x="133" y="67"/>
                </a:moveTo>
                <a:cubicBezTo>
                  <a:pt x="127" y="68"/>
                  <a:pt x="120" y="56"/>
                  <a:pt x="117" y="55"/>
                </a:cubicBezTo>
                <a:cubicBezTo>
                  <a:pt x="114" y="54"/>
                  <a:pt x="101" y="49"/>
                  <a:pt x="94" y="45"/>
                </a:cubicBezTo>
                <a:cubicBezTo>
                  <a:pt x="87" y="42"/>
                  <a:pt x="102" y="26"/>
                  <a:pt x="82" y="21"/>
                </a:cubicBezTo>
                <a:cubicBezTo>
                  <a:pt x="63" y="16"/>
                  <a:pt x="63" y="6"/>
                  <a:pt x="49" y="0"/>
                </a:cubicBezTo>
                <a:cubicBezTo>
                  <a:pt x="49" y="1"/>
                  <a:pt x="49" y="1"/>
                  <a:pt x="49" y="1"/>
                </a:cubicBezTo>
                <a:cubicBezTo>
                  <a:pt x="47" y="9"/>
                  <a:pt x="35" y="13"/>
                  <a:pt x="29" y="20"/>
                </a:cubicBezTo>
                <a:cubicBezTo>
                  <a:pt x="26" y="23"/>
                  <a:pt x="19" y="30"/>
                  <a:pt x="19" y="34"/>
                </a:cubicBezTo>
                <a:cubicBezTo>
                  <a:pt x="19" y="41"/>
                  <a:pt x="29" y="38"/>
                  <a:pt x="31" y="46"/>
                </a:cubicBezTo>
                <a:cubicBezTo>
                  <a:pt x="32" y="55"/>
                  <a:pt x="14" y="57"/>
                  <a:pt x="8" y="61"/>
                </a:cubicBezTo>
                <a:cubicBezTo>
                  <a:pt x="3" y="64"/>
                  <a:pt x="0" y="66"/>
                  <a:pt x="0" y="72"/>
                </a:cubicBezTo>
                <a:cubicBezTo>
                  <a:pt x="1" y="76"/>
                  <a:pt x="4" y="79"/>
                  <a:pt x="5" y="81"/>
                </a:cubicBezTo>
                <a:cubicBezTo>
                  <a:pt x="6" y="83"/>
                  <a:pt x="5" y="87"/>
                  <a:pt x="6" y="89"/>
                </a:cubicBezTo>
                <a:cubicBezTo>
                  <a:pt x="8" y="93"/>
                  <a:pt x="13" y="91"/>
                  <a:pt x="17" y="94"/>
                </a:cubicBezTo>
                <a:cubicBezTo>
                  <a:pt x="22" y="97"/>
                  <a:pt x="28" y="105"/>
                  <a:pt x="32" y="109"/>
                </a:cubicBezTo>
                <a:cubicBezTo>
                  <a:pt x="38" y="108"/>
                  <a:pt x="45" y="103"/>
                  <a:pt x="49" y="110"/>
                </a:cubicBezTo>
                <a:cubicBezTo>
                  <a:pt x="52" y="115"/>
                  <a:pt x="50" y="118"/>
                  <a:pt x="50" y="122"/>
                </a:cubicBezTo>
                <a:cubicBezTo>
                  <a:pt x="50" y="127"/>
                  <a:pt x="51" y="129"/>
                  <a:pt x="52" y="134"/>
                </a:cubicBezTo>
                <a:cubicBezTo>
                  <a:pt x="60" y="134"/>
                  <a:pt x="65" y="137"/>
                  <a:pt x="63" y="145"/>
                </a:cubicBezTo>
                <a:cubicBezTo>
                  <a:pt x="62" y="150"/>
                  <a:pt x="60" y="151"/>
                  <a:pt x="56" y="155"/>
                </a:cubicBezTo>
                <a:cubicBezTo>
                  <a:pt x="52" y="159"/>
                  <a:pt x="51" y="162"/>
                  <a:pt x="51" y="167"/>
                </a:cubicBezTo>
                <a:cubicBezTo>
                  <a:pt x="49" y="177"/>
                  <a:pt x="56" y="178"/>
                  <a:pt x="59" y="187"/>
                </a:cubicBezTo>
                <a:cubicBezTo>
                  <a:pt x="60" y="194"/>
                  <a:pt x="63" y="203"/>
                  <a:pt x="68" y="208"/>
                </a:cubicBezTo>
                <a:cubicBezTo>
                  <a:pt x="70" y="212"/>
                  <a:pt x="77" y="218"/>
                  <a:pt x="80" y="221"/>
                </a:cubicBezTo>
                <a:cubicBezTo>
                  <a:pt x="87" y="225"/>
                  <a:pt x="98" y="217"/>
                  <a:pt x="104" y="214"/>
                </a:cubicBezTo>
                <a:cubicBezTo>
                  <a:pt x="111" y="210"/>
                  <a:pt x="116" y="206"/>
                  <a:pt x="123" y="203"/>
                </a:cubicBezTo>
                <a:cubicBezTo>
                  <a:pt x="127" y="202"/>
                  <a:pt x="131" y="203"/>
                  <a:pt x="134" y="201"/>
                </a:cubicBezTo>
                <a:cubicBezTo>
                  <a:pt x="137" y="200"/>
                  <a:pt x="140" y="197"/>
                  <a:pt x="143" y="195"/>
                </a:cubicBezTo>
                <a:cubicBezTo>
                  <a:pt x="147" y="194"/>
                  <a:pt x="151" y="195"/>
                  <a:pt x="154" y="192"/>
                </a:cubicBezTo>
                <a:cubicBezTo>
                  <a:pt x="148" y="185"/>
                  <a:pt x="140" y="179"/>
                  <a:pt x="135" y="171"/>
                </a:cubicBezTo>
                <a:cubicBezTo>
                  <a:pt x="131" y="166"/>
                  <a:pt x="130" y="159"/>
                  <a:pt x="126" y="154"/>
                </a:cubicBezTo>
                <a:cubicBezTo>
                  <a:pt x="124" y="151"/>
                  <a:pt x="122" y="148"/>
                  <a:pt x="121" y="145"/>
                </a:cubicBezTo>
                <a:cubicBezTo>
                  <a:pt x="116" y="145"/>
                  <a:pt x="112" y="146"/>
                  <a:pt x="108" y="143"/>
                </a:cubicBezTo>
                <a:cubicBezTo>
                  <a:pt x="103" y="139"/>
                  <a:pt x="104" y="131"/>
                  <a:pt x="106" y="126"/>
                </a:cubicBezTo>
                <a:cubicBezTo>
                  <a:pt x="108" y="121"/>
                  <a:pt x="110" y="117"/>
                  <a:pt x="112" y="111"/>
                </a:cubicBezTo>
                <a:cubicBezTo>
                  <a:pt x="113" y="107"/>
                  <a:pt x="114" y="105"/>
                  <a:pt x="119" y="103"/>
                </a:cubicBezTo>
                <a:cubicBezTo>
                  <a:pt x="122" y="103"/>
                  <a:pt x="122" y="102"/>
                  <a:pt x="124" y="102"/>
                </a:cubicBezTo>
                <a:cubicBezTo>
                  <a:pt x="126" y="101"/>
                  <a:pt x="129" y="103"/>
                  <a:pt x="131" y="102"/>
                </a:cubicBezTo>
                <a:cubicBezTo>
                  <a:pt x="134" y="99"/>
                  <a:pt x="133" y="92"/>
                  <a:pt x="133" y="88"/>
                </a:cubicBezTo>
                <a:cubicBezTo>
                  <a:pt x="133" y="81"/>
                  <a:pt x="134" y="74"/>
                  <a:pt x="133" y="6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Freeform 378"/>
          <p:cNvSpPr>
            <a:spLocks/>
          </p:cNvSpPr>
          <p:nvPr userDrawn="1"/>
        </p:nvSpPr>
        <p:spPr bwMode="auto">
          <a:xfrm>
            <a:off x="3792112" y="4840489"/>
            <a:ext cx="386947" cy="333343"/>
          </a:xfrm>
          <a:custGeom>
            <a:avLst/>
            <a:gdLst>
              <a:gd name="T0" fmla="*/ 2147483646 w 415"/>
              <a:gd name="T1" fmla="*/ 2147483646 h 358"/>
              <a:gd name="T2" fmla="*/ 2147483646 w 415"/>
              <a:gd name="T3" fmla="*/ 2147483646 h 358"/>
              <a:gd name="T4" fmla="*/ 0 w 415"/>
              <a:gd name="T5" fmla="*/ 2147483646 h 358"/>
              <a:gd name="T6" fmla="*/ 2147483646 w 415"/>
              <a:gd name="T7" fmla="*/ 2147483646 h 358"/>
              <a:gd name="T8" fmla="*/ 2147483646 w 415"/>
              <a:gd name="T9" fmla="*/ 2147483646 h 358"/>
              <a:gd name="T10" fmla="*/ 2147483646 w 415"/>
              <a:gd name="T11" fmla="*/ 2147483646 h 358"/>
              <a:gd name="T12" fmla="*/ 2147483646 w 415"/>
              <a:gd name="T13" fmla="*/ 2147483646 h 358"/>
              <a:gd name="T14" fmla="*/ 2147483646 w 415"/>
              <a:gd name="T15" fmla="*/ 2147483646 h 358"/>
              <a:gd name="T16" fmla="*/ 2147483646 w 415"/>
              <a:gd name="T17" fmla="*/ 2147483646 h 358"/>
              <a:gd name="T18" fmla="*/ 2147483646 w 415"/>
              <a:gd name="T19" fmla="*/ 2147483646 h 358"/>
              <a:gd name="T20" fmla="*/ 2147483646 w 415"/>
              <a:gd name="T21" fmla="*/ 2147483646 h 358"/>
              <a:gd name="T22" fmla="*/ 2147483646 w 415"/>
              <a:gd name="T23" fmla="*/ 2147483646 h 358"/>
              <a:gd name="T24" fmla="*/ 2147483646 w 415"/>
              <a:gd name="T25" fmla="*/ 2147483646 h 358"/>
              <a:gd name="T26" fmla="*/ 2147483646 w 415"/>
              <a:gd name="T27" fmla="*/ 2147483646 h 358"/>
              <a:gd name="T28" fmla="*/ 2147483646 w 415"/>
              <a:gd name="T29" fmla="*/ 2147483646 h 358"/>
              <a:gd name="T30" fmla="*/ 2147483646 w 415"/>
              <a:gd name="T31" fmla="*/ 2147483646 h 358"/>
              <a:gd name="T32" fmla="*/ 2147483646 w 415"/>
              <a:gd name="T33" fmla="*/ 2147483646 h 358"/>
              <a:gd name="T34" fmla="*/ 2147483646 w 415"/>
              <a:gd name="T35" fmla="*/ 2147483646 h 358"/>
              <a:gd name="T36" fmla="*/ 2147483646 w 415"/>
              <a:gd name="T37" fmla="*/ 2147483646 h 358"/>
              <a:gd name="T38" fmla="*/ 2147483646 w 415"/>
              <a:gd name="T39" fmla="*/ 2147483646 h 358"/>
              <a:gd name="T40" fmla="*/ 2147483646 w 415"/>
              <a:gd name="T41" fmla="*/ 2147483646 h 358"/>
              <a:gd name="T42" fmla="*/ 2147483646 w 415"/>
              <a:gd name="T43" fmla="*/ 2147483646 h 358"/>
              <a:gd name="T44" fmla="*/ 2147483646 w 415"/>
              <a:gd name="T45" fmla="*/ 2147483646 h 358"/>
              <a:gd name="T46" fmla="*/ 2147483646 w 415"/>
              <a:gd name="T47" fmla="*/ 2147483646 h 358"/>
              <a:gd name="T48" fmla="*/ 2147483646 w 415"/>
              <a:gd name="T49" fmla="*/ 2147483646 h 358"/>
              <a:gd name="T50" fmla="*/ 2147483646 w 415"/>
              <a:gd name="T51" fmla="*/ 2147483646 h 358"/>
              <a:gd name="T52" fmla="*/ 2147483646 w 415"/>
              <a:gd name="T53" fmla="*/ 2147483646 h 358"/>
              <a:gd name="T54" fmla="*/ 2147483646 w 415"/>
              <a:gd name="T55" fmla="*/ 2147483646 h 358"/>
              <a:gd name="T56" fmla="*/ 2147483646 w 415"/>
              <a:gd name="T57" fmla="*/ 2147483646 h 358"/>
              <a:gd name="T58" fmla="*/ 2147483646 w 415"/>
              <a:gd name="T59" fmla="*/ 2147483646 h 358"/>
              <a:gd name="T60" fmla="*/ 2147483646 w 415"/>
              <a:gd name="T61" fmla="*/ 2147483646 h 358"/>
              <a:gd name="T62" fmla="*/ 2147483646 w 415"/>
              <a:gd name="T63" fmla="*/ 2147483646 h 358"/>
              <a:gd name="T64" fmla="*/ 2147483646 w 415"/>
              <a:gd name="T65" fmla="*/ 2147483646 h 358"/>
              <a:gd name="T66" fmla="*/ 2147483646 w 415"/>
              <a:gd name="T67" fmla="*/ 2147483646 h 358"/>
              <a:gd name="T68" fmla="*/ 2147483646 w 415"/>
              <a:gd name="T69" fmla="*/ 2147483646 h 358"/>
              <a:gd name="T70" fmla="*/ 2147483646 w 415"/>
              <a:gd name="T71" fmla="*/ 2147483646 h 358"/>
              <a:gd name="T72" fmla="*/ 2147483646 w 415"/>
              <a:gd name="T73" fmla="*/ 2147483646 h 358"/>
              <a:gd name="T74" fmla="*/ 2147483646 w 415"/>
              <a:gd name="T75" fmla="*/ 2147483646 h 358"/>
              <a:gd name="T76" fmla="*/ 2147483646 w 415"/>
              <a:gd name="T77" fmla="*/ 2147483646 h 358"/>
              <a:gd name="T78" fmla="*/ 2147483646 w 415"/>
              <a:gd name="T79" fmla="*/ 2147483646 h 35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415"/>
              <a:gd name="T121" fmla="*/ 0 h 358"/>
              <a:gd name="T122" fmla="*/ 415 w 415"/>
              <a:gd name="T123" fmla="*/ 358 h 358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415" h="358">
                <a:moveTo>
                  <a:pt x="37" y="28"/>
                </a:moveTo>
                <a:cubicBezTo>
                  <a:pt x="33" y="35"/>
                  <a:pt x="23" y="39"/>
                  <a:pt x="20" y="47"/>
                </a:cubicBezTo>
                <a:cubicBezTo>
                  <a:pt x="19" y="49"/>
                  <a:pt x="21" y="51"/>
                  <a:pt x="20" y="53"/>
                </a:cubicBezTo>
                <a:cubicBezTo>
                  <a:pt x="18" y="56"/>
                  <a:pt x="15" y="58"/>
                  <a:pt x="13" y="61"/>
                </a:cubicBezTo>
                <a:cubicBezTo>
                  <a:pt x="9" y="68"/>
                  <a:pt x="10" y="77"/>
                  <a:pt x="9" y="85"/>
                </a:cubicBezTo>
                <a:cubicBezTo>
                  <a:pt x="8" y="92"/>
                  <a:pt x="1" y="95"/>
                  <a:pt x="0" y="101"/>
                </a:cubicBezTo>
                <a:cubicBezTo>
                  <a:pt x="5" y="104"/>
                  <a:pt x="11" y="98"/>
                  <a:pt x="16" y="102"/>
                </a:cubicBezTo>
                <a:cubicBezTo>
                  <a:pt x="24" y="107"/>
                  <a:pt x="17" y="117"/>
                  <a:pt x="18" y="123"/>
                </a:cubicBezTo>
                <a:cubicBezTo>
                  <a:pt x="19" y="131"/>
                  <a:pt x="27" y="130"/>
                  <a:pt x="29" y="136"/>
                </a:cubicBezTo>
                <a:cubicBezTo>
                  <a:pt x="32" y="143"/>
                  <a:pt x="29" y="147"/>
                  <a:pt x="27" y="153"/>
                </a:cubicBezTo>
                <a:cubicBezTo>
                  <a:pt x="23" y="169"/>
                  <a:pt x="39" y="173"/>
                  <a:pt x="52" y="170"/>
                </a:cubicBezTo>
                <a:cubicBezTo>
                  <a:pt x="64" y="167"/>
                  <a:pt x="75" y="163"/>
                  <a:pt x="88" y="167"/>
                </a:cubicBezTo>
                <a:cubicBezTo>
                  <a:pt x="96" y="169"/>
                  <a:pt x="107" y="170"/>
                  <a:pt x="110" y="178"/>
                </a:cubicBezTo>
                <a:cubicBezTo>
                  <a:pt x="111" y="184"/>
                  <a:pt x="111" y="194"/>
                  <a:pt x="117" y="198"/>
                </a:cubicBezTo>
                <a:cubicBezTo>
                  <a:pt x="122" y="201"/>
                  <a:pt x="132" y="195"/>
                  <a:pt x="137" y="193"/>
                </a:cubicBezTo>
                <a:cubicBezTo>
                  <a:pt x="148" y="189"/>
                  <a:pt x="166" y="182"/>
                  <a:pt x="176" y="189"/>
                </a:cubicBezTo>
                <a:cubicBezTo>
                  <a:pt x="180" y="192"/>
                  <a:pt x="181" y="194"/>
                  <a:pt x="178" y="199"/>
                </a:cubicBezTo>
                <a:cubicBezTo>
                  <a:pt x="177" y="202"/>
                  <a:pt x="173" y="205"/>
                  <a:pt x="171" y="209"/>
                </a:cubicBezTo>
                <a:cubicBezTo>
                  <a:pt x="168" y="213"/>
                  <a:pt x="167" y="220"/>
                  <a:pt x="167" y="226"/>
                </a:cubicBezTo>
                <a:cubicBezTo>
                  <a:pt x="168" y="235"/>
                  <a:pt x="174" y="239"/>
                  <a:pt x="177" y="248"/>
                </a:cubicBezTo>
                <a:cubicBezTo>
                  <a:pt x="178" y="252"/>
                  <a:pt x="175" y="256"/>
                  <a:pt x="175" y="260"/>
                </a:cubicBezTo>
                <a:cubicBezTo>
                  <a:pt x="176" y="264"/>
                  <a:pt x="180" y="266"/>
                  <a:pt x="183" y="269"/>
                </a:cubicBezTo>
                <a:cubicBezTo>
                  <a:pt x="192" y="280"/>
                  <a:pt x="185" y="282"/>
                  <a:pt x="179" y="290"/>
                </a:cubicBezTo>
                <a:cubicBezTo>
                  <a:pt x="171" y="300"/>
                  <a:pt x="184" y="297"/>
                  <a:pt x="188" y="304"/>
                </a:cubicBezTo>
                <a:cubicBezTo>
                  <a:pt x="191" y="308"/>
                  <a:pt x="192" y="315"/>
                  <a:pt x="194" y="320"/>
                </a:cubicBezTo>
                <a:cubicBezTo>
                  <a:pt x="196" y="325"/>
                  <a:pt x="198" y="330"/>
                  <a:pt x="200" y="335"/>
                </a:cubicBezTo>
                <a:cubicBezTo>
                  <a:pt x="201" y="338"/>
                  <a:pt x="202" y="344"/>
                  <a:pt x="205" y="346"/>
                </a:cubicBezTo>
                <a:cubicBezTo>
                  <a:pt x="210" y="349"/>
                  <a:pt x="213" y="345"/>
                  <a:pt x="217" y="345"/>
                </a:cubicBezTo>
                <a:cubicBezTo>
                  <a:pt x="227" y="345"/>
                  <a:pt x="228" y="358"/>
                  <a:pt x="238" y="352"/>
                </a:cubicBezTo>
                <a:cubicBezTo>
                  <a:pt x="241" y="350"/>
                  <a:pt x="242" y="346"/>
                  <a:pt x="246" y="348"/>
                </a:cubicBezTo>
                <a:cubicBezTo>
                  <a:pt x="249" y="350"/>
                  <a:pt x="249" y="355"/>
                  <a:pt x="250" y="357"/>
                </a:cubicBezTo>
                <a:cubicBezTo>
                  <a:pt x="255" y="353"/>
                  <a:pt x="259" y="345"/>
                  <a:pt x="265" y="340"/>
                </a:cubicBezTo>
                <a:cubicBezTo>
                  <a:pt x="271" y="336"/>
                  <a:pt x="277" y="334"/>
                  <a:pt x="283" y="330"/>
                </a:cubicBezTo>
                <a:cubicBezTo>
                  <a:pt x="293" y="324"/>
                  <a:pt x="298" y="313"/>
                  <a:pt x="309" y="309"/>
                </a:cubicBezTo>
                <a:cubicBezTo>
                  <a:pt x="308" y="302"/>
                  <a:pt x="291" y="299"/>
                  <a:pt x="285" y="296"/>
                </a:cubicBezTo>
                <a:cubicBezTo>
                  <a:pt x="297" y="295"/>
                  <a:pt x="283" y="285"/>
                  <a:pt x="279" y="279"/>
                </a:cubicBezTo>
                <a:cubicBezTo>
                  <a:pt x="274" y="271"/>
                  <a:pt x="268" y="258"/>
                  <a:pt x="269" y="248"/>
                </a:cubicBezTo>
                <a:cubicBezTo>
                  <a:pt x="271" y="227"/>
                  <a:pt x="300" y="263"/>
                  <a:pt x="301" y="248"/>
                </a:cubicBezTo>
                <a:cubicBezTo>
                  <a:pt x="305" y="250"/>
                  <a:pt x="306" y="255"/>
                  <a:pt x="308" y="259"/>
                </a:cubicBezTo>
                <a:cubicBezTo>
                  <a:pt x="311" y="258"/>
                  <a:pt x="314" y="252"/>
                  <a:pt x="318" y="253"/>
                </a:cubicBezTo>
                <a:cubicBezTo>
                  <a:pt x="322" y="253"/>
                  <a:pt x="326" y="262"/>
                  <a:pt x="329" y="265"/>
                </a:cubicBezTo>
                <a:cubicBezTo>
                  <a:pt x="332" y="259"/>
                  <a:pt x="333" y="245"/>
                  <a:pt x="340" y="242"/>
                </a:cubicBezTo>
                <a:cubicBezTo>
                  <a:pt x="345" y="240"/>
                  <a:pt x="346" y="243"/>
                  <a:pt x="351" y="244"/>
                </a:cubicBezTo>
                <a:cubicBezTo>
                  <a:pt x="359" y="247"/>
                  <a:pt x="368" y="240"/>
                  <a:pt x="374" y="234"/>
                </a:cubicBezTo>
                <a:cubicBezTo>
                  <a:pt x="379" y="230"/>
                  <a:pt x="386" y="227"/>
                  <a:pt x="390" y="222"/>
                </a:cubicBezTo>
                <a:cubicBezTo>
                  <a:pt x="392" y="219"/>
                  <a:pt x="392" y="215"/>
                  <a:pt x="393" y="211"/>
                </a:cubicBezTo>
                <a:cubicBezTo>
                  <a:pt x="393" y="209"/>
                  <a:pt x="393" y="209"/>
                  <a:pt x="393" y="209"/>
                </a:cubicBezTo>
                <a:cubicBezTo>
                  <a:pt x="390" y="206"/>
                  <a:pt x="386" y="201"/>
                  <a:pt x="383" y="199"/>
                </a:cubicBezTo>
                <a:cubicBezTo>
                  <a:pt x="379" y="197"/>
                  <a:pt x="374" y="199"/>
                  <a:pt x="372" y="195"/>
                </a:cubicBezTo>
                <a:cubicBezTo>
                  <a:pt x="371" y="193"/>
                  <a:pt x="371" y="188"/>
                  <a:pt x="370" y="186"/>
                </a:cubicBezTo>
                <a:cubicBezTo>
                  <a:pt x="369" y="184"/>
                  <a:pt x="366" y="182"/>
                  <a:pt x="366" y="178"/>
                </a:cubicBezTo>
                <a:cubicBezTo>
                  <a:pt x="366" y="172"/>
                  <a:pt x="369" y="169"/>
                  <a:pt x="373" y="167"/>
                </a:cubicBezTo>
                <a:cubicBezTo>
                  <a:pt x="379" y="163"/>
                  <a:pt x="398" y="161"/>
                  <a:pt x="396" y="151"/>
                </a:cubicBezTo>
                <a:cubicBezTo>
                  <a:pt x="394" y="144"/>
                  <a:pt x="384" y="146"/>
                  <a:pt x="384" y="140"/>
                </a:cubicBezTo>
                <a:cubicBezTo>
                  <a:pt x="384" y="135"/>
                  <a:pt x="392" y="129"/>
                  <a:pt x="394" y="126"/>
                </a:cubicBezTo>
                <a:cubicBezTo>
                  <a:pt x="400" y="118"/>
                  <a:pt x="413" y="115"/>
                  <a:pt x="415" y="105"/>
                </a:cubicBezTo>
                <a:cubicBezTo>
                  <a:pt x="412" y="104"/>
                  <a:pt x="412" y="104"/>
                  <a:pt x="412" y="104"/>
                </a:cubicBezTo>
                <a:cubicBezTo>
                  <a:pt x="394" y="98"/>
                  <a:pt x="348" y="114"/>
                  <a:pt x="361" y="103"/>
                </a:cubicBezTo>
                <a:cubicBezTo>
                  <a:pt x="374" y="91"/>
                  <a:pt x="388" y="75"/>
                  <a:pt x="374" y="71"/>
                </a:cubicBezTo>
                <a:cubicBezTo>
                  <a:pt x="360" y="68"/>
                  <a:pt x="346" y="63"/>
                  <a:pt x="337" y="60"/>
                </a:cubicBezTo>
                <a:cubicBezTo>
                  <a:pt x="327" y="57"/>
                  <a:pt x="320" y="55"/>
                  <a:pt x="320" y="50"/>
                </a:cubicBezTo>
                <a:cubicBezTo>
                  <a:pt x="320" y="45"/>
                  <a:pt x="310" y="44"/>
                  <a:pt x="307" y="44"/>
                </a:cubicBezTo>
                <a:cubicBezTo>
                  <a:pt x="304" y="44"/>
                  <a:pt x="291" y="45"/>
                  <a:pt x="279" y="52"/>
                </a:cubicBezTo>
                <a:cubicBezTo>
                  <a:pt x="267" y="58"/>
                  <a:pt x="261" y="64"/>
                  <a:pt x="252" y="63"/>
                </a:cubicBezTo>
                <a:cubicBezTo>
                  <a:pt x="242" y="62"/>
                  <a:pt x="226" y="55"/>
                  <a:pt x="216" y="52"/>
                </a:cubicBezTo>
                <a:cubicBezTo>
                  <a:pt x="207" y="49"/>
                  <a:pt x="205" y="46"/>
                  <a:pt x="186" y="51"/>
                </a:cubicBezTo>
                <a:cubicBezTo>
                  <a:pt x="167" y="56"/>
                  <a:pt x="157" y="68"/>
                  <a:pt x="154" y="51"/>
                </a:cubicBezTo>
                <a:cubicBezTo>
                  <a:pt x="150" y="34"/>
                  <a:pt x="149" y="30"/>
                  <a:pt x="135" y="27"/>
                </a:cubicBezTo>
                <a:cubicBezTo>
                  <a:pt x="121" y="25"/>
                  <a:pt x="106" y="36"/>
                  <a:pt x="102" y="22"/>
                </a:cubicBezTo>
                <a:cubicBezTo>
                  <a:pt x="99" y="7"/>
                  <a:pt x="90" y="0"/>
                  <a:pt x="89" y="9"/>
                </a:cubicBezTo>
                <a:cubicBezTo>
                  <a:pt x="88" y="19"/>
                  <a:pt x="97" y="35"/>
                  <a:pt x="84" y="35"/>
                </a:cubicBezTo>
                <a:cubicBezTo>
                  <a:pt x="71" y="36"/>
                  <a:pt x="57" y="33"/>
                  <a:pt x="56" y="47"/>
                </a:cubicBezTo>
                <a:cubicBezTo>
                  <a:pt x="56" y="60"/>
                  <a:pt x="62" y="64"/>
                  <a:pt x="66" y="72"/>
                </a:cubicBezTo>
                <a:cubicBezTo>
                  <a:pt x="70" y="80"/>
                  <a:pt x="79" y="93"/>
                  <a:pt x="67" y="95"/>
                </a:cubicBezTo>
                <a:cubicBezTo>
                  <a:pt x="56" y="98"/>
                  <a:pt x="53" y="106"/>
                  <a:pt x="48" y="100"/>
                </a:cubicBezTo>
                <a:cubicBezTo>
                  <a:pt x="44" y="95"/>
                  <a:pt x="48" y="87"/>
                  <a:pt x="43" y="84"/>
                </a:cubicBezTo>
                <a:cubicBezTo>
                  <a:pt x="37" y="81"/>
                  <a:pt x="34" y="77"/>
                  <a:pt x="34" y="77"/>
                </a:cubicBezTo>
                <a:cubicBezTo>
                  <a:pt x="47" y="62"/>
                  <a:pt x="47" y="62"/>
                  <a:pt x="47" y="62"/>
                </a:cubicBezTo>
                <a:cubicBezTo>
                  <a:pt x="47" y="62"/>
                  <a:pt x="52" y="50"/>
                  <a:pt x="47" y="44"/>
                </a:cubicBezTo>
                <a:cubicBezTo>
                  <a:pt x="41" y="38"/>
                  <a:pt x="34" y="31"/>
                  <a:pt x="40" y="2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Freeform 379"/>
          <p:cNvSpPr>
            <a:spLocks/>
          </p:cNvSpPr>
          <p:nvPr userDrawn="1"/>
        </p:nvSpPr>
        <p:spPr bwMode="auto">
          <a:xfrm>
            <a:off x="3792112" y="4840489"/>
            <a:ext cx="386947" cy="333343"/>
          </a:xfrm>
          <a:custGeom>
            <a:avLst/>
            <a:gdLst>
              <a:gd name="T0" fmla="*/ 2147483646 w 415"/>
              <a:gd name="T1" fmla="*/ 2147483646 h 358"/>
              <a:gd name="T2" fmla="*/ 2147483646 w 415"/>
              <a:gd name="T3" fmla="*/ 2147483646 h 358"/>
              <a:gd name="T4" fmla="*/ 0 w 415"/>
              <a:gd name="T5" fmla="*/ 2147483646 h 358"/>
              <a:gd name="T6" fmla="*/ 2147483646 w 415"/>
              <a:gd name="T7" fmla="*/ 2147483646 h 358"/>
              <a:gd name="T8" fmla="*/ 2147483646 w 415"/>
              <a:gd name="T9" fmla="*/ 2147483646 h 358"/>
              <a:gd name="T10" fmla="*/ 2147483646 w 415"/>
              <a:gd name="T11" fmla="*/ 2147483646 h 358"/>
              <a:gd name="T12" fmla="*/ 2147483646 w 415"/>
              <a:gd name="T13" fmla="*/ 2147483646 h 358"/>
              <a:gd name="T14" fmla="*/ 2147483646 w 415"/>
              <a:gd name="T15" fmla="*/ 2147483646 h 358"/>
              <a:gd name="T16" fmla="*/ 2147483646 w 415"/>
              <a:gd name="T17" fmla="*/ 2147483646 h 358"/>
              <a:gd name="T18" fmla="*/ 2147483646 w 415"/>
              <a:gd name="T19" fmla="*/ 2147483646 h 358"/>
              <a:gd name="T20" fmla="*/ 2147483646 w 415"/>
              <a:gd name="T21" fmla="*/ 2147483646 h 358"/>
              <a:gd name="T22" fmla="*/ 2147483646 w 415"/>
              <a:gd name="T23" fmla="*/ 2147483646 h 358"/>
              <a:gd name="T24" fmla="*/ 2147483646 w 415"/>
              <a:gd name="T25" fmla="*/ 2147483646 h 358"/>
              <a:gd name="T26" fmla="*/ 2147483646 w 415"/>
              <a:gd name="T27" fmla="*/ 2147483646 h 358"/>
              <a:gd name="T28" fmla="*/ 2147483646 w 415"/>
              <a:gd name="T29" fmla="*/ 2147483646 h 358"/>
              <a:gd name="T30" fmla="*/ 2147483646 w 415"/>
              <a:gd name="T31" fmla="*/ 2147483646 h 358"/>
              <a:gd name="T32" fmla="*/ 2147483646 w 415"/>
              <a:gd name="T33" fmla="*/ 2147483646 h 358"/>
              <a:gd name="T34" fmla="*/ 2147483646 w 415"/>
              <a:gd name="T35" fmla="*/ 2147483646 h 358"/>
              <a:gd name="T36" fmla="*/ 2147483646 w 415"/>
              <a:gd name="T37" fmla="*/ 2147483646 h 358"/>
              <a:gd name="T38" fmla="*/ 2147483646 w 415"/>
              <a:gd name="T39" fmla="*/ 2147483646 h 358"/>
              <a:gd name="T40" fmla="*/ 2147483646 w 415"/>
              <a:gd name="T41" fmla="*/ 2147483646 h 358"/>
              <a:gd name="T42" fmla="*/ 2147483646 w 415"/>
              <a:gd name="T43" fmla="*/ 2147483646 h 358"/>
              <a:gd name="T44" fmla="*/ 2147483646 w 415"/>
              <a:gd name="T45" fmla="*/ 2147483646 h 358"/>
              <a:gd name="T46" fmla="*/ 2147483646 w 415"/>
              <a:gd name="T47" fmla="*/ 2147483646 h 358"/>
              <a:gd name="T48" fmla="*/ 2147483646 w 415"/>
              <a:gd name="T49" fmla="*/ 2147483646 h 358"/>
              <a:gd name="T50" fmla="*/ 2147483646 w 415"/>
              <a:gd name="T51" fmla="*/ 2147483646 h 358"/>
              <a:gd name="T52" fmla="*/ 2147483646 w 415"/>
              <a:gd name="T53" fmla="*/ 2147483646 h 358"/>
              <a:gd name="T54" fmla="*/ 2147483646 w 415"/>
              <a:gd name="T55" fmla="*/ 2147483646 h 358"/>
              <a:gd name="T56" fmla="*/ 2147483646 w 415"/>
              <a:gd name="T57" fmla="*/ 2147483646 h 358"/>
              <a:gd name="T58" fmla="*/ 2147483646 w 415"/>
              <a:gd name="T59" fmla="*/ 2147483646 h 358"/>
              <a:gd name="T60" fmla="*/ 2147483646 w 415"/>
              <a:gd name="T61" fmla="*/ 2147483646 h 358"/>
              <a:gd name="T62" fmla="*/ 2147483646 w 415"/>
              <a:gd name="T63" fmla="*/ 2147483646 h 358"/>
              <a:gd name="T64" fmla="*/ 2147483646 w 415"/>
              <a:gd name="T65" fmla="*/ 2147483646 h 358"/>
              <a:gd name="T66" fmla="*/ 2147483646 w 415"/>
              <a:gd name="T67" fmla="*/ 2147483646 h 358"/>
              <a:gd name="T68" fmla="*/ 2147483646 w 415"/>
              <a:gd name="T69" fmla="*/ 2147483646 h 358"/>
              <a:gd name="T70" fmla="*/ 2147483646 w 415"/>
              <a:gd name="T71" fmla="*/ 2147483646 h 358"/>
              <a:gd name="T72" fmla="*/ 2147483646 w 415"/>
              <a:gd name="T73" fmla="*/ 2147483646 h 358"/>
              <a:gd name="T74" fmla="*/ 2147483646 w 415"/>
              <a:gd name="T75" fmla="*/ 2147483646 h 358"/>
              <a:gd name="T76" fmla="*/ 2147483646 w 415"/>
              <a:gd name="T77" fmla="*/ 2147483646 h 358"/>
              <a:gd name="T78" fmla="*/ 2147483646 w 415"/>
              <a:gd name="T79" fmla="*/ 2147483646 h 35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415"/>
              <a:gd name="T121" fmla="*/ 0 h 358"/>
              <a:gd name="T122" fmla="*/ 415 w 415"/>
              <a:gd name="T123" fmla="*/ 358 h 358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415" h="358">
                <a:moveTo>
                  <a:pt x="37" y="28"/>
                </a:moveTo>
                <a:cubicBezTo>
                  <a:pt x="33" y="35"/>
                  <a:pt x="23" y="39"/>
                  <a:pt x="20" y="47"/>
                </a:cubicBezTo>
                <a:cubicBezTo>
                  <a:pt x="19" y="49"/>
                  <a:pt x="21" y="51"/>
                  <a:pt x="20" y="53"/>
                </a:cubicBezTo>
                <a:cubicBezTo>
                  <a:pt x="18" y="56"/>
                  <a:pt x="15" y="58"/>
                  <a:pt x="13" y="61"/>
                </a:cubicBezTo>
                <a:cubicBezTo>
                  <a:pt x="9" y="68"/>
                  <a:pt x="10" y="77"/>
                  <a:pt x="9" y="85"/>
                </a:cubicBezTo>
                <a:cubicBezTo>
                  <a:pt x="8" y="92"/>
                  <a:pt x="1" y="95"/>
                  <a:pt x="0" y="101"/>
                </a:cubicBezTo>
                <a:cubicBezTo>
                  <a:pt x="5" y="104"/>
                  <a:pt x="11" y="98"/>
                  <a:pt x="16" y="102"/>
                </a:cubicBezTo>
                <a:cubicBezTo>
                  <a:pt x="24" y="107"/>
                  <a:pt x="17" y="117"/>
                  <a:pt x="18" y="123"/>
                </a:cubicBezTo>
                <a:cubicBezTo>
                  <a:pt x="19" y="131"/>
                  <a:pt x="27" y="130"/>
                  <a:pt x="29" y="136"/>
                </a:cubicBezTo>
                <a:cubicBezTo>
                  <a:pt x="32" y="143"/>
                  <a:pt x="29" y="147"/>
                  <a:pt x="27" y="153"/>
                </a:cubicBezTo>
                <a:cubicBezTo>
                  <a:pt x="23" y="169"/>
                  <a:pt x="39" y="173"/>
                  <a:pt x="52" y="170"/>
                </a:cubicBezTo>
                <a:cubicBezTo>
                  <a:pt x="64" y="167"/>
                  <a:pt x="75" y="163"/>
                  <a:pt x="88" y="167"/>
                </a:cubicBezTo>
                <a:cubicBezTo>
                  <a:pt x="96" y="169"/>
                  <a:pt x="107" y="170"/>
                  <a:pt x="110" y="178"/>
                </a:cubicBezTo>
                <a:cubicBezTo>
                  <a:pt x="111" y="184"/>
                  <a:pt x="111" y="194"/>
                  <a:pt x="117" y="198"/>
                </a:cubicBezTo>
                <a:cubicBezTo>
                  <a:pt x="122" y="201"/>
                  <a:pt x="132" y="195"/>
                  <a:pt x="137" y="193"/>
                </a:cubicBezTo>
                <a:cubicBezTo>
                  <a:pt x="148" y="189"/>
                  <a:pt x="166" y="182"/>
                  <a:pt x="176" y="189"/>
                </a:cubicBezTo>
                <a:cubicBezTo>
                  <a:pt x="180" y="192"/>
                  <a:pt x="181" y="194"/>
                  <a:pt x="178" y="199"/>
                </a:cubicBezTo>
                <a:cubicBezTo>
                  <a:pt x="177" y="202"/>
                  <a:pt x="173" y="205"/>
                  <a:pt x="171" y="209"/>
                </a:cubicBezTo>
                <a:cubicBezTo>
                  <a:pt x="168" y="213"/>
                  <a:pt x="167" y="220"/>
                  <a:pt x="167" y="226"/>
                </a:cubicBezTo>
                <a:cubicBezTo>
                  <a:pt x="168" y="235"/>
                  <a:pt x="174" y="239"/>
                  <a:pt x="177" y="248"/>
                </a:cubicBezTo>
                <a:cubicBezTo>
                  <a:pt x="178" y="252"/>
                  <a:pt x="175" y="256"/>
                  <a:pt x="175" y="260"/>
                </a:cubicBezTo>
                <a:cubicBezTo>
                  <a:pt x="176" y="264"/>
                  <a:pt x="180" y="266"/>
                  <a:pt x="183" y="269"/>
                </a:cubicBezTo>
                <a:cubicBezTo>
                  <a:pt x="192" y="280"/>
                  <a:pt x="185" y="282"/>
                  <a:pt x="179" y="290"/>
                </a:cubicBezTo>
                <a:cubicBezTo>
                  <a:pt x="171" y="300"/>
                  <a:pt x="184" y="297"/>
                  <a:pt x="188" y="304"/>
                </a:cubicBezTo>
                <a:cubicBezTo>
                  <a:pt x="191" y="308"/>
                  <a:pt x="192" y="315"/>
                  <a:pt x="194" y="320"/>
                </a:cubicBezTo>
                <a:cubicBezTo>
                  <a:pt x="196" y="325"/>
                  <a:pt x="198" y="330"/>
                  <a:pt x="200" y="335"/>
                </a:cubicBezTo>
                <a:cubicBezTo>
                  <a:pt x="201" y="338"/>
                  <a:pt x="202" y="344"/>
                  <a:pt x="205" y="346"/>
                </a:cubicBezTo>
                <a:cubicBezTo>
                  <a:pt x="210" y="349"/>
                  <a:pt x="213" y="345"/>
                  <a:pt x="217" y="345"/>
                </a:cubicBezTo>
                <a:cubicBezTo>
                  <a:pt x="227" y="345"/>
                  <a:pt x="228" y="358"/>
                  <a:pt x="238" y="352"/>
                </a:cubicBezTo>
                <a:cubicBezTo>
                  <a:pt x="241" y="350"/>
                  <a:pt x="242" y="346"/>
                  <a:pt x="246" y="348"/>
                </a:cubicBezTo>
                <a:cubicBezTo>
                  <a:pt x="249" y="350"/>
                  <a:pt x="249" y="355"/>
                  <a:pt x="250" y="357"/>
                </a:cubicBezTo>
                <a:cubicBezTo>
                  <a:pt x="255" y="353"/>
                  <a:pt x="259" y="345"/>
                  <a:pt x="265" y="340"/>
                </a:cubicBezTo>
                <a:cubicBezTo>
                  <a:pt x="271" y="336"/>
                  <a:pt x="277" y="334"/>
                  <a:pt x="283" y="330"/>
                </a:cubicBezTo>
                <a:cubicBezTo>
                  <a:pt x="293" y="324"/>
                  <a:pt x="298" y="313"/>
                  <a:pt x="309" y="309"/>
                </a:cubicBezTo>
                <a:cubicBezTo>
                  <a:pt x="308" y="302"/>
                  <a:pt x="291" y="299"/>
                  <a:pt x="285" y="296"/>
                </a:cubicBezTo>
                <a:cubicBezTo>
                  <a:pt x="297" y="295"/>
                  <a:pt x="283" y="285"/>
                  <a:pt x="279" y="279"/>
                </a:cubicBezTo>
                <a:cubicBezTo>
                  <a:pt x="274" y="271"/>
                  <a:pt x="268" y="258"/>
                  <a:pt x="269" y="248"/>
                </a:cubicBezTo>
                <a:cubicBezTo>
                  <a:pt x="271" y="227"/>
                  <a:pt x="300" y="263"/>
                  <a:pt x="301" y="248"/>
                </a:cubicBezTo>
                <a:cubicBezTo>
                  <a:pt x="305" y="250"/>
                  <a:pt x="306" y="255"/>
                  <a:pt x="308" y="259"/>
                </a:cubicBezTo>
                <a:cubicBezTo>
                  <a:pt x="311" y="258"/>
                  <a:pt x="314" y="252"/>
                  <a:pt x="318" y="253"/>
                </a:cubicBezTo>
                <a:cubicBezTo>
                  <a:pt x="322" y="253"/>
                  <a:pt x="326" y="262"/>
                  <a:pt x="329" y="265"/>
                </a:cubicBezTo>
                <a:cubicBezTo>
                  <a:pt x="332" y="259"/>
                  <a:pt x="333" y="245"/>
                  <a:pt x="340" y="242"/>
                </a:cubicBezTo>
                <a:cubicBezTo>
                  <a:pt x="345" y="240"/>
                  <a:pt x="346" y="243"/>
                  <a:pt x="351" y="244"/>
                </a:cubicBezTo>
                <a:cubicBezTo>
                  <a:pt x="359" y="247"/>
                  <a:pt x="368" y="240"/>
                  <a:pt x="374" y="234"/>
                </a:cubicBezTo>
                <a:cubicBezTo>
                  <a:pt x="379" y="230"/>
                  <a:pt x="386" y="227"/>
                  <a:pt x="390" y="222"/>
                </a:cubicBezTo>
                <a:cubicBezTo>
                  <a:pt x="392" y="219"/>
                  <a:pt x="392" y="215"/>
                  <a:pt x="393" y="211"/>
                </a:cubicBezTo>
                <a:cubicBezTo>
                  <a:pt x="393" y="209"/>
                  <a:pt x="393" y="209"/>
                  <a:pt x="393" y="209"/>
                </a:cubicBezTo>
                <a:cubicBezTo>
                  <a:pt x="390" y="206"/>
                  <a:pt x="386" y="201"/>
                  <a:pt x="383" y="199"/>
                </a:cubicBezTo>
                <a:cubicBezTo>
                  <a:pt x="379" y="197"/>
                  <a:pt x="374" y="199"/>
                  <a:pt x="372" y="195"/>
                </a:cubicBezTo>
                <a:cubicBezTo>
                  <a:pt x="371" y="193"/>
                  <a:pt x="371" y="188"/>
                  <a:pt x="370" y="186"/>
                </a:cubicBezTo>
                <a:cubicBezTo>
                  <a:pt x="369" y="184"/>
                  <a:pt x="366" y="182"/>
                  <a:pt x="366" y="178"/>
                </a:cubicBezTo>
                <a:cubicBezTo>
                  <a:pt x="366" y="172"/>
                  <a:pt x="369" y="169"/>
                  <a:pt x="373" y="167"/>
                </a:cubicBezTo>
                <a:cubicBezTo>
                  <a:pt x="379" y="163"/>
                  <a:pt x="398" y="161"/>
                  <a:pt x="396" y="151"/>
                </a:cubicBezTo>
                <a:cubicBezTo>
                  <a:pt x="394" y="144"/>
                  <a:pt x="384" y="146"/>
                  <a:pt x="384" y="140"/>
                </a:cubicBezTo>
                <a:cubicBezTo>
                  <a:pt x="384" y="135"/>
                  <a:pt x="392" y="129"/>
                  <a:pt x="394" y="126"/>
                </a:cubicBezTo>
                <a:cubicBezTo>
                  <a:pt x="400" y="118"/>
                  <a:pt x="413" y="115"/>
                  <a:pt x="415" y="105"/>
                </a:cubicBezTo>
                <a:cubicBezTo>
                  <a:pt x="412" y="104"/>
                  <a:pt x="412" y="104"/>
                  <a:pt x="412" y="104"/>
                </a:cubicBezTo>
                <a:cubicBezTo>
                  <a:pt x="394" y="98"/>
                  <a:pt x="348" y="114"/>
                  <a:pt x="361" y="103"/>
                </a:cubicBezTo>
                <a:cubicBezTo>
                  <a:pt x="374" y="91"/>
                  <a:pt x="388" y="75"/>
                  <a:pt x="374" y="71"/>
                </a:cubicBezTo>
                <a:cubicBezTo>
                  <a:pt x="360" y="68"/>
                  <a:pt x="346" y="63"/>
                  <a:pt x="337" y="60"/>
                </a:cubicBezTo>
                <a:cubicBezTo>
                  <a:pt x="327" y="57"/>
                  <a:pt x="320" y="55"/>
                  <a:pt x="320" y="50"/>
                </a:cubicBezTo>
                <a:cubicBezTo>
                  <a:pt x="320" y="45"/>
                  <a:pt x="310" y="44"/>
                  <a:pt x="307" y="44"/>
                </a:cubicBezTo>
                <a:cubicBezTo>
                  <a:pt x="304" y="44"/>
                  <a:pt x="291" y="45"/>
                  <a:pt x="279" y="52"/>
                </a:cubicBezTo>
                <a:cubicBezTo>
                  <a:pt x="267" y="58"/>
                  <a:pt x="261" y="64"/>
                  <a:pt x="252" y="63"/>
                </a:cubicBezTo>
                <a:cubicBezTo>
                  <a:pt x="242" y="62"/>
                  <a:pt x="226" y="55"/>
                  <a:pt x="216" y="52"/>
                </a:cubicBezTo>
                <a:cubicBezTo>
                  <a:pt x="207" y="49"/>
                  <a:pt x="205" y="46"/>
                  <a:pt x="186" y="51"/>
                </a:cubicBezTo>
                <a:cubicBezTo>
                  <a:pt x="167" y="56"/>
                  <a:pt x="157" y="68"/>
                  <a:pt x="154" y="51"/>
                </a:cubicBezTo>
                <a:cubicBezTo>
                  <a:pt x="150" y="34"/>
                  <a:pt x="149" y="30"/>
                  <a:pt x="135" y="27"/>
                </a:cubicBezTo>
                <a:cubicBezTo>
                  <a:pt x="121" y="25"/>
                  <a:pt x="106" y="36"/>
                  <a:pt x="102" y="22"/>
                </a:cubicBezTo>
                <a:cubicBezTo>
                  <a:pt x="99" y="7"/>
                  <a:pt x="90" y="0"/>
                  <a:pt x="89" y="9"/>
                </a:cubicBezTo>
                <a:cubicBezTo>
                  <a:pt x="88" y="19"/>
                  <a:pt x="97" y="35"/>
                  <a:pt x="84" y="35"/>
                </a:cubicBezTo>
                <a:cubicBezTo>
                  <a:pt x="71" y="36"/>
                  <a:pt x="57" y="33"/>
                  <a:pt x="56" y="47"/>
                </a:cubicBezTo>
                <a:cubicBezTo>
                  <a:pt x="56" y="60"/>
                  <a:pt x="62" y="64"/>
                  <a:pt x="66" y="72"/>
                </a:cubicBezTo>
                <a:cubicBezTo>
                  <a:pt x="70" y="80"/>
                  <a:pt x="79" y="93"/>
                  <a:pt x="67" y="95"/>
                </a:cubicBezTo>
                <a:cubicBezTo>
                  <a:pt x="56" y="98"/>
                  <a:pt x="53" y="106"/>
                  <a:pt x="48" y="100"/>
                </a:cubicBezTo>
                <a:cubicBezTo>
                  <a:pt x="44" y="95"/>
                  <a:pt x="48" y="87"/>
                  <a:pt x="43" y="84"/>
                </a:cubicBezTo>
                <a:cubicBezTo>
                  <a:pt x="37" y="81"/>
                  <a:pt x="34" y="77"/>
                  <a:pt x="34" y="77"/>
                </a:cubicBezTo>
                <a:cubicBezTo>
                  <a:pt x="47" y="62"/>
                  <a:pt x="47" y="62"/>
                  <a:pt x="47" y="62"/>
                </a:cubicBezTo>
                <a:cubicBezTo>
                  <a:pt x="47" y="62"/>
                  <a:pt x="52" y="50"/>
                  <a:pt x="47" y="44"/>
                </a:cubicBezTo>
                <a:cubicBezTo>
                  <a:pt x="41" y="38"/>
                  <a:pt x="34" y="31"/>
                  <a:pt x="40" y="2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Freeform 380"/>
          <p:cNvSpPr>
            <a:spLocks/>
          </p:cNvSpPr>
          <p:nvPr userDrawn="1"/>
        </p:nvSpPr>
        <p:spPr bwMode="auto">
          <a:xfrm>
            <a:off x="4229312" y="4996271"/>
            <a:ext cx="117256" cy="134008"/>
          </a:xfrm>
          <a:custGeom>
            <a:avLst/>
            <a:gdLst>
              <a:gd name="T0" fmla="*/ 2147483646 w 125"/>
              <a:gd name="T1" fmla="*/ 2147483646 h 143"/>
              <a:gd name="T2" fmla="*/ 2147483646 w 125"/>
              <a:gd name="T3" fmla="*/ 2147483646 h 143"/>
              <a:gd name="T4" fmla="*/ 2147483646 w 125"/>
              <a:gd name="T5" fmla="*/ 2147483646 h 143"/>
              <a:gd name="T6" fmla="*/ 2147483646 w 125"/>
              <a:gd name="T7" fmla="*/ 2147483646 h 143"/>
              <a:gd name="T8" fmla="*/ 2147483646 w 125"/>
              <a:gd name="T9" fmla="*/ 2147483646 h 143"/>
              <a:gd name="T10" fmla="*/ 2147483646 w 125"/>
              <a:gd name="T11" fmla="*/ 2147483646 h 143"/>
              <a:gd name="T12" fmla="*/ 2147483646 w 125"/>
              <a:gd name="T13" fmla="*/ 2147483646 h 143"/>
              <a:gd name="T14" fmla="*/ 2147483646 w 125"/>
              <a:gd name="T15" fmla="*/ 2147483646 h 143"/>
              <a:gd name="T16" fmla="*/ 2147483646 w 125"/>
              <a:gd name="T17" fmla="*/ 2147483646 h 143"/>
              <a:gd name="T18" fmla="*/ 2147483646 w 125"/>
              <a:gd name="T19" fmla="*/ 2147483646 h 143"/>
              <a:gd name="T20" fmla="*/ 2147483646 w 125"/>
              <a:gd name="T21" fmla="*/ 2147483646 h 143"/>
              <a:gd name="T22" fmla="*/ 2147483646 w 125"/>
              <a:gd name="T23" fmla="*/ 2147483646 h 143"/>
              <a:gd name="T24" fmla="*/ 2147483646 w 125"/>
              <a:gd name="T25" fmla="*/ 2147483646 h 143"/>
              <a:gd name="T26" fmla="*/ 2147483646 w 125"/>
              <a:gd name="T27" fmla="*/ 2147483646 h 143"/>
              <a:gd name="T28" fmla="*/ 2147483646 w 125"/>
              <a:gd name="T29" fmla="*/ 2147483646 h 143"/>
              <a:gd name="T30" fmla="*/ 2147483646 w 125"/>
              <a:gd name="T31" fmla="*/ 2147483646 h 143"/>
              <a:gd name="T32" fmla="*/ 2147483646 w 125"/>
              <a:gd name="T33" fmla="*/ 2147483646 h 143"/>
              <a:gd name="T34" fmla="*/ 2147483646 w 125"/>
              <a:gd name="T35" fmla="*/ 2147483646 h 143"/>
              <a:gd name="T36" fmla="*/ 2147483646 w 125"/>
              <a:gd name="T37" fmla="*/ 2147483646 h 143"/>
              <a:gd name="T38" fmla="*/ 2147483646 w 125"/>
              <a:gd name="T39" fmla="*/ 2147483646 h 143"/>
              <a:gd name="T40" fmla="*/ 2147483646 w 125"/>
              <a:gd name="T41" fmla="*/ 2147483646 h 143"/>
              <a:gd name="T42" fmla="*/ 2147483646 w 125"/>
              <a:gd name="T43" fmla="*/ 2147483646 h 143"/>
              <a:gd name="T44" fmla="*/ 2147483646 w 125"/>
              <a:gd name="T45" fmla="*/ 2147483646 h 143"/>
              <a:gd name="T46" fmla="*/ 2147483646 w 125"/>
              <a:gd name="T47" fmla="*/ 2147483646 h 143"/>
              <a:gd name="T48" fmla="*/ 2147483646 w 125"/>
              <a:gd name="T49" fmla="*/ 2147483646 h 143"/>
              <a:gd name="T50" fmla="*/ 2147483646 w 125"/>
              <a:gd name="T51" fmla="*/ 2147483646 h 143"/>
              <a:gd name="T52" fmla="*/ 2147483646 w 125"/>
              <a:gd name="T53" fmla="*/ 2147483646 h 143"/>
              <a:gd name="T54" fmla="*/ 2147483646 w 125"/>
              <a:gd name="T55" fmla="*/ 2147483646 h 143"/>
              <a:gd name="T56" fmla="*/ 2147483646 w 125"/>
              <a:gd name="T57" fmla="*/ 2147483646 h 143"/>
              <a:gd name="T58" fmla="*/ 2147483646 w 125"/>
              <a:gd name="T59" fmla="*/ 2147483646 h 14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25"/>
              <a:gd name="T91" fmla="*/ 0 h 143"/>
              <a:gd name="T92" fmla="*/ 125 w 125"/>
              <a:gd name="T93" fmla="*/ 143 h 14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25" h="143">
                <a:moveTo>
                  <a:pt x="50" y="130"/>
                </a:moveTo>
                <a:cubicBezTo>
                  <a:pt x="55" y="134"/>
                  <a:pt x="65" y="143"/>
                  <a:pt x="69" y="135"/>
                </a:cubicBezTo>
                <a:cubicBezTo>
                  <a:pt x="73" y="129"/>
                  <a:pt x="70" y="123"/>
                  <a:pt x="70" y="117"/>
                </a:cubicBezTo>
                <a:cubicBezTo>
                  <a:pt x="76" y="118"/>
                  <a:pt x="80" y="114"/>
                  <a:pt x="86" y="115"/>
                </a:cubicBezTo>
                <a:cubicBezTo>
                  <a:pt x="90" y="115"/>
                  <a:pt x="92" y="116"/>
                  <a:pt x="95" y="115"/>
                </a:cubicBezTo>
                <a:cubicBezTo>
                  <a:pt x="97" y="115"/>
                  <a:pt x="100" y="111"/>
                  <a:pt x="101" y="111"/>
                </a:cubicBezTo>
                <a:cubicBezTo>
                  <a:pt x="105" y="110"/>
                  <a:pt x="105" y="113"/>
                  <a:pt x="108" y="114"/>
                </a:cubicBezTo>
                <a:cubicBezTo>
                  <a:pt x="111" y="116"/>
                  <a:pt x="115" y="115"/>
                  <a:pt x="116" y="118"/>
                </a:cubicBezTo>
                <a:cubicBezTo>
                  <a:pt x="120" y="112"/>
                  <a:pt x="120" y="106"/>
                  <a:pt x="121" y="99"/>
                </a:cubicBezTo>
                <a:cubicBezTo>
                  <a:pt x="121" y="93"/>
                  <a:pt x="124" y="88"/>
                  <a:pt x="124" y="83"/>
                </a:cubicBezTo>
                <a:cubicBezTo>
                  <a:pt x="124" y="78"/>
                  <a:pt x="124" y="71"/>
                  <a:pt x="122" y="67"/>
                </a:cubicBezTo>
                <a:cubicBezTo>
                  <a:pt x="119" y="62"/>
                  <a:pt x="114" y="60"/>
                  <a:pt x="112" y="54"/>
                </a:cubicBezTo>
                <a:cubicBezTo>
                  <a:pt x="108" y="43"/>
                  <a:pt x="114" y="34"/>
                  <a:pt x="120" y="25"/>
                </a:cubicBezTo>
                <a:cubicBezTo>
                  <a:pt x="124" y="19"/>
                  <a:pt x="125" y="13"/>
                  <a:pt x="123" y="6"/>
                </a:cubicBezTo>
                <a:cubicBezTo>
                  <a:pt x="122" y="5"/>
                  <a:pt x="122" y="5"/>
                  <a:pt x="122" y="5"/>
                </a:cubicBezTo>
                <a:cubicBezTo>
                  <a:pt x="114" y="3"/>
                  <a:pt x="93" y="0"/>
                  <a:pt x="80" y="5"/>
                </a:cubicBezTo>
                <a:cubicBezTo>
                  <a:pt x="66" y="10"/>
                  <a:pt x="59" y="15"/>
                  <a:pt x="50" y="12"/>
                </a:cubicBezTo>
                <a:cubicBezTo>
                  <a:pt x="42" y="9"/>
                  <a:pt x="35" y="4"/>
                  <a:pt x="30" y="5"/>
                </a:cubicBezTo>
                <a:cubicBezTo>
                  <a:pt x="30" y="6"/>
                  <a:pt x="30" y="6"/>
                  <a:pt x="30" y="6"/>
                </a:cubicBezTo>
                <a:cubicBezTo>
                  <a:pt x="30" y="12"/>
                  <a:pt x="30" y="19"/>
                  <a:pt x="29" y="26"/>
                </a:cubicBezTo>
                <a:cubicBezTo>
                  <a:pt x="29" y="29"/>
                  <a:pt x="30" y="37"/>
                  <a:pt x="27" y="39"/>
                </a:cubicBezTo>
                <a:cubicBezTo>
                  <a:pt x="25" y="41"/>
                  <a:pt x="23" y="39"/>
                  <a:pt x="21" y="39"/>
                </a:cubicBezTo>
                <a:cubicBezTo>
                  <a:pt x="18" y="40"/>
                  <a:pt x="18" y="40"/>
                  <a:pt x="16" y="41"/>
                </a:cubicBezTo>
                <a:cubicBezTo>
                  <a:pt x="10" y="43"/>
                  <a:pt x="9" y="44"/>
                  <a:pt x="8" y="49"/>
                </a:cubicBezTo>
                <a:cubicBezTo>
                  <a:pt x="6" y="55"/>
                  <a:pt x="4" y="59"/>
                  <a:pt x="2" y="64"/>
                </a:cubicBezTo>
                <a:cubicBezTo>
                  <a:pt x="0" y="69"/>
                  <a:pt x="0" y="76"/>
                  <a:pt x="4" y="80"/>
                </a:cubicBezTo>
                <a:cubicBezTo>
                  <a:pt x="8" y="84"/>
                  <a:pt x="13" y="82"/>
                  <a:pt x="17" y="83"/>
                </a:cubicBezTo>
                <a:cubicBezTo>
                  <a:pt x="18" y="86"/>
                  <a:pt x="20" y="89"/>
                  <a:pt x="22" y="91"/>
                </a:cubicBezTo>
                <a:cubicBezTo>
                  <a:pt x="26" y="97"/>
                  <a:pt x="28" y="103"/>
                  <a:pt x="31" y="109"/>
                </a:cubicBezTo>
                <a:cubicBezTo>
                  <a:pt x="36" y="117"/>
                  <a:pt x="44" y="123"/>
                  <a:pt x="50" y="13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Freeform 381"/>
          <p:cNvSpPr>
            <a:spLocks/>
          </p:cNvSpPr>
          <p:nvPr userDrawn="1"/>
        </p:nvSpPr>
        <p:spPr bwMode="auto">
          <a:xfrm>
            <a:off x="4329818" y="5002972"/>
            <a:ext cx="88780" cy="108881"/>
          </a:xfrm>
          <a:custGeom>
            <a:avLst/>
            <a:gdLst>
              <a:gd name="T0" fmla="*/ 2147483646 w 95"/>
              <a:gd name="T1" fmla="*/ 2147483646 h 118"/>
              <a:gd name="T2" fmla="*/ 2147483646 w 95"/>
              <a:gd name="T3" fmla="*/ 2147483646 h 118"/>
              <a:gd name="T4" fmla="*/ 2147483646 w 95"/>
              <a:gd name="T5" fmla="*/ 2147483646 h 118"/>
              <a:gd name="T6" fmla="*/ 2147483646 w 95"/>
              <a:gd name="T7" fmla="*/ 2147483646 h 118"/>
              <a:gd name="T8" fmla="*/ 2147483646 w 95"/>
              <a:gd name="T9" fmla="*/ 2147483646 h 118"/>
              <a:gd name="T10" fmla="*/ 2147483646 w 95"/>
              <a:gd name="T11" fmla="*/ 2147483646 h 118"/>
              <a:gd name="T12" fmla="*/ 2147483646 w 95"/>
              <a:gd name="T13" fmla="*/ 2147483646 h 118"/>
              <a:gd name="T14" fmla="*/ 2147483646 w 95"/>
              <a:gd name="T15" fmla="*/ 2147483646 h 118"/>
              <a:gd name="T16" fmla="*/ 2147483646 w 95"/>
              <a:gd name="T17" fmla="*/ 2147483646 h 118"/>
              <a:gd name="T18" fmla="*/ 2147483646 w 95"/>
              <a:gd name="T19" fmla="*/ 2147483646 h 118"/>
              <a:gd name="T20" fmla="*/ 2147483646 w 95"/>
              <a:gd name="T21" fmla="*/ 2147483646 h 118"/>
              <a:gd name="T22" fmla="*/ 2147483646 w 95"/>
              <a:gd name="T23" fmla="*/ 2147483646 h 118"/>
              <a:gd name="T24" fmla="*/ 2147483646 w 95"/>
              <a:gd name="T25" fmla="*/ 2147483646 h 118"/>
              <a:gd name="T26" fmla="*/ 2147483646 w 95"/>
              <a:gd name="T27" fmla="*/ 0 h 118"/>
              <a:gd name="T28" fmla="*/ 2147483646 w 95"/>
              <a:gd name="T29" fmla="*/ 0 h 118"/>
              <a:gd name="T30" fmla="*/ 2147483646 w 95"/>
              <a:gd name="T31" fmla="*/ 2147483646 h 118"/>
              <a:gd name="T32" fmla="*/ 2147483646 w 95"/>
              <a:gd name="T33" fmla="*/ 2147483646 h 118"/>
              <a:gd name="T34" fmla="*/ 2147483646 w 95"/>
              <a:gd name="T35" fmla="*/ 2147483646 h 118"/>
              <a:gd name="T36" fmla="*/ 2147483646 w 95"/>
              <a:gd name="T37" fmla="*/ 2147483646 h 118"/>
              <a:gd name="T38" fmla="*/ 2147483646 w 95"/>
              <a:gd name="T39" fmla="*/ 2147483646 h 118"/>
              <a:gd name="T40" fmla="*/ 2147483646 w 95"/>
              <a:gd name="T41" fmla="*/ 2147483646 h 118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95"/>
              <a:gd name="T64" fmla="*/ 0 h 118"/>
              <a:gd name="T65" fmla="*/ 95 w 95"/>
              <a:gd name="T66" fmla="*/ 118 h 118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95" h="118">
                <a:moveTo>
                  <a:pt x="9" y="113"/>
                </a:moveTo>
                <a:cubicBezTo>
                  <a:pt x="11" y="115"/>
                  <a:pt x="14" y="117"/>
                  <a:pt x="16" y="117"/>
                </a:cubicBezTo>
                <a:cubicBezTo>
                  <a:pt x="20" y="118"/>
                  <a:pt x="19" y="117"/>
                  <a:pt x="22" y="115"/>
                </a:cubicBezTo>
                <a:cubicBezTo>
                  <a:pt x="26" y="113"/>
                  <a:pt x="32" y="108"/>
                  <a:pt x="37" y="108"/>
                </a:cubicBezTo>
                <a:cubicBezTo>
                  <a:pt x="40" y="107"/>
                  <a:pt x="44" y="112"/>
                  <a:pt x="49" y="110"/>
                </a:cubicBezTo>
                <a:cubicBezTo>
                  <a:pt x="51" y="109"/>
                  <a:pt x="51" y="106"/>
                  <a:pt x="54" y="105"/>
                </a:cubicBezTo>
                <a:cubicBezTo>
                  <a:pt x="56" y="105"/>
                  <a:pt x="59" y="107"/>
                  <a:pt x="61" y="106"/>
                </a:cubicBezTo>
                <a:cubicBezTo>
                  <a:pt x="66" y="105"/>
                  <a:pt x="68" y="94"/>
                  <a:pt x="70" y="90"/>
                </a:cubicBezTo>
                <a:cubicBezTo>
                  <a:pt x="73" y="83"/>
                  <a:pt x="77" y="76"/>
                  <a:pt x="81" y="69"/>
                </a:cubicBezTo>
                <a:cubicBezTo>
                  <a:pt x="86" y="61"/>
                  <a:pt x="94" y="52"/>
                  <a:pt x="95" y="43"/>
                </a:cubicBezTo>
                <a:cubicBezTo>
                  <a:pt x="95" y="42"/>
                  <a:pt x="95" y="42"/>
                  <a:pt x="95" y="42"/>
                </a:cubicBezTo>
                <a:cubicBezTo>
                  <a:pt x="92" y="41"/>
                  <a:pt x="77" y="36"/>
                  <a:pt x="65" y="22"/>
                </a:cubicBezTo>
                <a:cubicBezTo>
                  <a:pt x="51" y="7"/>
                  <a:pt x="41" y="8"/>
                  <a:pt x="33" y="7"/>
                </a:cubicBezTo>
                <a:cubicBezTo>
                  <a:pt x="26" y="7"/>
                  <a:pt x="23" y="2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8" y="7"/>
                  <a:pt x="17" y="14"/>
                  <a:pt x="13" y="20"/>
                </a:cubicBezTo>
                <a:cubicBezTo>
                  <a:pt x="6" y="28"/>
                  <a:pt x="0" y="37"/>
                  <a:pt x="4" y="48"/>
                </a:cubicBezTo>
                <a:cubicBezTo>
                  <a:pt x="6" y="54"/>
                  <a:pt x="12" y="56"/>
                  <a:pt x="14" y="62"/>
                </a:cubicBezTo>
                <a:cubicBezTo>
                  <a:pt x="17" y="66"/>
                  <a:pt x="16" y="72"/>
                  <a:pt x="16" y="77"/>
                </a:cubicBezTo>
                <a:cubicBezTo>
                  <a:pt x="16" y="83"/>
                  <a:pt x="14" y="88"/>
                  <a:pt x="13" y="94"/>
                </a:cubicBezTo>
                <a:cubicBezTo>
                  <a:pt x="12" y="101"/>
                  <a:pt x="12" y="106"/>
                  <a:pt x="9" y="1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Freeform 382"/>
          <p:cNvSpPr>
            <a:spLocks/>
          </p:cNvSpPr>
          <p:nvPr userDrawn="1"/>
        </p:nvSpPr>
        <p:spPr bwMode="auto">
          <a:xfrm>
            <a:off x="3631305" y="4835462"/>
            <a:ext cx="341719" cy="485777"/>
          </a:xfrm>
          <a:custGeom>
            <a:avLst/>
            <a:gdLst>
              <a:gd name="T0" fmla="*/ 2147483646 w 366"/>
              <a:gd name="T1" fmla="*/ 2147483646 h 520"/>
              <a:gd name="T2" fmla="*/ 2147483646 w 366"/>
              <a:gd name="T3" fmla="*/ 2147483646 h 520"/>
              <a:gd name="T4" fmla="*/ 2147483646 w 366"/>
              <a:gd name="T5" fmla="*/ 2147483646 h 520"/>
              <a:gd name="T6" fmla="*/ 2147483646 w 366"/>
              <a:gd name="T7" fmla="*/ 2147483646 h 520"/>
              <a:gd name="T8" fmla="*/ 2147483646 w 366"/>
              <a:gd name="T9" fmla="*/ 2147483646 h 520"/>
              <a:gd name="T10" fmla="*/ 2147483646 w 366"/>
              <a:gd name="T11" fmla="*/ 2147483646 h 520"/>
              <a:gd name="T12" fmla="*/ 2147483646 w 366"/>
              <a:gd name="T13" fmla="*/ 2147483646 h 520"/>
              <a:gd name="T14" fmla="*/ 2147483646 w 366"/>
              <a:gd name="T15" fmla="*/ 2147483646 h 520"/>
              <a:gd name="T16" fmla="*/ 2147483646 w 366"/>
              <a:gd name="T17" fmla="*/ 2147483646 h 520"/>
              <a:gd name="T18" fmla="*/ 2147483646 w 366"/>
              <a:gd name="T19" fmla="*/ 2147483646 h 520"/>
              <a:gd name="T20" fmla="*/ 2147483646 w 366"/>
              <a:gd name="T21" fmla="*/ 2147483646 h 520"/>
              <a:gd name="T22" fmla="*/ 2147483646 w 366"/>
              <a:gd name="T23" fmla="*/ 2147483646 h 520"/>
              <a:gd name="T24" fmla="*/ 2147483646 w 366"/>
              <a:gd name="T25" fmla="*/ 2147483646 h 520"/>
              <a:gd name="T26" fmla="*/ 2147483646 w 366"/>
              <a:gd name="T27" fmla="*/ 2147483646 h 520"/>
              <a:gd name="T28" fmla="*/ 2147483646 w 366"/>
              <a:gd name="T29" fmla="*/ 2147483646 h 520"/>
              <a:gd name="T30" fmla="*/ 2147483646 w 366"/>
              <a:gd name="T31" fmla="*/ 2147483646 h 520"/>
              <a:gd name="T32" fmla="*/ 2147483646 w 366"/>
              <a:gd name="T33" fmla="*/ 2147483646 h 520"/>
              <a:gd name="T34" fmla="*/ 2147483646 w 366"/>
              <a:gd name="T35" fmla="*/ 2147483646 h 520"/>
              <a:gd name="T36" fmla="*/ 2147483646 w 366"/>
              <a:gd name="T37" fmla="*/ 2147483646 h 520"/>
              <a:gd name="T38" fmla="*/ 2147483646 w 366"/>
              <a:gd name="T39" fmla="*/ 2147483646 h 520"/>
              <a:gd name="T40" fmla="*/ 2147483646 w 366"/>
              <a:gd name="T41" fmla="*/ 2147483646 h 520"/>
              <a:gd name="T42" fmla="*/ 2147483646 w 366"/>
              <a:gd name="T43" fmla="*/ 2147483646 h 520"/>
              <a:gd name="T44" fmla="*/ 2147483646 w 366"/>
              <a:gd name="T45" fmla="*/ 2147483646 h 520"/>
              <a:gd name="T46" fmla="*/ 2147483646 w 366"/>
              <a:gd name="T47" fmla="*/ 2147483646 h 520"/>
              <a:gd name="T48" fmla="*/ 2147483646 w 366"/>
              <a:gd name="T49" fmla="*/ 2147483646 h 520"/>
              <a:gd name="T50" fmla="*/ 2147483646 w 366"/>
              <a:gd name="T51" fmla="*/ 2147483646 h 520"/>
              <a:gd name="T52" fmla="*/ 2147483646 w 366"/>
              <a:gd name="T53" fmla="*/ 2147483646 h 520"/>
              <a:gd name="T54" fmla="*/ 2147483646 w 366"/>
              <a:gd name="T55" fmla="*/ 2147483646 h 520"/>
              <a:gd name="T56" fmla="*/ 2147483646 w 366"/>
              <a:gd name="T57" fmla="*/ 2147483646 h 520"/>
              <a:gd name="T58" fmla="*/ 2147483646 w 366"/>
              <a:gd name="T59" fmla="*/ 2147483646 h 520"/>
              <a:gd name="T60" fmla="*/ 2147483646 w 366"/>
              <a:gd name="T61" fmla="*/ 2147483646 h 520"/>
              <a:gd name="T62" fmla="*/ 2147483646 w 366"/>
              <a:gd name="T63" fmla="*/ 2147483646 h 520"/>
              <a:gd name="T64" fmla="*/ 2147483646 w 366"/>
              <a:gd name="T65" fmla="*/ 2147483646 h 520"/>
              <a:gd name="T66" fmla="*/ 2147483646 w 366"/>
              <a:gd name="T67" fmla="*/ 2147483646 h 520"/>
              <a:gd name="T68" fmla="*/ 2147483646 w 366"/>
              <a:gd name="T69" fmla="*/ 2147483646 h 520"/>
              <a:gd name="T70" fmla="*/ 2147483646 w 366"/>
              <a:gd name="T71" fmla="*/ 2147483646 h 520"/>
              <a:gd name="T72" fmla="*/ 2147483646 w 366"/>
              <a:gd name="T73" fmla="*/ 2147483646 h 520"/>
              <a:gd name="T74" fmla="*/ 2147483646 w 366"/>
              <a:gd name="T75" fmla="*/ 2147483646 h 520"/>
              <a:gd name="T76" fmla="*/ 2147483646 w 366"/>
              <a:gd name="T77" fmla="*/ 2147483646 h 520"/>
              <a:gd name="T78" fmla="*/ 2147483646 w 366"/>
              <a:gd name="T79" fmla="*/ 2147483646 h 520"/>
              <a:gd name="T80" fmla="*/ 2147483646 w 366"/>
              <a:gd name="T81" fmla="*/ 2147483646 h 520"/>
              <a:gd name="T82" fmla="*/ 2147483646 w 366"/>
              <a:gd name="T83" fmla="*/ 2147483646 h 520"/>
              <a:gd name="T84" fmla="*/ 2147483646 w 366"/>
              <a:gd name="T85" fmla="*/ 2147483646 h 520"/>
              <a:gd name="T86" fmla="*/ 2147483646 w 366"/>
              <a:gd name="T87" fmla="*/ 2147483646 h 520"/>
              <a:gd name="T88" fmla="*/ 2147483646 w 366"/>
              <a:gd name="T89" fmla="*/ 2147483646 h 520"/>
              <a:gd name="T90" fmla="*/ 2147483646 w 366"/>
              <a:gd name="T91" fmla="*/ 2147483646 h 520"/>
              <a:gd name="T92" fmla="*/ 2147483646 w 366"/>
              <a:gd name="T93" fmla="*/ 2147483646 h 520"/>
              <a:gd name="T94" fmla="*/ 2147483646 w 366"/>
              <a:gd name="T95" fmla="*/ 2147483646 h 52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66"/>
              <a:gd name="T145" fmla="*/ 0 h 520"/>
              <a:gd name="T146" fmla="*/ 366 w 366"/>
              <a:gd name="T147" fmla="*/ 520 h 52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66" h="520">
                <a:moveTo>
                  <a:pt x="366" y="322"/>
                </a:moveTo>
                <a:cubicBezTo>
                  <a:pt x="364" y="317"/>
                  <a:pt x="364" y="313"/>
                  <a:pt x="361" y="309"/>
                </a:cubicBezTo>
                <a:cubicBezTo>
                  <a:pt x="357" y="302"/>
                  <a:pt x="344" y="305"/>
                  <a:pt x="352" y="295"/>
                </a:cubicBezTo>
                <a:cubicBezTo>
                  <a:pt x="358" y="287"/>
                  <a:pt x="365" y="285"/>
                  <a:pt x="356" y="274"/>
                </a:cubicBezTo>
                <a:cubicBezTo>
                  <a:pt x="353" y="271"/>
                  <a:pt x="349" y="269"/>
                  <a:pt x="348" y="265"/>
                </a:cubicBezTo>
                <a:cubicBezTo>
                  <a:pt x="348" y="261"/>
                  <a:pt x="351" y="257"/>
                  <a:pt x="350" y="253"/>
                </a:cubicBezTo>
                <a:cubicBezTo>
                  <a:pt x="347" y="244"/>
                  <a:pt x="341" y="241"/>
                  <a:pt x="340" y="231"/>
                </a:cubicBezTo>
                <a:cubicBezTo>
                  <a:pt x="340" y="225"/>
                  <a:pt x="341" y="219"/>
                  <a:pt x="344" y="214"/>
                </a:cubicBezTo>
                <a:cubicBezTo>
                  <a:pt x="346" y="210"/>
                  <a:pt x="350" y="207"/>
                  <a:pt x="351" y="204"/>
                </a:cubicBezTo>
                <a:cubicBezTo>
                  <a:pt x="354" y="199"/>
                  <a:pt x="353" y="197"/>
                  <a:pt x="349" y="194"/>
                </a:cubicBezTo>
                <a:cubicBezTo>
                  <a:pt x="339" y="187"/>
                  <a:pt x="321" y="194"/>
                  <a:pt x="310" y="198"/>
                </a:cubicBezTo>
                <a:cubicBezTo>
                  <a:pt x="305" y="200"/>
                  <a:pt x="295" y="206"/>
                  <a:pt x="290" y="203"/>
                </a:cubicBezTo>
                <a:cubicBezTo>
                  <a:pt x="284" y="199"/>
                  <a:pt x="284" y="189"/>
                  <a:pt x="283" y="183"/>
                </a:cubicBezTo>
                <a:cubicBezTo>
                  <a:pt x="280" y="175"/>
                  <a:pt x="269" y="174"/>
                  <a:pt x="261" y="172"/>
                </a:cubicBezTo>
                <a:cubicBezTo>
                  <a:pt x="248" y="168"/>
                  <a:pt x="237" y="172"/>
                  <a:pt x="225" y="175"/>
                </a:cubicBezTo>
                <a:cubicBezTo>
                  <a:pt x="212" y="178"/>
                  <a:pt x="196" y="174"/>
                  <a:pt x="200" y="158"/>
                </a:cubicBezTo>
                <a:cubicBezTo>
                  <a:pt x="202" y="152"/>
                  <a:pt x="205" y="148"/>
                  <a:pt x="202" y="141"/>
                </a:cubicBezTo>
                <a:cubicBezTo>
                  <a:pt x="200" y="135"/>
                  <a:pt x="192" y="136"/>
                  <a:pt x="191" y="128"/>
                </a:cubicBezTo>
                <a:cubicBezTo>
                  <a:pt x="190" y="122"/>
                  <a:pt x="197" y="112"/>
                  <a:pt x="189" y="107"/>
                </a:cubicBezTo>
                <a:cubicBezTo>
                  <a:pt x="184" y="104"/>
                  <a:pt x="178" y="109"/>
                  <a:pt x="173" y="106"/>
                </a:cubicBezTo>
                <a:cubicBezTo>
                  <a:pt x="174" y="100"/>
                  <a:pt x="181" y="97"/>
                  <a:pt x="182" y="90"/>
                </a:cubicBezTo>
                <a:cubicBezTo>
                  <a:pt x="183" y="82"/>
                  <a:pt x="182" y="73"/>
                  <a:pt x="186" y="66"/>
                </a:cubicBezTo>
                <a:cubicBezTo>
                  <a:pt x="188" y="63"/>
                  <a:pt x="192" y="61"/>
                  <a:pt x="193" y="58"/>
                </a:cubicBezTo>
                <a:cubicBezTo>
                  <a:pt x="194" y="56"/>
                  <a:pt x="192" y="54"/>
                  <a:pt x="193" y="52"/>
                </a:cubicBezTo>
                <a:cubicBezTo>
                  <a:pt x="196" y="44"/>
                  <a:pt x="206" y="40"/>
                  <a:pt x="210" y="33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219" y="25"/>
                  <a:pt x="221" y="21"/>
                  <a:pt x="226" y="20"/>
                </a:cubicBezTo>
                <a:cubicBezTo>
                  <a:pt x="230" y="19"/>
                  <a:pt x="235" y="13"/>
                  <a:pt x="235" y="13"/>
                </a:cubicBezTo>
                <a:cubicBezTo>
                  <a:pt x="235" y="13"/>
                  <a:pt x="235" y="0"/>
                  <a:pt x="227" y="2"/>
                </a:cubicBezTo>
                <a:cubicBezTo>
                  <a:pt x="219" y="4"/>
                  <a:pt x="204" y="13"/>
                  <a:pt x="204" y="13"/>
                </a:cubicBezTo>
                <a:cubicBezTo>
                  <a:pt x="204" y="13"/>
                  <a:pt x="203" y="21"/>
                  <a:pt x="194" y="25"/>
                </a:cubicBezTo>
                <a:cubicBezTo>
                  <a:pt x="185" y="30"/>
                  <a:pt x="174" y="34"/>
                  <a:pt x="169" y="36"/>
                </a:cubicBezTo>
                <a:cubicBezTo>
                  <a:pt x="163" y="39"/>
                  <a:pt x="162" y="44"/>
                  <a:pt x="153" y="40"/>
                </a:cubicBezTo>
                <a:cubicBezTo>
                  <a:pt x="144" y="36"/>
                  <a:pt x="141" y="37"/>
                  <a:pt x="141" y="37"/>
                </a:cubicBezTo>
                <a:cubicBezTo>
                  <a:pt x="141" y="37"/>
                  <a:pt x="146" y="54"/>
                  <a:pt x="138" y="55"/>
                </a:cubicBezTo>
                <a:cubicBezTo>
                  <a:pt x="131" y="57"/>
                  <a:pt x="125" y="51"/>
                  <a:pt x="125" y="51"/>
                </a:cubicBezTo>
                <a:cubicBezTo>
                  <a:pt x="125" y="51"/>
                  <a:pt x="127" y="35"/>
                  <a:pt x="120" y="45"/>
                </a:cubicBezTo>
                <a:cubicBezTo>
                  <a:pt x="114" y="55"/>
                  <a:pt x="93" y="69"/>
                  <a:pt x="97" y="75"/>
                </a:cubicBezTo>
                <a:cubicBezTo>
                  <a:pt x="101" y="81"/>
                  <a:pt x="103" y="89"/>
                  <a:pt x="103" y="89"/>
                </a:cubicBezTo>
                <a:cubicBezTo>
                  <a:pt x="94" y="100"/>
                  <a:pt x="94" y="100"/>
                  <a:pt x="94" y="100"/>
                </a:cubicBezTo>
                <a:cubicBezTo>
                  <a:pt x="94" y="100"/>
                  <a:pt x="84" y="102"/>
                  <a:pt x="79" y="105"/>
                </a:cubicBezTo>
                <a:cubicBezTo>
                  <a:pt x="74" y="109"/>
                  <a:pt x="67" y="114"/>
                  <a:pt x="69" y="118"/>
                </a:cubicBezTo>
                <a:cubicBezTo>
                  <a:pt x="71" y="123"/>
                  <a:pt x="66" y="127"/>
                  <a:pt x="66" y="127"/>
                </a:cubicBezTo>
                <a:cubicBezTo>
                  <a:pt x="66" y="127"/>
                  <a:pt x="68" y="141"/>
                  <a:pt x="64" y="140"/>
                </a:cubicBezTo>
                <a:cubicBezTo>
                  <a:pt x="62" y="139"/>
                  <a:pt x="59" y="137"/>
                  <a:pt x="57" y="134"/>
                </a:cubicBezTo>
                <a:cubicBezTo>
                  <a:pt x="56" y="133"/>
                  <a:pt x="56" y="133"/>
                  <a:pt x="56" y="133"/>
                </a:cubicBezTo>
                <a:cubicBezTo>
                  <a:pt x="55" y="137"/>
                  <a:pt x="57" y="142"/>
                  <a:pt x="55" y="146"/>
                </a:cubicBezTo>
                <a:cubicBezTo>
                  <a:pt x="54" y="149"/>
                  <a:pt x="50" y="153"/>
                  <a:pt x="48" y="156"/>
                </a:cubicBezTo>
                <a:cubicBezTo>
                  <a:pt x="44" y="160"/>
                  <a:pt x="37" y="165"/>
                  <a:pt x="32" y="16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31" y="166"/>
                  <a:pt x="31" y="166"/>
                  <a:pt x="31" y="166"/>
                </a:cubicBezTo>
                <a:cubicBezTo>
                  <a:pt x="33" y="166"/>
                  <a:pt x="34" y="167"/>
                  <a:pt x="36" y="169"/>
                </a:cubicBezTo>
                <a:cubicBezTo>
                  <a:pt x="40" y="175"/>
                  <a:pt x="37" y="175"/>
                  <a:pt x="41" y="183"/>
                </a:cubicBezTo>
                <a:cubicBezTo>
                  <a:pt x="45" y="191"/>
                  <a:pt x="49" y="193"/>
                  <a:pt x="48" y="199"/>
                </a:cubicBezTo>
                <a:cubicBezTo>
                  <a:pt x="47" y="204"/>
                  <a:pt x="41" y="205"/>
                  <a:pt x="44" y="213"/>
                </a:cubicBezTo>
                <a:cubicBezTo>
                  <a:pt x="47" y="221"/>
                  <a:pt x="48" y="235"/>
                  <a:pt x="50" y="240"/>
                </a:cubicBezTo>
                <a:cubicBezTo>
                  <a:pt x="52" y="245"/>
                  <a:pt x="47" y="249"/>
                  <a:pt x="49" y="256"/>
                </a:cubicBezTo>
                <a:cubicBezTo>
                  <a:pt x="51" y="263"/>
                  <a:pt x="58" y="270"/>
                  <a:pt x="56" y="276"/>
                </a:cubicBezTo>
                <a:cubicBezTo>
                  <a:pt x="53" y="282"/>
                  <a:pt x="46" y="283"/>
                  <a:pt x="44" y="290"/>
                </a:cubicBezTo>
                <a:cubicBezTo>
                  <a:pt x="42" y="297"/>
                  <a:pt x="42" y="297"/>
                  <a:pt x="39" y="305"/>
                </a:cubicBezTo>
                <a:cubicBezTo>
                  <a:pt x="35" y="313"/>
                  <a:pt x="33" y="314"/>
                  <a:pt x="28" y="314"/>
                </a:cubicBezTo>
                <a:cubicBezTo>
                  <a:pt x="23" y="315"/>
                  <a:pt x="22" y="302"/>
                  <a:pt x="15" y="313"/>
                </a:cubicBezTo>
                <a:cubicBezTo>
                  <a:pt x="9" y="324"/>
                  <a:pt x="12" y="327"/>
                  <a:pt x="11" y="330"/>
                </a:cubicBezTo>
                <a:cubicBezTo>
                  <a:pt x="11" y="333"/>
                  <a:pt x="7" y="334"/>
                  <a:pt x="3" y="336"/>
                </a:cubicBezTo>
                <a:cubicBezTo>
                  <a:pt x="0" y="338"/>
                  <a:pt x="2" y="345"/>
                  <a:pt x="2" y="349"/>
                </a:cubicBezTo>
                <a:cubicBezTo>
                  <a:pt x="3" y="349"/>
                  <a:pt x="3" y="349"/>
                  <a:pt x="3" y="349"/>
                </a:cubicBezTo>
                <a:cubicBezTo>
                  <a:pt x="13" y="355"/>
                  <a:pt x="23" y="364"/>
                  <a:pt x="32" y="370"/>
                </a:cubicBezTo>
                <a:cubicBezTo>
                  <a:pt x="36" y="373"/>
                  <a:pt x="39" y="376"/>
                  <a:pt x="44" y="376"/>
                </a:cubicBezTo>
                <a:cubicBezTo>
                  <a:pt x="51" y="377"/>
                  <a:pt x="51" y="374"/>
                  <a:pt x="58" y="379"/>
                </a:cubicBezTo>
                <a:cubicBezTo>
                  <a:pt x="63" y="381"/>
                  <a:pt x="65" y="385"/>
                  <a:pt x="71" y="386"/>
                </a:cubicBezTo>
                <a:cubicBezTo>
                  <a:pt x="77" y="386"/>
                  <a:pt x="84" y="379"/>
                  <a:pt x="91" y="380"/>
                </a:cubicBezTo>
                <a:cubicBezTo>
                  <a:pt x="103" y="381"/>
                  <a:pt x="116" y="394"/>
                  <a:pt x="127" y="399"/>
                </a:cubicBezTo>
                <a:cubicBezTo>
                  <a:pt x="138" y="404"/>
                  <a:pt x="153" y="411"/>
                  <a:pt x="159" y="422"/>
                </a:cubicBezTo>
                <a:cubicBezTo>
                  <a:pt x="165" y="434"/>
                  <a:pt x="170" y="449"/>
                  <a:pt x="178" y="460"/>
                </a:cubicBezTo>
                <a:cubicBezTo>
                  <a:pt x="185" y="470"/>
                  <a:pt x="197" y="464"/>
                  <a:pt x="208" y="461"/>
                </a:cubicBezTo>
                <a:cubicBezTo>
                  <a:pt x="212" y="460"/>
                  <a:pt x="218" y="457"/>
                  <a:pt x="223" y="458"/>
                </a:cubicBezTo>
                <a:cubicBezTo>
                  <a:pt x="229" y="459"/>
                  <a:pt x="232" y="464"/>
                  <a:pt x="237" y="464"/>
                </a:cubicBezTo>
                <a:cubicBezTo>
                  <a:pt x="241" y="465"/>
                  <a:pt x="246" y="462"/>
                  <a:pt x="251" y="463"/>
                </a:cubicBezTo>
                <a:cubicBezTo>
                  <a:pt x="257" y="464"/>
                  <a:pt x="262" y="464"/>
                  <a:pt x="265" y="469"/>
                </a:cubicBezTo>
                <a:cubicBezTo>
                  <a:pt x="270" y="477"/>
                  <a:pt x="264" y="494"/>
                  <a:pt x="261" y="502"/>
                </a:cubicBezTo>
                <a:cubicBezTo>
                  <a:pt x="267" y="507"/>
                  <a:pt x="276" y="512"/>
                  <a:pt x="279" y="520"/>
                </a:cubicBezTo>
                <a:cubicBezTo>
                  <a:pt x="282" y="517"/>
                  <a:pt x="282" y="503"/>
                  <a:pt x="283" y="497"/>
                </a:cubicBezTo>
                <a:cubicBezTo>
                  <a:pt x="285" y="484"/>
                  <a:pt x="288" y="472"/>
                  <a:pt x="290" y="460"/>
                </a:cubicBezTo>
                <a:cubicBezTo>
                  <a:pt x="292" y="451"/>
                  <a:pt x="293" y="442"/>
                  <a:pt x="296" y="432"/>
                </a:cubicBezTo>
                <a:cubicBezTo>
                  <a:pt x="297" y="426"/>
                  <a:pt x="299" y="418"/>
                  <a:pt x="296" y="413"/>
                </a:cubicBezTo>
                <a:cubicBezTo>
                  <a:pt x="289" y="400"/>
                  <a:pt x="272" y="397"/>
                  <a:pt x="275" y="379"/>
                </a:cubicBezTo>
                <a:cubicBezTo>
                  <a:pt x="277" y="366"/>
                  <a:pt x="291" y="367"/>
                  <a:pt x="301" y="373"/>
                </a:cubicBezTo>
                <a:cubicBezTo>
                  <a:pt x="301" y="369"/>
                  <a:pt x="300" y="365"/>
                  <a:pt x="298" y="362"/>
                </a:cubicBezTo>
                <a:cubicBezTo>
                  <a:pt x="294" y="357"/>
                  <a:pt x="289" y="359"/>
                  <a:pt x="285" y="356"/>
                </a:cubicBezTo>
                <a:cubicBezTo>
                  <a:pt x="274" y="348"/>
                  <a:pt x="288" y="332"/>
                  <a:pt x="300" y="333"/>
                </a:cubicBezTo>
                <a:cubicBezTo>
                  <a:pt x="307" y="334"/>
                  <a:pt x="316" y="339"/>
                  <a:pt x="324" y="338"/>
                </a:cubicBezTo>
                <a:cubicBezTo>
                  <a:pt x="327" y="338"/>
                  <a:pt x="329" y="337"/>
                  <a:pt x="331" y="337"/>
                </a:cubicBezTo>
                <a:cubicBezTo>
                  <a:pt x="333" y="336"/>
                  <a:pt x="334" y="334"/>
                  <a:pt x="337" y="334"/>
                </a:cubicBezTo>
                <a:cubicBezTo>
                  <a:pt x="338" y="334"/>
                  <a:pt x="339" y="335"/>
                  <a:pt x="340" y="335"/>
                </a:cubicBezTo>
                <a:cubicBezTo>
                  <a:pt x="350" y="334"/>
                  <a:pt x="356" y="328"/>
                  <a:pt x="363" y="324"/>
                </a:cubicBezTo>
                <a:lnTo>
                  <a:pt x="366" y="3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Freeform 383"/>
          <p:cNvSpPr>
            <a:spLocks/>
          </p:cNvSpPr>
          <p:nvPr userDrawn="1"/>
        </p:nvSpPr>
        <p:spPr bwMode="auto">
          <a:xfrm>
            <a:off x="3571001" y="5160430"/>
            <a:ext cx="170860" cy="192636"/>
          </a:xfrm>
          <a:custGeom>
            <a:avLst/>
            <a:gdLst>
              <a:gd name="T0" fmla="*/ 2147483646 w 183"/>
              <a:gd name="T1" fmla="*/ 2147483646 h 206"/>
              <a:gd name="T2" fmla="*/ 2147483646 w 183"/>
              <a:gd name="T3" fmla="*/ 2147483646 h 206"/>
              <a:gd name="T4" fmla="*/ 2147483646 w 183"/>
              <a:gd name="T5" fmla="*/ 2147483646 h 206"/>
              <a:gd name="T6" fmla="*/ 2147483646 w 183"/>
              <a:gd name="T7" fmla="*/ 2147483646 h 206"/>
              <a:gd name="T8" fmla="*/ 2147483646 w 183"/>
              <a:gd name="T9" fmla="*/ 2147483646 h 206"/>
              <a:gd name="T10" fmla="*/ 2147483646 w 183"/>
              <a:gd name="T11" fmla="*/ 2147483646 h 206"/>
              <a:gd name="T12" fmla="*/ 2147483646 w 183"/>
              <a:gd name="T13" fmla="*/ 2147483646 h 206"/>
              <a:gd name="T14" fmla="*/ 2147483646 w 183"/>
              <a:gd name="T15" fmla="*/ 2147483646 h 206"/>
              <a:gd name="T16" fmla="*/ 2147483646 w 183"/>
              <a:gd name="T17" fmla="*/ 2147483646 h 206"/>
              <a:gd name="T18" fmla="*/ 2147483646 w 183"/>
              <a:gd name="T19" fmla="*/ 2147483646 h 206"/>
              <a:gd name="T20" fmla="*/ 2147483646 w 183"/>
              <a:gd name="T21" fmla="*/ 2147483646 h 206"/>
              <a:gd name="T22" fmla="*/ 2147483646 w 183"/>
              <a:gd name="T23" fmla="*/ 2147483646 h 206"/>
              <a:gd name="T24" fmla="*/ 2147483646 w 183"/>
              <a:gd name="T25" fmla="*/ 2147483646 h 206"/>
              <a:gd name="T26" fmla="*/ 2147483646 w 183"/>
              <a:gd name="T27" fmla="*/ 2147483646 h 206"/>
              <a:gd name="T28" fmla="*/ 2147483646 w 183"/>
              <a:gd name="T29" fmla="*/ 2147483646 h 206"/>
              <a:gd name="T30" fmla="*/ 2147483646 w 183"/>
              <a:gd name="T31" fmla="*/ 2147483646 h 206"/>
              <a:gd name="T32" fmla="*/ 2147483646 w 183"/>
              <a:gd name="T33" fmla="*/ 2147483646 h 206"/>
              <a:gd name="T34" fmla="*/ 2147483646 w 183"/>
              <a:gd name="T35" fmla="*/ 2147483646 h 206"/>
              <a:gd name="T36" fmla="*/ 2147483646 w 183"/>
              <a:gd name="T37" fmla="*/ 2147483646 h 206"/>
              <a:gd name="T38" fmla="*/ 2147483646 w 183"/>
              <a:gd name="T39" fmla="*/ 2147483646 h 206"/>
              <a:gd name="T40" fmla="*/ 2147483646 w 183"/>
              <a:gd name="T41" fmla="*/ 0 h 206"/>
              <a:gd name="T42" fmla="*/ 2147483646 w 183"/>
              <a:gd name="T43" fmla="*/ 2147483646 h 206"/>
              <a:gd name="T44" fmla="*/ 2147483646 w 183"/>
              <a:gd name="T45" fmla="*/ 2147483646 h 206"/>
              <a:gd name="T46" fmla="*/ 2147483646 w 183"/>
              <a:gd name="T47" fmla="*/ 2147483646 h 206"/>
              <a:gd name="T48" fmla="*/ 2147483646 w 183"/>
              <a:gd name="T49" fmla="*/ 2147483646 h 206"/>
              <a:gd name="T50" fmla="*/ 2147483646 w 183"/>
              <a:gd name="T51" fmla="*/ 2147483646 h 206"/>
              <a:gd name="T52" fmla="*/ 2147483646 w 183"/>
              <a:gd name="T53" fmla="*/ 2147483646 h 206"/>
              <a:gd name="T54" fmla="*/ 2147483646 w 183"/>
              <a:gd name="T55" fmla="*/ 2147483646 h 206"/>
              <a:gd name="T56" fmla="*/ 2147483646 w 183"/>
              <a:gd name="T57" fmla="*/ 2147483646 h 206"/>
              <a:gd name="T58" fmla="*/ 2147483646 w 183"/>
              <a:gd name="T59" fmla="*/ 2147483646 h 206"/>
              <a:gd name="T60" fmla="*/ 2147483646 w 183"/>
              <a:gd name="T61" fmla="*/ 2147483646 h 206"/>
              <a:gd name="T62" fmla="*/ 2147483646 w 183"/>
              <a:gd name="T63" fmla="*/ 2147483646 h 206"/>
              <a:gd name="T64" fmla="*/ 2147483646 w 183"/>
              <a:gd name="T65" fmla="*/ 2147483646 h 206"/>
              <a:gd name="T66" fmla="*/ 2147483646 w 183"/>
              <a:gd name="T67" fmla="*/ 2147483646 h 206"/>
              <a:gd name="T68" fmla="*/ 2147483646 w 183"/>
              <a:gd name="T69" fmla="*/ 2147483646 h 206"/>
              <a:gd name="T70" fmla="*/ 2147483646 w 183"/>
              <a:gd name="T71" fmla="*/ 2147483646 h 206"/>
              <a:gd name="T72" fmla="*/ 2147483646 w 183"/>
              <a:gd name="T73" fmla="*/ 2147483646 h 20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83"/>
              <a:gd name="T112" fmla="*/ 0 h 206"/>
              <a:gd name="T113" fmla="*/ 183 w 183"/>
              <a:gd name="T114" fmla="*/ 206 h 20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83" h="206">
                <a:moveTo>
                  <a:pt x="14" y="153"/>
                </a:moveTo>
                <a:cubicBezTo>
                  <a:pt x="15" y="156"/>
                  <a:pt x="16" y="159"/>
                  <a:pt x="15" y="162"/>
                </a:cubicBezTo>
                <a:cubicBezTo>
                  <a:pt x="13" y="168"/>
                  <a:pt x="6" y="175"/>
                  <a:pt x="10" y="180"/>
                </a:cubicBezTo>
                <a:cubicBezTo>
                  <a:pt x="12" y="182"/>
                  <a:pt x="20" y="184"/>
                  <a:pt x="23" y="184"/>
                </a:cubicBezTo>
                <a:cubicBezTo>
                  <a:pt x="27" y="185"/>
                  <a:pt x="33" y="182"/>
                  <a:pt x="36" y="183"/>
                </a:cubicBezTo>
                <a:cubicBezTo>
                  <a:pt x="40" y="184"/>
                  <a:pt x="41" y="187"/>
                  <a:pt x="44" y="191"/>
                </a:cubicBezTo>
                <a:cubicBezTo>
                  <a:pt x="51" y="200"/>
                  <a:pt x="56" y="206"/>
                  <a:pt x="65" y="195"/>
                </a:cubicBezTo>
                <a:cubicBezTo>
                  <a:pt x="74" y="184"/>
                  <a:pt x="80" y="169"/>
                  <a:pt x="86" y="156"/>
                </a:cubicBezTo>
                <a:cubicBezTo>
                  <a:pt x="92" y="143"/>
                  <a:pt x="95" y="145"/>
                  <a:pt x="108" y="143"/>
                </a:cubicBezTo>
                <a:cubicBezTo>
                  <a:pt x="122" y="140"/>
                  <a:pt x="135" y="129"/>
                  <a:pt x="146" y="119"/>
                </a:cubicBezTo>
                <a:cubicBezTo>
                  <a:pt x="158" y="109"/>
                  <a:pt x="168" y="95"/>
                  <a:pt x="176" y="81"/>
                </a:cubicBezTo>
                <a:cubicBezTo>
                  <a:pt x="180" y="74"/>
                  <a:pt x="183" y="70"/>
                  <a:pt x="182" y="63"/>
                </a:cubicBezTo>
                <a:cubicBezTo>
                  <a:pt x="181" y="55"/>
                  <a:pt x="176" y="44"/>
                  <a:pt x="170" y="39"/>
                </a:cubicBezTo>
                <a:cubicBezTo>
                  <a:pt x="165" y="34"/>
                  <a:pt x="165" y="34"/>
                  <a:pt x="165" y="34"/>
                </a:cubicBezTo>
                <a:cubicBezTo>
                  <a:pt x="162" y="32"/>
                  <a:pt x="159" y="31"/>
                  <a:pt x="156" y="31"/>
                </a:cubicBezTo>
                <a:cubicBezTo>
                  <a:pt x="149" y="30"/>
                  <a:pt x="142" y="37"/>
                  <a:pt x="136" y="36"/>
                </a:cubicBezTo>
                <a:cubicBezTo>
                  <a:pt x="130" y="36"/>
                  <a:pt x="128" y="32"/>
                  <a:pt x="123" y="30"/>
                </a:cubicBezTo>
                <a:cubicBezTo>
                  <a:pt x="116" y="25"/>
                  <a:pt x="116" y="28"/>
                  <a:pt x="109" y="27"/>
                </a:cubicBezTo>
                <a:cubicBezTo>
                  <a:pt x="104" y="27"/>
                  <a:pt x="101" y="24"/>
                  <a:pt x="97" y="21"/>
                </a:cubicBezTo>
                <a:cubicBezTo>
                  <a:pt x="88" y="15"/>
                  <a:pt x="79" y="6"/>
                  <a:pt x="69" y="1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1"/>
                  <a:pt x="67" y="1"/>
                  <a:pt x="66" y="2"/>
                </a:cubicBezTo>
                <a:cubicBezTo>
                  <a:pt x="64" y="5"/>
                  <a:pt x="52" y="9"/>
                  <a:pt x="50" y="9"/>
                </a:cubicBezTo>
                <a:cubicBezTo>
                  <a:pt x="49" y="9"/>
                  <a:pt x="46" y="7"/>
                  <a:pt x="40" y="10"/>
                </a:cubicBezTo>
                <a:cubicBezTo>
                  <a:pt x="34" y="14"/>
                  <a:pt x="29" y="26"/>
                  <a:pt x="30" y="32"/>
                </a:cubicBezTo>
                <a:cubicBezTo>
                  <a:pt x="31" y="37"/>
                  <a:pt x="29" y="50"/>
                  <a:pt x="25" y="51"/>
                </a:cubicBezTo>
                <a:cubicBezTo>
                  <a:pt x="22" y="52"/>
                  <a:pt x="14" y="51"/>
                  <a:pt x="13" y="56"/>
                </a:cubicBezTo>
                <a:cubicBezTo>
                  <a:pt x="11" y="62"/>
                  <a:pt x="11" y="75"/>
                  <a:pt x="11" y="79"/>
                </a:cubicBezTo>
                <a:cubicBezTo>
                  <a:pt x="12" y="83"/>
                  <a:pt x="7" y="89"/>
                  <a:pt x="6" y="92"/>
                </a:cubicBezTo>
                <a:cubicBezTo>
                  <a:pt x="5" y="94"/>
                  <a:pt x="7" y="102"/>
                  <a:pt x="6" y="104"/>
                </a:cubicBezTo>
                <a:cubicBezTo>
                  <a:pt x="5" y="107"/>
                  <a:pt x="0" y="112"/>
                  <a:pt x="5" y="114"/>
                </a:cubicBezTo>
                <a:cubicBezTo>
                  <a:pt x="9" y="115"/>
                  <a:pt x="13" y="114"/>
                  <a:pt x="18" y="115"/>
                </a:cubicBezTo>
                <a:cubicBezTo>
                  <a:pt x="22" y="116"/>
                  <a:pt x="35" y="100"/>
                  <a:pt x="37" y="108"/>
                </a:cubicBezTo>
                <a:cubicBezTo>
                  <a:pt x="39" y="117"/>
                  <a:pt x="36" y="118"/>
                  <a:pt x="36" y="125"/>
                </a:cubicBezTo>
                <a:cubicBezTo>
                  <a:pt x="35" y="131"/>
                  <a:pt x="30" y="140"/>
                  <a:pt x="27" y="143"/>
                </a:cubicBezTo>
                <a:cubicBezTo>
                  <a:pt x="24" y="147"/>
                  <a:pt x="15" y="147"/>
                  <a:pt x="14" y="151"/>
                </a:cubicBezTo>
                <a:lnTo>
                  <a:pt x="14" y="15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Freeform 384"/>
          <p:cNvSpPr>
            <a:spLocks/>
          </p:cNvSpPr>
          <p:nvPr userDrawn="1"/>
        </p:nvSpPr>
        <p:spPr bwMode="auto">
          <a:xfrm>
            <a:off x="3554250" y="5193932"/>
            <a:ext cx="371871" cy="531005"/>
          </a:xfrm>
          <a:custGeom>
            <a:avLst/>
            <a:gdLst>
              <a:gd name="T0" fmla="*/ 2147483646 w 400"/>
              <a:gd name="T1" fmla="*/ 2147483646 h 569"/>
              <a:gd name="T2" fmla="*/ 2147483646 w 400"/>
              <a:gd name="T3" fmla="*/ 2147483646 h 569"/>
              <a:gd name="T4" fmla="*/ 2147483646 w 400"/>
              <a:gd name="T5" fmla="*/ 2147483646 h 569"/>
              <a:gd name="T6" fmla="*/ 2147483646 w 400"/>
              <a:gd name="T7" fmla="*/ 2147483646 h 569"/>
              <a:gd name="T8" fmla="*/ 2147483646 w 400"/>
              <a:gd name="T9" fmla="*/ 2147483646 h 569"/>
              <a:gd name="T10" fmla="*/ 2147483646 w 400"/>
              <a:gd name="T11" fmla="*/ 2147483646 h 569"/>
              <a:gd name="T12" fmla="*/ 2147483646 w 400"/>
              <a:gd name="T13" fmla="*/ 2147483646 h 569"/>
              <a:gd name="T14" fmla="*/ 2147483646 w 400"/>
              <a:gd name="T15" fmla="*/ 2147483646 h 569"/>
              <a:gd name="T16" fmla="*/ 2147483646 w 400"/>
              <a:gd name="T17" fmla="*/ 2147483646 h 569"/>
              <a:gd name="T18" fmla="*/ 2147483646 w 400"/>
              <a:gd name="T19" fmla="*/ 2147483646 h 569"/>
              <a:gd name="T20" fmla="*/ 2147483646 w 400"/>
              <a:gd name="T21" fmla="*/ 2147483646 h 569"/>
              <a:gd name="T22" fmla="*/ 2147483646 w 400"/>
              <a:gd name="T23" fmla="*/ 2147483646 h 569"/>
              <a:gd name="T24" fmla="*/ 2147483646 w 400"/>
              <a:gd name="T25" fmla="*/ 2147483646 h 569"/>
              <a:gd name="T26" fmla="*/ 2147483646 w 400"/>
              <a:gd name="T27" fmla="*/ 2147483646 h 569"/>
              <a:gd name="T28" fmla="*/ 2147483646 w 400"/>
              <a:gd name="T29" fmla="*/ 2147483646 h 569"/>
              <a:gd name="T30" fmla="*/ 2147483646 w 400"/>
              <a:gd name="T31" fmla="*/ 2147483646 h 569"/>
              <a:gd name="T32" fmla="*/ 2147483646 w 400"/>
              <a:gd name="T33" fmla="*/ 2147483646 h 569"/>
              <a:gd name="T34" fmla="*/ 2147483646 w 400"/>
              <a:gd name="T35" fmla="*/ 2147483646 h 569"/>
              <a:gd name="T36" fmla="*/ 2147483646 w 400"/>
              <a:gd name="T37" fmla="*/ 2147483646 h 569"/>
              <a:gd name="T38" fmla="*/ 2147483646 w 400"/>
              <a:gd name="T39" fmla="*/ 2147483646 h 569"/>
              <a:gd name="T40" fmla="*/ 2147483646 w 400"/>
              <a:gd name="T41" fmla="*/ 2147483646 h 569"/>
              <a:gd name="T42" fmla="*/ 2147483646 w 400"/>
              <a:gd name="T43" fmla="*/ 2147483646 h 569"/>
              <a:gd name="T44" fmla="*/ 2147483646 w 400"/>
              <a:gd name="T45" fmla="*/ 2147483646 h 569"/>
              <a:gd name="T46" fmla="*/ 2147483646 w 400"/>
              <a:gd name="T47" fmla="*/ 2147483646 h 569"/>
              <a:gd name="T48" fmla="*/ 2147483646 w 400"/>
              <a:gd name="T49" fmla="*/ 2147483646 h 569"/>
              <a:gd name="T50" fmla="*/ 2147483646 w 400"/>
              <a:gd name="T51" fmla="*/ 2147483646 h 569"/>
              <a:gd name="T52" fmla="*/ 2147483646 w 400"/>
              <a:gd name="T53" fmla="*/ 2147483646 h 569"/>
              <a:gd name="T54" fmla="*/ 2147483646 w 400"/>
              <a:gd name="T55" fmla="*/ 2147483646 h 569"/>
              <a:gd name="T56" fmla="*/ 2147483646 w 400"/>
              <a:gd name="T57" fmla="*/ 2147483646 h 569"/>
              <a:gd name="T58" fmla="*/ 2147483646 w 400"/>
              <a:gd name="T59" fmla="*/ 2147483646 h 569"/>
              <a:gd name="T60" fmla="*/ 2147483646 w 400"/>
              <a:gd name="T61" fmla="*/ 2147483646 h 569"/>
              <a:gd name="T62" fmla="*/ 2147483646 w 400"/>
              <a:gd name="T63" fmla="*/ 2147483646 h 569"/>
              <a:gd name="T64" fmla="*/ 2147483646 w 400"/>
              <a:gd name="T65" fmla="*/ 2147483646 h 569"/>
              <a:gd name="T66" fmla="*/ 2147483646 w 400"/>
              <a:gd name="T67" fmla="*/ 2147483646 h 56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00"/>
              <a:gd name="T103" fmla="*/ 0 h 569"/>
              <a:gd name="T104" fmla="*/ 400 w 400"/>
              <a:gd name="T105" fmla="*/ 569 h 56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00" h="569">
                <a:moveTo>
                  <a:pt x="349" y="565"/>
                </a:moveTo>
                <a:cubicBezTo>
                  <a:pt x="349" y="567"/>
                  <a:pt x="348" y="569"/>
                  <a:pt x="336" y="564"/>
                </a:cubicBezTo>
                <a:cubicBezTo>
                  <a:pt x="320" y="557"/>
                  <a:pt x="323" y="553"/>
                  <a:pt x="316" y="538"/>
                </a:cubicBezTo>
                <a:cubicBezTo>
                  <a:pt x="309" y="524"/>
                  <a:pt x="296" y="526"/>
                  <a:pt x="279" y="516"/>
                </a:cubicBezTo>
                <a:cubicBezTo>
                  <a:pt x="263" y="507"/>
                  <a:pt x="226" y="500"/>
                  <a:pt x="219" y="493"/>
                </a:cubicBezTo>
                <a:cubicBezTo>
                  <a:pt x="212" y="485"/>
                  <a:pt x="201" y="482"/>
                  <a:pt x="193" y="476"/>
                </a:cubicBezTo>
                <a:cubicBezTo>
                  <a:pt x="186" y="471"/>
                  <a:pt x="162" y="423"/>
                  <a:pt x="162" y="407"/>
                </a:cubicBezTo>
                <a:cubicBezTo>
                  <a:pt x="162" y="390"/>
                  <a:pt x="146" y="383"/>
                  <a:pt x="139" y="374"/>
                </a:cubicBezTo>
                <a:cubicBezTo>
                  <a:pt x="131" y="364"/>
                  <a:pt x="115" y="335"/>
                  <a:pt x="115" y="335"/>
                </a:cubicBezTo>
                <a:cubicBezTo>
                  <a:pt x="115" y="335"/>
                  <a:pt x="73" y="258"/>
                  <a:pt x="65" y="251"/>
                </a:cubicBezTo>
                <a:cubicBezTo>
                  <a:pt x="58" y="244"/>
                  <a:pt x="53" y="225"/>
                  <a:pt x="47" y="218"/>
                </a:cubicBezTo>
                <a:cubicBezTo>
                  <a:pt x="42" y="211"/>
                  <a:pt x="20" y="203"/>
                  <a:pt x="11" y="200"/>
                </a:cubicBezTo>
                <a:cubicBezTo>
                  <a:pt x="1" y="196"/>
                  <a:pt x="14" y="191"/>
                  <a:pt x="22" y="187"/>
                </a:cubicBezTo>
                <a:cubicBezTo>
                  <a:pt x="29" y="183"/>
                  <a:pt x="11" y="161"/>
                  <a:pt x="5" y="156"/>
                </a:cubicBezTo>
                <a:cubicBezTo>
                  <a:pt x="0" y="150"/>
                  <a:pt x="0" y="134"/>
                  <a:pt x="13" y="130"/>
                </a:cubicBezTo>
                <a:cubicBezTo>
                  <a:pt x="24" y="127"/>
                  <a:pt x="30" y="122"/>
                  <a:pt x="32" y="118"/>
                </a:cubicBezTo>
                <a:cubicBezTo>
                  <a:pt x="33" y="117"/>
                  <a:pt x="33" y="117"/>
                  <a:pt x="33" y="117"/>
                </a:cubicBezTo>
                <a:cubicBezTo>
                  <a:pt x="33" y="119"/>
                  <a:pt x="33" y="119"/>
                  <a:pt x="33" y="119"/>
                </a:cubicBezTo>
                <a:cubicBezTo>
                  <a:pt x="34" y="122"/>
                  <a:pt x="33" y="124"/>
                  <a:pt x="33" y="127"/>
                </a:cubicBezTo>
                <a:cubicBezTo>
                  <a:pt x="31" y="132"/>
                  <a:pt x="24" y="139"/>
                  <a:pt x="29" y="145"/>
                </a:cubicBezTo>
                <a:cubicBezTo>
                  <a:pt x="30" y="147"/>
                  <a:pt x="38" y="148"/>
                  <a:pt x="41" y="149"/>
                </a:cubicBezTo>
                <a:cubicBezTo>
                  <a:pt x="45" y="149"/>
                  <a:pt x="51" y="146"/>
                  <a:pt x="54" y="147"/>
                </a:cubicBezTo>
                <a:cubicBezTo>
                  <a:pt x="58" y="148"/>
                  <a:pt x="59" y="151"/>
                  <a:pt x="62" y="155"/>
                </a:cubicBezTo>
                <a:cubicBezTo>
                  <a:pt x="69" y="164"/>
                  <a:pt x="75" y="170"/>
                  <a:pt x="83" y="159"/>
                </a:cubicBezTo>
                <a:cubicBezTo>
                  <a:pt x="92" y="148"/>
                  <a:pt x="98" y="133"/>
                  <a:pt x="104" y="121"/>
                </a:cubicBezTo>
                <a:cubicBezTo>
                  <a:pt x="111" y="108"/>
                  <a:pt x="113" y="110"/>
                  <a:pt x="126" y="107"/>
                </a:cubicBezTo>
                <a:cubicBezTo>
                  <a:pt x="141" y="104"/>
                  <a:pt x="154" y="93"/>
                  <a:pt x="164" y="84"/>
                </a:cubicBezTo>
                <a:cubicBezTo>
                  <a:pt x="176" y="73"/>
                  <a:pt x="186" y="59"/>
                  <a:pt x="194" y="45"/>
                </a:cubicBezTo>
                <a:cubicBezTo>
                  <a:pt x="198" y="38"/>
                  <a:pt x="201" y="35"/>
                  <a:pt x="200" y="27"/>
                </a:cubicBezTo>
                <a:cubicBezTo>
                  <a:pt x="199" y="19"/>
                  <a:pt x="194" y="9"/>
                  <a:pt x="189" y="3"/>
                </a:cubicBezTo>
                <a:cubicBezTo>
                  <a:pt x="187" y="0"/>
                  <a:pt x="187" y="0"/>
                  <a:pt x="187" y="0"/>
                </a:cubicBezTo>
                <a:cubicBezTo>
                  <a:pt x="195" y="5"/>
                  <a:pt x="203" y="11"/>
                  <a:pt x="210" y="14"/>
                </a:cubicBezTo>
                <a:cubicBezTo>
                  <a:pt x="221" y="19"/>
                  <a:pt x="236" y="26"/>
                  <a:pt x="242" y="38"/>
                </a:cubicBezTo>
                <a:cubicBezTo>
                  <a:pt x="249" y="50"/>
                  <a:pt x="253" y="64"/>
                  <a:pt x="261" y="75"/>
                </a:cubicBezTo>
                <a:cubicBezTo>
                  <a:pt x="268" y="86"/>
                  <a:pt x="280" y="80"/>
                  <a:pt x="291" y="77"/>
                </a:cubicBezTo>
                <a:cubicBezTo>
                  <a:pt x="295" y="75"/>
                  <a:pt x="301" y="73"/>
                  <a:pt x="306" y="73"/>
                </a:cubicBezTo>
                <a:cubicBezTo>
                  <a:pt x="312" y="74"/>
                  <a:pt x="315" y="79"/>
                  <a:pt x="320" y="80"/>
                </a:cubicBezTo>
                <a:cubicBezTo>
                  <a:pt x="325" y="80"/>
                  <a:pt x="329" y="78"/>
                  <a:pt x="334" y="78"/>
                </a:cubicBezTo>
                <a:cubicBezTo>
                  <a:pt x="340" y="79"/>
                  <a:pt x="345" y="79"/>
                  <a:pt x="349" y="85"/>
                </a:cubicBezTo>
                <a:cubicBezTo>
                  <a:pt x="353" y="93"/>
                  <a:pt x="347" y="109"/>
                  <a:pt x="344" y="117"/>
                </a:cubicBezTo>
                <a:cubicBezTo>
                  <a:pt x="349" y="122"/>
                  <a:pt x="357" y="126"/>
                  <a:pt x="360" y="132"/>
                </a:cubicBezTo>
                <a:cubicBezTo>
                  <a:pt x="358" y="134"/>
                  <a:pt x="358" y="134"/>
                  <a:pt x="358" y="134"/>
                </a:cubicBezTo>
                <a:cubicBezTo>
                  <a:pt x="354" y="138"/>
                  <a:pt x="349" y="134"/>
                  <a:pt x="344" y="135"/>
                </a:cubicBezTo>
                <a:cubicBezTo>
                  <a:pt x="336" y="135"/>
                  <a:pt x="327" y="140"/>
                  <a:pt x="321" y="143"/>
                </a:cubicBezTo>
                <a:cubicBezTo>
                  <a:pt x="315" y="145"/>
                  <a:pt x="310" y="149"/>
                  <a:pt x="305" y="152"/>
                </a:cubicBezTo>
                <a:cubicBezTo>
                  <a:pt x="296" y="157"/>
                  <a:pt x="288" y="161"/>
                  <a:pt x="279" y="167"/>
                </a:cubicBezTo>
                <a:cubicBezTo>
                  <a:pt x="273" y="173"/>
                  <a:pt x="264" y="178"/>
                  <a:pt x="260" y="185"/>
                </a:cubicBezTo>
                <a:cubicBezTo>
                  <a:pt x="256" y="192"/>
                  <a:pt x="258" y="194"/>
                  <a:pt x="259" y="200"/>
                </a:cubicBezTo>
                <a:cubicBezTo>
                  <a:pt x="260" y="202"/>
                  <a:pt x="261" y="211"/>
                  <a:pt x="259" y="213"/>
                </a:cubicBezTo>
                <a:cubicBezTo>
                  <a:pt x="257" y="217"/>
                  <a:pt x="247" y="221"/>
                  <a:pt x="243" y="226"/>
                </a:cubicBezTo>
                <a:cubicBezTo>
                  <a:pt x="234" y="239"/>
                  <a:pt x="245" y="255"/>
                  <a:pt x="252" y="268"/>
                </a:cubicBezTo>
                <a:cubicBezTo>
                  <a:pt x="256" y="274"/>
                  <a:pt x="262" y="280"/>
                  <a:pt x="265" y="287"/>
                </a:cubicBezTo>
                <a:cubicBezTo>
                  <a:pt x="268" y="292"/>
                  <a:pt x="266" y="299"/>
                  <a:pt x="274" y="299"/>
                </a:cubicBezTo>
                <a:cubicBezTo>
                  <a:pt x="277" y="299"/>
                  <a:pt x="278" y="295"/>
                  <a:pt x="281" y="296"/>
                </a:cubicBezTo>
                <a:cubicBezTo>
                  <a:pt x="285" y="296"/>
                  <a:pt x="288" y="301"/>
                  <a:pt x="290" y="303"/>
                </a:cubicBezTo>
                <a:cubicBezTo>
                  <a:pt x="294" y="310"/>
                  <a:pt x="293" y="314"/>
                  <a:pt x="302" y="314"/>
                </a:cubicBezTo>
                <a:cubicBezTo>
                  <a:pt x="319" y="314"/>
                  <a:pt x="329" y="297"/>
                  <a:pt x="343" y="291"/>
                </a:cubicBezTo>
                <a:cubicBezTo>
                  <a:pt x="344" y="305"/>
                  <a:pt x="338" y="332"/>
                  <a:pt x="346" y="344"/>
                </a:cubicBezTo>
                <a:cubicBezTo>
                  <a:pt x="348" y="347"/>
                  <a:pt x="354" y="351"/>
                  <a:pt x="358" y="352"/>
                </a:cubicBezTo>
                <a:cubicBezTo>
                  <a:pt x="366" y="354"/>
                  <a:pt x="369" y="348"/>
                  <a:pt x="376" y="352"/>
                </a:cubicBezTo>
                <a:cubicBezTo>
                  <a:pt x="381" y="355"/>
                  <a:pt x="383" y="361"/>
                  <a:pt x="386" y="365"/>
                </a:cubicBezTo>
                <a:cubicBezTo>
                  <a:pt x="389" y="372"/>
                  <a:pt x="395" y="379"/>
                  <a:pt x="397" y="385"/>
                </a:cubicBezTo>
                <a:cubicBezTo>
                  <a:pt x="400" y="395"/>
                  <a:pt x="391" y="414"/>
                  <a:pt x="389" y="426"/>
                </a:cubicBezTo>
                <a:cubicBezTo>
                  <a:pt x="388" y="438"/>
                  <a:pt x="391" y="451"/>
                  <a:pt x="387" y="462"/>
                </a:cubicBezTo>
                <a:cubicBezTo>
                  <a:pt x="384" y="472"/>
                  <a:pt x="376" y="481"/>
                  <a:pt x="383" y="489"/>
                </a:cubicBezTo>
                <a:cubicBezTo>
                  <a:pt x="390" y="497"/>
                  <a:pt x="396" y="500"/>
                  <a:pt x="389" y="511"/>
                </a:cubicBezTo>
                <a:cubicBezTo>
                  <a:pt x="383" y="520"/>
                  <a:pt x="378" y="529"/>
                  <a:pt x="374" y="539"/>
                </a:cubicBezTo>
                <a:cubicBezTo>
                  <a:pt x="371" y="547"/>
                  <a:pt x="360" y="564"/>
                  <a:pt x="350" y="565"/>
                </a:cubicBezTo>
                <a:lnTo>
                  <a:pt x="349" y="56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Freeform 385"/>
          <p:cNvSpPr>
            <a:spLocks/>
          </p:cNvSpPr>
          <p:nvPr userDrawn="1"/>
        </p:nvSpPr>
        <p:spPr bwMode="auto">
          <a:xfrm>
            <a:off x="3875867" y="5470323"/>
            <a:ext cx="361820" cy="376895"/>
          </a:xfrm>
          <a:custGeom>
            <a:avLst/>
            <a:gdLst>
              <a:gd name="T0" fmla="*/ 2147483646 w 389"/>
              <a:gd name="T1" fmla="*/ 2147483646 h 404"/>
              <a:gd name="T2" fmla="*/ 2147483646 w 389"/>
              <a:gd name="T3" fmla="*/ 2147483646 h 404"/>
              <a:gd name="T4" fmla="*/ 2147483646 w 389"/>
              <a:gd name="T5" fmla="*/ 2147483646 h 404"/>
              <a:gd name="T6" fmla="*/ 2147483646 w 389"/>
              <a:gd name="T7" fmla="*/ 2147483646 h 404"/>
              <a:gd name="T8" fmla="*/ 2147483646 w 389"/>
              <a:gd name="T9" fmla="*/ 2147483646 h 404"/>
              <a:gd name="T10" fmla="*/ 2147483646 w 389"/>
              <a:gd name="T11" fmla="*/ 2147483646 h 404"/>
              <a:gd name="T12" fmla="*/ 2147483646 w 389"/>
              <a:gd name="T13" fmla="*/ 2147483646 h 404"/>
              <a:gd name="T14" fmla="*/ 2147483646 w 389"/>
              <a:gd name="T15" fmla="*/ 2147483646 h 404"/>
              <a:gd name="T16" fmla="*/ 2147483646 w 389"/>
              <a:gd name="T17" fmla="*/ 2147483646 h 404"/>
              <a:gd name="T18" fmla="*/ 2147483646 w 389"/>
              <a:gd name="T19" fmla="*/ 2147483646 h 404"/>
              <a:gd name="T20" fmla="*/ 2147483646 w 389"/>
              <a:gd name="T21" fmla="*/ 2147483646 h 404"/>
              <a:gd name="T22" fmla="*/ 2147483646 w 389"/>
              <a:gd name="T23" fmla="*/ 2147483646 h 404"/>
              <a:gd name="T24" fmla="*/ 2147483646 w 389"/>
              <a:gd name="T25" fmla="*/ 2147483646 h 404"/>
              <a:gd name="T26" fmla="*/ 2147483646 w 389"/>
              <a:gd name="T27" fmla="*/ 2147483646 h 404"/>
              <a:gd name="T28" fmla="*/ 2147483646 w 389"/>
              <a:gd name="T29" fmla="*/ 2147483646 h 404"/>
              <a:gd name="T30" fmla="*/ 2147483646 w 389"/>
              <a:gd name="T31" fmla="*/ 2147483646 h 404"/>
              <a:gd name="T32" fmla="*/ 2147483646 w 389"/>
              <a:gd name="T33" fmla="*/ 2147483646 h 404"/>
              <a:gd name="T34" fmla="*/ 2147483646 w 389"/>
              <a:gd name="T35" fmla="*/ 2147483646 h 404"/>
              <a:gd name="T36" fmla="*/ 2147483646 w 389"/>
              <a:gd name="T37" fmla="*/ 2147483646 h 404"/>
              <a:gd name="T38" fmla="*/ 2147483646 w 389"/>
              <a:gd name="T39" fmla="*/ 2147483646 h 404"/>
              <a:gd name="T40" fmla="*/ 2147483646 w 389"/>
              <a:gd name="T41" fmla="*/ 2147483646 h 404"/>
              <a:gd name="T42" fmla="*/ 2147483646 w 389"/>
              <a:gd name="T43" fmla="*/ 2147483646 h 404"/>
              <a:gd name="T44" fmla="*/ 2147483646 w 389"/>
              <a:gd name="T45" fmla="*/ 2147483646 h 404"/>
              <a:gd name="T46" fmla="*/ 2147483646 w 389"/>
              <a:gd name="T47" fmla="*/ 2147483646 h 404"/>
              <a:gd name="T48" fmla="*/ 2147483646 w 389"/>
              <a:gd name="T49" fmla="*/ 2147483646 h 404"/>
              <a:gd name="T50" fmla="*/ 2147483646 w 389"/>
              <a:gd name="T51" fmla="*/ 2147483646 h 404"/>
              <a:gd name="T52" fmla="*/ 2147483646 w 389"/>
              <a:gd name="T53" fmla="*/ 2147483646 h 404"/>
              <a:gd name="T54" fmla="*/ 2147483646 w 389"/>
              <a:gd name="T55" fmla="*/ 2147483646 h 404"/>
              <a:gd name="T56" fmla="*/ 2147483646 w 389"/>
              <a:gd name="T57" fmla="*/ 2147483646 h 404"/>
              <a:gd name="T58" fmla="*/ 2147483646 w 389"/>
              <a:gd name="T59" fmla="*/ 2147483646 h 404"/>
              <a:gd name="T60" fmla="*/ 2147483646 w 389"/>
              <a:gd name="T61" fmla="*/ 2147483646 h 404"/>
              <a:gd name="T62" fmla="*/ 2147483646 w 389"/>
              <a:gd name="T63" fmla="*/ 2147483646 h 404"/>
              <a:gd name="T64" fmla="*/ 2147483646 w 389"/>
              <a:gd name="T65" fmla="*/ 2147483646 h 404"/>
              <a:gd name="T66" fmla="*/ 2147483646 w 389"/>
              <a:gd name="T67" fmla="*/ 2147483646 h 404"/>
              <a:gd name="T68" fmla="*/ 2147483646 w 389"/>
              <a:gd name="T69" fmla="*/ 2147483646 h 404"/>
              <a:gd name="T70" fmla="*/ 2147483646 w 389"/>
              <a:gd name="T71" fmla="*/ 2147483646 h 404"/>
              <a:gd name="T72" fmla="*/ 2147483646 w 389"/>
              <a:gd name="T73" fmla="*/ 2147483646 h 404"/>
              <a:gd name="T74" fmla="*/ 2147483646 w 389"/>
              <a:gd name="T75" fmla="*/ 2147483646 h 404"/>
              <a:gd name="T76" fmla="*/ 2147483646 w 389"/>
              <a:gd name="T77" fmla="*/ 2147483646 h 404"/>
              <a:gd name="T78" fmla="*/ 2147483646 w 389"/>
              <a:gd name="T79" fmla="*/ 2147483646 h 404"/>
              <a:gd name="T80" fmla="*/ 2147483646 w 389"/>
              <a:gd name="T81" fmla="*/ 2147483646 h 404"/>
              <a:gd name="T82" fmla="*/ 2147483646 w 389"/>
              <a:gd name="T83" fmla="*/ 2147483646 h 404"/>
              <a:gd name="T84" fmla="*/ 2147483646 w 389"/>
              <a:gd name="T85" fmla="*/ 2147483646 h 404"/>
              <a:gd name="T86" fmla="*/ 2147483646 w 389"/>
              <a:gd name="T87" fmla="*/ 2147483646 h 404"/>
              <a:gd name="T88" fmla="*/ 2147483646 w 389"/>
              <a:gd name="T89" fmla="*/ 2147483646 h 404"/>
              <a:gd name="T90" fmla="*/ 2147483646 w 389"/>
              <a:gd name="T91" fmla="*/ 2147483646 h 404"/>
              <a:gd name="T92" fmla="*/ 0 w 389"/>
              <a:gd name="T93" fmla="*/ 2147483646 h 404"/>
              <a:gd name="T94" fmla="*/ 2147483646 w 389"/>
              <a:gd name="T95" fmla="*/ 2147483646 h 404"/>
              <a:gd name="T96" fmla="*/ 2147483646 w 389"/>
              <a:gd name="T97" fmla="*/ 2147483646 h 404"/>
              <a:gd name="T98" fmla="*/ 2147483646 w 389"/>
              <a:gd name="T99" fmla="*/ 2147483646 h 404"/>
              <a:gd name="T100" fmla="*/ 2147483646 w 389"/>
              <a:gd name="T101" fmla="*/ 2147483646 h 404"/>
              <a:gd name="T102" fmla="*/ 2147483646 w 389"/>
              <a:gd name="T103" fmla="*/ 2147483646 h 404"/>
              <a:gd name="T104" fmla="*/ 2147483646 w 389"/>
              <a:gd name="T105" fmla="*/ 2147483646 h 404"/>
              <a:gd name="T106" fmla="*/ 2147483646 w 389"/>
              <a:gd name="T107" fmla="*/ 2147483646 h 404"/>
              <a:gd name="T108" fmla="*/ 2147483646 w 389"/>
              <a:gd name="T109" fmla="*/ 2147483646 h 404"/>
              <a:gd name="T110" fmla="*/ 2147483646 w 389"/>
              <a:gd name="T111" fmla="*/ 2147483646 h 404"/>
              <a:gd name="T112" fmla="*/ 2147483646 w 389"/>
              <a:gd name="T113" fmla="*/ 2147483646 h 404"/>
              <a:gd name="T114" fmla="*/ 2147483646 w 389"/>
              <a:gd name="T115" fmla="*/ 2147483646 h 40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89"/>
              <a:gd name="T175" fmla="*/ 0 h 404"/>
              <a:gd name="T176" fmla="*/ 389 w 389"/>
              <a:gd name="T177" fmla="*/ 404 h 40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89" h="404">
                <a:moveTo>
                  <a:pt x="29" y="245"/>
                </a:moveTo>
                <a:cubicBezTo>
                  <a:pt x="35" y="252"/>
                  <a:pt x="35" y="268"/>
                  <a:pt x="40" y="277"/>
                </a:cubicBezTo>
                <a:cubicBezTo>
                  <a:pt x="43" y="283"/>
                  <a:pt x="49" y="287"/>
                  <a:pt x="52" y="293"/>
                </a:cubicBezTo>
                <a:cubicBezTo>
                  <a:pt x="54" y="300"/>
                  <a:pt x="49" y="303"/>
                  <a:pt x="46" y="309"/>
                </a:cubicBezTo>
                <a:cubicBezTo>
                  <a:pt x="42" y="319"/>
                  <a:pt x="46" y="321"/>
                  <a:pt x="51" y="329"/>
                </a:cubicBezTo>
                <a:cubicBezTo>
                  <a:pt x="57" y="337"/>
                  <a:pt x="58" y="349"/>
                  <a:pt x="62" y="358"/>
                </a:cubicBezTo>
                <a:cubicBezTo>
                  <a:pt x="67" y="372"/>
                  <a:pt x="68" y="391"/>
                  <a:pt x="74" y="404"/>
                </a:cubicBezTo>
                <a:cubicBezTo>
                  <a:pt x="77" y="398"/>
                  <a:pt x="88" y="397"/>
                  <a:pt x="94" y="395"/>
                </a:cubicBezTo>
                <a:cubicBezTo>
                  <a:pt x="103" y="392"/>
                  <a:pt x="107" y="381"/>
                  <a:pt x="116" y="377"/>
                </a:cubicBezTo>
                <a:cubicBezTo>
                  <a:pt x="123" y="373"/>
                  <a:pt x="121" y="376"/>
                  <a:pt x="128" y="379"/>
                </a:cubicBezTo>
                <a:cubicBezTo>
                  <a:pt x="132" y="381"/>
                  <a:pt x="138" y="381"/>
                  <a:pt x="143" y="382"/>
                </a:cubicBezTo>
                <a:cubicBezTo>
                  <a:pt x="148" y="382"/>
                  <a:pt x="154" y="381"/>
                  <a:pt x="159" y="383"/>
                </a:cubicBezTo>
                <a:cubicBezTo>
                  <a:pt x="163" y="384"/>
                  <a:pt x="166" y="389"/>
                  <a:pt x="170" y="392"/>
                </a:cubicBezTo>
                <a:cubicBezTo>
                  <a:pt x="178" y="398"/>
                  <a:pt x="180" y="389"/>
                  <a:pt x="186" y="382"/>
                </a:cubicBezTo>
                <a:cubicBezTo>
                  <a:pt x="191" y="377"/>
                  <a:pt x="190" y="376"/>
                  <a:pt x="196" y="375"/>
                </a:cubicBezTo>
                <a:cubicBezTo>
                  <a:pt x="202" y="374"/>
                  <a:pt x="210" y="376"/>
                  <a:pt x="216" y="377"/>
                </a:cubicBezTo>
                <a:cubicBezTo>
                  <a:pt x="219" y="377"/>
                  <a:pt x="224" y="380"/>
                  <a:pt x="227" y="378"/>
                </a:cubicBezTo>
                <a:cubicBezTo>
                  <a:pt x="230" y="376"/>
                  <a:pt x="234" y="363"/>
                  <a:pt x="235" y="360"/>
                </a:cubicBezTo>
                <a:cubicBezTo>
                  <a:pt x="239" y="346"/>
                  <a:pt x="241" y="329"/>
                  <a:pt x="251" y="318"/>
                </a:cubicBezTo>
                <a:cubicBezTo>
                  <a:pt x="267" y="303"/>
                  <a:pt x="293" y="299"/>
                  <a:pt x="313" y="293"/>
                </a:cubicBezTo>
                <a:cubicBezTo>
                  <a:pt x="322" y="290"/>
                  <a:pt x="332" y="290"/>
                  <a:pt x="341" y="293"/>
                </a:cubicBezTo>
                <a:cubicBezTo>
                  <a:pt x="349" y="295"/>
                  <a:pt x="355" y="299"/>
                  <a:pt x="362" y="302"/>
                </a:cubicBezTo>
                <a:cubicBezTo>
                  <a:pt x="365" y="304"/>
                  <a:pt x="368" y="303"/>
                  <a:pt x="371" y="306"/>
                </a:cubicBezTo>
                <a:cubicBezTo>
                  <a:pt x="377" y="299"/>
                  <a:pt x="379" y="289"/>
                  <a:pt x="381" y="281"/>
                </a:cubicBezTo>
                <a:cubicBezTo>
                  <a:pt x="383" y="275"/>
                  <a:pt x="383" y="269"/>
                  <a:pt x="384" y="263"/>
                </a:cubicBezTo>
                <a:cubicBezTo>
                  <a:pt x="385" y="257"/>
                  <a:pt x="389" y="251"/>
                  <a:pt x="389" y="245"/>
                </a:cubicBezTo>
                <a:cubicBezTo>
                  <a:pt x="389" y="234"/>
                  <a:pt x="379" y="236"/>
                  <a:pt x="373" y="229"/>
                </a:cubicBezTo>
                <a:cubicBezTo>
                  <a:pt x="365" y="222"/>
                  <a:pt x="372" y="210"/>
                  <a:pt x="372" y="202"/>
                </a:cubicBezTo>
                <a:cubicBezTo>
                  <a:pt x="362" y="202"/>
                  <a:pt x="353" y="201"/>
                  <a:pt x="344" y="200"/>
                </a:cubicBezTo>
                <a:cubicBezTo>
                  <a:pt x="334" y="198"/>
                  <a:pt x="321" y="202"/>
                  <a:pt x="315" y="191"/>
                </a:cubicBezTo>
                <a:cubicBezTo>
                  <a:pt x="311" y="186"/>
                  <a:pt x="314" y="175"/>
                  <a:pt x="314" y="169"/>
                </a:cubicBezTo>
                <a:cubicBezTo>
                  <a:pt x="314" y="160"/>
                  <a:pt x="314" y="150"/>
                  <a:pt x="311" y="141"/>
                </a:cubicBezTo>
                <a:cubicBezTo>
                  <a:pt x="310" y="136"/>
                  <a:pt x="306" y="128"/>
                  <a:pt x="301" y="126"/>
                </a:cubicBezTo>
                <a:cubicBezTo>
                  <a:pt x="296" y="123"/>
                  <a:pt x="290" y="127"/>
                  <a:pt x="285" y="125"/>
                </a:cubicBezTo>
                <a:cubicBezTo>
                  <a:pt x="280" y="124"/>
                  <a:pt x="275" y="118"/>
                  <a:pt x="270" y="116"/>
                </a:cubicBezTo>
                <a:cubicBezTo>
                  <a:pt x="262" y="111"/>
                  <a:pt x="254" y="108"/>
                  <a:pt x="245" y="105"/>
                </a:cubicBezTo>
                <a:cubicBezTo>
                  <a:pt x="237" y="102"/>
                  <a:pt x="229" y="98"/>
                  <a:pt x="221" y="98"/>
                </a:cubicBezTo>
                <a:cubicBezTo>
                  <a:pt x="215" y="99"/>
                  <a:pt x="209" y="102"/>
                  <a:pt x="203" y="101"/>
                </a:cubicBezTo>
                <a:cubicBezTo>
                  <a:pt x="196" y="100"/>
                  <a:pt x="187" y="93"/>
                  <a:pt x="182" y="89"/>
                </a:cubicBezTo>
                <a:cubicBezTo>
                  <a:pt x="179" y="86"/>
                  <a:pt x="177" y="83"/>
                  <a:pt x="173" y="81"/>
                </a:cubicBezTo>
                <a:cubicBezTo>
                  <a:pt x="171" y="80"/>
                  <a:pt x="167" y="80"/>
                  <a:pt x="166" y="79"/>
                </a:cubicBezTo>
                <a:cubicBezTo>
                  <a:pt x="161" y="74"/>
                  <a:pt x="161" y="58"/>
                  <a:pt x="160" y="51"/>
                </a:cubicBezTo>
                <a:cubicBezTo>
                  <a:pt x="160" y="40"/>
                  <a:pt x="160" y="29"/>
                  <a:pt x="162" y="17"/>
                </a:cubicBezTo>
                <a:cubicBezTo>
                  <a:pt x="164" y="0"/>
                  <a:pt x="151" y="2"/>
                  <a:pt x="137" y="5"/>
                </a:cubicBezTo>
                <a:cubicBezTo>
                  <a:pt x="115" y="11"/>
                  <a:pt x="104" y="22"/>
                  <a:pt x="86" y="34"/>
                </a:cubicBezTo>
                <a:cubicBezTo>
                  <a:pt x="74" y="42"/>
                  <a:pt x="67" y="54"/>
                  <a:pt x="52" y="52"/>
                </a:cubicBezTo>
                <a:cubicBezTo>
                  <a:pt x="44" y="51"/>
                  <a:pt x="4" y="47"/>
                  <a:pt x="0" y="48"/>
                </a:cubicBezTo>
                <a:cubicBezTo>
                  <a:pt x="2" y="49"/>
                  <a:pt x="2" y="49"/>
                  <a:pt x="2" y="49"/>
                </a:cubicBezTo>
                <a:cubicBezTo>
                  <a:pt x="3" y="52"/>
                  <a:pt x="10" y="56"/>
                  <a:pt x="13" y="57"/>
                </a:cubicBezTo>
                <a:cubicBezTo>
                  <a:pt x="21" y="59"/>
                  <a:pt x="25" y="52"/>
                  <a:pt x="32" y="57"/>
                </a:cubicBezTo>
                <a:cubicBezTo>
                  <a:pt x="37" y="60"/>
                  <a:pt x="39" y="66"/>
                  <a:pt x="41" y="70"/>
                </a:cubicBezTo>
                <a:cubicBezTo>
                  <a:pt x="45" y="76"/>
                  <a:pt x="50" y="83"/>
                  <a:pt x="53" y="90"/>
                </a:cubicBezTo>
                <a:cubicBezTo>
                  <a:pt x="56" y="100"/>
                  <a:pt x="46" y="119"/>
                  <a:pt x="45" y="131"/>
                </a:cubicBezTo>
                <a:cubicBezTo>
                  <a:pt x="43" y="143"/>
                  <a:pt x="47" y="155"/>
                  <a:pt x="43" y="167"/>
                </a:cubicBezTo>
                <a:cubicBezTo>
                  <a:pt x="40" y="177"/>
                  <a:pt x="32" y="185"/>
                  <a:pt x="39" y="194"/>
                </a:cubicBezTo>
                <a:cubicBezTo>
                  <a:pt x="46" y="202"/>
                  <a:pt x="52" y="204"/>
                  <a:pt x="45" y="215"/>
                </a:cubicBezTo>
                <a:cubicBezTo>
                  <a:pt x="39" y="225"/>
                  <a:pt x="34" y="234"/>
                  <a:pt x="30" y="244"/>
                </a:cubicBezTo>
                <a:lnTo>
                  <a:pt x="29" y="24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Freeform 386"/>
          <p:cNvSpPr>
            <a:spLocks/>
          </p:cNvSpPr>
          <p:nvPr userDrawn="1"/>
        </p:nvSpPr>
        <p:spPr bwMode="auto">
          <a:xfrm>
            <a:off x="4086930" y="5740012"/>
            <a:ext cx="232839" cy="231163"/>
          </a:xfrm>
          <a:custGeom>
            <a:avLst/>
            <a:gdLst>
              <a:gd name="T0" fmla="*/ 2147483646 w 249"/>
              <a:gd name="T1" fmla="*/ 2147483646 h 247"/>
              <a:gd name="T2" fmla="*/ 2147483646 w 249"/>
              <a:gd name="T3" fmla="*/ 2147483646 h 247"/>
              <a:gd name="T4" fmla="*/ 2147483646 w 249"/>
              <a:gd name="T5" fmla="*/ 2147483646 h 247"/>
              <a:gd name="T6" fmla="*/ 2147483646 w 249"/>
              <a:gd name="T7" fmla="*/ 2147483646 h 247"/>
              <a:gd name="T8" fmla="*/ 2147483646 w 249"/>
              <a:gd name="T9" fmla="*/ 2147483646 h 247"/>
              <a:gd name="T10" fmla="*/ 2147483646 w 249"/>
              <a:gd name="T11" fmla="*/ 2147483646 h 247"/>
              <a:gd name="T12" fmla="*/ 0 w 249"/>
              <a:gd name="T13" fmla="*/ 2147483646 h 247"/>
              <a:gd name="T14" fmla="*/ 2147483646 w 249"/>
              <a:gd name="T15" fmla="*/ 2147483646 h 247"/>
              <a:gd name="T16" fmla="*/ 2147483646 w 249"/>
              <a:gd name="T17" fmla="*/ 2147483646 h 247"/>
              <a:gd name="T18" fmla="*/ 2147483646 w 249"/>
              <a:gd name="T19" fmla="*/ 2147483646 h 247"/>
              <a:gd name="T20" fmla="*/ 2147483646 w 249"/>
              <a:gd name="T21" fmla="*/ 2147483646 h 247"/>
              <a:gd name="T22" fmla="*/ 2147483646 w 249"/>
              <a:gd name="T23" fmla="*/ 2147483646 h 247"/>
              <a:gd name="T24" fmla="*/ 2147483646 w 249"/>
              <a:gd name="T25" fmla="*/ 2147483646 h 247"/>
              <a:gd name="T26" fmla="*/ 2147483646 w 249"/>
              <a:gd name="T27" fmla="*/ 2147483646 h 247"/>
              <a:gd name="T28" fmla="*/ 2147483646 w 249"/>
              <a:gd name="T29" fmla="*/ 2147483646 h 247"/>
              <a:gd name="T30" fmla="*/ 2147483646 w 249"/>
              <a:gd name="T31" fmla="*/ 2147483646 h 247"/>
              <a:gd name="T32" fmla="*/ 2147483646 w 249"/>
              <a:gd name="T33" fmla="*/ 2147483646 h 247"/>
              <a:gd name="T34" fmla="*/ 2147483646 w 249"/>
              <a:gd name="T35" fmla="*/ 2147483646 h 247"/>
              <a:gd name="T36" fmla="*/ 2147483646 w 249"/>
              <a:gd name="T37" fmla="*/ 2147483646 h 247"/>
              <a:gd name="T38" fmla="*/ 2147483646 w 249"/>
              <a:gd name="T39" fmla="*/ 2147483646 h 247"/>
              <a:gd name="T40" fmla="*/ 2147483646 w 249"/>
              <a:gd name="T41" fmla="*/ 2147483646 h 247"/>
              <a:gd name="T42" fmla="*/ 2147483646 w 249"/>
              <a:gd name="T43" fmla="*/ 2147483646 h 247"/>
              <a:gd name="T44" fmla="*/ 2147483646 w 249"/>
              <a:gd name="T45" fmla="*/ 2147483646 h 247"/>
              <a:gd name="T46" fmla="*/ 2147483646 w 249"/>
              <a:gd name="T47" fmla="*/ 2147483646 h 247"/>
              <a:gd name="T48" fmla="*/ 2147483646 w 249"/>
              <a:gd name="T49" fmla="*/ 2147483646 h 247"/>
              <a:gd name="T50" fmla="*/ 2147483646 w 249"/>
              <a:gd name="T51" fmla="*/ 2147483646 h 247"/>
              <a:gd name="T52" fmla="*/ 2147483646 w 249"/>
              <a:gd name="T53" fmla="*/ 2147483646 h 247"/>
              <a:gd name="T54" fmla="*/ 2147483646 w 249"/>
              <a:gd name="T55" fmla="*/ 2147483646 h 247"/>
              <a:gd name="T56" fmla="*/ 2147483646 w 249"/>
              <a:gd name="T57" fmla="*/ 2147483646 h 247"/>
              <a:gd name="T58" fmla="*/ 2147483646 w 249"/>
              <a:gd name="T59" fmla="*/ 2147483646 h 24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49"/>
              <a:gd name="T91" fmla="*/ 0 h 247"/>
              <a:gd name="T92" fmla="*/ 249 w 249"/>
              <a:gd name="T93" fmla="*/ 247 h 247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49" h="247">
                <a:moveTo>
                  <a:pt x="139" y="13"/>
                </a:moveTo>
                <a:cubicBezTo>
                  <a:pt x="138" y="13"/>
                  <a:pt x="136" y="13"/>
                  <a:pt x="135" y="12"/>
                </a:cubicBezTo>
                <a:cubicBezTo>
                  <a:pt x="128" y="9"/>
                  <a:pt x="122" y="4"/>
                  <a:pt x="114" y="3"/>
                </a:cubicBezTo>
                <a:cubicBezTo>
                  <a:pt x="105" y="0"/>
                  <a:pt x="95" y="0"/>
                  <a:pt x="86" y="3"/>
                </a:cubicBezTo>
                <a:cubicBezTo>
                  <a:pt x="66" y="9"/>
                  <a:pt x="40" y="13"/>
                  <a:pt x="25" y="28"/>
                </a:cubicBezTo>
                <a:cubicBezTo>
                  <a:pt x="14" y="38"/>
                  <a:pt x="12" y="56"/>
                  <a:pt x="8" y="69"/>
                </a:cubicBezTo>
                <a:cubicBezTo>
                  <a:pt x="7" y="73"/>
                  <a:pt x="3" y="86"/>
                  <a:pt x="0" y="88"/>
                </a:cubicBezTo>
                <a:cubicBezTo>
                  <a:pt x="1" y="90"/>
                  <a:pt x="1" y="90"/>
                  <a:pt x="1" y="90"/>
                </a:cubicBezTo>
                <a:cubicBezTo>
                  <a:pt x="10" y="103"/>
                  <a:pt x="18" y="117"/>
                  <a:pt x="29" y="128"/>
                </a:cubicBezTo>
                <a:cubicBezTo>
                  <a:pt x="36" y="135"/>
                  <a:pt x="44" y="136"/>
                  <a:pt x="53" y="139"/>
                </a:cubicBezTo>
                <a:cubicBezTo>
                  <a:pt x="61" y="143"/>
                  <a:pt x="68" y="149"/>
                  <a:pt x="78" y="149"/>
                </a:cubicBezTo>
                <a:cubicBezTo>
                  <a:pt x="82" y="149"/>
                  <a:pt x="86" y="147"/>
                  <a:pt x="91" y="148"/>
                </a:cubicBezTo>
                <a:cubicBezTo>
                  <a:pt x="99" y="149"/>
                  <a:pt x="107" y="150"/>
                  <a:pt x="114" y="153"/>
                </a:cubicBezTo>
                <a:cubicBezTo>
                  <a:pt x="129" y="157"/>
                  <a:pt x="152" y="163"/>
                  <a:pt x="147" y="183"/>
                </a:cubicBezTo>
                <a:cubicBezTo>
                  <a:pt x="143" y="194"/>
                  <a:pt x="131" y="203"/>
                  <a:pt x="124" y="213"/>
                </a:cubicBezTo>
                <a:cubicBezTo>
                  <a:pt x="119" y="220"/>
                  <a:pt x="114" y="231"/>
                  <a:pt x="107" y="237"/>
                </a:cubicBezTo>
                <a:cubicBezTo>
                  <a:pt x="121" y="240"/>
                  <a:pt x="136" y="238"/>
                  <a:pt x="150" y="240"/>
                </a:cubicBezTo>
                <a:cubicBezTo>
                  <a:pt x="160" y="242"/>
                  <a:pt x="176" y="247"/>
                  <a:pt x="186" y="246"/>
                </a:cubicBezTo>
                <a:cubicBezTo>
                  <a:pt x="194" y="244"/>
                  <a:pt x="201" y="235"/>
                  <a:pt x="208" y="229"/>
                </a:cubicBezTo>
                <a:cubicBezTo>
                  <a:pt x="216" y="222"/>
                  <a:pt x="224" y="210"/>
                  <a:pt x="228" y="201"/>
                </a:cubicBezTo>
                <a:cubicBezTo>
                  <a:pt x="233" y="192"/>
                  <a:pt x="234" y="181"/>
                  <a:pt x="238" y="171"/>
                </a:cubicBezTo>
                <a:cubicBezTo>
                  <a:pt x="240" y="164"/>
                  <a:pt x="248" y="154"/>
                  <a:pt x="248" y="147"/>
                </a:cubicBezTo>
                <a:cubicBezTo>
                  <a:pt x="249" y="126"/>
                  <a:pt x="230" y="138"/>
                  <a:pt x="220" y="143"/>
                </a:cubicBezTo>
                <a:cubicBezTo>
                  <a:pt x="215" y="136"/>
                  <a:pt x="214" y="132"/>
                  <a:pt x="214" y="123"/>
                </a:cubicBezTo>
                <a:cubicBezTo>
                  <a:pt x="215" y="115"/>
                  <a:pt x="220" y="103"/>
                  <a:pt x="214" y="96"/>
                </a:cubicBezTo>
                <a:cubicBezTo>
                  <a:pt x="202" y="82"/>
                  <a:pt x="188" y="86"/>
                  <a:pt x="173" y="89"/>
                </a:cubicBezTo>
                <a:cubicBezTo>
                  <a:pt x="166" y="90"/>
                  <a:pt x="151" y="90"/>
                  <a:pt x="146" y="84"/>
                </a:cubicBezTo>
                <a:cubicBezTo>
                  <a:pt x="142" y="77"/>
                  <a:pt x="147" y="59"/>
                  <a:pt x="147" y="50"/>
                </a:cubicBezTo>
                <a:cubicBezTo>
                  <a:pt x="148" y="40"/>
                  <a:pt x="151" y="24"/>
                  <a:pt x="143" y="17"/>
                </a:cubicBezTo>
                <a:lnTo>
                  <a:pt x="139" y="1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Freeform 387"/>
          <p:cNvSpPr>
            <a:spLocks/>
          </p:cNvSpPr>
          <p:nvPr userDrawn="1"/>
        </p:nvSpPr>
        <p:spPr bwMode="auto">
          <a:xfrm>
            <a:off x="4174034" y="6034829"/>
            <a:ext cx="140708" cy="139033"/>
          </a:xfrm>
          <a:custGeom>
            <a:avLst/>
            <a:gdLst>
              <a:gd name="T0" fmla="*/ 2147483646 w 150"/>
              <a:gd name="T1" fmla="*/ 0 h 150"/>
              <a:gd name="T2" fmla="*/ 2147483646 w 150"/>
              <a:gd name="T3" fmla="*/ 2147483646 h 150"/>
              <a:gd name="T4" fmla="*/ 2147483646 w 150"/>
              <a:gd name="T5" fmla="*/ 2147483646 h 150"/>
              <a:gd name="T6" fmla="*/ 2147483646 w 150"/>
              <a:gd name="T7" fmla="*/ 2147483646 h 150"/>
              <a:gd name="T8" fmla="*/ 2147483646 w 150"/>
              <a:gd name="T9" fmla="*/ 2147483646 h 150"/>
              <a:gd name="T10" fmla="*/ 2147483646 w 150"/>
              <a:gd name="T11" fmla="*/ 2147483646 h 150"/>
              <a:gd name="T12" fmla="*/ 2147483646 w 150"/>
              <a:gd name="T13" fmla="*/ 2147483646 h 150"/>
              <a:gd name="T14" fmla="*/ 2147483646 w 150"/>
              <a:gd name="T15" fmla="*/ 2147483646 h 150"/>
              <a:gd name="T16" fmla="*/ 2147483646 w 150"/>
              <a:gd name="T17" fmla="*/ 2147483646 h 150"/>
              <a:gd name="T18" fmla="*/ 2147483646 w 150"/>
              <a:gd name="T19" fmla="*/ 2147483646 h 150"/>
              <a:gd name="T20" fmla="*/ 2147483646 w 150"/>
              <a:gd name="T21" fmla="*/ 2147483646 h 150"/>
              <a:gd name="T22" fmla="*/ 2147483646 w 150"/>
              <a:gd name="T23" fmla="*/ 2147483646 h 150"/>
              <a:gd name="T24" fmla="*/ 2147483646 w 150"/>
              <a:gd name="T25" fmla="*/ 2147483646 h 150"/>
              <a:gd name="T26" fmla="*/ 2147483646 w 150"/>
              <a:gd name="T27" fmla="*/ 2147483646 h 150"/>
              <a:gd name="T28" fmla="*/ 2147483646 w 150"/>
              <a:gd name="T29" fmla="*/ 2147483646 h 150"/>
              <a:gd name="T30" fmla="*/ 0 w 150"/>
              <a:gd name="T31" fmla="*/ 2147483646 h 150"/>
              <a:gd name="T32" fmla="*/ 0 w 150"/>
              <a:gd name="T33" fmla="*/ 2147483646 h 150"/>
              <a:gd name="T34" fmla="*/ 0 w 150"/>
              <a:gd name="T35" fmla="*/ 2147483646 h 150"/>
              <a:gd name="T36" fmla="*/ 2147483646 w 150"/>
              <a:gd name="T37" fmla="*/ 2147483646 h 150"/>
              <a:gd name="T38" fmla="*/ 2147483646 w 150"/>
              <a:gd name="T39" fmla="*/ 2147483646 h 150"/>
              <a:gd name="T40" fmla="*/ 2147483646 w 150"/>
              <a:gd name="T41" fmla="*/ 2147483646 h 150"/>
              <a:gd name="T42" fmla="*/ 2147483646 w 150"/>
              <a:gd name="T43" fmla="*/ 0 h 150"/>
              <a:gd name="T44" fmla="*/ 2147483646 w 150"/>
              <a:gd name="T45" fmla="*/ 0 h 15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50"/>
              <a:gd name="T70" fmla="*/ 0 h 150"/>
              <a:gd name="T71" fmla="*/ 150 w 150"/>
              <a:gd name="T72" fmla="*/ 150 h 15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50" h="150">
                <a:moveTo>
                  <a:pt x="50" y="0"/>
                </a:moveTo>
                <a:cubicBezTo>
                  <a:pt x="56" y="1"/>
                  <a:pt x="60" y="0"/>
                  <a:pt x="65" y="7"/>
                </a:cubicBezTo>
                <a:cubicBezTo>
                  <a:pt x="70" y="14"/>
                  <a:pt x="73" y="30"/>
                  <a:pt x="81" y="34"/>
                </a:cubicBezTo>
                <a:cubicBezTo>
                  <a:pt x="85" y="36"/>
                  <a:pt x="90" y="34"/>
                  <a:pt x="94" y="35"/>
                </a:cubicBezTo>
                <a:cubicBezTo>
                  <a:pt x="97" y="37"/>
                  <a:pt x="99" y="38"/>
                  <a:pt x="102" y="40"/>
                </a:cubicBezTo>
                <a:cubicBezTo>
                  <a:pt x="112" y="45"/>
                  <a:pt x="121" y="50"/>
                  <a:pt x="129" y="58"/>
                </a:cubicBezTo>
                <a:cubicBezTo>
                  <a:pt x="136" y="63"/>
                  <a:pt x="150" y="74"/>
                  <a:pt x="148" y="83"/>
                </a:cubicBezTo>
                <a:cubicBezTo>
                  <a:pt x="146" y="88"/>
                  <a:pt x="141" y="93"/>
                  <a:pt x="139" y="98"/>
                </a:cubicBezTo>
                <a:cubicBezTo>
                  <a:pt x="137" y="102"/>
                  <a:pt x="137" y="107"/>
                  <a:pt x="138" y="112"/>
                </a:cubicBezTo>
                <a:cubicBezTo>
                  <a:pt x="137" y="113"/>
                  <a:pt x="137" y="113"/>
                  <a:pt x="137" y="113"/>
                </a:cubicBezTo>
                <a:cubicBezTo>
                  <a:pt x="134" y="117"/>
                  <a:pt x="130" y="122"/>
                  <a:pt x="127" y="123"/>
                </a:cubicBezTo>
                <a:cubicBezTo>
                  <a:pt x="122" y="124"/>
                  <a:pt x="112" y="135"/>
                  <a:pt x="104" y="140"/>
                </a:cubicBezTo>
                <a:cubicBezTo>
                  <a:pt x="95" y="145"/>
                  <a:pt x="69" y="150"/>
                  <a:pt x="56" y="147"/>
                </a:cubicBezTo>
                <a:cubicBezTo>
                  <a:pt x="44" y="145"/>
                  <a:pt x="47" y="146"/>
                  <a:pt x="40" y="140"/>
                </a:cubicBezTo>
                <a:cubicBezTo>
                  <a:pt x="33" y="133"/>
                  <a:pt x="28" y="136"/>
                  <a:pt x="17" y="127"/>
                </a:cubicBezTo>
                <a:cubicBezTo>
                  <a:pt x="8" y="119"/>
                  <a:pt x="4" y="120"/>
                  <a:pt x="0" y="122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19"/>
                  <a:pt x="0" y="119"/>
                </a:cubicBezTo>
                <a:cubicBezTo>
                  <a:pt x="0" y="111"/>
                  <a:pt x="5" y="106"/>
                  <a:pt x="7" y="98"/>
                </a:cubicBezTo>
                <a:cubicBezTo>
                  <a:pt x="12" y="85"/>
                  <a:pt x="13" y="69"/>
                  <a:pt x="15" y="54"/>
                </a:cubicBezTo>
                <a:cubicBezTo>
                  <a:pt x="18" y="40"/>
                  <a:pt x="21" y="29"/>
                  <a:pt x="30" y="17"/>
                </a:cubicBezTo>
                <a:cubicBezTo>
                  <a:pt x="36" y="11"/>
                  <a:pt x="42" y="6"/>
                  <a:pt x="49" y="0"/>
                </a:cubicBezTo>
                <a:lnTo>
                  <a:pt x="5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Freeform 388"/>
          <p:cNvSpPr>
            <a:spLocks/>
          </p:cNvSpPr>
          <p:nvPr userDrawn="1"/>
        </p:nvSpPr>
        <p:spPr bwMode="auto">
          <a:xfrm>
            <a:off x="3772012" y="5034799"/>
            <a:ext cx="1144088" cy="1103885"/>
          </a:xfrm>
          <a:custGeom>
            <a:avLst/>
            <a:gdLst>
              <a:gd name="T0" fmla="*/ 2147483646 w 1226"/>
              <a:gd name="T1" fmla="*/ 2147483646 h 1183"/>
              <a:gd name="T2" fmla="*/ 2147483646 w 1226"/>
              <a:gd name="T3" fmla="*/ 2147483646 h 1183"/>
              <a:gd name="T4" fmla="*/ 2147483646 w 1226"/>
              <a:gd name="T5" fmla="*/ 2147483646 h 1183"/>
              <a:gd name="T6" fmla="*/ 2147483646 w 1226"/>
              <a:gd name="T7" fmla="*/ 2147483646 h 1183"/>
              <a:gd name="T8" fmla="*/ 2147483646 w 1226"/>
              <a:gd name="T9" fmla="*/ 2147483646 h 1183"/>
              <a:gd name="T10" fmla="*/ 2147483646 w 1226"/>
              <a:gd name="T11" fmla="*/ 2147483646 h 1183"/>
              <a:gd name="T12" fmla="*/ 2147483646 w 1226"/>
              <a:gd name="T13" fmla="*/ 2147483646 h 1183"/>
              <a:gd name="T14" fmla="*/ 2147483646 w 1226"/>
              <a:gd name="T15" fmla="*/ 2147483646 h 1183"/>
              <a:gd name="T16" fmla="*/ 2147483646 w 1226"/>
              <a:gd name="T17" fmla="*/ 2147483646 h 1183"/>
              <a:gd name="T18" fmla="*/ 2147483646 w 1226"/>
              <a:gd name="T19" fmla="*/ 2147483646 h 1183"/>
              <a:gd name="T20" fmla="*/ 2147483646 w 1226"/>
              <a:gd name="T21" fmla="*/ 2147483646 h 1183"/>
              <a:gd name="T22" fmla="*/ 2147483646 w 1226"/>
              <a:gd name="T23" fmla="*/ 2147483646 h 1183"/>
              <a:gd name="T24" fmla="*/ 2147483646 w 1226"/>
              <a:gd name="T25" fmla="*/ 2147483646 h 1183"/>
              <a:gd name="T26" fmla="*/ 2147483646 w 1226"/>
              <a:gd name="T27" fmla="*/ 2147483646 h 1183"/>
              <a:gd name="T28" fmla="*/ 2147483646 w 1226"/>
              <a:gd name="T29" fmla="*/ 2147483646 h 1183"/>
              <a:gd name="T30" fmla="*/ 2147483646 w 1226"/>
              <a:gd name="T31" fmla="*/ 2147483646 h 1183"/>
              <a:gd name="T32" fmla="*/ 2147483646 w 1226"/>
              <a:gd name="T33" fmla="*/ 2147483646 h 1183"/>
              <a:gd name="T34" fmla="*/ 2147483646 w 1226"/>
              <a:gd name="T35" fmla="*/ 2147483646 h 1183"/>
              <a:gd name="T36" fmla="*/ 2147483646 w 1226"/>
              <a:gd name="T37" fmla="*/ 2147483646 h 1183"/>
              <a:gd name="T38" fmla="*/ 2147483646 w 1226"/>
              <a:gd name="T39" fmla="*/ 2147483646 h 1183"/>
              <a:gd name="T40" fmla="*/ 2147483646 w 1226"/>
              <a:gd name="T41" fmla="*/ 2147483646 h 1183"/>
              <a:gd name="T42" fmla="*/ 2147483646 w 1226"/>
              <a:gd name="T43" fmla="*/ 2147483646 h 1183"/>
              <a:gd name="T44" fmla="*/ 2147483646 w 1226"/>
              <a:gd name="T45" fmla="*/ 2147483646 h 1183"/>
              <a:gd name="T46" fmla="*/ 2147483646 w 1226"/>
              <a:gd name="T47" fmla="*/ 2147483646 h 1183"/>
              <a:gd name="T48" fmla="*/ 2147483646 w 1226"/>
              <a:gd name="T49" fmla="*/ 2147483646 h 1183"/>
              <a:gd name="T50" fmla="*/ 2147483646 w 1226"/>
              <a:gd name="T51" fmla="*/ 2147483646 h 1183"/>
              <a:gd name="T52" fmla="*/ 2147483646 w 1226"/>
              <a:gd name="T53" fmla="*/ 2147483646 h 1183"/>
              <a:gd name="T54" fmla="*/ 2147483646 w 1226"/>
              <a:gd name="T55" fmla="*/ 2147483646 h 1183"/>
              <a:gd name="T56" fmla="*/ 2147483646 w 1226"/>
              <a:gd name="T57" fmla="*/ 2147483646 h 1183"/>
              <a:gd name="T58" fmla="*/ 2147483646 w 1226"/>
              <a:gd name="T59" fmla="*/ 2147483646 h 1183"/>
              <a:gd name="T60" fmla="*/ 2147483646 w 1226"/>
              <a:gd name="T61" fmla="*/ 2147483646 h 1183"/>
              <a:gd name="T62" fmla="*/ 2147483646 w 1226"/>
              <a:gd name="T63" fmla="*/ 2147483646 h 1183"/>
              <a:gd name="T64" fmla="*/ 2147483646 w 1226"/>
              <a:gd name="T65" fmla="*/ 2147483646 h 1183"/>
              <a:gd name="T66" fmla="*/ 2147483646 w 1226"/>
              <a:gd name="T67" fmla="*/ 2147483646 h 1183"/>
              <a:gd name="T68" fmla="*/ 2147483646 w 1226"/>
              <a:gd name="T69" fmla="*/ 2147483646 h 1183"/>
              <a:gd name="T70" fmla="*/ 2147483646 w 1226"/>
              <a:gd name="T71" fmla="*/ 2147483646 h 1183"/>
              <a:gd name="T72" fmla="*/ 2147483646 w 1226"/>
              <a:gd name="T73" fmla="*/ 2147483646 h 1183"/>
              <a:gd name="T74" fmla="*/ 2147483646 w 1226"/>
              <a:gd name="T75" fmla="*/ 2147483646 h 1183"/>
              <a:gd name="T76" fmla="*/ 2147483646 w 1226"/>
              <a:gd name="T77" fmla="*/ 2147483646 h 1183"/>
              <a:gd name="T78" fmla="*/ 2147483646 w 1226"/>
              <a:gd name="T79" fmla="*/ 2147483646 h 1183"/>
              <a:gd name="T80" fmla="*/ 2147483646 w 1226"/>
              <a:gd name="T81" fmla="*/ 2147483646 h 1183"/>
              <a:gd name="T82" fmla="*/ 2147483646 w 1226"/>
              <a:gd name="T83" fmla="*/ 2147483646 h 1183"/>
              <a:gd name="T84" fmla="*/ 2147483646 w 1226"/>
              <a:gd name="T85" fmla="*/ 2147483646 h 1183"/>
              <a:gd name="T86" fmla="*/ 2147483646 w 1226"/>
              <a:gd name="T87" fmla="*/ 2147483646 h 1183"/>
              <a:gd name="T88" fmla="*/ 2147483646 w 1226"/>
              <a:gd name="T89" fmla="*/ 2147483646 h 1183"/>
              <a:gd name="T90" fmla="*/ 2147483646 w 1226"/>
              <a:gd name="T91" fmla="*/ 2147483646 h 1183"/>
              <a:gd name="T92" fmla="*/ 2147483646 w 1226"/>
              <a:gd name="T93" fmla="*/ 2147483646 h 1183"/>
              <a:gd name="T94" fmla="*/ 2147483646 w 1226"/>
              <a:gd name="T95" fmla="*/ 2147483646 h 1183"/>
              <a:gd name="T96" fmla="*/ 2147483646 w 1226"/>
              <a:gd name="T97" fmla="*/ 2147483646 h 1183"/>
              <a:gd name="T98" fmla="*/ 2147483646 w 1226"/>
              <a:gd name="T99" fmla="*/ 2147483646 h 1183"/>
              <a:gd name="T100" fmla="*/ 2147483646 w 1226"/>
              <a:gd name="T101" fmla="*/ 2147483646 h 1183"/>
              <a:gd name="T102" fmla="*/ 2147483646 w 1226"/>
              <a:gd name="T103" fmla="*/ 2147483646 h 1183"/>
              <a:gd name="T104" fmla="*/ 2147483646 w 1226"/>
              <a:gd name="T105" fmla="*/ 2147483646 h 1183"/>
              <a:gd name="T106" fmla="*/ 2147483646 w 1226"/>
              <a:gd name="T107" fmla="*/ 2147483646 h 118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226"/>
              <a:gd name="T163" fmla="*/ 0 h 1183"/>
              <a:gd name="T164" fmla="*/ 1226 w 1226"/>
              <a:gd name="T165" fmla="*/ 1183 h 118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226" h="1183">
                <a:moveTo>
                  <a:pt x="569" y="1182"/>
                </a:moveTo>
                <a:cubicBezTo>
                  <a:pt x="568" y="1177"/>
                  <a:pt x="569" y="1173"/>
                  <a:pt x="571" y="1169"/>
                </a:cubicBezTo>
                <a:cubicBezTo>
                  <a:pt x="572" y="1163"/>
                  <a:pt x="578" y="1159"/>
                  <a:pt x="579" y="1154"/>
                </a:cubicBezTo>
                <a:cubicBezTo>
                  <a:pt x="582" y="1144"/>
                  <a:pt x="567" y="1134"/>
                  <a:pt x="561" y="1128"/>
                </a:cubicBezTo>
                <a:cubicBezTo>
                  <a:pt x="552" y="1121"/>
                  <a:pt x="543" y="1116"/>
                  <a:pt x="533" y="1111"/>
                </a:cubicBezTo>
                <a:cubicBezTo>
                  <a:pt x="531" y="1109"/>
                  <a:pt x="529" y="1107"/>
                  <a:pt x="526" y="1106"/>
                </a:cubicBezTo>
                <a:cubicBezTo>
                  <a:pt x="522" y="1105"/>
                  <a:pt x="516" y="1106"/>
                  <a:pt x="513" y="1105"/>
                </a:cubicBezTo>
                <a:cubicBezTo>
                  <a:pt x="505" y="1101"/>
                  <a:pt x="502" y="1085"/>
                  <a:pt x="496" y="1077"/>
                </a:cubicBezTo>
                <a:cubicBezTo>
                  <a:pt x="492" y="1071"/>
                  <a:pt x="488" y="1071"/>
                  <a:pt x="482" y="1071"/>
                </a:cubicBezTo>
                <a:cubicBezTo>
                  <a:pt x="481" y="1071"/>
                  <a:pt x="481" y="1071"/>
                  <a:pt x="481" y="1071"/>
                </a:cubicBezTo>
                <a:cubicBezTo>
                  <a:pt x="486" y="1067"/>
                  <a:pt x="491" y="1063"/>
                  <a:pt x="495" y="1059"/>
                </a:cubicBezTo>
                <a:cubicBezTo>
                  <a:pt x="506" y="1048"/>
                  <a:pt x="516" y="1038"/>
                  <a:pt x="529" y="1030"/>
                </a:cubicBezTo>
                <a:cubicBezTo>
                  <a:pt x="543" y="1020"/>
                  <a:pt x="556" y="1011"/>
                  <a:pt x="569" y="999"/>
                </a:cubicBezTo>
                <a:cubicBezTo>
                  <a:pt x="577" y="992"/>
                  <a:pt x="589" y="988"/>
                  <a:pt x="592" y="978"/>
                </a:cubicBezTo>
                <a:cubicBezTo>
                  <a:pt x="597" y="967"/>
                  <a:pt x="593" y="954"/>
                  <a:pt x="593" y="942"/>
                </a:cubicBezTo>
                <a:cubicBezTo>
                  <a:pt x="588" y="942"/>
                  <a:pt x="583" y="941"/>
                  <a:pt x="578" y="941"/>
                </a:cubicBezTo>
                <a:cubicBezTo>
                  <a:pt x="575" y="941"/>
                  <a:pt x="575" y="941"/>
                  <a:pt x="572" y="941"/>
                </a:cubicBezTo>
                <a:cubicBezTo>
                  <a:pt x="571" y="940"/>
                  <a:pt x="571" y="940"/>
                  <a:pt x="571" y="940"/>
                </a:cubicBezTo>
                <a:cubicBezTo>
                  <a:pt x="572" y="935"/>
                  <a:pt x="573" y="931"/>
                  <a:pt x="575" y="927"/>
                </a:cubicBezTo>
                <a:cubicBezTo>
                  <a:pt x="577" y="920"/>
                  <a:pt x="585" y="911"/>
                  <a:pt x="586" y="903"/>
                </a:cubicBezTo>
                <a:cubicBezTo>
                  <a:pt x="586" y="882"/>
                  <a:pt x="567" y="895"/>
                  <a:pt x="557" y="899"/>
                </a:cubicBezTo>
                <a:cubicBezTo>
                  <a:pt x="553" y="892"/>
                  <a:pt x="551" y="888"/>
                  <a:pt x="552" y="879"/>
                </a:cubicBezTo>
                <a:cubicBezTo>
                  <a:pt x="552" y="871"/>
                  <a:pt x="557" y="860"/>
                  <a:pt x="551" y="853"/>
                </a:cubicBezTo>
                <a:cubicBezTo>
                  <a:pt x="539" y="838"/>
                  <a:pt x="526" y="842"/>
                  <a:pt x="511" y="845"/>
                </a:cubicBezTo>
                <a:cubicBezTo>
                  <a:pt x="504" y="847"/>
                  <a:pt x="489" y="847"/>
                  <a:pt x="484" y="840"/>
                </a:cubicBezTo>
                <a:cubicBezTo>
                  <a:pt x="479" y="833"/>
                  <a:pt x="484" y="815"/>
                  <a:pt x="485" y="806"/>
                </a:cubicBezTo>
                <a:cubicBezTo>
                  <a:pt x="485" y="796"/>
                  <a:pt x="488" y="780"/>
                  <a:pt x="480" y="773"/>
                </a:cubicBezTo>
                <a:cubicBezTo>
                  <a:pt x="481" y="772"/>
                  <a:pt x="481" y="772"/>
                  <a:pt x="481" y="772"/>
                </a:cubicBezTo>
                <a:cubicBezTo>
                  <a:pt x="487" y="765"/>
                  <a:pt x="490" y="756"/>
                  <a:pt x="492" y="747"/>
                </a:cubicBezTo>
                <a:cubicBezTo>
                  <a:pt x="493" y="741"/>
                  <a:pt x="494" y="735"/>
                  <a:pt x="495" y="729"/>
                </a:cubicBezTo>
                <a:cubicBezTo>
                  <a:pt x="496" y="723"/>
                  <a:pt x="500" y="718"/>
                  <a:pt x="500" y="711"/>
                </a:cubicBezTo>
                <a:cubicBezTo>
                  <a:pt x="499" y="700"/>
                  <a:pt x="489" y="702"/>
                  <a:pt x="483" y="695"/>
                </a:cubicBezTo>
                <a:cubicBezTo>
                  <a:pt x="476" y="688"/>
                  <a:pt x="483" y="676"/>
                  <a:pt x="482" y="668"/>
                </a:cubicBezTo>
                <a:cubicBezTo>
                  <a:pt x="473" y="668"/>
                  <a:pt x="463" y="667"/>
                  <a:pt x="454" y="666"/>
                </a:cubicBezTo>
                <a:cubicBezTo>
                  <a:pt x="444" y="664"/>
                  <a:pt x="431" y="668"/>
                  <a:pt x="425" y="657"/>
                </a:cubicBezTo>
                <a:cubicBezTo>
                  <a:pt x="422" y="652"/>
                  <a:pt x="424" y="641"/>
                  <a:pt x="424" y="635"/>
                </a:cubicBezTo>
                <a:cubicBezTo>
                  <a:pt x="424" y="626"/>
                  <a:pt x="424" y="616"/>
                  <a:pt x="422" y="607"/>
                </a:cubicBezTo>
                <a:cubicBezTo>
                  <a:pt x="420" y="602"/>
                  <a:pt x="417" y="594"/>
                  <a:pt x="411" y="592"/>
                </a:cubicBezTo>
                <a:cubicBezTo>
                  <a:pt x="406" y="589"/>
                  <a:pt x="400" y="593"/>
                  <a:pt x="395" y="591"/>
                </a:cubicBezTo>
                <a:cubicBezTo>
                  <a:pt x="391" y="590"/>
                  <a:pt x="385" y="584"/>
                  <a:pt x="381" y="582"/>
                </a:cubicBezTo>
                <a:cubicBezTo>
                  <a:pt x="372" y="577"/>
                  <a:pt x="365" y="574"/>
                  <a:pt x="356" y="571"/>
                </a:cubicBezTo>
                <a:cubicBezTo>
                  <a:pt x="348" y="568"/>
                  <a:pt x="340" y="564"/>
                  <a:pt x="331" y="564"/>
                </a:cubicBezTo>
                <a:cubicBezTo>
                  <a:pt x="325" y="565"/>
                  <a:pt x="319" y="568"/>
                  <a:pt x="313" y="567"/>
                </a:cubicBezTo>
                <a:cubicBezTo>
                  <a:pt x="306" y="566"/>
                  <a:pt x="297" y="559"/>
                  <a:pt x="292" y="555"/>
                </a:cubicBezTo>
                <a:cubicBezTo>
                  <a:pt x="289" y="552"/>
                  <a:pt x="287" y="549"/>
                  <a:pt x="283" y="547"/>
                </a:cubicBezTo>
                <a:cubicBezTo>
                  <a:pt x="282" y="546"/>
                  <a:pt x="277" y="546"/>
                  <a:pt x="276" y="545"/>
                </a:cubicBezTo>
                <a:cubicBezTo>
                  <a:pt x="271" y="540"/>
                  <a:pt x="271" y="524"/>
                  <a:pt x="271" y="517"/>
                </a:cubicBezTo>
                <a:cubicBezTo>
                  <a:pt x="270" y="506"/>
                  <a:pt x="271" y="495"/>
                  <a:pt x="272" y="483"/>
                </a:cubicBezTo>
                <a:cubicBezTo>
                  <a:pt x="274" y="466"/>
                  <a:pt x="262" y="468"/>
                  <a:pt x="247" y="471"/>
                </a:cubicBezTo>
                <a:cubicBezTo>
                  <a:pt x="226" y="477"/>
                  <a:pt x="214" y="489"/>
                  <a:pt x="196" y="500"/>
                </a:cubicBezTo>
                <a:cubicBezTo>
                  <a:pt x="184" y="508"/>
                  <a:pt x="178" y="520"/>
                  <a:pt x="162" y="518"/>
                </a:cubicBezTo>
                <a:cubicBezTo>
                  <a:pt x="155" y="517"/>
                  <a:pt x="122" y="513"/>
                  <a:pt x="113" y="513"/>
                </a:cubicBezTo>
                <a:cubicBezTo>
                  <a:pt x="111" y="512"/>
                  <a:pt x="111" y="512"/>
                  <a:pt x="111" y="512"/>
                </a:cubicBezTo>
                <a:cubicBezTo>
                  <a:pt x="104" y="499"/>
                  <a:pt x="110" y="475"/>
                  <a:pt x="109" y="462"/>
                </a:cubicBezTo>
                <a:cubicBezTo>
                  <a:pt x="95" y="468"/>
                  <a:pt x="85" y="485"/>
                  <a:pt x="68" y="485"/>
                </a:cubicBezTo>
                <a:cubicBezTo>
                  <a:pt x="59" y="485"/>
                  <a:pt x="60" y="481"/>
                  <a:pt x="56" y="474"/>
                </a:cubicBezTo>
                <a:cubicBezTo>
                  <a:pt x="54" y="472"/>
                  <a:pt x="51" y="467"/>
                  <a:pt x="47" y="467"/>
                </a:cubicBezTo>
                <a:cubicBezTo>
                  <a:pt x="44" y="466"/>
                  <a:pt x="43" y="470"/>
                  <a:pt x="40" y="470"/>
                </a:cubicBezTo>
                <a:cubicBezTo>
                  <a:pt x="32" y="470"/>
                  <a:pt x="34" y="463"/>
                  <a:pt x="31" y="458"/>
                </a:cubicBezTo>
                <a:cubicBezTo>
                  <a:pt x="28" y="450"/>
                  <a:pt x="22" y="445"/>
                  <a:pt x="18" y="439"/>
                </a:cubicBezTo>
                <a:cubicBezTo>
                  <a:pt x="11" y="426"/>
                  <a:pt x="0" y="410"/>
                  <a:pt x="9" y="397"/>
                </a:cubicBezTo>
                <a:cubicBezTo>
                  <a:pt x="13" y="392"/>
                  <a:pt x="23" y="388"/>
                  <a:pt x="25" y="384"/>
                </a:cubicBezTo>
                <a:cubicBezTo>
                  <a:pt x="26" y="382"/>
                  <a:pt x="26" y="373"/>
                  <a:pt x="25" y="371"/>
                </a:cubicBezTo>
                <a:cubicBezTo>
                  <a:pt x="24" y="365"/>
                  <a:pt x="22" y="362"/>
                  <a:pt x="26" y="356"/>
                </a:cubicBezTo>
                <a:cubicBezTo>
                  <a:pt x="30" y="349"/>
                  <a:pt x="39" y="343"/>
                  <a:pt x="45" y="338"/>
                </a:cubicBezTo>
                <a:cubicBezTo>
                  <a:pt x="53" y="332"/>
                  <a:pt x="62" y="328"/>
                  <a:pt x="71" y="323"/>
                </a:cubicBezTo>
                <a:cubicBezTo>
                  <a:pt x="76" y="320"/>
                  <a:pt x="81" y="316"/>
                  <a:pt x="86" y="314"/>
                </a:cubicBezTo>
                <a:cubicBezTo>
                  <a:pt x="93" y="311"/>
                  <a:pt x="102" y="306"/>
                  <a:pt x="109" y="306"/>
                </a:cubicBezTo>
                <a:cubicBezTo>
                  <a:pt x="114" y="305"/>
                  <a:pt x="120" y="308"/>
                  <a:pt x="124" y="305"/>
                </a:cubicBezTo>
                <a:cubicBezTo>
                  <a:pt x="126" y="303"/>
                  <a:pt x="126" y="303"/>
                  <a:pt x="126" y="303"/>
                </a:cubicBezTo>
                <a:cubicBezTo>
                  <a:pt x="127" y="304"/>
                  <a:pt x="127" y="305"/>
                  <a:pt x="128" y="306"/>
                </a:cubicBezTo>
                <a:cubicBezTo>
                  <a:pt x="131" y="303"/>
                  <a:pt x="131" y="289"/>
                  <a:pt x="132" y="283"/>
                </a:cubicBezTo>
                <a:cubicBezTo>
                  <a:pt x="134" y="271"/>
                  <a:pt x="137" y="259"/>
                  <a:pt x="139" y="246"/>
                </a:cubicBezTo>
                <a:cubicBezTo>
                  <a:pt x="141" y="237"/>
                  <a:pt x="142" y="228"/>
                  <a:pt x="145" y="219"/>
                </a:cubicBezTo>
                <a:cubicBezTo>
                  <a:pt x="146" y="213"/>
                  <a:pt x="148" y="205"/>
                  <a:pt x="145" y="199"/>
                </a:cubicBezTo>
                <a:cubicBezTo>
                  <a:pt x="138" y="186"/>
                  <a:pt x="121" y="183"/>
                  <a:pt x="124" y="165"/>
                </a:cubicBezTo>
                <a:cubicBezTo>
                  <a:pt x="126" y="152"/>
                  <a:pt x="140" y="153"/>
                  <a:pt x="150" y="159"/>
                </a:cubicBezTo>
                <a:cubicBezTo>
                  <a:pt x="150" y="155"/>
                  <a:pt x="149" y="151"/>
                  <a:pt x="147" y="148"/>
                </a:cubicBezTo>
                <a:cubicBezTo>
                  <a:pt x="143" y="143"/>
                  <a:pt x="138" y="145"/>
                  <a:pt x="134" y="142"/>
                </a:cubicBezTo>
                <a:cubicBezTo>
                  <a:pt x="123" y="134"/>
                  <a:pt x="137" y="118"/>
                  <a:pt x="149" y="119"/>
                </a:cubicBezTo>
                <a:cubicBezTo>
                  <a:pt x="156" y="120"/>
                  <a:pt x="165" y="125"/>
                  <a:pt x="173" y="125"/>
                </a:cubicBezTo>
                <a:cubicBezTo>
                  <a:pt x="176" y="124"/>
                  <a:pt x="178" y="124"/>
                  <a:pt x="180" y="123"/>
                </a:cubicBezTo>
                <a:cubicBezTo>
                  <a:pt x="182" y="123"/>
                  <a:pt x="183" y="120"/>
                  <a:pt x="186" y="120"/>
                </a:cubicBezTo>
                <a:cubicBezTo>
                  <a:pt x="187" y="120"/>
                  <a:pt x="188" y="121"/>
                  <a:pt x="189" y="121"/>
                </a:cubicBezTo>
                <a:cubicBezTo>
                  <a:pt x="199" y="120"/>
                  <a:pt x="205" y="114"/>
                  <a:pt x="212" y="110"/>
                </a:cubicBezTo>
                <a:cubicBezTo>
                  <a:pt x="215" y="108"/>
                  <a:pt x="215" y="108"/>
                  <a:pt x="215" y="108"/>
                </a:cubicBezTo>
                <a:cubicBezTo>
                  <a:pt x="215" y="109"/>
                  <a:pt x="215" y="110"/>
                  <a:pt x="216" y="111"/>
                </a:cubicBezTo>
                <a:cubicBezTo>
                  <a:pt x="218" y="116"/>
                  <a:pt x="220" y="121"/>
                  <a:pt x="222" y="126"/>
                </a:cubicBezTo>
                <a:cubicBezTo>
                  <a:pt x="223" y="130"/>
                  <a:pt x="224" y="135"/>
                  <a:pt x="227" y="137"/>
                </a:cubicBezTo>
                <a:cubicBezTo>
                  <a:pt x="232" y="140"/>
                  <a:pt x="235" y="137"/>
                  <a:pt x="239" y="136"/>
                </a:cubicBezTo>
                <a:cubicBezTo>
                  <a:pt x="249" y="136"/>
                  <a:pt x="250" y="149"/>
                  <a:pt x="260" y="143"/>
                </a:cubicBezTo>
                <a:cubicBezTo>
                  <a:pt x="263" y="141"/>
                  <a:pt x="264" y="137"/>
                  <a:pt x="268" y="140"/>
                </a:cubicBezTo>
                <a:cubicBezTo>
                  <a:pt x="271" y="141"/>
                  <a:pt x="271" y="146"/>
                  <a:pt x="272" y="149"/>
                </a:cubicBezTo>
                <a:cubicBezTo>
                  <a:pt x="277" y="144"/>
                  <a:pt x="281" y="136"/>
                  <a:pt x="287" y="132"/>
                </a:cubicBezTo>
                <a:cubicBezTo>
                  <a:pt x="293" y="127"/>
                  <a:pt x="299" y="125"/>
                  <a:pt x="305" y="122"/>
                </a:cubicBezTo>
                <a:cubicBezTo>
                  <a:pt x="315" y="115"/>
                  <a:pt x="320" y="104"/>
                  <a:pt x="331" y="100"/>
                </a:cubicBezTo>
                <a:cubicBezTo>
                  <a:pt x="330" y="93"/>
                  <a:pt x="313" y="90"/>
                  <a:pt x="307" y="88"/>
                </a:cubicBezTo>
                <a:cubicBezTo>
                  <a:pt x="319" y="86"/>
                  <a:pt x="305" y="76"/>
                  <a:pt x="301" y="70"/>
                </a:cubicBezTo>
                <a:cubicBezTo>
                  <a:pt x="296" y="62"/>
                  <a:pt x="290" y="49"/>
                  <a:pt x="291" y="39"/>
                </a:cubicBezTo>
                <a:cubicBezTo>
                  <a:pt x="293" y="18"/>
                  <a:pt x="322" y="54"/>
                  <a:pt x="323" y="39"/>
                </a:cubicBezTo>
                <a:cubicBezTo>
                  <a:pt x="327" y="41"/>
                  <a:pt x="328" y="46"/>
                  <a:pt x="330" y="50"/>
                </a:cubicBezTo>
                <a:cubicBezTo>
                  <a:pt x="333" y="49"/>
                  <a:pt x="336" y="44"/>
                  <a:pt x="340" y="44"/>
                </a:cubicBezTo>
                <a:cubicBezTo>
                  <a:pt x="344" y="45"/>
                  <a:pt x="348" y="53"/>
                  <a:pt x="351" y="56"/>
                </a:cubicBezTo>
                <a:cubicBezTo>
                  <a:pt x="354" y="50"/>
                  <a:pt x="355" y="36"/>
                  <a:pt x="362" y="33"/>
                </a:cubicBezTo>
                <a:cubicBezTo>
                  <a:pt x="367" y="31"/>
                  <a:pt x="368" y="34"/>
                  <a:pt x="373" y="36"/>
                </a:cubicBezTo>
                <a:cubicBezTo>
                  <a:pt x="381" y="38"/>
                  <a:pt x="390" y="31"/>
                  <a:pt x="396" y="25"/>
                </a:cubicBezTo>
                <a:cubicBezTo>
                  <a:pt x="401" y="21"/>
                  <a:pt x="408" y="18"/>
                  <a:pt x="412" y="13"/>
                </a:cubicBezTo>
                <a:cubicBezTo>
                  <a:pt x="414" y="10"/>
                  <a:pt x="414" y="5"/>
                  <a:pt x="415" y="1"/>
                </a:cubicBezTo>
                <a:cubicBezTo>
                  <a:pt x="416" y="2"/>
                  <a:pt x="416" y="2"/>
                  <a:pt x="416" y="2"/>
                </a:cubicBezTo>
                <a:cubicBezTo>
                  <a:pt x="417" y="3"/>
                  <a:pt x="418" y="4"/>
                  <a:pt x="419" y="5"/>
                </a:cubicBezTo>
                <a:cubicBezTo>
                  <a:pt x="425" y="5"/>
                  <a:pt x="432" y="0"/>
                  <a:pt x="437" y="7"/>
                </a:cubicBezTo>
                <a:cubicBezTo>
                  <a:pt x="439" y="11"/>
                  <a:pt x="437" y="15"/>
                  <a:pt x="437" y="19"/>
                </a:cubicBezTo>
                <a:cubicBezTo>
                  <a:pt x="437" y="23"/>
                  <a:pt x="439" y="26"/>
                  <a:pt x="440" y="30"/>
                </a:cubicBezTo>
                <a:cubicBezTo>
                  <a:pt x="447" y="30"/>
                  <a:pt x="452" y="34"/>
                  <a:pt x="450" y="42"/>
                </a:cubicBezTo>
                <a:cubicBezTo>
                  <a:pt x="449" y="47"/>
                  <a:pt x="447" y="47"/>
                  <a:pt x="443" y="51"/>
                </a:cubicBezTo>
                <a:cubicBezTo>
                  <a:pt x="440" y="55"/>
                  <a:pt x="439" y="59"/>
                  <a:pt x="438" y="64"/>
                </a:cubicBezTo>
                <a:cubicBezTo>
                  <a:pt x="436" y="73"/>
                  <a:pt x="444" y="75"/>
                  <a:pt x="446" y="84"/>
                </a:cubicBezTo>
                <a:cubicBezTo>
                  <a:pt x="448" y="90"/>
                  <a:pt x="451" y="99"/>
                  <a:pt x="455" y="105"/>
                </a:cubicBezTo>
                <a:cubicBezTo>
                  <a:pt x="458" y="109"/>
                  <a:pt x="464" y="115"/>
                  <a:pt x="468" y="117"/>
                </a:cubicBezTo>
                <a:cubicBezTo>
                  <a:pt x="474" y="121"/>
                  <a:pt x="485" y="114"/>
                  <a:pt x="491" y="110"/>
                </a:cubicBezTo>
                <a:cubicBezTo>
                  <a:pt x="498" y="107"/>
                  <a:pt x="504" y="102"/>
                  <a:pt x="511" y="100"/>
                </a:cubicBezTo>
                <a:cubicBezTo>
                  <a:pt x="514" y="99"/>
                  <a:pt x="518" y="99"/>
                  <a:pt x="521" y="98"/>
                </a:cubicBezTo>
                <a:cubicBezTo>
                  <a:pt x="525" y="97"/>
                  <a:pt x="527" y="93"/>
                  <a:pt x="531" y="92"/>
                </a:cubicBezTo>
                <a:cubicBezTo>
                  <a:pt x="534" y="91"/>
                  <a:pt x="539" y="91"/>
                  <a:pt x="541" y="89"/>
                </a:cubicBezTo>
                <a:cubicBezTo>
                  <a:pt x="541" y="88"/>
                  <a:pt x="541" y="88"/>
                  <a:pt x="541" y="88"/>
                </a:cubicBezTo>
                <a:cubicBezTo>
                  <a:pt x="546" y="92"/>
                  <a:pt x="556" y="102"/>
                  <a:pt x="560" y="94"/>
                </a:cubicBezTo>
                <a:cubicBezTo>
                  <a:pt x="564" y="88"/>
                  <a:pt x="561" y="82"/>
                  <a:pt x="561" y="76"/>
                </a:cubicBezTo>
                <a:cubicBezTo>
                  <a:pt x="567" y="77"/>
                  <a:pt x="571" y="73"/>
                  <a:pt x="577" y="74"/>
                </a:cubicBezTo>
                <a:cubicBezTo>
                  <a:pt x="581" y="74"/>
                  <a:pt x="583" y="75"/>
                  <a:pt x="586" y="74"/>
                </a:cubicBezTo>
                <a:cubicBezTo>
                  <a:pt x="588" y="74"/>
                  <a:pt x="591" y="70"/>
                  <a:pt x="592" y="70"/>
                </a:cubicBezTo>
                <a:cubicBezTo>
                  <a:pt x="597" y="69"/>
                  <a:pt x="596" y="72"/>
                  <a:pt x="599" y="73"/>
                </a:cubicBezTo>
                <a:cubicBezTo>
                  <a:pt x="602" y="75"/>
                  <a:pt x="606" y="74"/>
                  <a:pt x="608" y="77"/>
                </a:cubicBezTo>
                <a:cubicBezTo>
                  <a:pt x="608" y="79"/>
                  <a:pt x="608" y="79"/>
                  <a:pt x="608" y="79"/>
                </a:cubicBezTo>
                <a:cubicBezTo>
                  <a:pt x="610" y="80"/>
                  <a:pt x="613" y="82"/>
                  <a:pt x="614" y="82"/>
                </a:cubicBezTo>
                <a:cubicBezTo>
                  <a:pt x="618" y="83"/>
                  <a:pt x="617" y="82"/>
                  <a:pt x="620" y="80"/>
                </a:cubicBezTo>
                <a:cubicBezTo>
                  <a:pt x="625" y="78"/>
                  <a:pt x="631" y="72"/>
                  <a:pt x="635" y="72"/>
                </a:cubicBezTo>
                <a:cubicBezTo>
                  <a:pt x="639" y="72"/>
                  <a:pt x="643" y="76"/>
                  <a:pt x="647" y="74"/>
                </a:cubicBezTo>
                <a:cubicBezTo>
                  <a:pt x="650" y="73"/>
                  <a:pt x="650" y="71"/>
                  <a:pt x="652" y="70"/>
                </a:cubicBezTo>
                <a:cubicBezTo>
                  <a:pt x="655" y="69"/>
                  <a:pt x="657" y="72"/>
                  <a:pt x="660" y="71"/>
                </a:cubicBezTo>
                <a:cubicBezTo>
                  <a:pt x="665" y="70"/>
                  <a:pt x="666" y="59"/>
                  <a:pt x="668" y="55"/>
                </a:cubicBezTo>
                <a:cubicBezTo>
                  <a:pt x="671" y="47"/>
                  <a:pt x="676" y="41"/>
                  <a:pt x="680" y="34"/>
                </a:cubicBezTo>
                <a:cubicBezTo>
                  <a:pt x="684" y="26"/>
                  <a:pt x="693" y="16"/>
                  <a:pt x="694" y="7"/>
                </a:cubicBezTo>
                <a:cubicBezTo>
                  <a:pt x="695" y="7"/>
                  <a:pt x="695" y="7"/>
                  <a:pt x="695" y="7"/>
                </a:cubicBezTo>
                <a:cubicBezTo>
                  <a:pt x="705" y="4"/>
                  <a:pt x="715" y="44"/>
                  <a:pt x="716" y="51"/>
                </a:cubicBezTo>
                <a:cubicBezTo>
                  <a:pt x="718" y="58"/>
                  <a:pt x="720" y="71"/>
                  <a:pt x="732" y="79"/>
                </a:cubicBezTo>
                <a:cubicBezTo>
                  <a:pt x="743" y="87"/>
                  <a:pt x="748" y="99"/>
                  <a:pt x="747" y="103"/>
                </a:cubicBezTo>
                <a:cubicBezTo>
                  <a:pt x="747" y="107"/>
                  <a:pt x="733" y="124"/>
                  <a:pt x="728" y="131"/>
                </a:cubicBezTo>
                <a:cubicBezTo>
                  <a:pt x="722" y="138"/>
                  <a:pt x="714" y="145"/>
                  <a:pt x="710" y="148"/>
                </a:cubicBezTo>
                <a:cubicBezTo>
                  <a:pt x="706" y="151"/>
                  <a:pt x="700" y="157"/>
                  <a:pt x="692" y="175"/>
                </a:cubicBezTo>
                <a:cubicBezTo>
                  <a:pt x="683" y="193"/>
                  <a:pt x="669" y="196"/>
                  <a:pt x="669" y="196"/>
                </a:cubicBezTo>
                <a:cubicBezTo>
                  <a:pt x="681" y="199"/>
                  <a:pt x="707" y="182"/>
                  <a:pt x="713" y="179"/>
                </a:cubicBezTo>
                <a:cubicBezTo>
                  <a:pt x="719" y="176"/>
                  <a:pt x="723" y="178"/>
                  <a:pt x="725" y="175"/>
                </a:cubicBezTo>
                <a:cubicBezTo>
                  <a:pt x="728" y="172"/>
                  <a:pt x="725" y="162"/>
                  <a:pt x="725" y="162"/>
                </a:cubicBezTo>
                <a:cubicBezTo>
                  <a:pt x="725" y="162"/>
                  <a:pt x="727" y="153"/>
                  <a:pt x="734" y="145"/>
                </a:cubicBezTo>
                <a:cubicBezTo>
                  <a:pt x="741" y="138"/>
                  <a:pt x="745" y="146"/>
                  <a:pt x="754" y="144"/>
                </a:cubicBezTo>
                <a:cubicBezTo>
                  <a:pt x="762" y="142"/>
                  <a:pt x="768" y="141"/>
                  <a:pt x="787" y="141"/>
                </a:cubicBezTo>
                <a:cubicBezTo>
                  <a:pt x="807" y="142"/>
                  <a:pt x="787" y="155"/>
                  <a:pt x="787" y="164"/>
                </a:cubicBezTo>
                <a:cubicBezTo>
                  <a:pt x="787" y="174"/>
                  <a:pt x="765" y="187"/>
                  <a:pt x="765" y="191"/>
                </a:cubicBezTo>
                <a:cubicBezTo>
                  <a:pt x="765" y="194"/>
                  <a:pt x="778" y="192"/>
                  <a:pt x="788" y="186"/>
                </a:cubicBezTo>
                <a:cubicBezTo>
                  <a:pt x="798" y="180"/>
                  <a:pt x="795" y="175"/>
                  <a:pt x="798" y="162"/>
                </a:cubicBezTo>
                <a:cubicBezTo>
                  <a:pt x="801" y="149"/>
                  <a:pt x="817" y="150"/>
                  <a:pt x="829" y="146"/>
                </a:cubicBezTo>
                <a:cubicBezTo>
                  <a:pt x="842" y="143"/>
                  <a:pt x="860" y="153"/>
                  <a:pt x="878" y="164"/>
                </a:cubicBezTo>
                <a:cubicBezTo>
                  <a:pt x="896" y="176"/>
                  <a:pt x="896" y="178"/>
                  <a:pt x="902" y="177"/>
                </a:cubicBezTo>
                <a:cubicBezTo>
                  <a:pt x="908" y="176"/>
                  <a:pt x="909" y="178"/>
                  <a:pt x="913" y="181"/>
                </a:cubicBezTo>
                <a:cubicBezTo>
                  <a:pt x="917" y="184"/>
                  <a:pt x="911" y="195"/>
                  <a:pt x="910" y="198"/>
                </a:cubicBezTo>
                <a:cubicBezTo>
                  <a:pt x="909" y="202"/>
                  <a:pt x="912" y="216"/>
                  <a:pt x="914" y="210"/>
                </a:cubicBezTo>
                <a:cubicBezTo>
                  <a:pt x="916" y="205"/>
                  <a:pt x="915" y="213"/>
                  <a:pt x="915" y="213"/>
                </a:cubicBezTo>
                <a:cubicBezTo>
                  <a:pt x="915" y="213"/>
                  <a:pt x="928" y="208"/>
                  <a:pt x="938" y="198"/>
                </a:cubicBezTo>
                <a:cubicBezTo>
                  <a:pt x="948" y="189"/>
                  <a:pt x="959" y="193"/>
                  <a:pt x="963" y="193"/>
                </a:cubicBezTo>
                <a:cubicBezTo>
                  <a:pt x="967" y="192"/>
                  <a:pt x="972" y="198"/>
                  <a:pt x="981" y="203"/>
                </a:cubicBezTo>
                <a:cubicBezTo>
                  <a:pt x="990" y="208"/>
                  <a:pt x="998" y="207"/>
                  <a:pt x="1011" y="205"/>
                </a:cubicBezTo>
                <a:cubicBezTo>
                  <a:pt x="1024" y="204"/>
                  <a:pt x="1024" y="198"/>
                  <a:pt x="1042" y="198"/>
                </a:cubicBezTo>
                <a:cubicBezTo>
                  <a:pt x="1059" y="198"/>
                  <a:pt x="1095" y="225"/>
                  <a:pt x="1110" y="240"/>
                </a:cubicBezTo>
                <a:cubicBezTo>
                  <a:pt x="1125" y="254"/>
                  <a:pt x="1148" y="255"/>
                  <a:pt x="1164" y="254"/>
                </a:cubicBezTo>
                <a:cubicBezTo>
                  <a:pt x="1180" y="252"/>
                  <a:pt x="1185" y="254"/>
                  <a:pt x="1196" y="287"/>
                </a:cubicBezTo>
                <a:cubicBezTo>
                  <a:pt x="1226" y="373"/>
                  <a:pt x="1169" y="409"/>
                  <a:pt x="1163" y="415"/>
                </a:cubicBezTo>
                <a:cubicBezTo>
                  <a:pt x="1158" y="422"/>
                  <a:pt x="1155" y="428"/>
                  <a:pt x="1145" y="437"/>
                </a:cubicBezTo>
                <a:cubicBezTo>
                  <a:pt x="1135" y="445"/>
                  <a:pt x="1130" y="449"/>
                  <a:pt x="1123" y="465"/>
                </a:cubicBezTo>
                <a:cubicBezTo>
                  <a:pt x="1117" y="481"/>
                  <a:pt x="1104" y="502"/>
                  <a:pt x="1098" y="514"/>
                </a:cubicBezTo>
                <a:cubicBezTo>
                  <a:pt x="1091" y="526"/>
                  <a:pt x="1091" y="523"/>
                  <a:pt x="1081" y="516"/>
                </a:cubicBezTo>
                <a:cubicBezTo>
                  <a:pt x="1070" y="510"/>
                  <a:pt x="1075" y="525"/>
                  <a:pt x="1067" y="533"/>
                </a:cubicBezTo>
                <a:cubicBezTo>
                  <a:pt x="1058" y="541"/>
                  <a:pt x="1063" y="566"/>
                  <a:pt x="1065" y="583"/>
                </a:cubicBezTo>
                <a:cubicBezTo>
                  <a:pt x="1067" y="601"/>
                  <a:pt x="1068" y="616"/>
                  <a:pt x="1065" y="622"/>
                </a:cubicBezTo>
                <a:cubicBezTo>
                  <a:pt x="1062" y="628"/>
                  <a:pt x="1061" y="635"/>
                  <a:pt x="1058" y="661"/>
                </a:cubicBezTo>
                <a:cubicBezTo>
                  <a:pt x="1055" y="687"/>
                  <a:pt x="1050" y="680"/>
                  <a:pt x="1038" y="689"/>
                </a:cubicBezTo>
                <a:cubicBezTo>
                  <a:pt x="1026" y="697"/>
                  <a:pt x="1036" y="702"/>
                  <a:pt x="1031" y="729"/>
                </a:cubicBezTo>
                <a:cubicBezTo>
                  <a:pt x="1026" y="757"/>
                  <a:pt x="1009" y="766"/>
                  <a:pt x="995" y="783"/>
                </a:cubicBezTo>
                <a:cubicBezTo>
                  <a:pt x="982" y="799"/>
                  <a:pt x="992" y="789"/>
                  <a:pt x="988" y="794"/>
                </a:cubicBezTo>
                <a:cubicBezTo>
                  <a:pt x="985" y="799"/>
                  <a:pt x="985" y="806"/>
                  <a:pt x="985" y="808"/>
                </a:cubicBezTo>
                <a:cubicBezTo>
                  <a:pt x="985" y="811"/>
                  <a:pt x="975" y="816"/>
                  <a:pt x="965" y="819"/>
                </a:cubicBezTo>
                <a:cubicBezTo>
                  <a:pt x="956" y="821"/>
                  <a:pt x="955" y="824"/>
                  <a:pt x="949" y="839"/>
                </a:cubicBezTo>
                <a:cubicBezTo>
                  <a:pt x="944" y="853"/>
                  <a:pt x="906" y="848"/>
                  <a:pt x="900" y="845"/>
                </a:cubicBezTo>
                <a:cubicBezTo>
                  <a:pt x="894" y="842"/>
                  <a:pt x="885" y="848"/>
                  <a:pt x="882" y="851"/>
                </a:cubicBezTo>
                <a:cubicBezTo>
                  <a:pt x="878" y="854"/>
                  <a:pt x="874" y="861"/>
                  <a:pt x="869" y="860"/>
                </a:cubicBezTo>
                <a:cubicBezTo>
                  <a:pt x="863" y="859"/>
                  <a:pt x="859" y="863"/>
                  <a:pt x="855" y="869"/>
                </a:cubicBezTo>
                <a:cubicBezTo>
                  <a:pt x="850" y="875"/>
                  <a:pt x="841" y="877"/>
                  <a:pt x="829" y="879"/>
                </a:cubicBezTo>
                <a:cubicBezTo>
                  <a:pt x="818" y="881"/>
                  <a:pt x="788" y="907"/>
                  <a:pt x="776" y="915"/>
                </a:cubicBezTo>
                <a:cubicBezTo>
                  <a:pt x="764" y="923"/>
                  <a:pt x="764" y="918"/>
                  <a:pt x="757" y="925"/>
                </a:cubicBezTo>
                <a:cubicBezTo>
                  <a:pt x="751" y="932"/>
                  <a:pt x="757" y="931"/>
                  <a:pt x="745" y="941"/>
                </a:cubicBezTo>
                <a:cubicBezTo>
                  <a:pt x="733" y="950"/>
                  <a:pt x="741" y="957"/>
                  <a:pt x="739" y="977"/>
                </a:cubicBezTo>
                <a:cubicBezTo>
                  <a:pt x="737" y="997"/>
                  <a:pt x="736" y="1014"/>
                  <a:pt x="736" y="1016"/>
                </a:cubicBezTo>
                <a:cubicBezTo>
                  <a:pt x="735" y="1018"/>
                  <a:pt x="729" y="1023"/>
                  <a:pt x="725" y="1026"/>
                </a:cubicBezTo>
                <a:cubicBezTo>
                  <a:pt x="721" y="1028"/>
                  <a:pt x="714" y="1037"/>
                  <a:pt x="706" y="1041"/>
                </a:cubicBezTo>
                <a:cubicBezTo>
                  <a:pt x="698" y="1045"/>
                  <a:pt x="695" y="1053"/>
                  <a:pt x="691" y="1053"/>
                </a:cubicBezTo>
                <a:cubicBezTo>
                  <a:pt x="687" y="1054"/>
                  <a:pt x="682" y="1069"/>
                  <a:pt x="680" y="1071"/>
                </a:cubicBezTo>
                <a:cubicBezTo>
                  <a:pt x="678" y="1073"/>
                  <a:pt x="686" y="1064"/>
                  <a:pt x="671" y="1089"/>
                </a:cubicBezTo>
                <a:cubicBezTo>
                  <a:pt x="656" y="1113"/>
                  <a:pt x="636" y="1118"/>
                  <a:pt x="636" y="1118"/>
                </a:cubicBezTo>
                <a:cubicBezTo>
                  <a:pt x="650" y="1110"/>
                  <a:pt x="665" y="1082"/>
                  <a:pt x="665" y="1079"/>
                </a:cubicBezTo>
                <a:cubicBezTo>
                  <a:pt x="665" y="1076"/>
                  <a:pt x="663" y="1080"/>
                  <a:pt x="656" y="1080"/>
                </a:cubicBezTo>
                <a:cubicBezTo>
                  <a:pt x="650" y="1081"/>
                  <a:pt x="653" y="1073"/>
                  <a:pt x="650" y="1074"/>
                </a:cubicBezTo>
                <a:cubicBezTo>
                  <a:pt x="646" y="1075"/>
                  <a:pt x="652" y="1080"/>
                  <a:pt x="650" y="1083"/>
                </a:cubicBezTo>
                <a:cubicBezTo>
                  <a:pt x="649" y="1087"/>
                  <a:pt x="643" y="1092"/>
                  <a:pt x="640" y="1095"/>
                </a:cubicBezTo>
                <a:cubicBezTo>
                  <a:pt x="637" y="1098"/>
                  <a:pt x="629" y="1105"/>
                  <a:pt x="624" y="1113"/>
                </a:cubicBezTo>
                <a:cubicBezTo>
                  <a:pt x="619" y="1120"/>
                  <a:pt x="621" y="1127"/>
                  <a:pt x="621" y="1127"/>
                </a:cubicBezTo>
                <a:cubicBezTo>
                  <a:pt x="621" y="1127"/>
                  <a:pt x="613" y="1130"/>
                  <a:pt x="606" y="1146"/>
                </a:cubicBezTo>
                <a:cubicBezTo>
                  <a:pt x="599" y="1162"/>
                  <a:pt x="603" y="1156"/>
                  <a:pt x="594" y="1164"/>
                </a:cubicBezTo>
                <a:cubicBezTo>
                  <a:pt x="584" y="1172"/>
                  <a:pt x="579" y="1176"/>
                  <a:pt x="574" y="1178"/>
                </a:cubicBezTo>
                <a:cubicBezTo>
                  <a:pt x="572" y="1179"/>
                  <a:pt x="571" y="1181"/>
                  <a:pt x="569" y="1183"/>
                </a:cubicBezTo>
                <a:lnTo>
                  <a:pt x="569" y="118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Freeform 389"/>
          <p:cNvSpPr>
            <a:spLocks/>
          </p:cNvSpPr>
          <p:nvPr userDrawn="1"/>
        </p:nvSpPr>
        <p:spPr bwMode="auto">
          <a:xfrm>
            <a:off x="3758611" y="5818742"/>
            <a:ext cx="571207" cy="802369"/>
          </a:xfrm>
          <a:custGeom>
            <a:avLst/>
            <a:gdLst>
              <a:gd name="T0" fmla="*/ 2147483646 w 613"/>
              <a:gd name="T1" fmla="*/ 2147483646 h 860"/>
              <a:gd name="T2" fmla="*/ 2147483646 w 613"/>
              <a:gd name="T3" fmla="*/ 2147483646 h 860"/>
              <a:gd name="T4" fmla="*/ 2147483646 w 613"/>
              <a:gd name="T5" fmla="*/ 2147483646 h 860"/>
              <a:gd name="T6" fmla="*/ 2147483646 w 613"/>
              <a:gd name="T7" fmla="*/ 2147483646 h 860"/>
              <a:gd name="T8" fmla="*/ 2147483646 w 613"/>
              <a:gd name="T9" fmla="*/ 2147483646 h 860"/>
              <a:gd name="T10" fmla="*/ 2147483646 w 613"/>
              <a:gd name="T11" fmla="*/ 2147483646 h 860"/>
              <a:gd name="T12" fmla="*/ 2147483646 w 613"/>
              <a:gd name="T13" fmla="*/ 2147483646 h 860"/>
              <a:gd name="T14" fmla="*/ 2147483646 w 613"/>
              <a:gd name="T15" fmla="*/ 2147483646 h 860"/>
              <a:gd name="T16" fmla="*/ 2147483646 w 613"/>
              <a:gd name="T17" fmla="*/ 2147483646 h 860"/>
              <a:gd name="T18" fmla="*/ 2147483646 w 613"/>
              <a:gd name="T19" fmla="*/ 2147483646 h 860"/>
              <a:gd name="T20" fmla="*/ 2147483646 w 613"/>
              <a:gd name="T21" fmla="*/ 2147483646 h 860"/>
              <a:gd name="T22" fmla="*/ 2147483646 w 613"/>
              <a:gd name="T23" fmla="*/ 2147483646 h 860"/>
              <a:gd name="T24" fmla="*/ 2147483646 w 613"/>
              <a:gd name="T25" fmla="*/ 2147483646 h 860"/>
              <a:gd name="T26" fmla="*/ 2147483646 w 613"/>
              <a:gd name="T27" fmla="*/ 2147483646 h 860"/>
              <a:gd name="T28" fmla="*/ 2147483646 w 613"/>
              <a:gd name="T29" fmla="*/ 2147483646 h 860"/>
              <a:gd name="T30" fmla="*/ 2147483646 w 613"/>
              <a:gd name="T31" fmla="*/ 2147483646 h 860"/>
              <a:gd name="T32" fmla="*/ 2147483646 w 613"/>
              <a:gd name="T33" fmla="*/ 2147483646 h 860"/>
              <a:gd name="T34" fmla="*/ 2147483646 w 613"/>
              <a:gd name="T35" fmla="*/ 2147483646 h 860"/>
              <a:gd name="T36" fmla="*/ 2147483646 w 613"/>
              <a:gd name="T37" fmla="*/ 2147483646 h 860"/>
              <a:gd name="T38" fmla="*/ 2147483646 w 613"/>
              <a:gd name="T39" fmla="*/ 2147483646 h 860"/>
              <a:gd name="T40" fmla="*/ 2147483646 w 613"/>
              <a:gd name="T41" fmla="*/ 2147483646 h 860"/>
              <a:gd name="T42" fmla="*/ 2147483646 w 613"/>
              <a:gd name="T43" fmla="*/ 2147483646 h 860"/>
              <a:gd name="T44" fmla="*/ 2147483646 w 613"/>
              <a:gd name="T45" fmla="*/ 2147483646 h 860"/>
              <a:gd name="T46" fmla="*/ 2147483646 w 613"/>
              <a:gd name="T47" fmla="*/ 2147483646 h 860"/>
              <a:gd name="T48" fmla="*/ 2147483646 w 613"/>
              <a:gd name="T49" fmla="*/ 2147483646 h 860"/>
              <a:gd name="T50" fmla="*/ 2147483646 w 613"/>
              <a:gd name="T51" fmla="*/ 2147483646 h 860"/>
              <a:gd name="T52" fmla="*/ 2147483646 w 613"/>
              <a:gd name="T53" fmla="*/ 2147483646 h 860"/>
              <a:gd name="T54" fmla="*/ 2147483646 w 613"/>
              <a:gd name="T55" fmla="*/ 2147483646 h 860"/>
              <a:gd name="T56" fmla="*/ 2147483646 w 613"/>
              <a:gd name="T57" fmla="*/ 2147483646 h 860"/>
              <a:gd name="T58" fmla="*/ 2147483646 w 613"/>
              <a:gd name="T59" fmla="*/ 2147483646 h 860"/>
              <a:gd name="T60" fmla="*/ 2147483646 w 613"/>
              <a:gd name="T61" fmla="*/ 2147483646 h 860"/>
              <a:gd name="T62" fmla="*/ 2147483646 w 613"/>
              <a:gd name="T63" fmla="*/ 2147483646 h 860"/>
              <a:gd name="T64" fmla="*/ 2147483646 w 613"/>
              <a:gd name="T65" fmla="*/ 2147483646 h 860"/>
              <a:gd name="T66" fmla="*/ 2147483646 w 613"/>
              <a:gd name="T67" fmla="*/ 2147483646 h 860"/>
              <a:gd name="T68" fmla="*/ 2147483646 w 613"/>
              <a:gd name="T69" fmla="*/ 2147483646 h 860"/>
              <a:gd name="T70" fmla="*/ 2147483646 w 613"/>
              <a:gd name="T71" fmla="*/ 2147483646 h 860"/>
              <a:gd name="T72" fmla="*/ 2147483646 w 613"/>
              <a:gd name="T73" fmla="*/ 2147483646 h 860"/>
              <a:gd name="T74" fmla="*/ 2147483646 w 613"/>
              <a:gd name="T75" fmla="*/ 2147483646 h 860"/>
              <a:gd name="T76" fmla="*/ 2147483646 w 613"/>
              <a:gd name="T77" fmla="*/ 2147483646 h 860"/>
              <a:gd name="T78" fmla="*/ 2147483646 w 613"/>
              <a:gd name="T79" fmla="*/ 2147483646 h 860"/>
              <a:gd name="T80" fmla="*/ 2147483646 w 613"/>
              <a:gd name="T81" fmla="*/ 2147483646 h 860"/>
              <a:gd name="T82" fmla="*/ 2147483646 w 613"/>
              <a:gd name="T83" fmla="*/ 2147483646 h 860"/>
              <a:gd name="T84" fmla="*/ 2147483646 w 613"/>
              <a:gd name="T85" fmla="*/ 2147483646 h 860"/>
              <a:gd name="T86" fmla="*/ 2147483646 w 613"/>
              <a:gd name="T87" fmla="*/ 2147483646 h 860"/>
              <a:gd name="T88" fmla="*/ 2147483646 w 613"/>
              <a:gd name="T89" fmla="*/ 2147483646 h 860"/>
              <a:gd name="T90" fmla="*/ 2147483646 w 613"/>
              <a:gd name="T91" fmla="*/ 2147483646 h 860"/>
              <a:gd name="T92" fmla="*/ 2147483646 w 613"/>
              <a:gd name="T93" fmla="*/ 2147483646 h 860"/>
              <a:gd name="T94" fmla="*/ 2147483646 w 613"/>
              <a:gd name="T95" fmla="*/ 2147483646 h 860"/>
              <a:gd name="T96" fmla="*/ 2147483646 w 613"/>
              <a:gd name="T97" fmla="*/ 2147483646 h 860"/>
              <a:gd name="T98" fmla="*/ 2147483646 w 613"/>
              <a:gd name="T99" fmla="*/ 2147483646 h 860"/>
              <a:gd name="T100" fmla="*/ 2147483646 w 613"/>
              <a:gd name="T101" fmla="*/ 2147483646 h 860"/>
              <a:gd name="T102" fmla="*/ 2147483646 w 613"/>
              <a:gd name="T103" fmla="*/ 2147483646 h 860"/>
              <a:gd name="T104" fmla="*/ 2147483646 w 613"/>
              <a:gd name="T105" fmla="*/ 2147483646 h 860"/>
              <a:gd name="T106" fmla="*/ 2147483646 w 613"/>
              <a:gd name="T107" fmla="*/ 2147483646 h 860"/>
              <a:gd name="T108" fmla="*/ 2147483646 w 613"/>
              <a:gd name="T109" fmla="*/ 2147483646 h 860"/>
              <a:gd name="T110" fmla="*/ 2147483646 w 613"/>
              <a:gd name="T111" fmla="*/ 2147483646 h 860"/>
              <a:gd name="T112" fmla="*/ 2147483646 w 613"/>
              <a:gd name="T113" fmla="*/ 2147483646 h 860"/>
              <a:gd name="T114" fmla="*/ 2147483646 w 613"/>
              <a:gd name="T115" fmla="*/ 2147483646 h 860"/>
              <a:gd name="T116" fmla="*/ 2147483646 w 613"/>
              <a:gd name="T117" fmla="*/ 2147483646 h 860"/>
              <a:gd name="T118" fmla="*/ 2147483646 w 613"/>
              <a:gd name="T119" fmla="*/ 2147483646 h 860"/>
              <a:gd name="T120" fmla="*/ 2147483646 w 613"/>
              <a:gd name="T121" fmla="*/ 2147483646 h 860"/>
              <a:gd name="T122" fmla="*/ 2147483646 w 613"/>
              <a:gd name="T123" fmla="*/ 2147483646 h 860"/>
              <a:gd name="T124" fmla="*/ 2147483646 w 613"/>
              <a:gd name="T125" fmla="*/ 2147483646 h 86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13"/>
              <a:gd name="T190" fmla="*/ 0 h 860"/>
              <a:gd name="T191" fmla="*/ 613 w 613"/>
              <a:gd name="T192" fmla="*/ 860 h 86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13" h="860">
                <a:moveTo>
                  <a:pt x="222" y="22"/>
                </a:moveTo>
                <a:cubicBezTo>
                  <a:pt x="222" y="25"/>
                  <a:pt x="221" y="31"/>
                  <a:pt x="220" y="42"/>
                </a:cubicBezTo>
                <a:cubicBezTo>
                  <a:pt x="219" y="60"/>
                  <a:pt x="218" y="65"/>
                  <a:pt x="199" y="74"/>
                </a:cubicBezTo>
                <a:cubicBezTo>
                  <a:pt x="181" y="83"/>
                  <a:pt x="173" y="71"/>
                  <a:pt x="177" y="88"/>
                </a:cubicBezTo>
                <a:cubicBezTo>
                  <a:pt x="180" y="105"/>
                  <a:pt x="185" y="119"/>
                  <a:pt x="182" y="126"/>
                </a:cubicBezTo>
                <a:cubicBezTo>
                  <a:pt x="180" y="133"/>
                  <a:pt x="172" y="140"/>
                  <a:pt x="174" y="143"/>
                </a:cubicBezTo>
                <a:cubicBezTo>
                  <a:pt x="177" y="146"/>
                  <a:pt x="187" y="145"/>
                  <a:pt x="182" y="151"/>
                </a:cubicBezTo>
                <a:cubicBezTo>
                  <a:pt x="178" y="157"/>
                  <a:pt x="160" y="163"/>
                  <a:pt x="154" y="169"/>
                </a:cubicBezTo>
                <a:cubicBezTo>
                  <a:pt x="147" y="175"/>
                  <a:pt x="149" y="182"/>
                  <a:pt x="146" y="189"/>
                </a:cubicBezTo>
                <a:cubicBezTo>
                  <a:pt x="143" y="196"/>
                  <a:pt x="126" y="230"/>
                  <a:pt x="127" y="234"/>
                </a:cubicBezTo>
                <a:cubicBezTo>
                  <a:pt x="129" y="238"/>
                  <a:pt x="132" y="251"/>
                  <a:pt x="125" y="256"/>
                </a:cubicBezTo>
                <a:cubicBezTo>
                  <a:pt x="117" y="261"/>
                  <a:pt x="107" y="267"/>
                  <a:pt x="110" y="277"/>
                </a:cubicBezTo>
                <a:cubicBezTo>
                  <a:pt x="114" y="288"/>
                  <a:pt x="129" y="324"/>
                  <a:pt x="129" y="332"/>
                </a:cubicBezTo>
                <a:cubicBezTo>
                  <a:pt x="128" y="340"/>
                  <a:pt x="127" y="349"/>
                  <a:pt x="123" y="359"/>
                </a:cubicBezTo>
                <a:cubicBezTo>
                  <a:pt x="118" y="369"/>
                  <a:pt x="106" y="371"/>
                  <a:pt x="105" y="383"/>
                </a:cubicBezTo>
                <a:cubicBezTo>
                  <a:pt x="104" y="395"/>
                  <a:pt x="107" y="398"/>
                  <a:pt x="105" y="410"/>
                </a:cubicBezTo>
                <a:cubicBezTo>
                  <a:pt x="102" y="421"/>
                  <a:pt x="103" y="408"/>
                  <a:pt x="92" y="428"/>
                </a:cubicBezTo>
                <a:cubicBezTo>
                  <a:pt x="80" y="448"/>
                  <a:pt x="82" y="455"/>
                  <a:pt x="83" y="463"/>
                </a:cubicBezTo>
                <a:cubicBezTo>
                  <a:pt x="84" y="471"/>
                  <a:pt x="85" y="472"/>
                  <a:pt x="86" y="477"/>
                </a:cubicBezTo>
                <a:cubicBezTo>
                  <a:pt x="88" y="482"/>
                  <a:pt x="99" y="480"/>
                  <a:pt x="86" y="489"/>
                </a:cubicBezTo>
                <a:cubicBezTo>
                  <a:pt x="74" y="499"/>
                  <a:pt x="66" y="496"/>
                  <a:pt x="63" y="505"/>
                </a:cubicBezTo>
                <a:cubicBezTo>
                  <a:pt x="60" y="514"/>
                  <a:pt x="62" y="505"/>
                  <a:pt x="62" y="520"/>
                </a:cubicBezTo>
                <a:cubicBezTo>
                  <a:pt x="61" y="536"/>
                  <a:pt x="60" y="533"/>
                  <a:pt x="60" y="551"/>
                </a:cubicBezTo>
                <a:cubicBezTo>
                  <a:pt x="60" y="568"/>
                  <a:pt x="58" y="571"/>
                  <a:pt x="54" y="579"/>
                </a:cubicBezTo>
                <a:cubicBezTo>
                  <a:pt x="51" y="586"/>
                  <a:pt x="38" y="594"/>
                  <a:pt x="40" y="601"/>
                </a:cubicBezTo>
                <a:cubicBezTo>
                  <a:pt x="43" y="608"/>
                  <a:pt x="55" y="607"/>
                  <a:pt x="52" y="620"/>
                </a:cubicBezTo>
                <a:cubicBezTo>
                  <a:pt x="48" y="633"/>
                  <a:pt x="46" y="633"/>
                  <a:pt x="53" y="638"/>
                </a:cubicBezTo>
                <a:cubicBezTo>
                  <a:pt x="61" y="643"/>
                  <a:pt x="70" y="643"/>
                  <a:pt x="68" y="647"/>
                </a:cubicBezTo>
                <a:cubicBezTo>
                  <a:pt x="67" y="651"/>
                  <a:pt x="58" y="661"/>
                  <a:pt x="54" y="661"/>
                </a:cubicBezTo>
                <a:cubicBezTo>
                  <a:pt x="50" y="662"/>
                  <a:pt x="42" y="664"/>
                  <a:pt x="45" y="666"/>
                </a:cubicBezTo>
                <a:cubicBezTo>
                  <a:pt x="49" y="667"/>
                  <a:pt x="60" y="665"/>
                  <a:pt x="59" y="673"/>
                </a:cubicBezTo>
                <a:cubicBezTo>
                  <a:pt x="59" y="680"/>
                  <a:pt x="45" y="684"/>
                  <a:pt x="47" y="691"/>
                </a:cubicBezTo>
                <a:cubicBezTo>
                  <a:pt x="49" y="698"/>
                  <a:pt x="51" y="697"/>
                  <a:pt x="50" y="702"/>
                </a:cubicBezTo>
                <a:cubicBezTo>
                  <a:pt x="49" y="706"/>
                  <a:pt x="44" y="709"/>
                  <a:pt x="44" y="714"/>
                </a:cubicBezTo>
                <a:cubicBezTo>
                  <a:pt x="45" y="720"/>
                  <a:pt x="44" y="721"/>
                  <a:pt x="39" y="729"/>
                </a:cubicBezTo>
                <a:cubicBezTo>
                  <a:pt x="34" y="737"/>
                  <a:pt x="27" y="740"/>
                  <a:pt x="28" y="746"/>
                </a:cubicBezTo>
                <a:cubicBezTo>
                  <a:pt x="28" y="752"/>
                  <a:pt x="0" y="774"/>
                  <a:pt x="1" y="784"/>
                </a:cubicBezTo>
                <a:cubicBezTo>
                  <a:pt x="1" y="793"/>
                  <a:pt x="3" y="803"/>
                  <a:pt x="9" y="807"/>
                </a:cubicBezTo>
                <a:cubicBezTo>
                  <a:pt x="15" y="810"/>
                  <a:pt x="22" y="795"/>
                  <a:pt x="26" y="806"/>
                </a:cubicBezTo>
                <a:cubicBezTo>
                  <a:pt x="30" y="816"/>
                  <a:pt x="20" y="810"/>
                  <a:pt x="25" y="825"/>
                </a:cubicBezTo>
                <a:cubicBezTo>
                  <a:pt x="30" y="840"/>
                  <a:pt x="26" y="840"/>
                  <a:pt x="39" y="843"/>
                </a:cubicBezTo>
                <a:cubicBezTo>
                  <a:pt x="52" y="846"/>
                  <a:pt x="82" y="837"/>
                  <a:pt x="87" y="848"/>
                </a:cubicBezTo>
                <a:cubicBezTo>
                  <a:pt x="88" y="848"/>
                  <a:pt x="88" y="848"/>
                  <a:pt x="88" y="848"/>
                </a:cubicBezTo>
                <a:cubicBezTo>
                  <a:pt x="89" y="847"/>
                  <a:pt x="91" y="847"/>
                  <a:pt x="94" y="850"/>
                </a:cubicBezTo>
                <a:cubicBezTo>
                  <a:pt x="101" y="857"/>
                  <a:pt x="111" y="860"/>
                  <a:pt x="112" y="858"/>
                </a:cubicBezTo>
                <a:cubicBezTo>
                  <a:pt x="113" y="857"/>
                  <a:pt x="101" y="842"/>
                  <a:pt x="100" y="840"/>
                </a:cubicBezTo>
                <a:cubicBezTo>
                  <a:pt x="99" y="839"/>
                  <a:pt x="99" y="836"/>
                  <a:pt x="96" y="836"/>
                </a:cubicBezTo>
                <a:cubicBezTo>
                  <a:pt x="93" y="837"/>
                  <a:pt x="96" y="818"/>
                  <a:pt x="96" y="816"/>
                </a:cubicBezTo>
                <a:cubicBezTo>
                  <a:pt x="97" y="814"/>
                  <a:pt x="100" y="803"/>
                  <a:pt x="105" y="804"/>
                </a:cubicBezTo>
                <a:cubicBezTo>
                  <a:pt x="111" y="805"/>
                  <a:pt x="115" y="795"/>
                  <a:pt x="117" y="797"/>
                </a:cubicBezTo>
                <a:cubicBezTo>
                  <a:pt x="119" y="798"/>
                  <a:pt x="127" y="800"/>
                  <a:pt x="130" y="794"/>
                </a:cubicBezTo>
                <a:cubicBezTo>
                  <a:pt x="133" y="789"/>
                  <a:pt x="133" y="785"/>
                  <a:pt x="135" y="782"/>
                </a:cubicBezTo>
                <a:cubicBezTo>
                  <a:pt x="136" y="779"/>
                  <a:pt x="144" y="768"/>
                  <a:pt x="147" y="766"/>
                </a:cubicBezTo>
                <a:cubicBezTo>
                  <a:pt x="151" y="764"/>
                  <a:pt x="160" y="759"/>
                  <a:pt x="165" y="756"/>
                </a:cubicBezTo>
                <a:cubicBezTo>
                  <a:pt x="169" y="752"/>
                  <a:pt x="188" y="743"/>
                  <a:pt x="183" y="739"/>
                </a:cubicBezTo>
                <a:cubicBezTo>
                  <a:pt x="179" y="734"/>
                  <a:pt x="199" y="720"/>
                  <a:pt x="190" y="716"/>
                </a:cubicBezTo>
                <a:cubicBezTo>
                  <a:pt x="182" y="713"/>
                  <a:pt x="160" y="706"/>
                  <a:pt x="158" y="702"/>
                </a:cubicBezTo>
                <a:cubicBezTo>
                  <a:pt x="155" y="698"/>
                  <a:pt x="154" y="683"/>
                  <a:pt x="158" y="679"/>
                </a:cubicBezTo>
                <a:cubicBezTo>
                  <a:pt x="161" y="674"/>
                  <a:pt x="175" y="665"/>
                  <a:pt x="179" y="665"/>
                </a:cubicBezTo>
                <a:cubicBezTo>
                  <a:pt x="183" y="664"/>
                  <a:pt x="199" y="662"/>
                  <a:pt x="204" y="658"/>
                </a:cubicBezTo>
                <a:cubicBezTo>
                  <a:pt x="210" y="654"/>
                  <a:pt x="217" y="643"/>
                  <a:pt x="218" y="640"/>
                </a:cubicBezTo>
                <a:cubicBezTo>
                  <a:pt x="219" y="638"/>
                  <a:pt x="219" y="633"/>
                  <a:pt x="220" y="626"/>
                </a:cubicBezTo>
                <a:cubicBezTo>
                  <a:pt x="220" y="619"/>
                  <a:pt x="219" y="613"/>
                  <a:pt x="225" y="612"/>
                </a:cubicBezTo>
                <a:cubicBezTo>
                  <a:pt x="231" y="610"/>
                  <a:pt x="233" y="608"/>
                  <a:pt x="237" y="608"/>
                </a:cubicBezTo>
                <a:cubicBezTo>
                  <a:pt x="241" y="608"/>
                  <a:pt x="245" y="607"/>
                  <a:pt x="245" y="605"/>
                </a:cubicBezTo>
                <a:cubicBezTo>
                  <a:pt x="244" y="602"/>
                  <a:pt x="240" y="595"/>
                  <a:pt x="240" y="595"/>
                </a:cubicBezTo>
                <a:cubicBezTo>
                  <a:pt x="247" y="590"/>
                  <a:pt x="247" y="590"/>
                  <a:pt x="247" y="590"/>
                </a:cubicBezTo>
                <a:cubicBezTo>
                  <a:pt x="247" y="590"/>
                  <a:pt x="242" y="583"/>
                  <a:pt x="239" y="580"/>
                </a:cubicBezTo>
                <a:cubicBezTo>
                  <a:pt x="236" y="576"/>
                  <a:pt x="238" y="567"/>
                  <a:pt x="238" y="563"/>
                </a:cubicBezTo>
                <a:cubicBezTo>
                  <a:pt x="238" y="558"/>
                  <a:pt x="233" y="552"/>
                  <a:pt x="238" y="545"/>
                </a:cubicBezTo>
                <a:cubicBezTo>
                  <a:pt x="242" y="538"/>
                  <a:pt x="250" y="532"/>
                  <a:pt x="254" y="541"/>
                </a:cubicBezTo>
                <a:cubicBezTo>
                  <a:pt x="257" y="550"/>
                  <a:pt x="260" y="552"/>
                  <a:pt x="268" y="554"/>
                </a:cubicBezTo>
                <a:cubicBezTo>
                  <a:pt x="277" y="556"/>
                  <a:pt x="284" y="552"/>
                  <a:pt x="284" y="552"/>
                </a:cubicBezTo>
                <a:cubicBezTo>
                  <a:pt x="284" y="552"/>
                  <a:pt x="312" y="543"/>
                  <a:pt x="309" y="539"/>
                </a:cubicBezTo>
                <a:cubicBezTo>
                  <a:pt x="305" y="534"/>
                  <a:pt x="306" y="530"/>
                  <a:pt x="310" y="528"/>
                </a:cubicBezTo>
                <a:cubicBezTo>
                  <a:pt x="313" y="525"/>
                  <a:pt x="321" y="519"/>
                  <a:pt x="322" y="516"/>
                </a:cubicBezTo>
                <a:cubicBezTo>
                  <a:pt x="323" y="512"/>
                  <a:pt x="319" y="509"/>
                  <a:pt x="316" y="503"/>
                </a:cubicBezTo>
                <a:cubicBezTo>
                  <a:pt x="314" y="497"/>
                  <a:pt x="316" y="486"/>
                  <a:pt x="320" y="487"/>
                </a:cubicBezTo>
                <a:cubicBezTo>
                  <a:pt x="323" y="488"/>
                  <a:pt x="324" y="486"/>
                  <a:pt x="331" y="493"/>
                </a:cubicBezTo>
                <a:cubicBezTo>
                  <a:pt x="338" y="501"/>
                  <a:pt x="338" y="493"/>
                  <a:pt x="350" y="494"/>
                </a:cubicBezTo>
                <a:cubicBezTo>
                  <a:pt x="361" y="494"/>
                  <a:pt x="369" y="492"/>
                  <a:pt x="375" y="490"/>
                </a:cubicBezTo>
                <a:cubicBezTo>
                  <a:pt x="381" y="488"/>
                  <a:pt x="382" y="483"/>
                  <a:pt x="393" y="484"/>
                </a:cubicBezTo>
                <a:cubicBezTo>
                  <a:pt x="403" y="484"/>
                  <a:pt x="463" y="460"/>
                  <a:pt x="470" y="446"/>
                </a:cubicBezTo>
                <a:cubicBezTo>
                  <a:pt x="476" y="433"/>
                  <a:pt x="483" y="427"/>
                  <a:pt x="477" y="423"/>
                </a:cubicBezTo>
                <a:cubicBezTo>
                  <a:pt x="471" y="420"/>
                  <a:pt x="466" y="423"/>
                  <a:pt x="464" y="416"/>
                </a:cubicBezTo>
                <a:cubicBezTo>
                  <a:pt x="461" y="410"/>
                  <a:pt x="461" y="404"/>
                  <a:pt x="466" y="401"/>
                </a:cubicBezTo>
                <a:cubicBezTo>
                  <a:pt x="472" y="399"/>
                  <a:pt x="482" y="391"/>
                  <a:pt x="474" y="388"/>
                </a:cubicBezTo>
                <a:cubicBezTo>
                  <a:pt x="465" y="384"/>
                  <a:pt x="462" y="382"/>
                  <a:pt x="462" y="382"/>
                </a:cubicBezTo>
                <a:cubicBezTo>
                  <a:pt x="462" y="382"/>
                  <a:pt x="444" y="379"/>
                  <a:pt x="443" y="373"/>
                </a:cubicBezTo>
                <a:cubicBezTo>
                  <a:pt x="442" y="366"/>
                  <a:pt x="441" y="359"/>
                  <a:pt x="444" y="356"/>
                </a:cubicBezTo>
                <a:cubicBezTo>
                  <a:pt x="445" y="355"/>
                  <a:pt x="446" y="354"/>
                  <a:pt x="447" y="354"/>
                </a:cubicBezTo>
                <a:cubicBezTo>
                  <a:pt x="447" y="350"/>
                  <a:pt x="447" y="350"/>
                  <a:pt x="447" y="350"/>
                </a:cubicBezTo>
                <a:cubicBezTo>
                  <a:pt x="448" y="342"/>
                  <a:pt x="452" y="337"/>
                  <a:pt x="455" y="330"/>
                </a:cubicBezTo>
                <a:cubicBezTo>
                  <a:pt x="459" y="316"/>
                  <a:pt x="460" y="300"/>
                  <a:pt x="463" y="286"/>
                </a:cubicBezTo>
                <a:cubicBezTo>
                  <a:pt x="465" y="272"/>
                  <a:pt x="468" y="260"/>
                  <a:pt x="478" y="249"/>
                </a:cubicBezTo>
                <a:cubicBezTo>
                  <a:pt x="487" y="238"/>
                  <a:pt x="500" y="230"/>
                  <a:pt x="511" y="220"/>
                </a:cubicBezTo>
                <a:cubicBezTo>
                  <a:pt x="522" y="209"/>
                  <a:pt x="532" y="199"/>
                  <a:pt x="545" y="190"/>
                </a:cubicBezTo>
                <a:cubicBezTo>
                  <a:pt x="559" y="181"/>
                  <a:pt x="572" y="171"/>
                  <a:pt x="585" y="160"/>
                </a:cubicBezTo>
                <a:cubicBezTo>
                  <a:pt x="593" y="153"/>
                  <a:pt x="605" y="149"/>
                  <a:pt x="608" y="139"/>
                </a:cubicBezTo>
                <a:cubicBezTo>
                  <a:pt x="613" y="127"/>
                  <a:pt x="609" y="115"/>
                  <a:pt x="609" y="103"/>
                </a:cubicBezTo>
                <a:cubicBezTo>
                  <a:pt x="604" y="103"/>
                  <a:pt x="599" y="101"/>
                  <a:pt x="594" y="101"/>
                </a:cubicBezTo>
                <a:cubicBezTo>
                  <a:pt x="593" y="101"/>
                  <a:pt x="591" y="101"/>
                  <a:pt x="589" y="101"/>
                </a:cubicBezTo>
                <a:cubicBezTo>
                  <a:pt x="587" y="101"/>
                  <a:pt x="587" y="101"/>
                  <a:pt x="587" y="101"/>
                </a:cubicBezTo>
                <a:cubicBezTo>
                  <a:pt x="586" y="107"/>
                  <a:pt x="585" y="112"/>
                  <a:pt x="582" y="118"/>
                </a:cubicBezTo>
                <a:cubicBezTo>
                  <a:pt x="577" y="127"/>
                  <a:pt x="569" y="139"/>
                  <a:pt x="561" y="146"/>
                </a:cubicBezTo>
                <a:cubicBezTo>
                  <a:pt x="555" y="151"/>
                  <a:pt x="547" y="161"/>
                  <a:pt x="539" y="162"/>
                </a:cubicBezTo>
                <a:cubicBezTo>
                  <a:pt x="529" y="164"/>
                  <a:pt x="514" y="159"/>
                  <a:pt x="503" y="157"/>
                </a:cubicBezTo>
                <a:cubicBezTo>
                  <a:pt x="489" y="155"/>
                  <a:pt x="474" y="157"/>
                  <a:pt x="461" y="154"/>
                </a:cubicBezTo>
                <a:cubicBezTo>
                  <a:pt x="467" y="147"/>
                  <a:pt x="472" y="137"/>
                  <a:pt x="478" y="130"/>
                </a:cubicBezTo>
                <a:cubicBezTo>
                  <a:pt x="484" y="120"/>
                  <a:pt x="496" y="111"/>
                  <a:pt x="500" y="100"/>
                </a:cubicBezTo>
                <a:cubicBezTo>
                  <a:pt x="506" y="80"/>
                  <a:pt x="483" y="74"/>
                  <a:pt x="467" y="69"/>
                </a:cubicBezTo>
                <a:cubicBezTo>
                  <a:pt x="460" y="67"/>
                  <a:pt x="452" y="65"/>
                  <a:pt x="445" y="65"/>
                </a:cubicBezTo>
                <a:cubicBezTo>
                  <a:pt x="440" y="64"/>
                  <a:pt x="436" y="66"/>
                  <a:pt x="431" y="66"/>
                </a:cubicBezTo>
                <a:cubicBezTo>
                  <a:pt x="422" y="65"/>
                  <a:pt x="414" y="59"/>
                  <a:pt x="406" y="56"/>
                </a:cubicBezTo>
                <a:cubicBezTo>
                  <a:pt x="397" y="53"/>
                  <a:pt x="389" y="52"/>
                  <a:pt x="382" y="45"/>
                </a:cubicBezTo>
                <a:cubicBezTo>
                  <a:pt x="371" y="34"/>
                  <a:pt x="363" y="18"/>
                  <a:pt x="353" y="5"/>
                </a:cubicBezTo>
                <a:cubicBezTo>
                  <a:pt x="353" y="5"/>
                  <a:pt x="353" y="5"/>
                  <a:pt x="353" y="5"/>
                </a:cubicBezTo>
                <a:cubicBezTo>
                  <a:pt x="350" y="6"/>
                  <a:pt x="345" y="4"/>
                  <a:pt x="342" y="3"/>
                </a:cubicBezTo>
                <a:cubicBezTo>
                  <a:pt x="336" y="2"/>
                  <a:pt x="328" y="0"/>
                  <a:pt x="323" y="1"/>
                </a:cubicBezTo>
                <a:cubicBezTo>
                  <a:pt x="316" y="2"/>
                  <a:pt x="317" y="3"/>
                  <a:pt x="313" y="8"/>
                </a:cubicBezTo>
                <a:cubicBezTo>
                  <a:pt x="306" y="16"/>
                  <a:pt x="305" y="25"/>
                  <a:pt x="296" y="18"/>
                </a:cubicBezTo>
                <a:cubicBezTo>
                  <a:pt x="292" y="16"/>
                  <a:pt x="290" y="11"/>
                  <a:pt x="285" y="9"/>
                </a:cubicBezTo>
                <a:cubicBezTo>
                  <a:pt x="281" y="8"/>
                  <a:pt x="274" y="9"/>
                  <a:pt x="269" y="8"/>
                </a:cubicBezTo>
                <a:cubicBezTo>
                  <a:pt x="264" y="7"/>
                  <a:pt x="258" y="8"/>
                  <a:pt x="254" y="6"/>
                </a:cubicBezTo>
                <a:cubicBezTo>
                  <a:pt x="248" y="3"/>
                  <a:pt x="249" y="0"/>
                  <a:pt x="242" y="3"/>
                </a:cubicBezTo>
                <a:cubicBezTo>
                  <a:pt x="234" y="8"/>
                  <a:pt x="230" y="17"/>
                  <a:pt x="222" y="21"/>
                </a:cubicBezTo>
                <a:lnTo>
                  <a:pt x="222" y="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Freeform 390"/>
          <p:cNvSpPr>
            <a:spLocks/>
          </p:cNvSpPr>
          <p:nvPr userDrawn="1"/>
        </p:nvSpPr>
        <p:spPr bwMode="auto">
          <a:xfrm>
            <a:off x="3840691" y="6626137"/>
            <a:ext cx="80404" cy="58628"/>
          </a:xfrm>
          <a:custGeom>
            <a:avLst/>
            <a:gdLst>
              <a:gd name="T0" fmla="*/ 2147483646 w 87"/>
              <a:gd name="T1" fmla="*/ 2147483646 h 64"/>
              <a:gd name="T2" fmla="*/ 2147483646 w 87"/>
              <a:gd name="T3" fmla="*/ 2147483646 h 64"/>
              <a:gd name="T4" fmla="*/ 2147483646 w 87"/>
              <a:gd name="T5" fmla="*/ 2147483646 h 64"/>
              <a:gd name="T6" fmla="*/ 2147483646 w 87"/>
              <a:gd name="T7" fmla="*/ 2147483646 h 64"/>
              <a:gd name="T8" fmla="*/ 2147483646 w 87"/>
              <a:gd name="T9" fmla="*/ 2147483646 h 64"/>
              <a:gd name="T10" fmla="*/ 2147483646 w 87"/>
              <a:gd name="T11" fmla="*/ 2147483646 h 64"/>
              <a:gd name="T12" fmla="*/ 2147483646 w 87"/>
              <a:gd name="T13" fmla="*/ 0 h 64"/>
              <a:gd name="T14" fmla="*/ 2147483646 w 87"/>
              <a:gd name="T15" fmla="*/ 2147483646 h 64"/>
              <a:gd name="T16" fmla="*/ 2147483646 w 87"/>
              <a:gd name="T17" fmla="*/ 2147483646 h 64"/>
              <a:gd name="T18" fmla="*/ 2147483646 w 87"/>
              <a:gd name="T19" fmla="*/ 2147483646 h 64"/>
              <a:gd name="T20" fmla="*/ 2147483646 w 87"/>
              <a:gd name="T21" fmla="*/ 2147483646 h 64"/>
              <a:gd name="T22" fmla="*/ 2147483646 w 87"/>
              <a:gd name="T23" fmla="*/ 2147483646 h 6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7"/>
              <a:gd name="T37" fmla="*/ 0 h 64"/>
              <a:gd name="T38" fmla="*/ 87 w 87"/>
              <a:gd name="T39" fmla="*/ 64 h 6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7" h="64">
                <a:moveTo>
                  <a:pt x="60" y="64"/>
                </a:moveTo>
                <a:cubicBezTo>
                  <a:pt x="64" y="63"/>
                  <a:pt x="72" y="61"/>
                  <a:pt x="75" y="62"/>
                </a:cubicBezTo>
                <a:cubicBezTo>
                  <a:pt x="78" y="62"/>
                  <a:pt x="87" y="53"/>
                  <a:pt x="78" y="50"/>
                </a:cubicBezTo>
                <a:cubicBezTo>
                  <a:pt x="69" y="47"/>
                  <a:pt x="61" y="46"/>
                  <a:pt x="56" y="43"/>
                </a:cubicBezTo>
                <a:cubicBezTo>
                  <a:pt x="51" y="40"/>
                  <a:pt x="44" y="35"/>
                  <a:pt x="35" y="27"/>
                </a:cubicBezTo>
                <a:cubicBezTo>
                  <a:pt x="27" y="19"/>
                  <a:pt x="20" y="16"/>
                  <a:pt x="19" y="7"/>
                </a:cubicBezTo>
                <a:cubicBezTo>
                  <a:pt x="19" y="4"/>
                  <a:pt x="17" y="1"/>
                  <a:pt x="14" y="0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2"/>
                  <a:pt x="14" y="22"/>
                  <a:pt x="13" y="31"/>
                </a:cubicBezTo>
                <a:cubicBezTo>
                  <a:pt x="11" y="41"/>
                  <a:pt x="0" y="56"/>
                  <a:pt x="11" y="56"/>
                </a:cubicBezTo>
                <a:cubicBezTo>
                  <a:pt x="22" y="57"/>
                  <a:pt x="50" y="55"/>
                  <a:pt x="59" y="63"/>
                </a:cubicBezTo>
                <a:lnTo>
                  <a:pt x="60" y="6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eform 391"/>
          <p:cNvSpPr>
            <a:spLocks/>
          </p:cNvSpPr>
          <p:nvPr userDrawn="1"/>
        </p:nvSpPr>
        <p:spPr bwMode="auto">
          <a:xfrm>
            <a:off x="3708358" y="5698135"/>
            <a:ext cx="256289" cy="1003380"/>
          </a:xfrm>
          <a:custGeom>
            <a:avLst/>
            <a:gdLst>
              <a:gd name="T0" fmla="*/ 2147483646 w 275"/>
              <a:gd name="T1" fmla="*/ 2147483646 h 1075"/>
              <a:gd name="T2" fmla="*/ 2147483646 w 275"/>
              <a:gd name="T3" fmla="*/ 2147483646 h 1075"/>
              <a:gd name="T4" fmla="*/ 2147483646 w 275"/>
              <a:gd name="T5" fmla="*/ 2147483646 h 1075"/>
              <a:gd name="T6" fmla="*/ 2147483646 w 275"/>
              <a:gd name="T7" fmla="*/ 2147483646 h 1075"/>
              <a:gd name="T8" fmla="*/ 2147483646 w 275"/>
              <a:gd name="T9" fmla="*/ 2147483646 h 1075"/>
              <a:gd name="T10" fmla="*/ 2147483646 w 275"/>
              <a:gd name="T11" fmla="*/ 2147483646 h 1075"/>
              <a:gd name="T12" fmla="*/ 2147483646 w 275"/>
              <a:gd name="T13" fmla="*/ 2147483646 h 1075"/>
              <a:gd name="T14" fmla="*/ 2147483646 w 275"/>
              <a:gd name="T15" fmla="*/ 2147483646 h 1075"/>
              <a:gd name="T16" fmla="*/ 2147483646 w 275"/>
              <a:gd name="T17" fmla="*/ 2147483646 h 1075"/>
              <a:gd name="T18" fmla="*/ 2147483646 w 275"/>
              <a:gd name="T19" fmla="*/ 2147483646 h 1075"/>
              <a:gd name="T20" fmla="*/ 2147483646 w 275"/>
              <a:gd name="T21" fmla="*/ 2147483646 h 1075"/>
              <a:gd name="T22" fmla="*/ 2147483646 w 275"/>
              <a:gd name="T23" fmla="*/ 2147483646 h 1075"/>
              <a:gd name="T24" fmla="*/ 2147483646 w 275"/>
              <a:gd name="T25" fmla="*/ 2147483646 h 1075"/>
              <a:gd name="T26" fmla="*/ 2147483646 w 275"/>
              <a:gd name="T27" fmla="*/ 2147483646 h 1075"/>
              <a:gd name="T28" fmla="*/ 2147483646 w 275"/>
              <a:gd name="T29" fmla="*/ 2147483646 h 1075"/>
              <a:gd name="T30" fmla="*/ 2147483646 w 275"/>
              <a:gd name="T31" fmla="*/ 2147483646 h 1075"/>
              <a:gd name="T32" fmla="*/ 2147483646 w 275"/>
              <a:gd name="T33" fmla="*/ 2147483646 h 1075"/>
              <a:gd name="T34" fmla="*/ 2147483646 w 275"/>
              <a:gd name="T35" fmla="*/ 2147483646 h 1075"/>
              <a:gd name="T36" fmla="*/ 2147483646 w 275"/>
              <a:gd name="T37" fmla="*/ 2147483646 h 1075"/>
              <a:gd name="T38" fmla="*/ 2147483646 w 275"/>
              <a:gd name="T39" fmla="*/ 2147483646 h 1075"/>
              <a:gd name="T40" fmla="*/ 2147483646 w 275"/>
              <a:gd name="T41" fmla="*/ 2147483646 h 1075"/>
              <a:gd name="T42" fmla="*/ 2147483646 w 275"/>
              <a:gd name="T43" fmla="*/ 2147483646 h 1075"/>
              <a:gd name="T44" fmla="*/ 2147483646 w 275"/>
              <a:gd name="T45" fmla="*/ 2147483646 h 1075"/>
              <a:gd name="T46" fmla="*/ 2147483646 w 275"/>
              <a:gd name="T47" fmla="*/ 2147483646 h 1075"/>
              <a:gd name="T48" fmla="*/ 2147483646 w 275"/>
              <a:gd name="T49" fmla="*/ 2147483646 h 1075"/>
              <a:gd name="T50" fmla="*/ 2147483646 w 275"/>
              <a:gd name="T51" fmla="*/ 2147483646 h 1075"/>
              <a:gd name="T52" fmla="*/ 2147483646 w 275"/>
              <a:gd name="T53" fmla="*/ 2147483646 h 1075"/>
              <a:gd name="T54" fmla="*/ 2147483646 w 275"/>
              <a:gd name="T55" fmla="*/ 2147483646 h 1075"/>
              <a:gd name="T56" fmla="*/ 2147483646 w 275"/>
              <a:gd name="T57" fmla="*/ 2147483646 h 1075"/>
              <a:gd name="T58" fmla="*/ 2147483646 w 275"/>
              <a:gd name="T59" fmla="*/ 2147483646 h 1075"/>
              <a:gd name="T60" fmla="*/ 2147483646 w 275"/>
              <a:gd name="T61" fmla="*/ 2147483646 h 1075"/>
              <a:gd name="T62" fmla="*/ 2147483646 w 275"/>
              <a:gd name="T63" fmla="*/ 2147483646 h 1075"/>
              <a:gd name="T64" fmla="*/ 2147483646 w 275"/>
              <a:gd name="T65" fmla="*/ 2147483646 h 1075"/>
              <a:gd name="T66" fmla="*/ 2147483646 w 275"/>
              <a:gd name="T67" fmla="*/ 2147483646 h 1075"/>
              <a:gd name="T68" fmla="*/ 2147483646 w 275"/>
              <a:gd name="T69" fmla="*/ 2147483646 h 1075"/>
              <a:gd name="T70" fmla="*/ 2147483646 w 275"/>
              <a:gd name="T71" fmla="*/ 2147483646 h 1075"/>
              <a:gd name="T72" fmla="*/ 2147483646 w 275"/>
              <a:gd name="T73" fmla="*/ 2147483646 h 1075"/>
              <a:gd name="T74" fmla="*/ 2147483646 w 275"/>
              <a:gd name="T75" fmla="*/ 2147483646 h 1075"/>
              <a:gd name="T76" fmla="*/ 2147483646 w 275"/>
              <a:gd name="T77" fmla="*/ 2147483646 h 1075"/>
              <a:gd name="T78" fmla="*/ 2147483646 w 275"/>
              <a:gd name="T79" fmla="*/ 2147483646 h 1075"/>
              <a:gd name="T80" fmla="*/ 2147483646 w 275"/>
              <a:gd name="T81" fmla="*/ 2147483646 h 1075"/>
              <a:gd name="T82" fmla="*/ 2147483646 w 275"/>
              <a:gd name="T83" fmla="*/ 2147483646 h 1075"/>
              <a:gd name="T84" fmla="*/ 2147483646 w 275"/>
              <a:gd name="T85" fmla="*/ 2147483646 h 1075"/>
              <a:gd name="T86" fmla="*/ 2147483646 w 275"/>
              <a:gd name="T87" fmla="*/ 2147483646 h 1075"/>
              <a:gd name="T88" fmla="*/ 2147483646 w 275"/>
              <a:gd name="T89" fmla="*/ 2147483646 h 1075"/>
              <a:gd name="T90" fmla="*/ 2147483646 w 275"/>
              <a:gd name="T91" fmla="*/ 2147483646 h 1075"/>
              <a:gd name="T92" fmla="*/ 2147483646 w 275"/>
              <a:gd name="T93" fmla="*/ 2147483646 h 1075"/>
              <a:gd name="T94" fmla="*/ 2147483646 w 275"/>
              <a:gd name="T95" fmla="*/ 2147483646 h 1075"/>
              <a:gd name="T96" fmla="*/ 2147483646 w 275"/>
              <a:gd name="T97" fmla="*/ 2147483646 h 1075"/>
              <a:gd name="T98" fmla="*/ 2147483646 w 275"/>
              <a:gd name="T99" fmla="*/ 2147483646 h 1075"/>
              <a:gd name="T100" fmla="*/ 2147483646 w 275"/>
              <a:gd name="T101" fmla="*/ 2147483646 h 1075"/>
              <a:gd name="T102" fmla="*/ 2147483646 w 275"/>
              <a:gd name="T103" fmla="*/ 2147483646 h 107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75"/>
              <a:gd name="T157" fmla="*/ 0 h 1075"/>
              <a:gd name="T158" fmla="*/ 275 w 275"/>
              <a:gd name="T159" fmla="*/ 1075 h 107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75" h="1075">
                <a:moveTo>
                  <a:pt x="200" y="1056"/>
                </a:moveTo>
                <a:cubicBezTo>
                  <a:pt x="191" y="1049"/>
                  <a:pt x="163" y="1050"/>
                  <a:pt x="152" y="1050"/>
                </a:cubicBezTo>
                <a:cubicBezTo>
                  <a:pt x="141" y="1049"/>
                  <a:pt x="152" y="1034"/>
                  <a:pt x="154" y="1025"/>
                </a:cubicBezTo>
                <a:cubicBezTo>
                  <a:pt x="155" y="1015"/>
                  <a:pt x="155" y="995"/>
                  <a:pt x="155" y="995"/>
                </a:cubicBezTo>
                <a:cubicBezTo>
                  <a:pt x="155" y="993"/>
                  <a:pt x="155" y="993"/>
                  <a:pt x="155" y="993"/>
                </a:cubicBezTo>
                <a:cubicBezTo>
                  <a:pt x="151" y="990"/>
                  <a:pt x="145" y="988"/>
                  <a:pt x="143" y="986"/>
                </a:cubicBezTo>
                <a:cubicBezTo>
                  <a:pt x="141" y="984"/>
                  <a:pt x="139" y="979"/>
                  <a:pt x="140" y="977"/>
                </a:cubicBezTo>
                <a:cubicBezTo>
                  <a:pt x="140" y="976"/>
                  <a:pt x="140" y="976"/>
                  <a:pt x="140" y="976"/>
                </a:cubicBezTo>
                <a:cubicBezTo>
                  <a:pt x="134" y="965"/>
                  <a:pt x="105" y="974"/>
                  <a:pt x="92" y="971"/>
                </a:cubicBezTo>
                <a:cubicBezTo>
                  <a:pt x="79" y="968"/>
                  <a:pt x="83" y="968"/>
                  <a:pt x="78" y="953"/>
                </a:cubicBezTo>
                <a:cubicBezTo>
                  <a:pt x="73" y="938"/>
                  <a:pt x="83" y="945"/>
                  <a:pt x="79" y="934"/>
                </a:cubicBezTo>
                <a:cubicBezTo>
                  <a:pt x="75" y="923"/>
                  <a:pt x="68" y="939"/>
                  <a:pt x="62" y="935"/>
                </a:cubicBezTo>
                <a:cubicBezTo>
                  <a:pt x="56" y="931"/>
                  <a:pt x="54" y="922"/>
                  <a:pt x="54" y="912"/>
                </a:cubicBezTo>
                <a:cubicBezTo>
                  <a:pt x="53" y="902"/>
                  <a:pt x="81" y="880"/>
                  <a:pt x="81" y="874"/>
                </a:cubicBezTo>
                <a:cubicBezTo>
                  <a:pt x="80" y="868"/>
                  <a:pt x="86" y="865"/>
                  <a:pt x="92" y="857"/>
                </a:cubicBezTo>
                <a:cubicBezTo>
                  <a:pt x="97" y="849"/>
                  <a:pt x="98" y="848"/>
                  <a:pt x="97" y="843"/>
                </a:cubicBezTo>
                <a:cubicBezTo>
                  <a:pt x="97" y="837"/>
                  <a:pt x="102" y="834"/>
                  <a:pt x="103" y="830"/>
                </a:cubicBezTo>
                <a:cubicBezTo>
                  <a:pt x="104" y="826"/>
                  <a:pt x="102" y="826"/>
                  <a:pt x="100" y="819"/>
                </a:cubicBezTo>
                <a:cubicBezTo>
                  <a:pt x="98" y="812"/>
                  <a:pt x="111" y="808"/>
                  <a:pt x="112" y="801"/>
                </a:cubicBezTo>
                <a:cubicBezTo>
                  <a:pt x="113" y="793"/>
                  <a:pt x="102" y="796"/>
                  <a:pt x="98" y="794"/>
                </a:cubicBezTo>
                <a:cubicBezTo>
                  <a:pt x="94" y="792"/>
                  <a:pt x="102" y="790"/>
                  <a:pt x="107" y="789"/>
                </a:cubicBezTo>
                <a:cubicBezTo>
                  <a:pt x="111" y="789"/>
                  <a:pt x="120" y="780"/>
                  <a:pt x="121" y="775"/>
                </a:cubicBezTo>
                <a:cubicBezTo>
                  <a:pt x="123" y="771"/>
                  <a:pt x="114" y="771"/>
                  <a:pt x="106" y="766"/>
                </a:cubicBezTo>
                <a:cubicBezTo>
                  <a:pt x="99" y="761"/>
                  <a:pt x="101" y="761"/>
                  <a:pt x="105" y="748"/>
                </a:cubicBezTo>
                <a:cubicBezTo>
                  <a:pt x="108" y="735"/>
                  <a:pt x="95" y="736"/>
                  <a:pt x="93" y="729"/>
                </a:cubicBezTo>
                <a:cubicBezTo>
                  <a:pt x="91" y="723"/>
                  <a:pt x="104" y="715"/>
                  <a:pt x="107" y="707"/>
                </a:cubicBezTo>
                <a:cubicBezTo>
                  <a:pt x="110" y="700"/>
                  <a:pt x="113" y="696"/>
                  <a:pt x="113" y="679"/>
                </a:cubicBezTo>
                <a:cubicBezTo>
                  <a:pt x="113" y="662"/>
                  <a:pt x="114" y="664"/>
                  <a:pt x="115" y="648"/>
                </a:cubicBezTo>
                <a:cubicBezTo>
                  <a:pt x="115" y="633"/>
                  <a:pt x="113" y="642"/>
                  <a:pt x="116" y="633"/>
                </a:cubicBezTo>
                <a:cubicBezTo>
                  <a:pt x="119" y="624"/>
                  <a:pt x="127" y="627"/>
                  <a:pt x="139" y="617"/>
                </a:cubicBezTo>
                <a:cubicBezTo>
                  <a:pt x="152" y="608"/>
                  <a:pt x="141" y="610"/>
                  <a:pt x="139" y="605"/>
                </a:cubicBezTo>
                <a:cubicBezTo>
                  <a:pt x="138" y="600"/>
                  <a:pt x="137" y="599"/>
                  <a:pt x="136" y="591"/>
                </a:cubicBezTo>
                <a:cubicBezTo>
                  <a:pt x="134" y="583"/>
                  <a:pt x="133" y="576"/>
                  <a:pt x="145" y="556"/>
                </a:cubicBezTo>
                <a:cubicBezTo>
                  <a:pt x="156" y="536"/>
                  <a:pt x="155" y="549"/>
                  <a:pt x="157" y="538"/>
                </a:cubicBezTo>
                <a:cubicBezTo>
                  <a:pt x="160" y="527"/>
                  <a:pt x="157" y="523"/>
                  <a:pt x="158" y="511"/>
                </a:cubicBezTo>
                <a:cubicBezTo>
                  <a:pt x="159" y="499"/>
                  <a:pt x="171" y="497"/>
                  <a:pt x="176" y="487"/>
                </a:cubicBezTo>
                <a:cubicBezTo>
                  <a:pt x="180" y="477"/>
                  <a:pt x="181" y="468"/>
                  <a:pt x="181" y="460"/>
                </a:cubicBezTo>
                <a:cubicBezTo>
                  <a:pt x="182" y="452"/>
                  <a:pt x="166" y="416"/>
                  <a:pt x="163" y="406"/>
                </a:cubicBezTo>
                <a:cubicBezTo>
                  <a:pt x="160" y="395"/>
                  <a:pt x="170" y="389"/>
                  <a:pt x="178" y="384"/>
                </a:cubicBezTo>
                <a:cubicBezTo>
                  <a:pt x="185" y="379"/>
                  <a:pt x="182" y="367"/>
                  <a:pt x="180" y="362"/>
                </a:cubicBezTo>
                <a:cubicBezTo>
                  <a:pt x="179" y="358"/>
                  <a:pt x="196" y="324"/>
                  <a:pt x="199" y="317"/>
                </a:cubicBezTo>
                <a:cubicBezTo>
                  <a:pt x="202" y="311"/>
                  <a:pt x="200" y="304"/>
                  <a:pt x="206" y="297"/>
                </a:cubicBezTo>
                <a:cubicBezTo>
                  <a:pt x="213" y="291"/>
                  <a:pt x="231" y="285"/>
                  <a:pt x="235" y="279"/>
                </a:cubicBezTo>
                <a:cubicBezTo>
                  <a:pt x="240" y="273"/>
                  <a:pt x="230" y="274"/>
                  <a:pt x="227" y="271"/>
                </a:cubicBezTo>
                <a:cubicBezTo>
                  <a:pt x="225" y="268"/>
                  <a:pt x="233" y="261"/>
                  <a:pt x="235" y="254"/>
                </a:cubicBezTo>
                <a:cubicBezTo>
                  <a:pt x="238" y="248"/>
                  <a:pt x="233" y="233"/>
                  <a:pt x="229" y="216"/>
                </a:cubicBezTo>
                <a:cubicBezTo>
                  <a:pt x="226" y="199"/>
                  <a:pt x="234" y="211"/>
                  <a:pt x="252" y="202"/>
                </a:cubicBezTo>
                <a:cubicBezTo>
                  <a:pt x="271" y="194"/>
                  <a:pt x="272" y="188"/>
                  <a:pt x="273" y="170"/>
                </a:cubicBezTo>
                <a:cubicBezTo>
                  <a:pt x="274" y="158"/>
                  <a:pt x="275" y="152"/>
                  <a:pt x="275" y="150"/>
                </a:cubicBezTo>
                <a:cubicBezTo>
                  <a:pt x="275" y="149"/>
                  <a:pt x="275" y="149"/>
                  <a:pt x="275" y="149"/>
                </a:cubicBezTo>
                <a:cubicBezTo>
                  <a:pt x="275" y="149"/>
                  <a:pt x="274" y="150"/>
                  <a:pt x="273" y="150"/>
                </a:cubicBezTo>
                <a:cubicBezTo>
                  <a:pt x="268" y="152"/>
                  <a:pt x="256" y="152"/>
                  <a:pt x="254" y="158"/>
                </a:cubicBezTo>
                <a:cubicBezTo>
                  <a:pt x="247" y="146"/>
                  <a:pt x="247" y="127"/>
                  <a:pt x="241" y="113"/>
                </a:cubicBezTo>
                <a:cubicBezTo>
                  <a:pt x="238" y="103"/>
                  <a:pt x="236" y="92"/>
                  <a:pt x="230" y="84"/>
                </a:cubicBezTo>
                <a:cubicBezTo>
                  <a:pt x="225" y="76"/>
                  <a:pt x="221" y="74"/>
                  <a:pt x="225" y="64"/>
                </a:cubicBezTo>
                <a:cubicBezTo>
                  <a:pt x="228" y="57"/>
                  <a:pt x="233" y="55"/>
                  <a:pt x="231" y="47"/>
                </a:cubicBezTo>
                <a:cubicBezTo>
                  <a:pt x="229" y="42"/>
                  <a:pt x="222" y="37"/>
                  <a:pt x="219" y="32"/>
                </a:cubicBezTo>
                <a:cubicBezTo>
                  <a:pt x="215" y="23"/>
                  <a:pt x="215" y="6"/>
                  <a:pt x="208" y="0"/>
                </a:cubicBezTo>
                <a:cubicBezTo>
                  <a:pt x="208" y="0"/>
                  <a:pt x="208" y="0"/>
                  <a:pt x="208" y="0"/>
                </a:cubicBezTo>
                <a:cubicBezTo>
                  <a:pt x="204" y="8"/>
                  <a:pt x="195" y="24"/>
                  <a:pt x="184" y="25"/>
                </a:cubicBezTo>
                <a:cubicBezTo>
                  <a:pt x="184" y="28"/>
                  <a:pt x="184" y="28"/>
                  <a:pt x="184" y="28"/>
                </a:cubicBezTo>
                <a:cubicBezTo>
                  <a:pt x="184" y="41"/>
                  <a:pt x="184" y="76"/>
                  <a:pt x="186" y="86"/>
                </a:cubicBezTo>
                <a:cubicBezTo>
                  <a:pt x="188" y="99"/>
                  <a:pt x="173" y="157"/>
                  <a:pt x="173" y="179"/>
                </a:cubicBezTo>
                <a:cubicBezTo>
                  <a:pt x="173" y="201"/>
                  <a:pt x="173" y="220"/>
                  <a:pt x="171" y="230"/>
                </a:cubicBezTo>
                <a:cubicBezTo>
                  <a:pt x="169" y="241"/>
                  <a:pt x="167" y="252"/>
                  <a:pt x="164" y="265"/>
                </a:cubicBezTo>
                <a:cubicBezTo>
                  <a:pt x="160" y="278"/>
                  <a:pt x="153" y="302"/>
                  <a:pt x="149" y="316"/>
                </a:cubicBezTo>
                <a:cubicBezTo>
                  <a:pt x="146" y="331"/>
                  <a:pt x="138" y="342"/>
                  <a:pt x="140" y="355"/>
                </a:cubicBezTo>
                <a:cubicBezTo>
                  <a:pt x="142" y="368"/>
                  <a:pt x="146" y="386"/>
                  <a:pt x="136" y="386"/>
                </a:cubicBezTo>
                <a:cubicBezTo>
                  <a:pt x="127" y="386"/>
                  <a:pt x="127" y="371"/>
                  <a:pt x="127" y="386"/>
                </a:cubicBezTo>
                <a:cubicBezTo>
                  <a:pt x="127" y="401"/>
                  <a:pt x="131" y="434"/>
                  <a:pt x="129" y="446"/>
                </a:cubicBezTo>
                <a:cubicBezTo>
                  <a:pt x="127" y="459"/>
                  <a:pt x="116" y="478"/>
                  <a:pt x="114" y="485"/>
                </a:cubicBezTo>
                <a:cubicBezTo>
                  <a:pt x="113" y="492"/>
                  <a:pt x="109" y="509"/>
                  <a:pt x="107" y="514"/>
                </a:cubicBezTo>
                <a:cubicBezTo>
                  <a:pt x="105" y="520"/>
                  <a:pt x="91" y="538"/>
                  <a:pt x="87" y="547"/>
                </a:cubicBezTo>
                <a:cubicBezTo>
                  <a:pt x="83" y="556"/>
                  <a:pt x="76" y="565"/>
                  <a:pt x="76" y="565"/>
                </a:cubicBezTo>
                <a:cubicBezTo>
                  <a:pt x="76" y="565"/>
                  <a:pt x="67" y="567"/>
                  <a:pt x="65" y="573"/>
                </a:cubicBezTo>
                <a:cubicBezTo>
                  <a:pt x="63" y="578"/>
                  <a:pt x="65" y="609"/>
                  <a:pt x="69" y="618"/>
                </a:cubicBezTo>
                <a:cubicBezTo>
                  <a:pt x="72" y="628"/>
                  <a:pt x="74" y="635"/>
                  <a:pt x="65" y="646"/>
                </a:cubicBezTo>
                <a:cubicBezTo>
                  <a:pt x="56" y="657"/>
                  <a:pt x="52" y="681"/>
                  <a:pt x="52" y="681"/>
                </a:cubicBezTo>
                <a:cubicBezTo>
                  <a:pt x="52" y="681"/>
                  <a:pt x="53" y="693"/>
                  <a:pt x="56" y="697"/>
                </a:cubicBezTo>
                <a:cubicBezTo>
                  <a:pt x="59" y="702"/>
                  <a:pt x="67" y="705"/>
                  <a:pt x="70" y="702"/>
                </a:cubicBezTo>
                <a:cubicBezTo>
                  <a:pt x="72" y="700"/>
                  <a:pt x="77" y="693"/>
                  <a:pt x="80" y="695"/>
                </a:cubicBezTo>
                <a:cubicBezTo>
                  <a:pt x="82" y="696"/>
                  <a:pt x="82" y="711"/>
                  <a:pt x="80" y="715"/>
                </a:cubicBezTo>
                <a:cubicBezTo>
                  <a:pt x="78" y="720"/>
                  <a:pt x="82" y="723"/>
                  <a:pt x="79" y="726"/>
                </a:cubicBezTo>
                <a:cubicBezTo>
                  <a:pt x="76" y="729"/>
                  <a:pt x="70" y="738"/>
                  <a:pt x="71" y="741"/>
                </a:cubicBezTo>
                <a:cubicBezTo>
                  <a:pt x="72" y="744"/>
                  <a:pt x="77" y="751"/>
                  <a:pt x="75" y="756"/>
                </a:cubicBezTo>
                <a:cubicBezTo>
                  <a:pt x="72" y="761"/>
                  <a:pt x="68" y="764"/>
                  <a:pt x="70" y="767"/>
                </a:cubicBezTo>
                <a:cubicBezTo>
                  <a:pt x="71" y="770"/>
                  <a:pt x="75" y="771"/>
                  <a:pt x="75" y="773"/>
                </a:cubicBezTo>
                <a:cubicBezTo>
                  <a:pt x="74" y="775"/>
                  <a:pt x="65" y="781"/>
                  <a:pt x="64" y="783"/>
                </a:cubicBezTo>
                <a:cubicBezTo>
                  <a:pt x="61" y="791"/>
                  <a:pt x="63" y="794"/>
                  <a:pt x="62" y="798"/>
                </a:cubicBezTo>
                <a:cubicBezTo>
                  <a:pt x="60" y="802"/>
                  <a:pt x="60" y="804"/>
                  <a:pt x="59" y="808"/>
                </a:cubicBezTo>
                <a:cubicBezTo>
                  <a:pt x="59" y="813"/>
                  <a:pt x="59" y="812"/>
                  <a:pt x="57" y="815"/>
                </a:cubicBezTo>
                <a:cubicBezTo>
                  <a:pt x="56" y="817"/>
                  <a:pt x="51" y="826"/>
                  <a:pt x="48" y="824"/>
                </a:cubicBezTo>
                <a:cubicBezTo>
                  <a:pt x="45" y="821"/>
                  <a:pt x="43" y="815"/>
                  <a:pt x="43" y="815"/>
                </a:cubicBezTo>
                <a:cubicBezTo>
                  <a:pt x="43" y="815"/>
                  <a:pt x="40" y="810"/>
                  <a:pt x="38" y="807"/>
                </a:cubicBezTo>
                <a:cubicBezTo>
                  <a:pt x="36" y="804"/>
                  <a:pt x="35" y="797"/>
                  <a:pt x="31" y="808"/>
                </a:cubicBezTo>
                <a:cubicBezTo>
                  <a:pt x="27" y="819"/>
                  <a:pt x="26" y="818"/>
                  <a:pt x="20" y="821"/>
                </a:cubicBezTo>
                <a:cubicBezTo>
                  <a:pt x="13" y="825"/>
                  <a:pt x="12" y="824"/>
                  <a:pt x="11" y="829"/>
                </a:cubicBezTo>
                <a:cubicBezTo>
                  <a:pt x="11" y="833"/>
                  <a:pt x="4" y="827"/>
                  <a:pt x="6" y="833"/>
                </a:cubicBezTo>
                <a:cubicBezTo>
                  <a:pt x="8" y="838"/>
                  <a:pt x="12" y="836"/>
                  <a:pt x="17" y="836"/>
                </a:cubicBezTo>
                <a:cubicBezTo>
                  <a:pt x="22" y="836"/>
                  <a:pt x="28" y="832"/>
                  <a:pt x="30" y="835"/>
                </a:cubicBezTo>
                <a:cubicBezTo>
                  <a:pt x="31" y="839"/>
                  <a:pt x="33" y="838"/>
                  <a:pt x="36" y="840"/>
                </a:cubicBezTo>
                <a:cubicBezTo>
                  <a:pt x="40" y="842"/>
                  <a:pt x="45" y="845"/>
                  <a:pt x="40" y="849"/>
                </a:cubicBezTo>
                <a:cubicBezTo>
                  <a:pt x="35" y="853"/>
                  <a:pt x="36" y="860"/>
                  <a:pt x="40" y="861"/>
                </a:cubicBezTo>
                <a:cubicBezTo>
                  <a:pt x="44" y="862"/>
                  <a:pt x="51" y="861"/>
                  <a:pt x="50" y="866"/>
                </a:cubicBezTo>
                <a:cubicBezTo>
                  <a:pt x="49" y="871"/>
                  <a:pt x="40" y="878"/>
                  <a:pt x="38" y="879"/>
                </a:cubicBezTo>
                <a:cubicBezTo>
                  <a:pt x="36" y="880"/>
                  <a:pt x="43" y="883"/>
                  <a:pt x="34" y="888"/>
                </a:cubicBezTo>
                <a:cubicBezTo>
                  <a:pt x="26" y="893"/>
                  <a:pt x="22" y="884"/>
                  <a:pt x="21" y="893"/>
                </a:cubicBezTo>
                <a:cubicBezTo>
                  <a:pt x="21" y="902"/>
                  <a:pt x="28" y="901"/>
                  <a:pt x="19" y="904"/>
                </a:cubicBezTo>
                <a:cubicBezTo>
                  <a:pt x="10" y="908"/>
                  <a:pt x="9" y="903"/>
                  <a:pt x="5" y="911"/>
                </a:cubicBezTo>
                <a:cubicBezTo>
                  <a:pt x="0" y="920"/>
                  <a:pt x="2" y="924"/>
                  <a:pt x="8" y="924"/>
                </a:cubicBezTo>
                <a:cubicBezTo>
                  <a:pt x="15" y="924"/>
                  <a:pt x="17" y="913"/>
                  <a:pt x="22" y="917"/>
                </a:cubicBezTo>
                <a:cubicBezTo>
                  <a:pt x="27" y="920"/>
                  <a:pt x="30" y="916"/>
                  <a:pt x="31" y="911"/>
                </a:cubicBezTo>
                <a:cubicBezTo>
                  <a:pt x="31" y="907"/>
                  <a:pt x="36" y="899"/>
                  <a:pt x="38" y="903"/>
                </a:cubicBezTo>
                <a:cubicBezTo>
                  <a:pt x="39" y="906"/>
                  <a:pt x="43" y="908"/>
                  <a:pt x="38" y="916"/>
                </a:cubicBezTo>
                <a:cubicBezTo>
                  <a:pt x="33" y="923"/>
                  <a:pt x="25" y="915"/>
                  <a:pt x="29" y="925"/>
                </a:cubicBezTo>
                <a:cubicBezTo>
                  <a:pt x="33" y="935"/>
                  <a:pt x="33" y="937"/>
                  <a:pt x="29" y="940"/>
                </a:cubicBezTo>
                <a:cubicBezTo>
                  <a:pt x="24" y="943"/>
                  <a:pt x="18" y="941"/>
                  <a:pt x="21" y="945"/>
                </a:cubicBezTo>
                <a:cubicBezTo>
                  <a:pt x="23" y="950"/>
                  <a:pt x="30" y="948"/>
                  <a:pt x="32" y="947"/>
                </a:cubicBezTo>
                <a:cubicBezTo>
                  <a:pt x="34" y="945"/>
                  <a:pt x="36" y="934"/>
                  <a:pt x="36" y="944"/>
                </a:cubicBezTo>
                <a:cubicBezTo>
                  <a:pt x="35" y="954"/>
                  <a:pt x="30" y="956"/>
                  <a:pt x="35" y="958"/>
                </a:cubicBezTo>
                <a:cubicBezTo>
                  <a:pt x="40" y="961"/>
                  <a:pt x="43" y="959"/>
                  <a:pt x="47" y="956"/>
                </a:cubicBezTo>
                <a:cubicBezTo>
                  <a:pt x="50" y="953"/>
                  <a:pt x="55" y="959"/>
                  <a:pt x="52" y="965"/>
                </a:cubicBezTo>
                <a:cubicBezTo>
                  <a:pt x="49" y="971"/>
                  <a:pt x="43" y="966"/>
                  <a:pt x="48" y="972"/>
                </a:cubicBezTo>
                <a:cubicBezTo>
                  <a:pt x="53" y="979"/>
                  <a:pt x="57" y="977"/>
                  <a:pt x="59" y="975"/>
                </a:cubicBezTo>
                <a:cubicBezTo>
                  <a:pt x="62" y="972"/>
                  <a:pt x="69" y="967"/>
                  <a:pt x="69" y="969"/>
                </a:cubicBezTo>
                <a:cubicBezTo>
                  <a:pt x="69" y="971"/>
                  <a:pt x="52" y="986"/>
                  <a:pt x="52" y="992"/>
                </a:cubicBezTo>
                <a:cubicBezTo>
                  <a:pt x="51" y="998"/>
                  <a:pt x="56" y="1001"/>
                  <a:pt x="58" y="1002"/>
                </a:cubicBezTo>
                <a:cubicBezTo>
                  <a:pt x="59" y="1003"/>
                  <a:pt x="49" y="1006"/>
                  <a:pt x="48" y="1011"/>
                </a:cubicBezTo>
                <a:cubicBezTo>
                  <a:pt x="47" y="1017"/>
                  <a:pt x="42" y="1015"/>
                  <a:pt x="48" y="1019"/>
                </a:cubicBezTo>
                <a:cubicBezTo>
                  <a:pt x="54" y="1023"/>
                  <a:pt x="61" y="1021"/>
                  <a:pt x="61" y="1021"/>
                </a:cubicBezTo>
                <a:cubicBezTo>
                  <a:pt x="73" y="1011"/>
                  <a:pt x="73" y="1011"/>
                  <a:pt x="73" y="1011"/>
                </a:cubicBezTo>
                <a:cubicBezTo>
                  <a:pt x="73" y="1011"/>
                  <a:pt x="72" y="1002"/>
                  <a:pt x="76" y="1003"/>
                </a:cubicBezTo>
                <a:cubicBezTo>
                  <a:pt x="80" y="1005"/>
                  <a:pt x="72" y="999"/>
                  <a:pt x="82" y="1000"/>
                </a:cubicBezTo>
                <a:cubicBezTo>
                  <a:pt x="93" y="1002"/>
                  <a:pt x="94" y="1006"/>
                  <a:pt x="88" y="1010"/>
                </a:cubicBezTo>
                <a:cubicBezTo>
                  <a:pt x="82" y="1014"/>
                  <a:pt x="75" y="1016"/>
                  <a:pt x="77" y="1021"/>
                </a:cubicBezTo>
                <a:cubicBezTo>
                  <a:pt x="79" y="1025"/>
                  <a:pt x="75" y="1027"/>
                  <a:pt x="80" y="1029"/>
                </a:cubicBezTo>
                <a:cubicBezTo>
                  <a:pt x="85" y="1031"/>
                  <a:pt x="94" y="1029"/>
                  <a:pt x="98" y="1026"/>
                </a:cubicBezTo>
                <a:cubicBezTo>
                  <a:pt x="101" y="1024"/>
                  <a:pt x="107" y="1018"/>
                  <a:pt x="106" y="1015"/>
                </a:cubicBezTo>
                <a:cubicBezTo>
                  <a:pt x="105" y="1012"/>
                  <a:pt x="102" y="1000"/>
                  <a:pt x="108" y="1001"/>
                </a:cubicBezTo>
                <a:cubicBezTo>
                  <a:pt x="114" y="1002"/>
                  <a:pt x="109" y="996"/>
                  <a:pt x="116" y="998"/>
                </a:cubicBezTo>
                <a:cubicBezTo>
                  <a:pt x="122" y="1000"/>
                  <a:pt x="116" y="1004"/>
                  <a:pt x="116" y="1008"/>
                </a:cubicBezTo>
                <a:cubicBezTo>
                  <a:pt x="117" y="1013"/>
                  <a:pt x="118" y="1009"/>
                  <a:pt x="123" y="1011"/>
                </a:cubicBezTo>
                <a:cubicBezTo>
                  <a:pt x="128" y="1012"/>
                  <a:pt x="134" y="1004"/>
                  <a:pt x="135" y="1010"/>
                </a:cubicBezTo>
                <a:cubicBezTo>
                  <a:pt x="135" y="1016"/>
                  <a:pt x="136" y="1018"/>
                  <a:pt x="131" y="1021"/>
                </a:cubicBezTo>
                <a:cubicBezTo>
                  <a:pt x="127" y="1023"/>
                  <a:pt x="122" y="1020"/>
                  <a:pt x="120" y="1024"/>
                </a:cubicBezTo>
                <a:cubicBezTo>
                  <a:pt x="118" y="1028"/>
                  <a:pt x="125" y="1034"/>
                  <a:pt x="125" y="1034"/>
                </a:cubicBezTo>
                <a:cubicBezTo>
                  <a:pt x="125" y="1034"/>
                  <a:pt x="135" y="1030"/>
                  <a:pt x="131" y="1036"/>
                </a:cubicBezTo>
                <a:cubicBezTo>
                  <a:pt x="127" y="1043"/>
                  <a:pt x="113" y="1042"/>
                  <a:pt x="111" y="1043"/>
                </a:cubicBezTo>
                <a:cubicBezTo>
                  <a:pt x="108" y="1044"/>
                  <a:pt x="104" y="1035"/>
                  <a:pt x="104" y="1044"/>
                </a:cubicBezTo>
                <a:cubicBezTo>
                  <a:pt x="105" y="1053"/>
                  <a:pt x="127" y="1039"/>
                  <a:pt x="127" y="1052"/>
                </a:cubicBezTo>
                <a:cubicBezTo>
                  <a:pt x="126" y="1064"/>
                  <a:pt x="123" y="1062"/>
                  <a:pt x="130" y="1066"/>
                </a:cubicBezTo>
                <a:cubicBezTo>
                  <a:pt x="137" y="1069"/>
                  <a:pt x="132" y="1071"/>
                  <a:pt x="143" y="1066"/>
                </a:cubicBezTo>
                <a:cubicBezTo>
                  <a:pt x="154" y="1060"/>
                  <a:pt x="162" y="1046"/>
                  <a:pt x="164" y="1059"/>
                </a:cubicBezTo>
                <a:cubicBezTo>
                  <a:pt x="166" y="1072"/>
                  <a:pt x="157" y="1075"/>
                  <a:pt x="175" y="1069"/>
                </a:cubicBezTo>
                <a:cubicBezTo>
                  <a:pt x="192" y="1063"/>
                  <a:pt x="198" y="1058"/>
                  <a:pt x="198" y="1058"/>
                </a:cubicBezTo>
                <a:cubicBezTo>
                  <a:pt x="198" y="1058"/>
                  <a:pt x="199" y="1058"/>
                  <a:pt x="201" y="1057"/>
                </a:cubicBezTo>
                <a:lnTo>
                  <a:pt x="200" y="105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Freeform 392"/>
          <p:cNvSpPr>
            <a:spLocks/>
          </p:cNvSpPr>
          <p:nvPr userDrawn="1"/>
        </p:nvSpPr>
        <p:spPr bwMode="auto">
          <a:xfrm>
            <a:off x="3832315" y="4612675"/>
            <a:ext cx="93805" cy="73704"/>
          </a:xfrm>
          <a:custGeom>
            <a:avLst/>
            <a:gdLst>
              <a:gd name="T0" fmla="*/ 0 w 101"/>
              <a:gd name="T1" fmla="*/ 2147483646 h 79"/>
              <a:gd name="T2" fmla="*/ 0 w 101"/>
              <a:gd name="T3" fmla="*/ 2147483646 h 79"/>
              <a:gd name="T4" fmla="*/ 2147483646 w 101"/>
              <a:gd name="T5" fmla="*/ 2147483646 h 79"/>
              <a:gd name="T6" fmla="*/ 2147483646 w 101"/>
              <a:gd name="T7" fmla="*/ 2147483646 h 79"/>
              <a:gd name="T8" fmla="*/ 2147483646 w 101"/>
              <a:gd name="T9" fmla="*/ 2147483646 h 79"/>
              <a:gd name="T10" fmla="*/ 2147483646 w 101"/>
              <a:gd name="T11" fmla="*/ 2147483646 h 79"/>
              <a:gd name="T12" fmla="*/ 2147483646 w 101"/>
              <a:gd name="T13" fmla="*/ 2147483646 h 79"/>
              <a:gd name="T14" fmla="*/ 2147483646 w 101"/>
              <a:gd name="T15" fmla="*/ 2147483646 h 79"/>
              <a:gd name="T16" fmla="*/ 2147483646 w 101"/>
              <a:gd name="T17" fmla="*/ 2147483646 h 79"/>
              <a:gd name="T18" fmla="*/ 2147483646 w 101"/>
              <a:gd name="T19" fmla="*/ 2147483646 h 79"/>
              <a:gd name="T20" fmla="*/ 2147483646 w 101"/>
              <a:gd name="T21" fmla="*/ 2147483646 h 79"/>
              <a:gd name="T22" fmla="*/ 2147483646 w 101"/>
              <a:gd name="T23" fmla="*/ 2147483646 h 79"/>
              <a:gd name="T24" fmla="*/ 0 w 101"/>
              <a:gd name="T25" fmla="*/ 2147483646 h 7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1"/>
              <a:gd name="T40" fmla="*/ 0 h 79"/>
              <a:gd name="T41" fmla="*/ 101 w 101"/>
              <a:gd name="T42" fmla="*/ 79 h 7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1" h="79">
                <a:moveTo>
                  <a:pt x="0" y="12"/>
                </a:moveTo>
                <a:cubicBezTo>
                  <a:pt x="0" y="12"/>
                  <a:pt x="0" y="12"/>
                  <a:pt x="0" y="12"/>
                </a:cubicBezTo>
                <a:cubicBezTo>
                  <a:pt x="5" y="13"/>
                  <a:pt x="11" y="12"/>
                  <a:pt x="16" y="7"/>
                </a:cubicBezTo>
                <a:cubicBezTo>
                  <a:pt x="25" y="0"/>
                  <a:pt x="34" y="13"/>
                  <a:pt x="40" y="10"/>
                </a:cubicBezTo>
                <a:cubicBezTo>
                  <a:pt x="45" y="7"/>
                  <a:pt x="46" y="28"/>
                  <a:pt x="58" y="30"/>
                </a:cubicBezTo>
                <a:cubicBezTo>
                  <a:pt x="70" y="31"/>
                  <a:pt x="75" y="32"/>
                  <a:pt x="88" y="31"/>
                </a:cubicBezTo>
                <a:cubicBezTo>
                  <a:pt x="101" y="30"/>
                  <a:pt x="98" y="47"/>
                  <a:pt x="91" y="53"/>
                </a:cubicBezTo>
                <a:cubicBezTo>
                  <a:pt x="83" y="60"/>
                  <a:pt x="85" y="60"/>
                  <a:pt x="49" y="62"/>
                </a:cubicBezTo>
                <a:cubicBezTo>
                  <a:pt x="33" y="64"/>
                  <a:pt x="33" y="65"/>
                  <a:pt x="26" y="62"/>
                </a:cubicBezTo>
                <a:cubicBezTo>
                  <a:pt x="15" y="58"/>
                  <a:pt x="21" y="79"/>
                  <a:pt x="17" y="78"/>
                </a:cubicBezTo>
                <a:cubicBezTo>
                  <a:pt x="13" y="77"/>
                  <a:pt x="15" y="70"/>
                  <a:pt x="8" y="64"/>
                </a:cubicBezTo>
                <a:cubicBezTo>
                  <a:pt x="7" y="63"/>
                  <a:pt x="4" y="62"/>
                  <a:pt x="1" y="62"/>
                </a:cubicBezTo>
                <a:lnTo>
                  <a:pt x="0" y="1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Freeform 393"/>
          <p:cNvSpPr>
            <a:spLocks/>
          </p:cNvSpPr>
          <p:nvPr userDrawn="1"/>
        </p:nvSpPr>
        <p:spPr bwMode="auto">
          <a:xfrm>
            <a:off x="3753586" y="4616026"/>
            <a:ext cx="80404" cy="61977"/>
          </a:xfrm>
          <a:custGeom>
            <a:avLst/>
            <a:gdLst>
              <a:gd name="T0" fmla="*/ 2147483646 w 85"/>
              <a:gd name="T1" fmla="*/ 2147483646 h 67"/>
              <a:gd name="T2" fmla="*/ 2147483646 w 85"/>
              <a:gd name="T3" fmla="*/ 2147483646 h 67"/>
              <a:gd name="T4" fmla="*/ 2147483646 w 85"/>
              <a:gd name="T5" fmla="*/ 2147483646 h 67"/>
              <a:gd name="T6" fmla="*/ 2147483646 w 85"/>
              <a:gd name="T7" fmla="*/ 2147483646 h 67"/>
              <a:gd name="T8" fmla="*/ 2147483646 w 85"/>
              <a:gd name="T9" fmla="*/ 2147483646 h 67"/>
              <a:gd name="T10" fmla="*/ 2147483646 w 85"/>
              <a:gd name="T11" fmla="*/ 2147483646 h 67"/>
              <a:gd name="T12" fmla="*/ 2147483646 w 85"/>
              <a:gd name="T13" fmla="*/ 2147483646 h 67"/>
              <a:gd name="T14" fmla="*/ 2147483646 w 85"/>
              <a:gd name="T15" fmla="*/ 0 h 67"/>
              <a:gd name="T16" fmla="*/ 2147483646 w 85"/>
              <a:gd name="T17" fmla="*/ 2147483646 h 67"/>
              <a:gd name="T18" fmla="*/ 2147483646 w 85"/>
              <a:gd name="T19" fmla="*/ 2147483646 h 67"/>
              <a:gd name="T20" fmla="*/ 2147483646 w 85"/>
              <a:gd name="T21" fmla="*/ 2147483646 h 6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5"/>
              <a:gd name="T34" fmla="*/ 0 h 67"/>
              <a:gd name="T35" fmla="*/ 85 w 85"/>
              <a:gd name="T36" fmla="*/ 67 h 6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5" h="67">
                <a:moveTo>
                  <a:pt x="85" y="57"/>
                </a:moveTo>
                <a:cubicBezTo>
                  <a:pt x="70" y="56"/>
                  <a:pt x="38" y="62"/>
                  <a:pt x="21" y="65"/>
                </a:cubicBezTo>
                <a:cubicBezTo>
                  <a:pt x="0" y="67"/>
                  <a:pt x="4" y="57"/>
                  <a:pt x="4" y="42"/>
                </a:cubicBezTo>
                <a:cubicBezTo>
                  <a:pt x="4" y="28"/>
                  <a:pt x="13" y="46"/>
                  <a:pt x="20" y="46"/>
                </a:cubicBezTo>
                <a:cubicBezTo>
                  <a:pt x="26" y="46"/>
                  <a:pt x="68" y="50"/>
                  <a:pt x="62" y="45"/>
                </a:cubicBezTo>
                <a:cubicBezTo>
                  <a:pt x="55" y="40"/>
                  <a:pt x="55" y="37"/>
                  <a:pt x="59" y="31"/>
                </a:cubicBezTo>
                <a:cubicBezTo>
                  <a:pt x="63" y="24"/>
                  <a:pt x="51" y="23"/>
                  <a:pt x="37" y="16"/>
                </a:cubicBezTo>
                <a:cubicBezTo>
                  <a:pt x="22" y="10"/>
                  <a:pt x="43" y="0"/>
                  <a:pt x="51" y="0"/>
                </a:cubicBezTo>
                <a:cubicBezTo>
                  <a:pt x="51" y="0"/>
                  <a:pt x="66" y="0"/>
                  <a:pt x="72" y="4"/>
                </a:cubicBezTo>
                <a:cubicBezTo>
                  <a:pt x="75" y="6"/>
                  <a:pt x="79" y="8"/>
                  <a:pt x="84" y="8"/>
                </a:cubicBezTo>
                <a:lnTo>
                  <a:pt x="85" y="57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Freeform 394"/>
          <p:cNvSpPr>
            <a:spLocks/>
          </p:cNvSpPr>
          <p:nvPr userDrawn="1"/>
        </p:nvSpPr>
        <p:spPr bwMode="auto">
          <a:xfrm>
            <a:off x="3341513" y="4656229"/>
            <a:ext cx="45227" cy="78729"/>
          </a:xfrm>
          <a:custGeom>
            <a:avLst/>
            <a:gdLst>
              <a:gd name="T0" fmla="*/ 2147483646 w 49"/>
              <a:gd name="T1" fmla="*/ 2147483646 h 84"/>
              <a:gd name="T2" fmla="*/ 2147483646 w 49"/>
              <a:gd name="T3" fmla="*/ 2147483646 h 84"/>
              <a:gd name="T4" fmla="*/ 2147483646 w 49"/>
              <a:gd name="T5" fmla="*/ 2147483646 h 84"/>
              <a:gd name="T6" fmla="*/ 2147483646 w 49"/>
              <a:gd name="T7" fmla="*/ 2147483646 h 84"/>
              <a:gd name="T8" fmla="*/ 2147483646 w 49"/>
              <a:gd name="T9" fmla="*/ 2147483646 h 84"/>
              <a:gd name="T10" fmla="*/ 2147483646 w 49"/>
              <a:gd name="T11" fmla="*/ 2147483646 h 84"/>
              <a:gd name="T12" fmla="*/ 2147483646 w 49"/>
              <a:gd name="T13" fmla="*/ 2147483646 h 84"/>
              <a:gd name="T14" fmla="*/ 2147483646 w 49"/>
              <a:gd name="T15" fmla="*/ 2147483646 h 84"/>
              <a:gd name="T16" fmla="*/ 2147483646 w 49"/>
              <a:gd name="T17" fmla="*/ 2147483646 h 84"/>
              <a:gd name="T18" fmla="*/ 2147483646 w 49"/>
              <a:gd name="T19" fmla="*/ 2147483646 h 84"/>
              <a:gd name="T20" fmla="*/ 2147483646 w 49"/>
              <a:gd name="T21" fmla="*/ 2147483646 h 84"/>
              <a:gd name="T22" fmla="*/ 2147483646 w 49"/>
              <a:gd name="T23" fmla="*/ 2147483646 h 84"/>
              <a:gd name="T24" fmla="*/ 2147483646 w 49"/>
              <a:gd name="T25" fmla="*/ 2147483646 h 84"/>
              <a:gd name="T26" fmla="*/ 2147483646 w 49"/>
              <a:gd name="T27" fmla="*/ 2147483646 h 84"/>
              <a:gd name="T28" fmla="*/ 2147483646 w 49"/>
              <a:gd name="T29" fmla="*/ 2147483646 h 8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9"/>
              <a:gd name="T46" fmla="*/ 0 h 84"/>
              <a:gd name="T47" fmla="*/ 49 w 49"/>
              <a:gd name="T48" fmla="*/ 84 h 8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9" h="84">
                <a:moveTo>
                  <a:pt x="16" y="76"/>
                </a:moveTo>
                <a:cubicBezTo>
                  <a:pt x="23" y="68"/>
                  <a:pt x="35" y="58"/>
                  <a:pt x="35" y="58"/>
                </a:cubicBezTo>
                <a:cubicBezTo>
                  <a:pt x="35" y="58"/>
                  <a:pt x="37" y="48"/>
                  <a:pt x="36" y="38"/>
                </a:cubicBezTo>
                <a:cubicBezTo>
                  <a:pt x="36" y="27"/>
                  <a:pt x="37" y="20"/>
                  <a:pt x="37" y="20"/>
                </a:cubicBezTo>
                <a:cubicBezTo>
                  <a:pt x="37" y="20"/>
                  <a:pt x="45" y="15"/>
                  <a:pt x="49" y="12"/>
                </a:cubicBezTo>
                <a:cubicBezTo>
                  <a:pt x="49" y="10"/>
                  <a:pt x="49" y="10"/>
                  <a:pt x="49" y="10"/>
                </a:cubicBezTo>
                <a:cubicBezTo>
                  <a:pt x="49" y="10"/>
                  <a:pt x="43" y="1"/>
                  <a:pt x="40" y="1"/>
                </a:cubicBezTo>
                <a:cubicBezTo>
                  <a:pt x="37" y="0"/>
                  <a:pt x="32" y="0"/>
                  <a:pt x="28" y="2"/>
                </a:cubicBezTo>
                <a:cubicBezTo>
                  <a:pt x="25" y="5"/>
                  <a:pt x="19" y="12"/>
                  <a:pt x="18" y="15"/>
                </a:cubicBezTo>
                <a:cubicBezTo>
                  <a:pt x="16" y="17"/>
                  <a:pt x="10" y="22"/>
                  <a:pt x="9" y="28"/>
                </a:cubicBezTo>
                <a:cubicBezTo>
                  <a:pt x="7" y="34"/>
                  <a:pt x="6" y="33"/>
                  <a:pt x="7" y="43"/>
                </a:cubicBezTo>
                <a:cubicBezTo>
                  <a:pt x="8" y="53"/>
                  <a:pt x="8" y="42"/>
                  <a:pt x="5" y="60"/>
                </a:cubicBezTo>
                <a:cubicBezTo>
                  <a:pt x="1" y="77"/>
                  <a:pt x="0" y="80"/>
                  <a:pt x="3" y="82"/>
                </a:cubicBezTo>
                <a:cubicBezTo>
                  <a:pt x="6" y="84"/>
                  <a:pt x="14" y="79"/>
                  <a:pt x="14" y="79"/>
                </a:cubicBezTo>
                <a:lnTo>
                  <a:pt x="16" y="7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Line 395"/>
          <p:cNvSpPr>
            <a:spLocks noChangeShapeType="1"/>
          </p:cNvSpPr>
          <p:nvPr userDrawn="1"/>
        </p:nvSpPr>
        <p:spPr bwMode="auto">
          <a:xfrm>
            <a:off x="3426943" y="4882365"/>
            <a:ext cx="1676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Line 396"/>
          <p:cNvSpPr>
            <a:spLocks noChangeShapeType="1"/>
          </p:cNvSpPr>
          <p:nvPr userDrawn="1"/>
        </p:nvSpPr>
        <p:spPr bwMode="auto">
          <a:xfrm>
            <a:off x="3426943" y="4882365"/>
            <a:ext cx="1676" cy="1676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Line 397"/>
          <p:cNvSpPr>
            <a:spLocks noChangeShapeType="1"/>
          </p:cNvSpPr>
          <p:nvPr userDrawn="1"/>
        </p:nvSpPr>
        <p:spPr bwMode="auto">
          <a:xfrm>
            <a:off x="3465469" y="4981195"/>
            <a:ext cx="1675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Line 398"/>
          <p:cNvSpPr>
            <a:spLocks noChangeShapeType="1"/>
          </p:cNvSpPr>
          <p:nvPr userDrawn="1"/>
        </p:nvSpPr>
        <p:spPr bwMode="auto">
          <a:xfrm>
            <a:off x="3465469" y="4981195"/>
            <a:ext cx="1675" cy="1675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Freeform 399"/>
          <p:cNvSpPr>
            <a:spLocks/>
          </p:cNvSpPr>
          <p:nvPr userDrawn="1"/>
        </p:nvSpPr>
        <p:spPr bwMode="auto">
          <a:xfrm>
            <a:off x="3462120" y="4523896"/>
            <a:ext cx="298167" cy="100505"/>
          </a:xfrm>
          <a:custGeom>
            <a:avLst/>
            <a:gdLst>
              <a:gd name="T0" fmla="*/ 2147483646 w 319"/>
              <a:gd name="T1" fmla="*/ 2147483646 h 107"/>
              <a:gd name="T2" fmla="*/ 2147483646 w 319"/>
              <a:gd name="T3" fmla="*/ 2147483646 h 107"/>
              <a:gd name="T4" fmla="*/ 2147483646 w 319"/>
              <a:gd name="T5" fmla="*/ 2147483646 h 107"/>
              <a:gd name="T6" fmla="*/ 2147483646 w 319"/>
              <a:gd name="T7" fmla="*/ 2147483646 h 107"/>
              <a:gd name="T8" fmla="*/ 2147483646 w 319"/>
              <a:gd name="T9" fmla="*/ 2147483646 h 107"/>
              <a:gd name="T10" fmla="*/ 2147483646 w 319"/>
              <a:gd name="T11" fmla="*/ 2147483646 h 107"/>
              <a:gd name="T12" fmla="*/ 2147483646 w 319"/>
              <a:gd name="T13" fmla="*/ 2147483646 h 107"/>
              <a:gd name="T14" fmla="*/ 2147483646 w 319"/>
              <a:gd name="T15" fmla="*/ 2147483646 h 107"/>
              <a:gd name="T16" fmla="*/ 2147483646 w 319"/>
              <a:gd name="T17" fmla="*/ 2147483646 h 107"/>
              <a:gd name="T18" fmla="*/ 2147483646 w 319"/>
              <a:gd name="T19" fmla="*/ 2147483646 h 107"/>
              <a:gd name="T20" fmla="*/ 2147483646 w 319"/>
              <a:gd name="T21" fmla="*/ 2147483646 h 107"/>
              <a:gd name="T22" fmla="*/ 2147483646 w 319"/>
              <a:gd name="T23" fmla="*/ 2147483646 h 107"/>
              <a:gd name="T24" fmla="*/ 2147483646 w 319"/>
              <a:gd name="T25" fmla="*/ 2147483646 h 107"/>
              <a:gd name="T26" fmla="*/ 2147483646 w 319"/>
              <a:gd name="T27" fmla="*/ 2147483646 h 107"/>
              <a:gd name="T28" fmla="*/ 2147483646 w 319"/>
              <a:gd name="T29" fmla="*/ 2147483646 h 107"/>
              <a:gd name="T30" fmla="*/ 2147483646 w 319"/>
              <a:gd name="T31" fmla="*/ 2147483646 h 107"/>
              <a:gd name="T32" fmla="*/ 2147483646 w 319"/>
              <a:gd name="T33" fmla="*/ 2147483646 h 107"/>
              <a:gd name="T34" fmla="*/ 2147483646 w 319"/>
              <a:gd name="T35" fmla="*/ 2147483646 h 107"/>
              <a:gd name="T36" fmla="*/ 2147483646 w 319"/>
              <a:gd name="T37" fmla="*/ 2147483646 h 107"/>
              <a:gd name="T38" fmla="*/ 2147483646 w 319"/>
              <a:gd name="T39" fmla="*/ 2147483646 h 107"/>
              <a:gd name="T40" fmla="*/ 2147483646 w 319"/>
              <a:gd name="T41" fmla="*/ 2147483646 h 107"/>
              <a:gd name="T42" fmla="*/ 2147483646 w 319"/>
              <a:gd name="T43" fmla="*/ 2147483646 h 107"/>
              <a:gd name="T44" fmla="*/ 2147483646 w 319"/>
              <a:gd name="T45" fmla="*/ 2147483646 h 107"/>
              <a:gd name="T46" fmla="*/ 2147483646 w 319"/>
              <a:gd name="T47" fmla="*/ 2147483646 h 107"/>
              <a:gd name="T48" fmla="*/ 2147483646 w 319"/>
              <a:gd name="T49" fmla="*/ 2147483646 h 107"/>
              <a:gd name="T50" fmla="*/ 2147483646 w 319"/>
              <a:gd name="T51" fmla="*/ 2147483646 h 107"/>
              <a:gd name="T52" fmla="*/ 2147483646 w 319"/>
              <a:gd name="T53" fmla="*/ 2147483646 h 107"/>
              <a:gd name="T54" fmla="*/ 2147483646 w 319"/>
              <a:gd name="T55" fmla="*/ 2147483646 h 107"/>
              <a:gd name="T56" fmla="*/ 2147483646 w 319"/>
              <a:gd name="T57" fmla="*/ 2147483646 h 10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19"/>
              <a:gd name="T88" fmla="*/ 0 h 107"/>
              <a:gd name="T89" fmla="*/ 319 w 319"/>
              <a:gd name="T90" fmla="*/ 107 h 10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19" h="107">
                <a:moveTo>
                  <a:pt x="109" y="6"/>
                </a:moveTo>
                <a:cubicBezTo>
                  <a:pt x="84" y="5"/>
                  <a:pt x="76" y="0"/>
                  <a:pt x="65" y="5"/>
                </a:cubicBezTo>
                <a:cubicBezTo>
                  <a:pt x="53" y="10"/>
                  <a:pt x="45" y="5"/>
                  <a:pt x="40" y="15"/>
                </a:cubicBezTo>
                <a:cubicBezTo>
                  <a:pt x="34" y="26"/>
                  <a:pt x="40" y="27"/>
                  <a:pt x="30" y="32"/>
                </a:cubicBezTo>
                <a:cubicBezTo>
                  <a:pt x="21" y="38"/>
                  <a:pt x="0" y="44"/>
                  <a:pt x="19" y="43"/>
                </a:cubicBezTo>
                <a:cubicBezTo>
                  <a:pt x="37" y="41"/>
                  <a:pt x="49" y="36"/>
                  <a:pt x="57" y="32"/>
                </a:cubicBezTo>
                <a:cubicBezTo>
                  <a:pt x="65" y="28"/>
                  <a:pt x="62" y="17"/>
                  <a:pt x="70" y="19"/>
                </a:cubicBezTo>
                <a:cubicBezTo>
                  <a:pt x="78" y="22"/>
                  <a:pt x="83" y="10"/>
                  <a:pt x="88" y="18"/>
                </a:cubicBezTo>
                <a:cubicBezTo>
                  <a:pt x="93" y="26"/>
                  <a:pt x="109" y="6"/>
                  <a:pt x="108" y="19"/>
                </a:cubicBezTo>
                <a:cubicBezTo>
                  <a:pt x="106" y="32"/>
                  <a:pt x="92" y="22"/>
                  <a:pt x="96" y="28"/>
                </a:cubicBezTo>
                <a:cubicBezTo>
                  <a:pt x="100" y="35"/>
                  <a:pt x="106" y="30"/>
                  <a:pt x="118" y="36"/>
                </a:cubicBezTo>
                <a:cubicBezTo>
                  <a:pt x="130" y="43"/>
                  <a:pt x="146" y="23"/>
                  <a:pt x="151" y="36"/>
                </a:cubicBezTo>
                <a:cubicBezTo>
                  <a:pt x="156" y="49"/>
                  <a:pt x="155" y="49"/>
                  <a:pt x="164" y="52"/>
                </a:cubicBezTo>
                <a:cubicBezTo>
                  <a:pt x="173" y="55"/>
                  <a:pt x="176" y="44"/>
                  <a:pt x="186" y="53"/>
                </a:cubicBezTo>
                <a:cubicBezTo>
                  <a:pt x="197" y="62"/>
                  <a:pt x="207" y="44"/>
                  <a:pt x="203" y="61"/>
                </a:cubicBezTo>
                <a:cubicBezTo>
                  <a:pt x="199" y="78"/>
                  <a:pt x="211" y="73"/>
                  <a:pt x="222" y="82"/>
                </a:cubicBezTo>
                <a:cubicBezTo>
                  <a:pt x="232" y="91"/>
                  <a:pt x="218" y="83"/>
                  <a:pt x="219" y="95"/>
                </a:cubicBezTo>
                <a:cubicBezTo>
                  <a:pt x="220" y="107"/>
                  <a:pt x="207" y="103"/>
                  <a:pt x="235" y="103"/>
                </a:cubicBezTo>
                <a:cubicBezTo>
                  <a:pt x="262" y="103"/>
                  <a:pt x="300" y="106"/>
                  <a:pt x="306" y="104"/>
                </a:cubicBezTo>
                <a:cubicBezTo>
                  <a:pt x="311" y="103"/>
                  <a:pt x="317" y="100"/>
                  <a:pt x="317" y="100"/>
                </a:cubicBezTo>
                <a:cubicBezTo>
                  <a:pt x="317" y="100"/>
                  <a:pt x="319" y="78"/>
                  <a:pt x="308" y="82"/>
                </a:cubicBezTo>
                <a:cubicBezTo>
                  <a:pt x="298" y="86"/>
                  <a:pt x="296" y="73"/>
                  <a:pt x="287" y="77"/>
                </a:cubicBezTo>
                <a:cubicBezTo>
                  <a:pt x="278" y="81"/>
                  <a:pt x="282" y="57"/>
                  <a:pt x="271" y="60"/>
                </a:cubicBezTo>
                <a:cubicBezTo>
                  <a:pt x="261" y="62"/>
                  <a:pt x="247" y="59"/>
                  <a:pt x="239" y="53"/>
                </a:cubicBezTo>
                <a:cubicBezTo>
                  <a:pt x="231" y="48"/>
                  <a:pt x="220" y="45"/>
                  <a:pt x="214" y="43"/>
                </a:cubicBezTo>
                <a:cubicBezTo>
                  <a:pt x="207" y="40"/>
                  <a:pt x="205" y="34"/>
                  <a:pt x="196" y="30"/>
                </a:cubicBezTo>
                <a:cubicBezTo>
                  <a:pt x="186" y="26"/>
                  <a:pt x="175" y="24"/>
                  <a:pt x="168" y="23"/>
                </a:cubicBezTo>
                <a:cubicBezTo>
                  <a:pt x="161" y="22"/>
                  <a:pt x="141" y="6"/>
                  <a:pt x="135" y="6"/>
                </a:cubicBezTo>
                <a:cubicBezTo>
                  <a:pt x="130" y="6"/>
                  <a:pt x="109" y="6"/>
                  <a:pt x="109" y="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Freeform 400"/>
          <p:cNvSpPr>
            <a:spLocks/>
          </p:cNvSpPr>
          <p:nvPr userDrawn="1"/>
        </p:nvSpPr>
        <p:spPr bwMode="auto">
          <a:xfrm>
            <a:off x="3947897" y="4639476"/>
            <a:ext cx="61977" cy="31827"/>
          </a:xfrm>
          <a:custGeom>
            <a:avLst/>
            <a:gdLst>
              <a:gd name="T0" fmla="*/ 2147483646 w 67"/>
              <a:gd name="T1" fmla="*/ 2147483646 h 33"/>
              <a:gd name="T2" fmla="*/ 2147483646 w 67"/>
              <a:gd name="T3" fmla="*/ 2147483646 h 33"/>
              <a:gd name="T4" fmla="*/ 2147483646 w 67"/>
              <a:gd name="T5" fmla="*/ 2147483646 h 33"/>
              <a:gd name="T6" fmla="*/ 2147483646 w 67"/>
              <a:gd name="T7" fmla="*/ 2147483646 h 33"/>
              <a:gd name="T8" fmla="*/ 2147483646 w 67"/>
              <a:gd name="T9" fmla="*/ 2147483646 h 33"/>
              <a:gd name="T10" fmla="*/ 2147483646 w 67"/>
              <a:gd name="T11" fmla="*/ 2147483646 h 33"/>
              <a:gd name="T12" fmla="*/ 2147483646 w 67"/>
              <a:gd name="T13" fmla="*/ 2147483646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7"/>
              <a:gd name="T22" fmla="*/ 0 h 33"/>
              <a:gd name="T23" fmla="*/ 67 w 6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7" h="33">
                <a:moveTo>
                  <a:pt x="33" y="14"/>
                </a:moveTo>
                <a:cubicBezTo>
                  <a:pt x="25" y="17"/>
                  <a:pt x="7" y="0"/>
                  <a:pt x="6" y="12"/>
                </a:cubicBezTo>
                <a:cubicBezTo>
                  <a:pt x="4" y="24"/>
                  <a:pt x="0" y="33"/>
                  <a:pt x="11" y="33"/>
                </a:cubicBezTo>
                <a:cubicBezTo>
                  <a:pt x="21" y="33"/>
                  <a:pt x="40" y="28"/>
                  <a:pt x="46" y="28"/>
                </a:cubicBezTo>
                <a:cubicBezTo>
                  <a:pt x="53" y="28"/>
                  <a:pt x="67" y="17"/>
                  <a:pt x="63" y="17"/>
                </a:cubicBezTo>
                <a:cubicBezTo>
                  <a:pt x="59" y="17"/>
                  <a:pt x="49" y="10"/>
                  <a:pt x="44" y="13"/>
                </a:cubicBezTo>
                <a:cubicBezTo>
                  <a:pt x="38" y="16"/>
                  <a:pt x="33" y="14"/>
                  <a:pt x="33" y="1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Freeform 401"/>
          <p:cNvSpPr>
            <a:spLocks/>
          </p:cNvSpPr>
          <p:nvPr userDrawn="1"/>
        </p:nvSpPr>
        <p:spPr bwMode="auto">
          <a:xfrm>
            <a:off x="3648056" y="4659577"/>
            <a:ext cx="56953" cy="31827"/>
          </a:xfrm>
          <a:custGeom>
            <a:avLst/>
            <a:gdLst>
              <a:gd name="T0" fmla="*/ 2147483646 w 62"/>
              <a:gd name="T1" fmla="*/ 2147483646 h 34"/>
              <a:gd name="T2" fmla="*/ 0 w 62"/>
              <a:gd name="T3" fmla="*/ 2147483646 h 34"/>
              <a:gd name="T4" fmla="*/ 2147483646 w 62"/>
              <a:gd name="T5" fmla="*/ 2147483646 h 34"/>
              <a:gd name="T6" fmla="*/ 2147483646 w 62"/>
              <a:gd name="T7" fmla="*/ 2147483646 h 34"/>
              <a:gd name="T8" fmla="*/ 2147483646 w 62"/>
              <a:gd name="T9" fmla="*/ 2147483646 h 34"/>
              <a:gd name="T10" fmla="*/ 2147483646 w 62"/>
              <a:gd name="T11" fmla="*/ 2147483646 h 3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2"/>
              <a:gd name="T19" fmla="*/ 0 h 34"/>
              <a:gd name="T20" fmla="*/ 62 w 62"/>
              <a:gd name="T21" fmla="*/ 34 h 3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2" h="34">
                <a:moveTo>
                  <a:pt x="27" y="1"/>
                </a:moveTo>
                <a:cubicBezTo>
                  <a:pt x="17" y="3"/>
                  <a:pt x="0" y="0"/>
                  <a:pt x="0" y="8"/>
                </a:cubicBezTo>
                <a:cubicBezTo>
                  <a:pt x="0" y="16"/>
                  <a:pt x="7" y="26"/>
                  <a:pt x="20" y="30"/>
                </a:cubicBezTo>
                <a:cubicBezTo>
                  <a:pt x="33" y="34"/>
                  <a:pt x="44" y="25"/>
                  <a:pt x="52" y="25"/>
                </a:cubicBezTo>
                <a:cubicBezTo>
                  <a:pt x="59" y="25"/>
                  <a:pt x="62" y="18"/>
                  <a:pt x="62" y="18"/>
                </a:cubicBezTo>
                <a:lnTo>
                  <a:pt x="27" y="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Freeform 402"/>
          <p:cNvSpPr>
            <a:spLocks/>
          </p:cNvSpPr>
          <p:nvPr userDrawn="1"/>
        </p:nvSpPr>
        <p:spPr bwMode="auto">
          <a:xfrm>
            <a:off x="4123782" y="4865613"/>
            <a:ext cx="25127" cy="31827"/>
          </a:xfrm>
          <a:custGeom>
            <a:avLst/>
            <a:gdLst>
              <a:gd name="T0" fmla="*/ 2147483646 w 26"/>
              <a:gd name="T1" fmla="*/ 2147483646 h 33"/>
              <a:gd name="T2" fmla="*/ 2147483646 w 26"/>
              <a:gd name="T3" fmla="*/ 2147483646 h 33"/>
              <a:gd name="T4" fmla="*/ 2147483646 w 26"/>
              <a:gd name="T5" fmla="*/ 2147483646 h 33"/>
              <a:gd name="T6" fmla="*/ 2147483646 w 26"/>
              <a:gd name="T7" fmla="*/ 2147483646 h 33"/>
              <a:gd name="T8" fmla="*/ 2147483646 w 26"/>
              <a:gd name="T9" fmla="*/ 2147483646 h 33"/>
              <a:gd name="T10" fmla="*/ 2147483646 w 26"/>
              <a:gd name="T11" fmla="*/ 2147483646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33"/>
              <a:gd name="T20" fmla="*/ 26 w 26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33">
                <a:moveTo>
                  <a:pt x="13" y="8"/>
                </a:moveTo>
                <a:cubicBezTo>
                  <a:pt x="9" y="11"/>
                  <a:pt x="0" y="19"/>
                  <a:pt x="3" y="24"/>
                </a:cubicBezTo>
                <a:cubicBezTo>
                  <a:pt x="6" y="29"/>
                  <a:pt x="15" y="33"/>
                  <a:pt x="19" y="29"/>
                </a:cubicBezTo>
                <a:cubicBezTo>
                  <a:pt x="23" y="25"/>
                  <a:pt x="26" y="13"/>
                  <a:pt x="26" y="13"/>
                </a:cubicBezTo>
                <a:cubicBezTo>
                  <a:pt x="26" y="13"/>
                  <a:pt x="24" y="0"/>
                  <a:pt x="19" y="4"/>
                </a:cubicBezTo>
                <a:cubicBezTo>
                  <a:pt x="13" y="8"/>
                  <a:pt x="13" y="8"/>
                  <a:pt x="13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Freeform 403"/>
          <p:cNvSpPr>
            <a:spLocks/>
          </p:cNvSpPr>
          <p:nvPr userDrawn="1"/>
        </p:nvSpPr>
        <p:spPr bwMode="auto">
          <a:xfrm>
            <a:off x="3254408" y="5187231"/>
            <a:ext cx="33501" cy="36852"/>
          </a:xfrm>
          <a:custGeom>
            <a:avLst/>
            <a:gdLst>
              <a:gd name="T0" fmla="*/ 2147483646 w 36"/>
              <a:gd name="T1" fmla="*/ 0 h 38"/>
              <a:gd name="T2" fmla="*/ 2147483646 w 36"/>
              <a:gd name="T3" fmla="*/ 2147483646 h 38"/>
              <a:gd name="T4" fmla="*/ 2147483646 w 36"/>
              <a:gd name="T5" fmla="*/ 2147483646 h 38"/>
              <a:gd name="T6" fmla="*/ 2147483646 w 36"/>
              <a:gd name="T7" fmla="*/ 2147483646 h 38"/>
              <a:gd name="T8" fmla="*/ 2147483646 w 36"/>
              <a:gd name="T9" fmla="*/ 2147483646 h 38"/>
              <a:gd name="T10" fmla="*/ 2147483646 w 36"/>
              <a:gd name="T11" fmla="*/ 2147483646 h 38"/>
              <a:gd name="T12" fmla="*/ 2147483646 w 36"/>
              <a:gd name="T13" fmla="*/ 2147483646 h 38"/>
              <a:gd name="T14" fmla="*/ 2147483646 w 36"/>
              <a:gd name="T15" fmla="*/ 2147483646 h 38"/>
              <a:gd name="T16" fmla="*/ 2147483646 w 36"/>
              <a:gd name="T17" fmla="*/ 2147483646 h 38"/>
              <a:gd name="T18" fmla="*/ 2147483646 w 36"/>
              <a:gd name="T19" fmla="*/ 0 h 3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6"/>
              <a:gd name="T31" fmla="*/ 0 h 38"/>
              <a:gd name="T32" fmla="*/ 36 w 36"/>
              <a:gd name="T33" fmla="*/ 38 h 3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6" h="38">
                <a:moveTo>
                  <a:pt x="15" y="0"/>
                </a:moveTo>
                <a:cubicBezTo>
                  <a:pt x="12" y="1"/>
                  <a:pt x="11" y="16"/>
                  <a:pt x="11" y="16"/>
                </a:cubicBezTo>
                <a:cubicBezTo>
                  <a:pt x="11" y="16"/>
                  <a:pt x="0" y="11"/>
                  <a:pt x="2" y="17"/>
                </a:cubicBezTo>
                <a:cubicBezTo>
                  <a:pt x="4" y="22"/>
                  <a:pt x="14" y="18"/>
                  <a:pt x="18" y="20"/>
                </a:cubicBezTo>
                <a:cubicBezTo>
                  <a:pt x="21" y="22"/>
                  <a:pt x="13" y="30"/>
                  <a:pt x="13" y="30"/>
                </a:cubicBezTo>
                <a:cubicBezTo>
                  <a:pt x="13" y="30"/>
                  <a:pt x="10" y="35"/>
                  <a:pt x="15" y="37"/>
                </a:cubicBezTo>
                <a:cubicBezTo>
                  <a:pt x="20" y="38"/>
                  <a:pt x="27" y="38"/>
                  <a:pt x="30" y="38"/>
                </a:cubicBezTo>
                <a:cubicBezTo>
                  <a:pt x="33" y="37"/>
                  <a:pt x="36" y="28"/>
                  <a:pt x="36" y="28"/>
                </a:cubicBezTo>
                <a:cubicBezTo>
                  <a:pt x="34" y="17"/>
                  <a:pt x="34" y="17"/>
                  <a:pt x="34" y="17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Freeform 404"/>
          <p:cNvSpPr>
            <a:spLocks/>
          </p:cNvSpPr>
          <p:nvPr userDrawn="1"/>
        </p:nvSpPr>
        <p:spPr bwMode="auto">
          <a:xfrm>
            <a:off x="4019926" y="6589285"/>
            <a:ext cx="72029" cy="38527"/>
          </a:xfrm>
          <a:custGeom>
            <a:avLst/>
            <a:gdLst>
              <a:gd name="T0" fmla="*/ 2147483646 w 77"/>
              <a:gd name="T1" fmla="*/ 2147483646 h 40"/>
              <a:gd name="T2" fmla="*/ 2147483646 w 77"/>
              <a:gd name="T3" fmla="*/ 2147483646 h 40"/>
              <a:gd name="T4" fmla="*/ 2147483646 w 77"/>
              <a:gd name="T5" fmla="*/ 2147483646 h 40"/>
              <a:gd name="T6" fmla="*/ 2147483646 w 77"/>
              <a:gd name="T7" fmla="*/ 2147483646 h 40"/>
              <a:gd name="T8" fmla="*/ 2147483646 w 77"/>
              <a:gd name="T9" fmla="*/ 2147483646 h 40"/>
              <a:gd name="T10" fmla="*/ 2147483646 w 77"/>
              <a:gd name="T11" fmla="*/ 2147483646 h 40"/>
              <a:gd name="T12" fmla="*/ 2147483646 w 77"/>
              <a:gd name="T13" fmla="*/ 2147483646 h 40"/>
              <a:gd name="T14" fmla="*/ 2147483646 w 77"/>
              <a:gd name="T15" fmla="*/ 2147483646 h 40"/>
              <a:gd name="T16" fmla="*/ 2147483646 w 77"/>
              <a:gd name="T17" fmla="*/ 2147483646 h 40"/>
              <a:gd name="T18" fmla="*/ 2147483646 w 77"/>
              <a:gd name="T19" fmla="*/ 2147483646 h 40"/>
              <a:gd name="T20" fmla="*/ 2147483646 w 77"/>
              <a:gd name="T21" fmla="*/ 2147483646 h 4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7"/>
              <a:gd name="T34" fmla="*/ 0 h 40"/>
              <a:gd name="T35" fmla="*/ 77 w 77"/>
              <a:gd name="T36" fmla="*/ 40 h 4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7" h="40">
                <a:moveTo>
                  <a:pt x="36" y="9"/>
                </a:moveTo>
                <a:cubicBezTo>
                  <a:pt x="36" y="9"/>
                  <a:pt x="31" y="4"/>
                  <a:pt x="26" y="7"/>
                </a:cubicBezTo>
                <a:cubicBezTo>
                  <a:pt x="21" y="11"/>
                  <a:pt x="17" y="14"/>
                  <a:pt x="13" y="17"/>
                </a:cubicBezTo>
                <a:cubicBezTo>
                  <a:pt x="10" y="21"/>
                  <a:pt x="0" y="15"/>
                  <a:pt x="2" y="22"/>
                </a:cubicBezTo>
                <a:cubicBezTo>
                  <a:pt x="5" y="28"/>
                  <a:pt x="22" y="28"/>
                  <a:pt x="25" y="30"/>
                </a:cubicBezTo>
                <a:cubicBezTo>
                  <a:pt x="29" y="33"/>
                  <a:pt x="31" y="26"/>
                  <a:pt x="35" y="33"/>
                </a:cubicBezTo>
                <a:cubicBezTo>
                  <a:pt x="38" y="40"/>
                  <a:pt x="42" y="34"/>
                  <a:pt x="49" y="28"/>
                </a:cubicBezTo>
                <a:cubicBezTo>
                  <a:pt x="56" y="22"/>
                  <a:pt x="58" y="16"/>
                  <a:pt x="64" y="17"/>
                </a:cubicBezTo>
                <a:cubicBezTo>
                  <a:pt x="70" y="17"/>
                  <a:pt x="77" y="11"/>
                  <a:pt x="75" y="9"/>
                </a:cubicBezTo>
                <a:cubicBezTo>
                  <a:pt x="74" y="6"/>
                  <a:pt x="70" y="0"/>
                  <a:pt x="67" y="1"/>
                </a:cubicBezTo>
                <a:cubicBezTo>
                  <a:pt x="63" y="3"/>
                  <a:pt x="36" y="9"/>
                  <a:pt x="36" y="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Freeform 405"/>
          <p:cNvSpPr>
            <a:spLocks/>
          </p:cNvSpPr>
          <p:nvPr userDrawn="1"/>
        </p:nvSpPr>
        <p:spPr bwMode="auto">
          <a:xfrm>
            <a:off x="3740186" y="6358122"/>
            <a:ext cx="28476" cy="41877"/>
          </a:xfrm>
          <a:custGeom>
            <a:avLst/>
            <a:gdLst>
              <a:gd name="T0" fmla="*/ 2147483646 w 31"/>
              <a:gd name="T1" fmla="*/ 2147483646 h 44"/>
              <a:gd name="T2" fmla="*/ 2147483646 w 31"/>
              <a:gd name="T3" fmla="*/ 2147483646 h 44"/>
              <a:gd name="T4" fmla="*/ 2147483646 w 31"/>
              <a:gd name="T5" fmla="*/ 2147483646 h 44"/>
              <a:gd name="T6" fmla="*/ 2147483646 w 31"/>
              <a:gd name="T7" fmla="*/ 2147483646 h 44"/>
              <a:gd name="T8" fmla="*/ 2147483646 w 31"/>
              <a:gd name="T9" fmla="*/ 2147483646 h 44"/>
              <a:gd name="T10" fmla="*/ 2147483646 w 31"/>
              <a:gd name="T11" fmla="*/ 2147483646 h 44"/>
              <a:gd name="T12" fmla="*/ 2147483646 w 31"/>
              <a:gd name="T13" fmla="*/ 2147483646 h 44"/>
              <a:gd name="T14" fmla="*/ 2147483646 w 31"/>
              <a:gd name="T15" fmla="*/ 2147483646 h 4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1"/>
              <a:gd name="T25" fmla="*/ 0 h 44"/>
              <a:gd name="T26" fmla="*/ 31 w 31"/>
              <a:gd name="T27" fmla="*/ 44 h 4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1" h="44">
                <a:moveTo>
                  <a:pt x="19" y="1"/>
                </a:moveTo>
                <a:cubicBezTo>
                  <a:pt x="14" y="1"/>
                  <a:pt x="11" y="0"/>
                  <a:pt x="10" y="8"/>
                </a:cubicBezTo>
                <a:cubicBezTo>
                  <a:pt x="9" y="15"/>
                  <a:pt x="12" y="13"/>
                  <a:pt x="12" y="20"/>
                </a:cubicBezTo>
                <a:cubicBezTo>
                  <a:pt x="12" y="27"/>
                  <a:pt x="4" y="26"/>
                  <a:pt x="4" y="31"/>
                </a:cubicBezTo>
                <a:cubicBezTo>
                  <a:pt x="3" y="36"/>
                  <a:pt x="0" y="36"/>
                  <a:pt x="10" y="40"/>
                </a:cubicBezTo>
                <a:cubicBezTo>
                  <a:pt x="20" y="44"/>
                  <a:pt x="25" y="36"/>
                  <a:pt x="27" y="35"/>
                </a:cubicBezTo>
                <a:cubicBezTo>
                  <a:pt x="29" y="34"/>
                  <a:pt x="31" y="21"/>
                  <a:pt x="31" y="17"/>
                </a:cubicBezTo>
                <a:cubicBezTo>
                  <a:pt x="31" y="13"/>
                  <a:pt x="19" y="1"/>
                  <a:pt x="19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Freeform 406"/>
          <p:cNvSpPr>
            <a:spLocks/>
          </p:cNvSpPr>
          <p:nvPr userDrawn="1"/>
        </p:nvSpPr>
        <p:spPr bwMode="auto">
          <a:xfrm>
            <a:off x="3705009" y="6507205"/>
            <a:ext cx="25127" cy="25127"/>
          </a:xfrm>
          <a:custGeom>
            <a:avLst/>
            <a:gdLst>
              <a:gd name="T0" fmla="*/ 2147483646 w 28"/>
              <a:gd name="T1" fmla="*/ 2147483646 h 28"/>
              <a:gd name="T2" fmla="*/ 2147483646 w 28"/>
              <a:gd name="T3" fmla="*/ 2147483646 h 28"/>
              <a:gd name="T4" fmla="*/ 2147483646 w 28"/>
              <a:gd name="T5" fmla="*/ 2147483646 h 28"/>
              <a:gd name="T6" fmla="*/ 2147483646 w 28"/>
              <a:gd name="T7" fmla="*/ 2147483646 h 28"/>
              <a:gd name="T8" fmla="*/ 2147483646 w 28"/>
              <a:gd name="T9" fmla="*/ 2147483646 h 28"/>
              <a:gd name="T10" fmla="*/ 2147483646 w 28"/>
              <a:gd name="T11" fmla="*/ 2147483646 h 28"/>
              <a:gd name="T12" fmla="*/ 2147483646 w 28"/>
              <a:gd name="T13" fmla="*/ 2147483646 h 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28"/>
              <a:gd name="T23" fmla="*/ 28 w 28"/>
              <a:gd name="T24" fmla="*/ 28 h 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28">
                <a:moveTo>
                  <a:pt x="20" y="1"/>
                </a:moveTo>
                <a:cubicBezTo>
                  <a:pt x="18" y="0"/>
                  <a:pt x="11" y="0"/>
                  <a:pt x="9" y="5"/>
                </a:cubicBezTo>
                <a:cubicBezTo>
                  <a:pt x="8" y="10"/>
                  <a:pt x="11" y="11"/>
                  <a:pt x="9" y="17"/>
                </a:cubicBezTo>
                <a:cubicBezTo>
                  <a:pt x="8" y="23"/>
                  <a:pt x="0" y="22"/>
                  <a:pt x="6" y="25"/>
                </a:cubicBezTo>
                <a:cubicBezTo>
                  <a:pt x="11" y="28"/>
                  <a:pt x="20" y="18"/>
                  <a:pt x="22" y="16"/>
                </a:cubicBezTo>
                <a:cubicBezTo>
                  <a:pt x="24" y="14"/>
                  <a:pt x="28" y="7"/>
                  <a:pt x="28" y="7"/>
                </a:cubicBezTo>
                <a:lnTo>
                  <a:pt x="20" y="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Freeform 407"/>
          <p:cNvSpPr>
            <a:spLocks/>
          </p:cNvSpPr>
          <p:nvPr userDrawn="1"/>
        </p:nvSpPr>
        <p:spPr bwMode="auto">
          <a:xfrm>
            <a:off x="3711708" y="6587609"/>
            <a:ext cx="10051" cy="15076"/>
          </a:xfrm>
          <a:custGeom>
            <a:avLst/>
            <a:gdLst>
              <a:gd name="T0" fmla="*/ 2147483646 w 11"/>
              <a:gd name="T1" fmla="*/ 0 h 16"/>
              <a:gd name="T2" fmla="*/ 2147483646 w 11"/>
              <a:gd name="T3" fmla="*/ 2147483646 h 16"/>
              <a:gd name="T4" fmla="*/ 2147483646 w 11"/>
              <a:gd name="T5" fmla="*/ 2147483646 h 16"/>
              <a:gd name="T6" fmla="*/ 2147483646 w 11"/>
              <a:gd name="T7" fmla="*/ 2147483646 h 16"/>
              <a:gd name="T8" fmla="*/ 2147483646 w 11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16"/>
              <a:gd name="T17" fmla="*/ 11 w 11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16">
                <a:moveTo>
                  <a:pt x="3" y="0"/>
                </a:moveTo>
                <a:cubicBezTo>
                  <a:pt x="0" y="2"/>
                  <a:pt x="0" y="12"/>
                  <a:pt x="4" y="14"/>
                </a:cubicBezTo>
                <a:cubicBezTo>
                  <a:pt x="8" y="16"/>
                  <a:pt x="9" y="10"/>
                  <a:pt x="9" y="8"/>
                </a:cubicBezTo>
                <a:cubicBezTo>
                  <a:pt x="10" y="7"/>
                  <a:pt x="11" y="2"/>
                  <a:pt x="10" y="2"/>
                </a:cubicBezTo>
                <a:cubicBezTo>
                  <a:pt x="9" y="2"/>
                  <a:pt x="3" y="0"/>
                  <a:pt x="3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Freeform 408"/>
          <p:cNvSpPr>
            <a:spLocks/>
          </p:cNvSpPr>
          <p:nvPr userDrawn="1"/>
        </p:nvSpPr>
        <p:spPr bwMode="auto">
          <a:xfrm>
            <a:off x="3730135" y="6607710"/>
            <a:ext cx="10051" cy="13401"/>
          </a:xfrm>
          <a:custGeom>
            <a:avLst/>
            <a:gdLst>
              <a:gd name="T0" fmla="*/ 2147483646 w 10"/>
              <a:gd name="T1" fmla="*/ 2147483646 h 14"/>
              <a:gd name="T2" fmla="*/ 2147483646 w 10"/>
              <a:gd name="T3" fmla="*/ 2147483646 h 14"/>
              <a:gd name="T4" fmla="*/ 2147483646 w 10"/>
              <a:gd name="T5" fmla="*/ 2147483646 h 14"/>
              <a:gd name="T6" fmla="*/ 2147483646 w 10"/>
              <a:gd name="T7" fmla="*/ 2147483646 h 14"/>
              <a:gd name="T8" fmla="*/ 2147483646 w 10"/>
              <a:gd name="T9" fmla="*/ 2147483646 h 14"/>
              <a:gd name="T10" fmla="*/ 2147483646 w 10"/>
              <a:gd name="T11" fmla="*/ 2147483646 h 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"/>
              <a:gd name="T19" fmla="*/ 0 h 14"/>
              <a:gd name="T20" fmla="*/ 10 w 10"/>
              <a:gd name="T21" fmla="*/ 14 h 1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" h="14">
                <a:moveTo>
                  <a:pt x="4" y="4"/>
                </a:moveTo>
                <a:cubicBezTo>
                  <a:pt x="4" y="4"/>
                  <a:pt x="7" y="0"/>
                  <a:pt x="9" y="7"/>
                </a:cubicBezTo>
                <a:cubicBezTo>
                  <a:pt x="10" y="13"/>
                  <a:pt x="10" y="12"/>
                  <a:pt x="7" y="13"/>
                </a:cubicBezTo>
                <a:cubicBezTo>
                  <a:pt x="5" y="14"/>
                  <a:pt x="1" y="13"/>
                  <a:pt x="1" y="11"/>
                </a:cubicBezTo>
                <a:cubicBezTo>
                  <a:pt x="0" y="10"/>
                  <a:pt x="2" y="6"/>
                  <a:pt x="2" y="6"/>
                </a:cubicBezTo>
                <a:lnTo>
                  <a:pt x="4" y="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Freeform 409"/>
          <p:cNvSpPr>
            <a:spLocks/>
          </p:cNvSpPr>
          <p:nvPr userDrawn="1"/>
        </p:nvSpPr>
        <p:spPr bwMode="auto">
          <a:xfrm>
            <a:off x="3730135" y="6632836"/>
            <a:ext cx="16751" cy="10051"/>
          </a:xfrm>
          <a:custGeom>
            <a:avLst/>
            <a:gdLst>
              <a:gd name="T0" fmla="*/ 2147483646 w 18"/>
              <a:gd name="T1" fmla="*/ 2147483646 h 10"/>
              <a:gd name="T2" fmla="*/ 0 w 18"/>
              <a:gd name="T3" fmla="*/ 2147483646 h 10"/>
              <a:gd name="T4" fmla="*/ 2147483646 w 18"/>
              <a:gd name="T5" fmla="*/ 2147483646 h 10"/>
              <a:gd name="T6" fmla="*/ 2147483646 w 18"/>
              <a:gd name="T7" fmla="*/ 2147483646 h 10"/>
              <a:gd name="T8" fmla="*/ 2147483646 w 18"/>
              <a:gd name="T9" fmla="*/ 0 h 10"/>
              <a:gd name="T10" fmla="*/ 2147483646 w 18"/>
              <a:gd name="T11" fmla="*/ 2147483646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0"/>
              <a:gd name="T20" fmla="*/ 18 w 18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0">
                <a:moveTo>
                  <a:pt x="6" y="2"/>
                </a:moveTo>
                <a:cubicBezTo>
                  <a:pt x="4" y="2"/>
                  <a:pt x="0" y="2"/>
                  <a:pt x="0" y="4"/>
                </a:cubicBezTo>
                <a:cubicBezTo>
                  <a:pt x="1" y="6"/>
                  <a:pt x="7" y="10"/>
                  <a:pt x="8" y="10"/>
                </a:cubicBezTo>
                <a:cubicBezTo>
                  <a:pt x="10" y="10"/>
                  <a:pt x="15" y="5"/>
                  <a:pt x="15" y="5"/>
                </a:cubicBezTo>
                <a:cubicBezTo>
                  <a:pt x="15" y="5"/>
                  <a:pt x="18" y="0"/>
                  <a:pt x="16" y="0"/>
                </a:cubicBezTo>
                <a:cubicBezTo>
                  <a:pt x="15" y="0"/>
                  <a:pt x="6" y="2"/>
                  <a:pt x="6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Freeform 410"/>
          <p:cNvSpPr>
            <a:spLocks/>
          </p:cNvSpPr>
          <p:nvPr userDrawn="1"/>
        </p:nvSpPr>
        <p:spPr bwMode="auto">
          <a:xfrm>
            <a:off x="2237627" y="2455156"/>
            <a:ext cx="738716" cy="713589"/>
          </a:xfrm>
          <a:custGeom>
            <a:avLst/>
            <a:gdLst>
              <a:gd name="T0" fmla="*/ 2147483646 w 792"/>
              <a:gd name="T1" fmla="*/ 2147483646 h 764"/>
              <a:gd name="T2" fmla="*/ 2147483646 w 792"/>
              <a:gd name="T3" fmla="*/ 2147483646 h 764"/>
              <a:gd name="T4" fmla="*/ 2147483646 w 792"/>
              <a:gd name="T5" fmla="*/ 2147483646 h 764"/>
              <a:gd name="T6" fmla="*/ 2147483646 w 792"/>
              <a:gd name="T7" fmla="*/ 2147483646 h 764"/>
              <a:gd name="T8" fmla="*/ 2147483646 w 792"/>
              <a:gd name="T9" fmla="*/ 2147483646 h 764"/>
              <a:gd name="T10" fmla="*/ 2147483646 w 792"/>
              <a:gd name="T11" fmla="*/ 2147483646 h 764"/>
              <a:gd name="T12" fmla="*/ 2147483646 w 792"/>
              <a:gd name="T13" fmla="*/ 2147483646 h 764"/>
              <a:gd name="T14" fmla="*/ 2147483646 w 792"/>
              <a:gd name="T15" fmla="*/ 2147483646 h 764"/>
              <a:gd name="T16" fmla="*/ 2147483646 w 792"/>
              <a:gd name="T17" fmla="*/ 2147483646 h 764"/>
              <a:gd name="T18" fmla="*/ 2147483646 w 792"/>
              <a:gd name="T19" fmla="*/ 2147483646 h 764"/>
              <a:gd name="T20" fmla="*/ 2147483646 w 792"/>
              <a:gd name="T21" fmla="*/ 2147483646 h 764"/>
              <a:gd name="T22" fmla="*/ 2147483646 w 792"/>
              <a:gd name="T23" fmla="*/ 2147483646 h 764"/>
              <a:gd name="T24" fmla="*/ 2147483646 w 792"/>
              <a:gd name="T25" fmla="*/ 2147483646 h 764"/>
              <a:gd name="T26" fmla="*/ 2147483646 w 792"/>
              <a:gd name="T27" fmla="*/ 2147483646 h 764"/>
              <a:gd name="T28" fmla="*/ 2147483646 w 792"/>
              <a:gd name="T29" fmla="*/ 2147483646 h 764"/>
              <a:gd name="T30" fmla="*/ 2147483646 w 792"/>
              <a:gd name="T31" fmla="*/ 2147483646 h 764"/>
              <a:gd name="T32" fmla="*/ 2147483646 w 792"/>
              <a:gd name="T33" fmla="*/ 2147483646 h 764"/>
              <a:gd name="T34" fmla="*/ 2147483646 w 792"/>
              <a:gd name="T35" fmla="*/ 2147483646 h 764"/>
              <a:gd name="T36" fmla="*/ 2147483646 w 792"/>
              <a:gd name="T37" fmla="*/ 2147483646 h 764"/>
              <a:gd name="T38" fmla="*/ 2147483646 w 792"/>
              <a:gd name="T39" fmla="*/ 2147483646 h 764"/>
              <a:gd name="T40" fmla="*/ 2147483646 w 792"/>
              <a:gd name="T41" fmla="*/ 2147483646 h 764"/>
              <a:gd name="T42" fmla="*/ 2147483646 w 792"/>
              <a:gd name="T43" fmla="*/ 2147483646 h 764"/>
              <a:gd name="T44" fmla="*/ 2147483646 w 792"/>
              <a:gd name="T45" fmla="*/ 2147483646 h 764"/>
              <a:gd name="T46" fmla="*/ 2147483646 w 792"/>
              <a:gd name="T47" fmla="*/ 2147483646 h 764"/>
              <a:gd name="T48" fmla="*/ 2147483646 w 792"/>
              <a:gd name="T49" fmla="*/ 2147483646 h 764"/>
              <a:gd name="T50" fmla="*/ 2147483646 w 792"/>
              <a:gd name="T51" fmla="*/ 2147483646 h 764"/>
              <a:gd name="T52" fmla="*/ 2147483646 w 792"/>
              <a:gd name="T53" fmla="*/ 2147483646 h 764"/>
              <a:gd name="T54" fmla="*/ 2147483646 w 792"/>
              <a:gd name="T55" fmla="*/ 2147483646 h 764"/>
              <a:gd name="T56" fmla="*/ 2147483646 w 792"/>
              <a:gd name="T57" fmla="*/ 2147483646 h 764"/>
              <a:gd name="T58" fmla="*/ 2147483646 w 792"/>
              <a:gd name="T59" fmla="*/ 2147483646 h 764"/>
              <a:gd name="T60" fmla="*/ 2147483646 w 792"/>
              <a:gd name="T61" fmla="*/ 2147483646 h 764"/>
              <a:gd name="T62" fmla="*/ 2147483646 w 792"/>
              <a:gd name="T63" fmla="*/ 2147483646 h 764"/>
              <a:gd name="T64" fmla="*/ 2147483646 w 792"/>
              <a:gd name="T65" fmla="*/ 2147483646 h 764"/>
              <a:gd name="T66" fmla="*/ 2147483646 w 792"/>
              <a:gd name="T67" fmla="*/ 2147483646 h 764"/>
              <a:gd name="T68" fmla="*/ 2147483646 w 792"/>
              <a:gd name="T69" fmla="*/ 2147483646 h 764"/>
              <a:gd name="T70" fmla="*/ 2147483646 w 792"/>
              <a:gd name="T71" fmla="*/ 2147483646 h 764"/>
              <a:gd name="T72" fmla="*/ 2147483646 w 792"/>
              <a:gd name="T73" fmla="*/ 2147483646 h 764"/>
              <a:gd name="T74" fmla="*/ 2147483646 w 792"/>
              <a:gd name="T75" fmla="*/ 2147483646 h 764"/>
              <a:gd name="T76" fmla="*/ 2147483646 w 792"/>
              <a:gd name="T77" fmla="*/ 2147483646 h 764"/>
              <a:gd name="T78" fmla="*/ 2147483646 w 792"/>
              <a:gd name="T79" fmla="*/ 2147483646 h 764"/>
              <a:gd name="T80" fmla="*/ 2147483646 w 792"/>
              <a:gd name="T81" fmla="*/ 2147483646 h 764"/>
              <a:gd name="T82" fmla="*/ 2147483646 w 792"/>
              <a:gd name="T83" fmla="*/ 2147483646 h 764"/>
              <a:gd name="T84" fmla="*/ 2147483646 w 792"/>
              <a:gd name="T85" fmla="*/ 2147483646 h 764"/>
              <a:gd name="T86" fmla="*/ 2147483646 w 792"/>
              <a:gd name="T87" fmla="*/ 2147483646 h 764"/>
              <a:gd name="T88" fmla="*/ 2147483646 w 792"/>
              <a:gd name="T89" fmla="*/ 2147483646 h 764"/>
              <a:gd name="T90" fmla="*/ 2147483646 w 792"/>
              <a:gd name="T91" fmla="*/ 2147483646 h 764"/>
              <a:gd name="T92" fmla="*/ 2147483646 w 792"/>
              <a:gd name="T93" fmla="*/ 2147483646 h 764"/>
              <a:gd name="T94" fmla="*/ 2147483646 w 792"/>
              <a:gd name="T95" fmla="*/ 2147483646 h 764"/>
              <a:gd name="T96" fmla="*/ 2147483646 w 792"/>
              <a:gd name="T97" fmla="*/ 2147483646 h 764"/>
              <a:gd name="T98" fmla="*/ 2147483646 w 792"/>
              <a:gd name="T99" fmla="*/ 2147483646 h 764"/>
              <a:gd name="T100" fmla="*/ 2147483646 w 792"/>
              <a:gd name="T101" fmla="*/ 2147483646 h 764"/>
              <a:gd name="T102" fmla="*/ 2147483646 w 792"/>
              <a:gd name="T103" fmla="*/ 2147483646 h 764"/>
              <a:gd name="T104" fmla="*/ 2147483646 w 792"/>
              <a:gd name="T105" fmla="*/ 2147483646 h 764"/>
              <a:gd name="T106" fmla="*/ 2147483646 w 792"/>
              <a:gd name="T107" fmla="*/ 2147483646 h 764"/>
              <a:gd name="T108" fmla="*/ 2147483646 w 792"/>
              <a:gd name="T109" fmla="*/ 2147483646 h 764"/>
              <a:gd name="T110" fmla="*/ 2147483646 w 792"/>
              <a:gd name="T111" fmla="*/ 2147483646 h 764"/>
              <a:gd name="T112" fmla="*/ 2147483646 w 792"/>
              <a:gd name="T113" fmla="*/ 2147483646 h 764"/>
              <a:gd name="T114" fmla="*/ 2147483646 w 792"/>
              <a:gd name="T115" fmla="*/ 2147483646 h 764"/>
              <a:gd name="T116" fmla="*/ 2147483646 w 792"/>
              <a:gd name="T117" fmla="*/ 2147483646 h 764"/>
              <a:gd name="T118" fmla="*/ 2147483646 w 792"/>
              <a:gd name="T119" fmla="*/ 2147483646 h 764"/>
              <a:gd name="T120" fmla="*/ 2147483646 w 792"/>
              <a:gd name="T121" fmla="*/ 2147483646 h 76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792"/>
              <a:gd name="T184" fmla="*/ 0 h 764"/>
              <a:gd name="T185" fmla="*/ 792 w 792"/>
              <a:gd name="T186" fmla="*/ 764 h 76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792" h="764">
                <a:moveTo>
                  <a:pt x="791" y="221"/>
                </a:moveTo>
                <a:cubicBezTo>
                  <a:pt x="790" y="218"/>
                  <a:pt x="792" y="208"/>
                  <a:pt x="789" y="201"/>
                </a:cubicBezTo>
                <a:cubicBezTo>
                  <a:pt x="787" y="194"/>
                  <a:pt x="780" y="189"/>
                  <a:pt x="777" y="185"/>
                </a:cubicBezTo>
                <a:cubicBezTo>
                  <a:pt x="774" y="182"/>
                  <a:pt x="766" y="170"/>
                  <a:pt x="766" y="170"/>
                </a:cubicBezTo>
                <a:cubicBezTo>
                  <a:pt x="766" y="170"/>
                  <a:pt x="766" y="160"/>
                  <a:pt x="765" y="152"/>
                </a:cubicBezTo>
                <a:cubicBezTo>
                  <a:pt x="763" y="144"/>
                  <a:pt x="756" y="142"/>
                  <a:pt x="753" y="136"/>
                </a:cubicBezTo>
                <a:cubicBezTo>
                  <a:pt x="749" y="130"/>
                  <a:pt x="747" y="128"/>
                  <a:pt x="748" y="121"/>
                </a:cubicBezTo>
                <a:cubicBezTo>
                  <a:pt x="749" y="115"/>
                  <a:pt x="745" y="119"/>
                  <a:pt x="745" y="115"/>
                </a:cubicBezTo>
                <a:cubicBezTo>
                  <a:pt x="745" y="111"/>
                  <a:pt x="756" y="94"/>
                  <a:pt x="756" y="94"/>
                </a:cubicBezTo>
                <a:cubicBezTo>
                  <a:pt x="756" y="94"/>
                  <a:pt x="756" y="94"/>
                  <a:pt x="749" y="88"/>
                </a:cubicBezTo>
                <a:cubicBezTo>
                  <a:pt x="743" y="82"/>
                  <a:pt x="744" y="72"/>
                  <a:pt x="744" y="72"/>
                </a:cubicBezTo>
                <a:cubicBezTo>
                  <a:pt x="744" y="72"/>
                  <a:pt x="738" y="66"/>
                  <a:pt x="745" y="66"/>
                </a:cubicBezTo>
                <a:cubicBezTo>
                  <a:pt x="752" y="65"/>
                  <a:pt x="755" y="60"/>
                  <a:pt x="755" y="60"/>
                </a:cubicBezTo>
                <a:cubicBezTo>
                  <a:pt x="749" y="56"/>
                  <a:pt x="749" y="56"/>
                  <a:pt x="749" y="56"/>
                </a:cubicBezTo>
                <a:cubicBezTo>
                  <a:pt x="742" y="52"/>
                  <a:pt x="742" y="52"/>
                  <a:pt x="742" y="52"/>
                </a:cubicBezTo>
                <a:cubicBezTo>
                  <a:pt x="725" y="51"/>
                  <a:pt x="725" y="51"/>
                  <a:pt x="725" y="51"/>
                </a:cubicBezTo>
                <a:cubicBezTo>
                  <a:pt x="725" y="51"/>
                  <a:pt x="718" y="37"/>
                  <a:pt x="716" y="39"/>
                </a:cubicBezTo>
                <a:cubicBezTo>
                  <a:pt x="714" y="40"/>
                  <a:pt x="701" y="30"/>
                  <a:pt x="695" y="35"/>
                </a:cubicBezTo>
                <a:cubicBezTo>
                  <a:pt x="689" y="39"/>
                  <a:pt x="680" y="34"/>
                  <a:pt x="680" y="34"/>
                </a:cubicBezTo>
                <a:cubicBezTo>
                  <a:pt x="672" y="20"/>
                  <a:pt x="672" y="20"/>
                  <a:pt x="672" y="20"/>
                </a:cubicBezTo>
                <a:cubicBezTo>
                  <a:pt x="658" y="25"/>
                  <a:pt x="658" y="25"/>
                  <a:pt x="658" y="25"/>
                </a:cubicBezTo>
                <a:cubicBezTo>
                  <a:pt x="658" y="25"/>
                  <a:pt x="652" y="18"/>
                  <a:pt x="644" y="20"/>
                </a:cubicBezTo>
                <a:cubicBezTo>
                  <a:pt x="637" y="22"/>
                  <a:pt x="629" y="28"/>
                  <a:pt x="623" y="25"/>
                </a:cubicBezTo>
                <a:cubicBezTo>
                  <a:pt x="618" y="23"/>
                  <a:pt x="604" y="3"/>
                  <a:pt x="591" y="6"/>
                </a:cubicBezTo>
                <a:cubicBezTo>
                  <a:pt x="577" y="9"/>
                  <a:pt x="577" y="0"/>
                  <a:pt x="571" y="12"/>
                </a:cubicBezTo>
                <a:cubicBezTo>
                  <a:pt x="565" y="24"/>
                  <a:pt x="570" y="18"/>
                  <a:pt x="559" y="35"/>
                </a:cubicBezTo>
                <a:cubicBezTo>
                  <a:pt x="548" y="52"/>
                  <a:pt x="542" y="48"/>
                  <a:pt x="539" y="58"/>
                </a:cubicBezTo>
                <a:cubicBezTo>
                  <a:pt x="537" y="68"/>
                  <a:pt x="550" y="75"/>
                  <a:pt x="544" y="79"/>
                </a:cubicBezTo>
                <a:cubicBezTo>
                  <a:pt x="539" y="83"/>
                  <a:pt x="529" y="86"/>
                  <a:pt x="529" y="86"/>
                </a:cubicBezTo>
                <a:cubicBezTo>
                  <a:pt x="529" y="86"/>
                  <a:pt x="533" y="101"/>
                  <a:pt x="524" y="103"/>
                </a:cubicBezTo>
                <a:cubicBezTo>
                  <a:pt x="515" y="105"/>
                  <a:pt x="512" y="125"/>
                  <a:pt x="503" y="101"/>
                </a:cubicBezTo>
                <a:cubicBezTo>
                  <a:pt x="495" y="78"/>
                  <a:pt x="503" y="72"/>
                  <a:pt x="506" y="70"/>
                </a:cubicBezTo>
                <a:cubicBezTo>
                  <a:pt x="509" y="69"/>
                  <a:pt x="510" y="62"/>
                  <a:pt x="506" y="60"/>
                </a:cubicBezTo>
                <a:cubicBezTo>
                  <a:pt x="501" y="58"/>
                  <a:pt x="494" y="49"/>
                  <a:pt x="489" y="51"/>
                </a:cubicBezTo>
                <a:cubicBezTo>
                  <a:pt x="484" y="53"/>
                  <a:pt x="475" y="48"/>
                  <a:pt x="475" y="48"/>
                </a:cubicBezTo>
                <a:cubicBezTo>
                  <a:pt x="460" y="39"/>
                  <a:pt x="460" y="39"/>
                  <a:pt x="460" y="39"/>
                </a:cubicBezTo>
                <a:cubicBezTo>
                  <a:pt x="448" y="42"/>
                  <a:pt x="448" y="42"/>
                  <a:pt x="448" y="42"/>
                </a:cubicBezTo>
                <a:cubicBezTo>
                  <a:pt x="438" y="47"/>
                  <a:pt x="448" y="62"/>
                  <a:pt x="435" y="66"/>
                </a:cubicBezTo>
                <a:cubicBezTo>
                  <a:pt x="423" y="69"/>
                  <a:pt x="412" y="61"/>
                  <a:pt x="409" y="69"/>
                </a:cubicBezTo>
                <a:cubicBezTo>
                  <a:pt x="406" y="76"/>
                  <a:pt x="410" y="107"/>
                  <a:pt x="410" y="107"/>
                </a:cubicBezTo>
                <a:cubicBezTo>
                  <a:pt x="424" y="129"/>
                  <a:pt x="445" y="134"/>
                  <a:pt x="445" y="134"/>
                </a:cubicBezTo>
                <a:cubicBezTo>
                  <a:pt x="445" y="134"/>
                  <a:pt x="438" y="140"/>
                  <a:pt x="426" y="146"/>
                </a:cubicBezTo>
                <a:cubicBezTo>
                  <a:pt x="414" y="152"/>
                  <a:pt x="406" y="134"/>
                  <a:pt x="398" y="146"/>
                </a:cubicBezTo>
                <a:cubicBezTo>
                  <a:pt x="390" y="159"/>
                  <a:pt x="379" y="160"/>
                  <a:pt x="375" y="154"/>
                </a:cubicBezTo>
                <a:cubicBezTo>
                  <a:pt x="370" y="148"/>
                  <a:pt x="373" y="140"/>
                  <a:pt x="366" y="137"/>
                </a:cubicBezTo>
                <a:cubicBezTo>
                  <a:pt x="358" y="134"/>
                  <a:pt x="358" y="131"/>
                  <a:pt x="348" y="132"/>
                </a:cubicBezTo>
                <a:cubicBezTo>
                  <a:pt x="339" y="134"/>
                  <a:pt x="339" y="112"/>
                  <a:pt x="328" y="128"/>
                </a:cubicBezTo>
                <a:cubicBezTo>
                  <a:pt x="317" y="143"/>
                  <a:pt x="310" y="148"/>
                  <a:pt x="297" y="146"/>
                </a:cubicBezTo>
                <a:cubicBezTo>
                  <a:pt x="285" y="145"/>
                  <a:pt x="299" y="142"/>
                  <a:pt x="285" y="145"/>
                </a:cubicBezTo>
                <a:cubicBezTo>
                  <a:pt x="271" y="148"/>
                  <a:pt x="252" y="159"/>
                  <a:pt x="254" y="169"/>
                </a:cubicBezTo>
                <a:cubicBezTo>
                  <a:pt x="255" y="180"/>
                  <a:pt x="259" y="183"/>
                  <a:pt x="242" y="191"/>
                </a:cubicBezTo>
                <a:cubicBezTo>
                  <a:pt x="224" y="199"/>
                  <a:pt x="209" y="210"/>
                  <a:pt x="217" y="217"/>
                </a:cubicBezTo>
                <a:cubicBezTo>
                  <a:pt x="224" y="225"/>
                  <a:pt x="232" y="210"/>
                  <a:pt x="242" y="214"/>
                </a:cubicBezTo>
                <a:cubicBezTo>
                  <a:pt x="251" y="219"/>
                  <a:pt x="217" y="242"/>
                  <a:pt x="209" y="252"/>
                </a:cubicBezTo>
                <a:cubicBezTo>
                  <a:pt x="201" y="261"/>
                  <a:pt x="201" y="256"/>
                  <a:pt x="195" y="265"/>
                </a:cubicBezTo>
                <a:cubicBezTo>
                  <a:pt x="189" y="275"/>
                  <a:pt x="170" y="244"/>
                  <a:pt x="180" y="269"/>
                </a:cubicBezTo>
                <a:cubicBezTo>
                  <a:pt x="189" y="293"/>
                  <a:pt x="198" y="284"/>
                  <a:pt x="206" y="301"/>
                </a:cubicBezTo>
                <a:cubicBezTo>
                  <a:pt x="214" y="318"/>
                  <a:pt x="198" y="321"/>
                  <a:pt x="203" y="326"/>
                </a:cubicBezTo>
                <a:cubicBezTo>
                  <a:pt x="207" y="331"/>
                  <a:pt x="187" y="343"/>
                  <a:pt x="175" y="345"/>
                </a:cubicBezTo>
                <a:cubicBezTo>
                  <a:pt x="163" y="346"/>
                  <a:pt x="144" y="348"/>
                  <a:pt x="135" y="349"/>
                </a:cubicBezTo>
                <a:cubicBezTo>
                  <a:pt x="125" y="351"/>
                  <a:pt x="110" y="352"/>
                  <a:pt x="97" y="345"/>
                </a:cubicBezTo>
                <a:cubicBezTo>
                  <a:pt x="85" y="337"/>
                  <a:pt x="87" y="337"/>
                  <a:pt x="65" y="346"/>
                </a:cubicBezTo>
                <a:cubicBezTo>
                  <a:pt x="43" y="355"/>
                  <a:pt x="35" y="349"/>
                  <a:pt x="26" y="348"/>
                </a:cubicBezTo>
                <a:cubicBezTo>
                  <a:pt x="17" y="346"/>
                  <a:pt x="15" y="326"/>
                  <a:pt x="11" y="334"/>
                </a:cubicBezTo>
                <a:cubicBezTo>
                  <a:pt x="6" y="341"/>
                  <a:pt x="0" y="360"/>
                  <a:pt x="23" y="362"/>
                </a:cubicBezTo>
                <a:cubicBezTo>
                  <a:pt x="46" y="363"/>
                  <a:pt x="63" y="369"/>
                  <a:pt x="68" y="374"/>
                </a:cubicBezTo>
                <a:cubicBezTo>
                  <a:pt x="73" y="379"/>
                  <a:pt x="80" y="351"/>
                  <a:pt x="90" y="365"/>
                </a:cubicBezTo>
                <a:cubicBezTo>
                  <a:pt x="99" y="379"/>
                  <a:pt x="91" y="372"/>
                  <a:pt x="107" y="383"/>
                </a:cubicBezTo>
                <a:cubicBezTo>
                  <a:pt x="122" y="394"/>
                  <a:pt x="133" y="385"/>
                  <a:pt x="159" y="380"/>
                </a:cubicBezTo>
                <a:cubicBezTo>
                  <a:pt x="186" y="376"/>
                  <a:pt x="204" y="360"/>
                  <a:pt x="215" y="369"/>
                </a:cubicBezTo>
                <a:cubicBezTo>
                  <a:pt x="226" y="379"/>
                  <a:pt x="228" y="380"/>
                  <a:pt x="238" y="379"/>
                </a:cubicBezTo>
                <a:cubicBezTo>
                  <a:pt x="249" y="377"/>
                  <a:pt x="245" y="365"/>
                  <a:pt x="257" y="369"/>
                </a:cubicBezTo>
                <a:cubicBezTo>
                  <a:pt x="269" y="374"/>
                  <a:pt x="260" y="366"/>
                  <a:pt x="273" y="362"/>
                </a:cubicBezTo>
                <a:cubicBezTo>
                  <a:pt x="285" y="357"/>
                  <a:pt x="280" y="362"/>
                  <a:pt x="297" y="358"/>
                </a:cubicBezTo>
                <a:cubicBezTo>
                  <a:pt x="314" y="355"/>
                  <a:pt x="314" y="352"/>
                  <a:pt x="328" y="352"/>
                </a:cubicBezTo>
                <a:cubicBezTo>
                  <a:pt x="342" y="352"/>
                  <a:pt x="339" y="348"/>
                  <a:pt x="350" y="348"/>
                </a:cubicBezTo>
                <a:cubicBezTo>
                  <a:pt x="361" y="348"/>
                  <a:pt x="356" y="341"/>
                  <a:pt x="369" y="346"/>
                </a:cubicBezTo>
                <a:cubicBezTo>
                  <a:pt x="381" y="351"/>
                  <a:pt x="383" y="349"/>
                  <a:pt x="386" y="355"/>
                </a:cubicBezTo>
                <a:cubicBezTo>
                  <a:pt x="389" y="362"/>
                  <a:pt x="369" y="357"/>
                  <a:pt x="358" y="360"/>
                </a:cubicBezTo>
                <a:cubicBezTo>
                  <a:pt x="347" y="363"/>
                  <a:pt x="345" y="348"/>
                  <a:pt x="338" y="360"/>
                </a:cubicBezTo>
                <a:cubicBezTo>
                  <a:pt x="330" y="372"/>
                  <a:pt x="322" y="372"/>
                  <a:pt x="322" y="377"/>
                </a:cubicBezTo>
                <a:cubicBezTo>
                  <a:pt x="322" y="382"/>
                  <a:pt x="293" y="377"/>
                  <a:pt x="300" y="385"/>
                </a:cubicBezTo>
                <a:cubicBezTo>
                  <a:pt x="308" y="393"/>
                  <a:pt x="333" y="399"/>
                  <a:pt x="342" y="397"/>
                </a:cubicBezTo>
                <a:cubicBezTo>
                  <a:pt x="352" y="396"/>
                  <a:pt x="364" y="410"/>
                  <a:pt x="373" y="407"/>
                </a:cubicBezTo>
                <a:cubicBezTo>
                  <a:pt x="383" y="403"/>
                  <a:pt x="393" y="396"/>
                  <a:pt x="398" y="389"/>
                </a:cubicBezTo>
                <a:cubicBezTo>
                  <a:pt x="403" y="383"/>
                  <a:pt x="417" y="385"/>
                  <a:pt x="418" y="394"/>
                </a:cubicBezTo>
                <a:cubicBezTo>
                  <a:pt x="420" y="403"/>
                  <a:pt x="420" y="400"/>
                  <a:pt x="415" y="413"/>
                </a:cubicBezTo>
                <a:cubicBezTo>
                  <a:pt x="410" y="425"/>
                  <a:pt x="415" y="431"/>
                  <a:pt x="418" y="438"/>
                </a:cubicBezTo>
                <a:cubicBezTo>
                  <a:pt x="421" y="444"/>
                  <a:pt x="412" y="455"/>
                  <a:pt x="418" y="461"/>
                </a:cubicBezTo>
                <a:cubicBezTo>
                  <a:pt x="424" y="467"/>
                  <a:pt x="431" y="469"/>
                  <a:pt x="438" y="473"/>
                </a:cubicBezTo>
                <a:cubicBezTo>
                  <a:pt x="446" y="478"/>
                  <a:pt x="451" y="470"/>
                  <a:pt x="452" y="482"/>
                </a:cubicBezTo>
                <a:cubicBezTo>
                  <a:pt x="454" y="495"/>
                  <a:pt x="441" y="496"/>
                  <a:pt x="454" y="504"/>
                </a:cubicBezTo>
                <a:cubicBezTo>
                  <a:pt x="466" y="512"/>
                  <a:pt x="476" y="503"/>
                  <a:pt x="476" y="512"/>
                </a:cubicBezTo>
                <a:cubicBezTo>
                  <a:pt x="476" y="521"/>
                  <a:pt x="468" y="526"/>
                  <a:pt x="465" y="534"/>
                </a:cubicBezTo>
                <a:cubicBezTo>
                  <a:pt x="462" y="541"/>
                  <a:pt x="451" y="552"/>
                  <a:pt x="457" y="558"/>
                </a:cubicBezTo>
                <a:cubicBezTo>
                  <a:pt x="463" y="565"/>
                  <a:pt x="465" y="568"/>
                  <a:pt x="469" y="572"/>
                </a:cubicBezTo>
                <a:cubicBezTo>
                  <a:pt x="474" y="577"/>
                  <a:pt x="476" y="574"/>
                  <a:pt x="480" y="574"/>
                </a:cubicBezTo>
                <a:cubicBezTo>
                  <a:pt x="485" y="574"/>
                  <a:pt x="491" y="583"/>
                  <a:pt x="486" y="591"/>
                </a:cubicBezTo>
                <a:cubicBezTo>
                  <a:pt x="482" y="599"/>
                  <a:pt x="474" y="603"/>
                  <a:pt x="482" y="606"/>
                </a:cubicBezTo>
                <a:cubicBezTo>
                  <a:pt x="489" y="610"/>
                  <a:pt x="493" y="603"/>
                  <a:pt x="494" y="611"/>
                </a:cubicBezTo>
                <a:cubicBezTo>
                  <a:pt x="496" y="619"/>
                  <a:pt x="497" y="625"/>
                  <a:pt x="489" y="633"/>
                </a:cubicBezTo>
                <a:cubicBezTo>
                  <a:pt x="482" y="641"/>
                  <a:pt x="480" y="628"/>
                  <a:pt x="482" y="641"/>
                </a:cubicBezTo>
                <a:cubicBezTo>
                  <a:pt x="483" y="653"/>
                  <a:pt x="468" y="673"/>
                  <a:pt x="469" y="679"/>
                </a:cubicBezTo>
                <a:cubicBezTo>
                  <a:pt x="474" y="698"/>
                  <a:pt x="477" y="709"/>
                  <a:pt x="472" y="712"/>
                </a:cubicBezTo>
                <a:cubicBezTo>
                  <a:pt x="468" y="715"/>
                  <a:pt x="448" y="716"/>
                  <a:pt x="452" y="721"/>
                </a:cubicBezTo>
                <a:cubicBezTo>
                  <a:pt x="457" y="726"/>
                  <a:pt x="457" y="729"/>
                  <a:pt x="465" y="724"/>
                </a:cubicBezTo>
                <a:cubicBezTo>
                  <a:pt x="472" y="720"/>
                  <a:pt x="482" y="704"/>
                  <a:pt x="483" y="712"/>
                </a:cubicBezTo>
                <a:cubicBezTo>
                  <a:pt x="485" y="720"/>
                  <a:pt x="488" y="718"/>
                  <a:pt x="485" y="724"/>
                </a:cubicBezTo>
                <a:cubicBezTo>
                  <a:pt x="482" y="730"/>
                  <a:pt x="474" y="746"/>
                  <a:pt x="466" y="747"/>
                </a:cubicBezTo>
                <a:cubicBezTo>
                  <a:pt x="461" y="750"/>
                  <a:pt x="461" y="750"/>
                  <a:pt x="461" y="750"/>
                </a:cubicBezTo>
                <a:cubicBezTo>
                  <a:pt x="461" y="750"/>
                  <a:pt x="482" y="764"/>
                  <a:pt x="490" y="750"/>
                </a:cubicBezTo>
                <a:cubicBezTo>
                  <a:pt x="499" y="736"/>
                  <a:pt x="509" y="728"/>
                  <a:pt x="512" y="721"/>
                </a:cubicBezTo>
                <a:cubicBezTo>
                  <a:pt x="516" y="714"/>
                  <a:pt x="514" y="699"/>
                  <a:pt x="507" y="688"/>
                </a:cubicBezTo>
                <a:cubicBezTo>
                  <a:pt x="500" y="678"/>
                  <a:pt x="497" y="678"/>
                  <a:pt x="504" y="664"/>
                </a:cubicBezTo>
                <a:cubicBezTo>
                  <a:pt x="511" y="651"/>
                  <a:pt x="509" y="651"/>
                  <a:pt x="514" y="634"/>
                </a:cubicBezTo>
                <a:cubicBezTo>
                  <a:pt x="519" y="617"/>
                  <a:pt x="523" y="575"/>
                  <a:pt x="526" y="562"/>
                </a:cubicBezTo>
                <a:cubicBezTo>
                  <a:pt x="529" y="548"/>
                  <a:pt x="514" y="529"/>
                  <a:pt x="507" y="540"/>
                </a:cubicBezTo>
                <a:cubicBezTo>
                  <a:pt x="500" y="550"/>
                  <a:pt x="488" y="557"/>
                  <a:pt x="485" y="545"/>
                </a:cubicBezTo>
                <a:cubicBezTo>
                  <a:pt x="482" y="533"/>
                  <a:pt x="494" y="528"/>
                  <a:pt x="499" y="519"/>
                </a:cubicBezTo>
                <a:cubicBezTo>
                  <a:pt x="504" y="510"/>
                  <a:pt x="511" y="500"/>
                  <a:pt x="504" y="493"/>
                </a:cubicBezTo>
                <a:cubicBezTo>
                  <a:pt x="497" y="487"/>
                  <a:pt x="494" y="480"/>
                  <a:pt x="488" y="475"/>
                </a:cubicBezTo>
                <a:cubicBezTo>
                  <a:pt x="483" y="469"/>
                  <a:pt x="475" y="469"/>
                  <a:pt x="480" y="461"/>
                </a:cubicBezTo>
                <a:cubicBezTo>
                  <a:pt x="485" y="452"/>
                  <a:pt x="766" y="235"/>
                  <a:pt x="791" y="22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Freeform 411"/>
          <p:cNvSpPr>
            <a:spLocks/>
          </p:cNvSpPr>
          <p:nvPr userDrawn="1"/>
        </p:nvSpPr>
        <p:spPr bwMode="auto">
          <a:xfrm>
            <a:off x="2567621" y="4018018"/>
            <a:ext cx="793993" cy="752117"/>
          </a:xfrm>
          <a:custGeom>
            <a:avLst/>
            <a:gdLst>
              <a:gd name="T0" fmla="*/ 2147483646 w 852"/>
              <a:gd name="T1" fmla="*/ 2147483646 h 807"/>
              <a:gd name="T2" fmla="*/ 2147483646 w 852"/>
              <a:gd name="T3" fmla="*/ 2147483646 h 807"/>
              <a:gd name="T4" fmla="*/ 2147483646 w 852"/>
              <a:gd name="T5" fmla="*/ 2147483646 h 807"/>
              <a:gd name="T6" fmla="*/ 2147483646 w 852"/>
              <a:gd name="T7" fmla="*/ 2147483646 h 807"/>
              <a:gd name="T8" fmla="*/ 2147483646 w 852"/>
              <a:gd name="T9" fmla="*/ 2147483646 h 807"/>
              <a:gd name="T10" fmla="*/ 2147483646 w 852"/>
              <a:gd name="T11" fmla="*/ 2147483646 h 807"/>
              <a:gd name="T12" fmla="*/ 2147483646 w 852"/>
              <a:gd name="T13" fmla="*/ 2147483646 h 807"/>
              <a:gd name="T14" fmla="*/ 2147483646 w 852"/>
              <a:gd name="T15" fmla="*/ 2147483646 h 807"/>
              <a:gd name="T16" fmla="*/ 2147483646 w 852"/>
              <a:gd name="T17" fmla="*/ 2147483646 h 807"/>
              <a:gd name="T18" fmla="*/ 2147483646 w 852"/>
              <a:gd name="T19" fmla="*/ 2147483646 h 807"/>
              <a:gd name="T20" fmla="*/ 2147483646 w 852"/>
              <a:gd name="T21" fmla="*/ 2147483646 h 807"/>
              <a:gd name="T22" fmla="*/ 2147483646 w 852"/>
              <a:gd name="T23" fmla="*/ 2147483646 h 807"/>
              <a:gd name="T24" fmla="*/ 2147483646 w 852"/>
              <a:gd name="T25" fmla="*/ 2147483646 h 807"/>
              <a:gd name="T26" fmla="*/ 2147483646 w 852"/>
              <a:gd name="T27" fmla="*/ 2147483646 h 807"/>
              <a:gd name="T28" fmla="*/ 2147483646 w 852"/>
              <a:gd name="T29" fmla="*/ 2147483646 h 807"/>
              <a:gd name="T30" fmla="*/ 2147483646 w 852"/>
              <a:gd name="T31" fmla="*/ 2147483646 h 807"/>
              <a:gd name="T32" fmla="*/ 2147483646 w 852"/>
              <a:gd name="T33" fmla="*/ 2147483646 h 807"/>
              <a:gd name="T34" fmla="*/ 2147483646 w 852"/>
              <a:gd name="T35" fmla="*/ 2147483646 h 807"/>
              <a:gd name="T36" fmla="*/ 2147483646 w 852"/>
              <a:gd name="T37" fmla="*/ 2147483646 h 807"/>
              <a:gd name="T38" fmla="*/ 2147483646 w 852"/>
              <a:gd name="T39" fmla="*/ 2147483646 h 807"/>
              <a:gd name="T40" fmla="*/ 2147483646 w 852"/>
              <a:gd name="T41" fmla="*/ 2147483646 h 807"/>
              <a:gd name="T42" fmla="*/ 2147483646 w 852"/>
              <a:gd name="T43" fmla="*/ 2147483646 h 807"/>
              <a:gd name="T44" fmla="*/ 2147483646 w 852"/>
              <a:gd name="T45" fmla="*/ 2147483646 h 807"/>
              <a:gd name="T46" fmla="*/ 2147483646 w 852"/>
              <a:gd name="T47" fmla="*/ 2147483646 h 807"/>
              <a:gd name="T48" fmla="*/ 2147483646 w 852"/>
              <a:gd name="T49" fmla="*/ 2147483646 h 807"/>
              <a:gd name="T50" fmla="*/ 2147483646 w 852"/>
              <a:gd name="T51" fmla="*/ 2147483646 h 807"/>
              <a:gd name="T52" fmla="*/ 2147483646 w 852"/>
              <a:gd name="T53" fmla="*/ 2147483646 h 807"/>
              <a:gd name="T54" fmla="*/ 2147483646 w 852"/>
              <a:gd name="T55" fmla="*/ 2147483646 h 807"/>
              <a:gd name="T56" fmla="*/ 2147483646 w 852"/>
              <a:gd name="T57" fmla="*/ 2147483646 h 807"/>
              <a:gd name="T58" fmla="*/ 2147483646 w 852"/>
              <a:gd name="T59" fmla="*/ 2147483646 h 807"/>
              <a:gd name="T60" fmla="*/ 2147483646 w 852"/>
              <a:gd name="T61" fmla="*/ 2147483646 h 807"/>
              <a:gd name="T62" fmla="*/ 2147483646 w 852"/>
              <a:gd name="T63" fmla="*/ 2147483646 h 807"/>
              <a:gd name="T64" fmla="*/ 2147483646 w 852"/>
              <a:gd name="T65" fmla="*/ 2147483646 h 807"/>
              <a:gd name="T66" fmla="*/ 2147483646 w 852"/>
              <a:gd name="T67" fmla="*/ 2147483646 h 807"/>
              <a:gd name="T68" fmla="*/ 2147483646 w 852"/>
              <a:gd name="T69" fmla="*/ 2147483646 h 807"/>
              <a:gd name="T70" fmla="*/ 2147483646 w 852"/>
              <a:gd name="T71" fmla="*/ 2147483646 h 807"/>
              <a:gd name="T72" fmla="*/ 2147483646 w 852"/>
              <a:gd name="T73" fmla="*/ 2147483646 h 807"/>
              <a:gd name="T74" fmla="*/ 2147483646 w 852"/>
              <a:gd name="T75" fmla="*/ 2147483646 h 807"/>
              <a:gd name="T76" fmla="*/ 2147483646 w 852"/>
              <a:gd name="T77" fmla="*/ 2147483646 h 807"/>
              <a:gd name="T78" fmla="*/ 2147483646 w 852"/>
              <a:gd name="T79" fmla="*/ 2147483646 h 807"/>
              <a:gd name="T80" fmla="*/ 2147483646 w 852"/>
              <a:gd name="T81" fmla="*/ 2147483646 h 807"/>
              <a:gd name="T82" fmla="*/ 2147483646 w 852"/>
              <a:gd name="T83" fmla="*/ 2147483646 h 807"/>
              <a:gd name="T84" fmla="*/ 2147483646 w 852"/>
              <a:gd name="T85" fmla="*/ 2147483646 h 807"/>
              <a:gd name="T86" fmla="*/ 2147483646 w 852"/>
              <a:gd name="T87" fmla="*/ 2147483646 h 807"/>
              <a:gd name="T88" fmla="*/ 2147483646 w 852"/>
              <a:gd name="T89" fmla="*/ 2147483646 h 807"/>
              <a:gd name="T90" fmla="*/ 2147483646 w 852"/>
              <a:gd name="T91" fmla="*/ 2147483646 h 807"/>
              <a:gd name="T92" fmla="*/ 2147483646 w 852"/>
              <a:gd name="T93" fmla="*/ 2147483646 h 807"/>
              <a:gd name="T94" fmla="*/ 2147483646 w 852"/>
              <a:gd name="T95" fmla="*/ 2147483646 h 807"/>
              <a:gd name="T96" fmla="*/ 2147483646 w 852"/>
              <a:gd name="T97" fmla="*/ 2147483646 h 807"/>
              <a:gd name="T98" fmla="*/ 2147483646 w 852"/>
              <a:gd name="T99" fmla="*/ 2147483646 h 807"/>
              <a:gd name="T100" fmla="*/ 2147483646 w 852"/>
              <a:gd name="T101" fmla="*/ 2147483646 h 807"/>
              <a:gd name="T102" fmla="*/ 2147483646 w 852"/>
              <a:gd name="T103" fmla="*/ 2147483646 h 807"/>
              <a:gd name="T104" fmla="*/ 2147483646 w 852"/>
              <a:gd name="T105" fmla="*/ 2147483646 h 807"/>
              <a:gd name="T106" fmla="*/ 2147483646 w 852"/>
              <a:gd name="T107" fmla="*/ 2147483646 h 807"/>
              <a:gd name="T108" fmla="*/ 2147483646 w 852"/>
              <a:gd name="T109" fmla="*/ 2147483646 h 807"/>
              <a:gd name="T110" fmla="*/ 2147483646 w 852"/>
              <a:gd name="T111" fmla="*/ 2147483646 h 80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852"/>
              <a:gd name="T169" fmla="*/ 0 h 807"/>
              <a:gd name="T170" fmla="*/ 852 w 852"/>
              <a:gd name="T171" fmla="*/ 807 h 80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852" h="807">
                <a:moveTo>
                  <a:pt x="845" y="701"/>
                </a:moveTo>
                <a:cubicBezTo>
                  <a:pt x="841" y="699"/>
                  <a:pt x="833" y="697"/>
                  <a:pt x="830" y="698"/>
                </a:cubicBezTo>
                <a:cubicBezTo>
                  <a:pt x="824" y="698"/>
                  <a:pt x="830" y="698"/>
                  <a:pt x="819" y="699"/>
                </a:cubicBezTo>
                <a:cubicBezTo>
                  <a:pt x="808" y="700"/>
                  <a:pt x="812" y="704"/>
                  <a:pt x="801" y="698"/>
                </a:cubicBezTo>
                <a:cubicBezTo>
                  <a:pt x="789" y="691"/>
                  <a:pt x="794" y="704"/>
                  <a:pt x="791" y="707"/>
                </a:cubicBezTo>
                <a:cubicBezTo>
                  <a:pt x="788" y="709"/>
                  <a:pt x="783" y="719"/>
                  <a:pt x="779" y="722"/>
                </a:cubicBezTo>
                <a:cubicBezTo>
                  <a:pt x="775" y="726"/>
                  <a:pt x="785" y="729"/>
                  <a:pt x="793" y="734"/>
                </a:cubicBezTo>
                <a:cubicBezTo>
                  <a:pt x="800" y="738"/>
                  <a:pt x="798" y="752"/>
                  <a:pt x="797" y="755"/>
                </a:cubicBezTo>
                <a:cubicBezTo>
                  <a:pt x="795" y="758"/>
                  <a:pt x="782" y="757"/>
                  <a:pt x="768" y="755"/>
                </a:cubicBezTo>
                <a:cubicBezTo>
                  <a:pt x="755" y="752"/>
                  <a:pt x="761" y="759"/>
                  <a:pt x="754" y="763"/>
                </a:cubicBezTo>
                <a:cubicBezTo>
                  <a:pt x="748" y="767"/>
                  <a:pt x="746" y="772"/>
                  <a:pt x="745" y="780"/>
                </a:cubicBezTo>
                <a:cubicBezTo>
                  <a:pt x="744" y="786"/>
                  <a:pt x="744" y="798"/>
                  <a:pt x="743" y="803"/>
                </a:cubicBezTo>
                <a:cubicBezTo>
                  <a:pt x="743" y="804"/>
                  <a:pt x="743" y="804"/>
                  <a:pt x="743" y="804"/>
                </a:cubicBezTo>
                <a:cubicBezTo>
                  <a:pt x="743" y="804"/>
                  <a:pt x="726" y="807"/>
                  <a:pt x="724" y="803"/>
                </a:cubicBezTo>
                <a:cubicBezTo>
                  <a:pt x="721" y="800"/>
                  <a:pt x="716" y="789"/>
                  <a:pt x="711" y="789"/>
                </a:cubicBezTo>
                <a:cubicBezTo>
                  <a:pt x="706" y="788"/>
                  <a:pt x="697" y="789"/>
                  <a:pt x="692" y="779"/>
                </a:cubicBezTo>
                <a:cubicBezTo>
                  <a:pt x="688" y="770"/>
                  <a:pt x="680" y="775"/>
                  <a:pt x="674" y="765"/>
                </a:cubicBezTo>
                <a:cubicBezTo>
                  <a:pt x="668" y="756"/>
                  <a:pt x="660" y="753"/>
                  <a:pt x="649" y="755"/>
                </a:cubicBezTo>
                <a:cubicBezTo>
                  <a:pt x="638" y="756"/>
                  <a:pt x="621" y="761"/>
                  <a:pt x="612" y="765"/>
                </a:cubicBezTo>
                <a:cubicBezTo>
                  <a:pt x="602" y="770"/>
                  <a:pt x="593" y="770"/>
                  <a:pt x="587" y="765"/>
                </a:cubicBezTo>
                <a:cubicBezTo>
                  <a:pt x="581" y="761"/>
                  <a:pt x="567" y="762"/>
                  <a:pt x="561" y="759"/>
                </a:cubicBezTo>
                <a:cubicBezTo>
                  <a:pt x="554" y="756"/>
                  <a:pt x="536" y="750"/>
                  <a:pt x="528" y="744"/>
                </a:cubicBezTo>
                <a:cubicBezTo>
                  <a:pt x="520" y="738"/>
                  <a:pt x="492" y="731"/>
                  <a:pt x="486" y="724"/>
                </a:cubicBezTo>
                <a:cubicBezTo>
                  <a:pt x="480" y="716"/>
                  <a:pt x="474" y="725"/>
                  <a:pt x="461" y="716"/>
                </a:cubicBezTo>
                <a:cubicBezTo>
                  <a:pt x="449" y="707"/>
                  <a:pt x="443" y="708"/>
                  <a:pt x="434" y="700"/>
                </a:cubicBezTo>
                <a:cubicBezTo>
                  <a:pt x="424" y="693"/>
                  <a:pt x="420" y="690"/>
                  <a:pt x="418" y="683"/>
                </a:cubicBezTo>
                <a:cubicBezTo>
                  <a:pt x="416" y="677"/>
                  <a:pt x="403" y="668"/>
                  <a:pt x="393" y="666"/>
                </a:cubicBezTo>
                <a:cubicBezTo>
                  <a:pt x="384" y="665"/>
                  <a:pt x="373" y="648"/>
                  <a:pt x="358" y="645"/>
                </a:cubicBezTo>
                <a:cubicBezTo>
                  <a:pt x="342" y="642"/>
                  <a:pt x="328" y="628"/>
                  <a:pt x="327" y="611"/>
                </a:cubicBezTo>
                <a:cubicBezTo>
                  <a:pt x="325" y="593"/>
                  <a:pt x="306" y="598"/>
                  <a:pt x="294" y="592"/>
                </a:cubicBezTo>
                <a:cubicBezTo>
                  <a:pt x="282" y="586"/>
                  <a:pt x="277" y="569"/>
                  <a:pt x="274" y="558"/>
                </a:cubicBezTo>
                <a:cubicBezTo>
                  <a:pt x="271" y="547"/>
                  <a:pt x="286" y="527"/>
                  <a:pt x="289" y="508"/>
                </a:cubicBezTo>
                <a:cubicBezTo>
                  <a:pt x="293" y="490"/>
                  <a:pt x="286" y="493"/>
                  <a:pt x="279" y="480"/>
                </a:cubicBezTo>
                <a:cubicBezTo>
                  <a:pt x="271" y="468"/>
                  <a:pt x="277" y="462"/>
                  <a:pt x="277" y="451"/>
                </a:cubicBezTo>
                <a:cubicBezTo>
                  <a:pt x="277" y="440"/>
                  <a:pt x="265" y="423"/>
                  <a:pt x="258" y="417"/>
                </a:cubicBezTo>
                <a:cubicBezTo>
                  <a:pt x="252" y="411"/>
                  <a:pt x="238" y="395"/>
                  <a:pt x="235" y="389"/>
                </a:cubicBezTo>
                <a:cubicBezTo>
                  <a:pt x="232" y="383"/>
                  <a:pt x="229" y="373"/>
                  <a:pt x="223" y="358"/>
                </a:cubicBezTo>
                <a:cubicBezTo>
                  <a:pt x="217" y="342"/>
                  <a:pt x="209" y="352"/>
                  <a:pt x="190" y="338"/>
                </a:cubicBezTo>
                <a:cubicBezTo>
                  <a:pt x="172" y="324"/>
                  <a:pt x="189" y="325"/>
                  <a:pt x="200" y="319"/>
                </a:cubicBezTo>
                <a:cubicBezTo>
                  <a:pt x="210" y="313"/>
                  <a:pt x="204" y="304"/>
                  <a:pt x="201" y="290"/>
                </a:cubicBezTo>
                <a:cubicBezTo>
                  <a:pt x="198" y="276"/>
                  <a:pt x="182" y="282"/>
                  <a:pt x="179" y="268"/>
                </a:cubicBezTo>
                <a:cubicBezTo>
                  <a:pt x="176" y="254"/>
                  <a:pt x="164" y="249"/>
                  <a:pt x="158" y="243"/>
                </a:cubicBezTo>
                <a:cubicBezTo>
                  <a:pt x="151" y="237"/>
                  <a:pt x="148" y="236"/>
                  <a:pt x="145" y="226"/>
                </a:cubicBezTo>
                <a:cubicBezTo>
                  <a:pt x="142" y="217"/>
                  <a:pt x="141" y="201"/>
                  <a:pt x="138" y="192"/>
                </a:cubicBezTo>
                <a:cubicBezTo>
                  <a:pt x="134" y="183"/>
                  <a:pt x="125" y="180"/>
                  <a:pt x="122" y="167"/>
                </a:cubicBezTo>
                <a:cubicBezTo>
                  <a:pt x="119" y="155"/>
                  <a:pt x="120" y="149"/>
                  <a:pt x="125" y="129"/>
                </a:cubicBezTo>
                <a:cubicBezTo>
                  <a:pt x="130" y="108"/>
                  <a:pt x="119" y="110"/>
                  <a:pt x="114" y="98"/>
                </a:cubicBezTo>
                <a:cubicBezTo>
                  <a:pt x="110" y="85"/>
                  <a:pt x="116" y="85"/>
                  <a:pt x="114" y="71"/>
                </a:cubicBezTo>
                <a:cubicBezTo>
                  <a:pt x="113" y="57"/>
                  <a:pt x="100" y="68"/>
                  <a:pt x="90" y="59"/>
                </a:cubicBezTo>
                <a:cubicBezTo>
                  <a:pt x="79" y="50"/>
                  <a:pt x="66" y="39"/>
                  <a:pt x="66" y="39"/>
                </a:cubicBezTo>
                <a:cubicBezTo>
                  <a:pt x="66" y="39"/>
                  <a:pt x="66" y="43"/>
                  <a:pt x="66" y="50"/>
                </a:cubicBezTo>
                <a:cubicBezTo>
                  <a:pt x="66" y="56"/>
                  <a:pt x="66" y="67"/>
                  <a:pt x="66" y="73"/>
                </a:cubicBezTo>
                <a:cubicBezTo>
                  <a:pt x="66" y="79"/>
                  <a:pt x="63" y="88"/>
                  <a:pt x="60" y="94"/>
                </a:cubicBezTo>
                <a:cubicBezTo>
                  <a:pt x="57" y="101"/>
                  <a:pt x="63" y="110"/>
                  <a:pt x="68" y="115"/>
                </a:cubicBezTo>
                <a:cubicBezTo>
                  <a:pt x="72" y="119"/>
                  <a:pt x="69" y="132"/>
                  <a:pt x="71" y="143"/>
                </a:cubicBezTo>
                <a:cubicBezTo>
                  <a:pt x="72" y="153"/>
                  <a:pt x="79" y="158"/>
                  <a:pt x="83" y="161"/>
                </a:cubicBezTo>
                <a:cubicBezTo>
                  <a:pt x="88" y="164"/>
                  <a:pt x="85" y="177"/>
                  <a:pt x="82" y="187"/>
                </a:cubicBezTo>
                <a:cubicBezTo>
                  <a:pt x="79" y="198"/>
                  <a:pt x="82" y="203"/>
                  <a:pt x="90" y="206"/>
                </a:cubicBezTo>
                <a:cubicBezTo>
                  <a:pt x="97" y="209"/>
                  <a:pt x="94" y="220"/>
                  <a:pt x="96" y="228"/>
                </a:cubicBezTo>
                <a:cubicBezTo>
                  <a:pt x="97" y="236"/>
                  <a:pt x="100" y="245"/>
                  <a:pt x="105" y="248"/>
                </a:cubicBezTo>
                <a:cubicBezTo>
                  <a:pt x="110" y="251"/>
                  <a:pt x="114" y="271"/>
                  <a:pt x="119" y="279"/>
                </a:cubicBezTo>
                <a:cubicBezTo>
                  <a:pt x="124" y="287"/>
                  <a:pt x="120" y="302"/>
                  <a:pt x="124" y="307"/>
                </a:cubicBezTo>
                <a:cubicBezTo>
                  <a:pt x="127" y="311"/>
                  <a:pt x="134" y="322"/>
                  <a:pt x="138" y="327"/>
                </a:cubicBezTo>
                <a:cubicBezTo>
                  <a:pt x="141" y="332"/>
                  <a:pt x="133" y="347"/>
                  <a:pt x="128" y="359"/>
                </a:cubicBezTo>
                <a:cubicBezTo>
                  <a:pt x="124" y="372"/>
                  <a:pt x="138" y="378"/>
                  <a:pt x="151" y="377"/>
                </a:cubicBezTo>
                <a:cubicBezTo>
                  <a:pt x="165" y="375"/>
                  <a:pt x="165" y="411"/>
                  <a:pt x="162" y="415"/>
                </a:cubicBezTo>
                <a:cubicBezTo>
                  <a:pt x="159" y="420"/>
                  <a:pt x="153" y="426"/>
                  <a:pt x="142" y="423"/>
                </a:cubicBezTo>
                <a:cubicBezTo>
                  <a:pt x="131" y="420"/>
                  <a:pt x="130" y="404"/>
                  <a:pt x="124" y="395"/>
                </a:cubicBezTo>
                <a:cubicBezTo>
                  <a:pt x="117" y="386"/>
                  <a:pt x="113" y="375"/>
                  <a:pt x="108" y="359"/>
                </a:cubicBezTo>
                <a:cubicBezTo>
                  <a:pt x="103" y="344"/>
                  <a:pt x="97" y="359"/>
                  <a:pt x="83" y="352"/>
                </a:cubicBezTo>
                <a:cubicBezTo>
                  <a:pt x="69" y="344"/>
                  <a:pt x="80" y="346"/>
                  <a:pt x="85" y="335"/>
                </a:cubicBezTo>
                <a:cubicBezTo>
                  <a:pt x="90" y="324"/>
                  <a:pt x="93" y="322"/>
                  <a:pt x="94" y="305"/>
                </a:cubicBezTo>
                <a:cubicBezTo>
                  <a:pt x="96" y="288"/>
                  <a:pt x="77" y="284"/>
                  <a:pt x="72" y="260"/>
                </a:cubicBezTo>
                <a:cubicBezTo>
                  <a:pt x="71" y="253"/>
                  <a:pt x="62" y="257"/>
                  <a:pt x="54" y="248"/>
                </a:cubicBezTo>
                <a:cubicBezTo>
                  <a:pt x="46" y="239"/>
                  <a:pt x="37" y="231"/>
                  <a:pt x="32" y="200"/>
                </a:cubicBezTo>
                <a:cubicBezTo>
                  <a:pt x="31" y="192"/>
                  <a:pt x="46" y="200"/>
                  <a:pt x="52" y="184"/>
                </a:cubicBezTo>
                <a:cubicBezTo>
                  <a:pt x="59" y="169"/>
                  <a:pt x="51" y="169"/>
                  <a:pt x="46" y="153"/>
                </a:cubicBezTo>
                <a:cubicBezTo>
                  <a:pt x="41" y="138"/>
                  <a:pt x="38" y="143"/>
                  <a:pt x="29" y="130"/>
                </a:cubicBezTo>
                <a:cubicBezTo>
                  <a:pt x="20" y="118"/>
                  <a:pt x="23" y="98"/>
                  <a:pt x="23" y="88"/>
                </a:cubicBezTo>
                <a:cubicBezTo>
                  <a:pt x="23" y="79"/>
                  <a:pt x="15" y="51"/>
                  <a:pt x="10" y="36"/>
                </a:cubicBezTo>
                <a:cubicBezTo>
                  <a:pt x="6" y="20"/>
                  <a:pt x="0" y="17"/>
                  <a:pt x="1" y="6"/>
                </a:cubicBezTo>
                <a:cubicBezTo>
                  <a:pt x="1" y="6"/>
                  <a:pt x="12" y="9"/>
                  <a:pt x="31" y="9"/>
                </a:cubicBezTo>
                <a:cubicBezTo>
                  <a:pt x="49" y="9"/>
                  <a:pt x="75" y="0"/>
                  <a:pt x="85" y="14"/>
                </a:cubicBezTo>
                <a:cubicBezTo>
                  <a:pt x="96" y="28"/>
                  <a:pt x="97" y="38"/>
                  <a:pt x="116" y="48"/>
                </a:cubicBezTo>
                <a:cubicBezTo>
                  <a:pt x="135" y="59"/>
                  <a:pt x="161" y="100"/>
                  <a:pt x="212" y="100"/>
                </a:cubicBezTo>
                <a:cubicBezTo>
                  <a:pt x="263" y="100"/>
                  <a:pt x="273" y="115"/>
                  <a:pt x="278" y="101"/>
                </a:cubicBezTo>
                <a:cubicBezTo>
                  <a:pt x="284" y="88"/>
                  <a:pt x="290" y="96"/>
                  <a:pt x="314" y="101"/>
                </a:cubicBezTo>
                <a:cubicBezTo>
                  <a:pt x="338" y="106"/>
                  <a:pt x="338" y="115"/>
                  <a:pt x="355" y="132"/>
                </a:cubicBezTo>
                <a:cubicBezTo>
                  <a:pt x="373" y="149"/>
                  <a:pt x="366" y="153"/>
                  <a:pt x="374" y="178"/>
                </a:cubicBezTo>
                <a:cubicBezTo>
                  <a:pt x="383" y="204"/>
                  <a:pt x="381" y="209"/>
                  <a:pt x="398" y="219"/>
                </a:cubicBezTo>
                <a:cubicBezTo>
                  <a:pt x="415" y="230"/>
                  <a:pt x="431" y="216"/>
                  <a:pt x="446" y="204"/>
                </a:cubicBezTo>
                <a:cubicBezTo>
                  <a:pt x="461" y="192"/>
                  <a:pt x="451" y="182"/>
                  <a:pt x="479" y="204"/>
                </a:cubicBezTo>
                <a:cubicBezTo>
                  <a:pt x="506" y="226"/>
                  <a:pt x="521" y="228"/>
                  <a:pt x="518" y="259"/>
                </a:cubicBezTo>
                <a:cubicBezTo>
                  <a:pt x="514" y="289"/>
                  <a:pt x="533" y="329"/>
                  <a:pt x="533" y="329"/>
                </a:cubicBezTo>
                <a:cubicBezTo>
                  <a:pt x="549" y="353"/>
                  <a:pt x="549" y="359"/>
                  <a:pt x="564" y="365"/>
                </a:cubicBezTo>
                <a:cubicBezTo>
                  <a:pt x="579" y="370"/>
                  <a:pt x="597" y="378"/>
                  <a:pt x="597" y="378"/>
                </a:cubicBezTo>
                <a:cubicBezTo>
                  <a:pt x="597" y="379"/>
                  <a:pt x="597" y="379"/>
                  <a:pt x="597" y="379"/>
                </a:cubicBezTo>
                <a:cubicBezTo>
                  <a:pt x="596" y="384"/>
                  <a:pt x="592" y="387"/>
                  <a:pt x="583" y="397"/>
                </a:cubicBezTo>
                <a:cubicBezTo>
                  <a:pt x="568" y="415"/>
                  <a:pt x="569" y="441"/>
                  <a:pt x="556" y="494"/>
                </a:cubicBezTo>
                <a:cubicBezTo>
                  <a:pt x="543" y="546"/>
                  <a:pt x="580" y="587"/>
                  <a:pt x="585" y="599"/>
                </a:cubicBezTo>
                <a:cubicBezTo>
                  <a:pt x="591" y="612"/>
                  <a:pt x="603" y="633"/>
                  <a:pt x="603" y="633"/>
                </a:cubicBezTo>
                <a:cubicBezTo>
                  <a:pt x="619" y="644"/>
                  <a:pt x="619" y="644"/>
                  <a:pt x="619" y="644"/>
                </a:cubicBezTo>
                <a:cubicBezTo>
                  <a:pt x="619" y="644"/>
                  <a:pt x="629" y="648"/>
                  <a:pt x="637" y="657"/>
                </a:cubicBezTo>
                <a:cubicBezTo>
                  <a:pt x="645" y="665"/>
                  <a:pt x="668" y="669"/>
                  <a:pt x="683" y="673"/>
                </a:cubicBezTo>
                <a:cubicBezTo>
                  <a:pt x="698" y="678"/>
                  <a:pt x="705" y="674"/>
                  <a:pt x="730" y="660"/>
                </a:cubicBezTo>
                <a:cubicBezTo>
                  <a:pt x="754" y="645"/>
                  <a:pt x="739" y="666"/>
                  <a:pt x="751" y="663"/>
                </a:cubicBezTo>
                <a:cubicBezTo>
                  <a:pt x="763" y="660"/>
                  <a:pt x="762" y="662"/>
                  <a:pt x="778" y="653"/>
                </a:cubicBezTo>
                <a:cubicBezTo>
                  <a:pt x="794" y="644"/>
                  <a:pt x="789" y="646"/>
                  <a:pt x="793" y="634"/>
                </a:cubicBezTo>
                <a:cubicBezTo>
                  <a:pt x="793" y="634"/>
                  <a:pt x="802" y="616"/>
                  <a:pt x="811" y="622"/>
                </a:cubicBezTo>
                <a:cubicBezTo>
                  <a:pt x="820" y="628"/>
                  <a:pt x="831" y="633"/>
                  <a:pt x="834" y="635"/>
                </a:cubicBezTo>
                <a:cubicBezTo>
                  <a:pt x="838" y="638"/>
                  <a:pt x="846" y="651"/>
                  <a:pt x="847" y="652"/>
                </a:cubicBezTo>
                <a:cubicBezTo>
                  <a:pt x="847" y="653"/>
                  <a:pt x="852" y="675"/>
                  <a:pt x="852" y="681"/>
                </a:cubicBezTo>
                <a:cubicBezTo>
                  <a:pt x="852" y="686"/>
                  <a:pt x="845" y="701"/>
                  <a:pt x="845" y="70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Freeform 412"/>
          <p:cNvSpPr>
            <a:spLocks/>
          </p:cNvSpPr>
          <p:nvPr userDrawn="1"/>
        </p:nvSpPr>
        <p:spPr bwMode="auto">
          <a:xfrm>
            <a:off x="3177356" y="2637741"/>
            <a:ext cx="152433" cy="110556"/>
          </a:xfrm>
          <a:custGeom>
            <a:avLst/>
            <a:gdLst>
              <a:gd name="T0" fmla="*/ 2147483646 w 164"/>
              <a:gd name="T1" fmla="*/ 2147483646 h 119"/>
              <a:gd name="T2" fmla="*/ 2147483646 w 164"/>
              <a:gd name="T3" fmla="*/ 2147483646 h 119"/>
              <a:gd name="T4" fmla="*/ 2147483646 w 164"/>
              <a:gd name="T5" fmla="*/ 2147483646 h 119"/>
              <a:gd name="T6" fmla="*/ 2147483646 w 164"/>
              <a:gd name="T7" fmla="*/ 2147483646 h 119"/>
              <a:gd name="T8" fmla="*/ 2147483646 w 164"/>
              <a:gd name="T9" fmla="*/ 2147483646 h 119"/>
              <a:gd name="T10" fmla="*/ 2147483646 w 164"/>
              <a:gd name="T11" fmla="*/ 2147483646 h 119"/>
              <a:gd name="T12" fmla="*/ 2147483646 w 164"/>
              <a:gd name="T13" fmla="*/ 2147483646 h 119"/>
              <a:gd name="T14" fmla="*/ 2147483646 w 164"/>
              <a:gd name="T15" fmla="*/ 2147483646 h 119"/>
              <a:gd name="T16" fmla="*/ 2147483646 w 164"/>
              <a:gd name="T17" fmla="*/ 2147483646 h 119"/>
              <a:gd name="T18" fmla="*/ 2147483646 w 164"/>
              <a:gd name="T19" fmla="*/ 2147483646 h 119"/>
              <a:gd name="T20" fmla="*/ 2147483646 w 164"/>
              <a:gd name="T21" fmla="*/ 2147483646 h 119"/>
              <a:gd name="T22" fmla="*/ 2147483646 w 164"/>
              <a:gd name="T23" fmla="*/ 2147483646 h 119"/>
              <a:gd name="T24" fmla="*/ 2147483646 w 164"/>
              <a:gd name="T25" fmla="*/ 2147483646 h 119"/>
              <a:gd name="T26" fmla="*/ 2147483646 w 164"/>
              <a:gd name="T27" fmla="*/ 2147483646 h 119"/>
              <a:gd name="T28" fmla="*/ 2147483646 w 164"/>
              <a:gd name="T29" fmla="*/ 2147483646 h 119"/>
              <a:gd name="T30" fmla="*/ 2147483646 w 164"/>
              <a:gd name="T31" fmla="*/ 2147483646 h 119"/>
              <a:gd name="T32" fmla="*/ 2147483646 w 164"/>
              <a:gd name="T33" fmla="*/ 2147483646 h 1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64"/>
              <a:gd name="T52" fmla="*/ 0 h 119"/>
              <a:gd name="T53" fmla="*/ 164 w 164"/>
              <a:gd name="T54" fmla="*/ 119 h 1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64" h="119">
                <a:moveTo>
                  <a:pt x="88" y="13"/>
                </a:moveTo>
                <a:cubicBezTo>
                  <a:pt x="80" y="14"/>
                  <a:pt x="81" y="14"/>
                  <a:pt x="74" y="24"/>
                </a:cubicBezTo>
                <a:cubicBezTo>
                  <a:pt x="67" y="35"/>
                  <a:pt x="59" y="39"/>
                  <a:pt x="52" y="42"/>
                </a:cubicBezTo>
                <a:cubicBezTo>
                  <a:pt x="45" y="44"/>
                  <a:pt x="32" y="49"/>
                  <a:pt x="22" y="58"/>
                </a:cubicBezTo>
                <a:cubicBezTo>
                  <a:pt x="12" y="67"/>
                  <a:pt x="13" y="62"/>
                  <a:pt x="9" y="69"/>
                </a:cubicBezTo>
                <a:cubicBezTo>
                  <a:pt x="6" y="76"/>
                  <a:pt x="6" y="79"/>
                  <a:pt x="16" y="92"/>
                </a:cubicBezTo>
                <a:cubicBezTo>
                  <a:pt x="27" y="106"/>
                  <a:pt x="0" y="108"/>
                  <a:pt x="20" y="110"/>
                </a:cubicBezTo>
                <a:cubicBezTo>
                  <a:pt x="39" y="111"/>
                  <a:pt x="23" y="119"/>
                  <a:pt x="60" y="106"/>
                </a:cubicBezTo>
                <a:cubicBezTo>
                  <a:pt x="97" y="94"/>
                  <a:pt x="93" y="69"/>
                  <a:pt x="106" y="75"/>
                </a:cubicBezTo>
                <a:cubicBezTo>
                  <a:pt x="119" y="81"/>
                  <a:pt x="119" y="73"/>
                  <a:pt x="134" y="75"/>
                </a:cubicBezTo>
                <a:cubicBezTo>
                  <a:pt x="149" y="77"/>
                  <a:pt x="145" y="70"/>
                  <a:pt x="152" y="68"/>
                </a:cubicBezTo>
                <a:cubicBezTo>
                  <a:pt x="159" y="66"/>
                  <a:pt x="164" y="54"/>
                  <a:pt x="156" y="49"/>
                </a:cubicBezTo>
                <a:cubicBezTo>
                  <a:pt x="148" y="43"/>
                  <a:pt x="150" y="32"/>
                  <a:pt x="138" y="35"/>
                </a:cubicBezTo>
                <a:cubicBezTo>
                  <a:pt x="127" y="37"/>
                  <a:pt x="126" y="36"/>
                  <a:pt x="121" y="21"/>
                </a:cubicBezTo>
                <a:cubicBezTo>
                  <a:pt x="116" y="6"/>
                  <a:pt x="120" y="0"/>
                  <a:pt x="110" y="5"/>
                </a:cubicBezTo>
                <a:cubicBezTo>
                  <a:pt x="99" y="9"/>
                  <a:pt x="100" y="4"/>
                  <a:pt x="96" y="7"/>
                </a:cubicBezTo>
                <a:cubicBezTo>
                  <a:pt x="91" y="11"/>
                  <a:pt x="88" y="13"/>
                  <a:pt x="88" y="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Freeform 413"/>
          <p:cNvSpPr>
            <a:spLocks/>
          </p:cNvSpPr>
          <p:nvPr userDrawn="1"/>
        </p:nvSpPr>
        <p:spPr bwMode="auto">
          <a:xfrm>
            <a:off x="3217557" y="2704744"/>
            <a:ext cx="214412" cy="187611"/>
          </a:xfrm>
          <a:custGeom>
            <a:avLst/>
            <a:gdLst>
              <a:gd name="T0" fmla="*/ 2147483646 w 230"/>
              <a:gd name="T1" fmla="*/ 2147483646 h 200"/>
              <a:gd name="T2" fmla="*/ 2147483646 w 230"/>
              <a:gd name="T3" fmla="*/ 2147483646 h 200"/>
              <a:gd name="T4" fmla="*/ 2147483646 w 230"/>
              <a:gd name="T5" fmla="*/ 2147483646 h 200"/>
              <a:gd name="T6" fmla="*/ 2147483646 w 230"/>
              <a:gd name="T7" fmla="*/ 2147483646 h 200"/>
              <a:gd name="T8" fmla="*/ 2147483646 w 230"/>
              <a:gd name="T9" fmla="*/ 2147483646 h 200"/>
              <a:gd name="T10" fmla="*/ 2147483646 w 230"/>
              <a:gd name="T11" fmla="*/ 2147483646 h 200"/>
              <a:gd name="T12" fmla="*/ 2147483646 w 230"/>
              <a:gd name="T13" fmla="*/ 2147483646 h 200"/>
              <a:gd name="T14" fmla="*/ 2147483646 w 230"/>
              <a:gd name="T15" fmla="*/ 2147483646 h 200"/>
              <a:gd name="T16" fmla="*/ 2147483646 w 230"/>
              <a:gd name="T17" fmla="*/ 2147483646 h 200"/>
              <a:gd name="T18" fmla="*/ 2147483646 w 230"/>
              <a:gd name="T19" fmla="*/ 2147483646 h 200"/>
              <a:gd name="T20" fmla="*/ 2147483646 w 230"/>
              <a:gd name="T21" fmla="*/ 2147483646 h 200"/>
              <a:gd name="T22" fmla="*/ 2147483646 w 230"/>
              <a:gd name="T23" fmla="*/ 2147483646 h 200"/>
              <a:gd name="T24" fmla="*/ 2147483646 w 230"/>
              <a:gd name="T25" fmla="*/ 2147483646 h 200"/>
              <a:gd name="T26" fmla="*/ 2147483646 w 230"/>
              <a:gd name="T27" fmla="*/ 2147483646 h 200"/>
              <a:gd name="T28" fmla="*/ 2147483646 w 230"/>
              <a:gd name="T29" fmla="*/ 2147483646 h 200"/>
              <a:gd name="T30" fmla="*/ 2147483646 w 230"/>
              <a:gd name="T31" fmla="*/ 2147483646 h 200"/>
              <a:gd name="T32" fmla="*/ 2147483646 w 230"/>
              <a:gd name="T33" fmla="*/ 2147483646 h 200"/>
              <a:gd name="T34" fmla="*/ 2147483646 w 230"/>
              <a:gd name="T35" fmla="*/ 2147483646 h 200"/>
              <a:gd name="T36" fmla="*/ 2147483646 w 230"/>
              <a:gd name="T37" fmla="*/ 2147483646 h 200"/>
              <a:gd name="T38" fmla="*/ 2147483646 w 230"/>
              <a:gd name="T39" fmla="*/ 2147483646 h 200"/>
              <a:gd name="T40" fmla="*/ 2147483646 w 230"/>
              <a:gd name="T41" fmla="*/ 2147483646 h 200"/>
              <a:gd name="T42" fmla="*/ 2147483646 w 230"/>
              <a:gd name="T43" fmla="*/ 2147483646 h 200"/>
              <a:gd name="T44" fmla="*/ 2147483646 w 230"/>
              <a:gd name="T45" fmla="*/ 2147483646 h 200"/>
              <a:gd name="T46" fmla="*/ 2147483646 w 230"/>
              <a:gd name="T47" fmla="*/ 2147483646 h 200"/>
              <a:gd name="T48" fmla="*/ 2147483646 w 230"/>
              <a:gd name="T49" fmla="*/ 2147483646 h 200"/>
              <a:gd name="T50" fmla="*/ 2147483646 w 230"/>
              <a:gd name="T51" fmla="*/ 2147483646 h 200"/>
              <a:gd name="T52" fmla="*/ 2147483646 w 230"/>
              <a:gd name="T53" fmla="*/ 2147483646 h 200"/>
              <a:gd name="T54" fmla="*/ 2147483646 w 230"/>
              <a:gd name="T55" fmla="*/ 2147483646 h 200"/>
              <a:gd name="T56" fmla="*/ 2147483646 w 230"/>
              <a:gd name="T57" fmla="*/ 2147483646 h 200"/>
              <a:gd name="T58" fmla="*/ 2147483646 w 230"/>
              <a:gd name="T59" fmla="*/ 2147483646 h 200"/>
              <a:gd name="T60" fmla="*/ 2147483646 w 230"/>
              <a:gd name="T61" fmla="*/ 2147483646 h 200"/>
              <a:gd name="T62" fmla="*/ 2147483646 w 230"/>
              <a:gd name="T63" fmla="*/ 2147483646 h 200"/>
              <a:gd name="T64" fmla="*/ 2147483646 w 230"/>
              <a:gd name="T65" fmla="*/ 2147483646 h 200"/>
              <a:gd name="T66" fmla="*/ 2147483646 w 230"/>
              <a:gd name="T67" fmla="*/ 2147483646 h 200"/>
              <a:gd name="T68" fmla="*/ 2147483646 w 230"/>
              <a:gd name="T69" fmla="*/ 2147483646 h 200"/>
              <a:gd name="T70" fmla="*/ 2147483646 w 230"/>
              <a:gd name="T71" fmla="*/ 2147483646 h 200"/>
              <a:gd name="T72" fmla="*/ 2147483646 w 230"/>
              <a:gd name="T73" fmla="*/ 2147483646 h 200"/>
              <a:gd name="T74" fmla="*/ 2147483646 w 230"/>
              <a:gd name="T75" fmla="*/ 2147483646 h 200"/>
              <a:gd name="T76" fmla="*/ 2147483646 w 230"/>
              <a:gd name="T77" fmla="*/ 2147483646 h 200"/>
              <a:gd name="T78" fmla="*/ 2147483646 w 230"/>
              <a:gd name="T79" fmla="*/ 2147483646 h 20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30"/>
              <a:gd name="T121" fmla="*/ 0 h 200"/>
              <a:gd name="T122" fmla="*/ 230 w 230"/>
              <a:gd name="T123" fmla="*/ 200 h 20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30" h="200">
                <a:moveTo>
                  <a:pt x="55" y="25"/>
                </a:moveTo>
                <a:cubicBezTo>
                  <a:pt x="48" y="32"/>
                  <a:pt x="28" y="44"/>
                  <a:pt x="34" y="52"/>
                </a:cubicBezTo>
                <a:cubicBezTo>
                  <a:pt x="41" y="60"/>
                  <a:pt x="41" y="57"/>
                  <a:pt x="48" y="61"/>
                </a:cubicBezTo>
                <a:cubicBezTo>
                  <a:pt x="55" y="64"/>
                  <a:pt x="37" y="72"/>
                  <a:pt x="33" y="71"/>
                </a:cubicBezTo>
                <a:cubicBezTo>
                  <a:pt x="30" y="70"/>
                  <a:pt x="28" y="56"/>
                  <a:pt x="25" y="67"/>
                </a:cubicBezTo>
                <a:cubicBezTo>
                  <a:pt x="23" y="77"/>
                  <a:pt x="19" y="84"/>
                  <a:pt x="31" y="87"/>
                </a:cubicBezTo>
                <a:cubicBezTo>
                  <a:pt x="43" y="91"/>
                  <a:pt x="51" y="89"/>
                  <a:pt x="62" y="94"/>
                </a:cubicBezTo>
                <a:cubicBezTo>
                  <a:pt x="74" y="100"/>
                  <a:pt x="90" y="100"/>
                  <a:pt x="85" y="108"/>
                </a:cubicBezTo>
                <a:cubicBezTo>
                  <a:pt x="81" y="116"/>
                  <a:pt x="64" y="123"/>
                  <a:pt x="55" y="115"/>
                </a:cubicBezTo>
                <a:cubicBezTo>
                  <a:pt x="46" y="107"/>
                  <a:pt x="39" y="100"/>
                  <a:pt x="33" y="101"/>
                </a:cubicBezTo>
                <a:cubicBezTo>
                  <a:pt x="28" y="102"/>
                  <a:pt x="17" y="97"/>
                  <a:pt x="13" y="102"/>
                </a:cubicBezTo>
                <a:cubicBezTo>
                  <a:pt x="8" y="108"/>
                  <a:pt x="0" y="122"/>
                  <a:pt x="15" y="132"/>
                </a:cubicBezTo>
                <a:cubicBezTo>
                  <a:pt x="30" y="143"/>
                  <a:pt x="44" y="133"/>
                  <a:pt x="44" y="145"/>
                </a:cubicBezTo>
                <a:cubicBezTo>
                  <a:pt x="44" y="157"/>
                  <a:pt x="25" y="163"/>
                  <a:pt x="41" y="167"/>
                </a:cubicBezTo>
                <a:cubicBezTo>
                  <a:pt x="58" y="170"/>
                  <a:pt x="69" y="166"/>
                  <a:pt x="87" y="168"/>
                </a:cubicBezTo>
                <a:cubicBezTo>
                  <a:pt x="106" y="170"/>
                  <a:pt x="105" y="158"/>
                  <a:pt x="119" y="166"/>
                </a:cubicBezTo>
                <a:cubicBezTo>
                  <a:pt x="132" y="174"/>
                  <a:pt x="127" y="158"/>
                  <a:pt x="141" y="168"/>
                </a:cubicBezTo>
                <a:cubicBezTo>
                  <a:pt x="154" y="178"/>
                  <a:pt x="151" y="180"/>
                  <a:pt x="170" y="190"/>
                </a:cubicBezTo>
                <a:cubicBezTo>
                  <a:pt x="190" y="200"/>
                  <a:pt x="198" y="198"/>
                  <a:pt x="203" y="195"/>
                </a:cubicBezTo>
                <a:cubicBezTo>
                  <a:pt x="207" y="191"/>
                  <a:pt x="204" y="174"/>
                  <a:pt x="204" y="174"/>
                </a:cubicBezTo>
                <a:cubicBezTo>
                  <a:pt x="204" y="174"/>
                  <a:pt x="206" y="176"/>
                  <a:pt x="218" y="177"/>
                </a:cubicBezTo>
                <a:cubicBezTo>
                  <a:pt x="229" y="178"/>
                  <a:pt x="230" y="165"/>
                  <a:pt x="225" y="163"/>
                </a:cubicBezTo>
                <a:cubicBezTo>
                  <a:pt x="219" y="162"/>
                  <a:pt x="200" y="152"/>
                  <a:pt x="205" y="148"/>
                </a:cubicBezTo>
                <a:cubicBezTo>
                  <a:pt x="210" y="145"/>
                  <a:pt x="203" y="154"/>
                  <a:pt x="204" y="131"/>
                </a:cubicBezTo>
                <a:cubicBezTo>
                  <a:pt x="205" y="108"/>
                  <a:pt x="200" y="120"/>
                  <a:pt x="210" y="106"/>
                </a:cubicBezTo>
                <a:cubicBezTo>
                  <a:pt x="219" y="92"/>
                  <a:pt x="212" y="102"/>
                  <a:pt x="214" y="80"/>
                </a:cubicBezTo>
                <a:cubicBezTo>
                  <a:pt x="217" y="59"/>
                  <a:pt x="222" y="44"/>
                  <a:pt x="213" y="42"/>
                </a:cubicBezTo>
                <a:cubicBezTo>
                  <a:pt x="204" y="41"/>
                  <a:pt x="197" y="26"/>
                  <a:pt x="192" y="35"/>
                </a:cubicBezTo>
                <a:cubicBezTo>
                  <a:pt x="188" y="45"/>
                  <a:pt x="181" y="56"/>
                  <a:pt x="180" y="70"/>
                </a:cubicBezTo>
                <a:cubicBezTo>
                  <a:pt x="179" y="84"/>
                  <a:pt x="176" y="95"/>
                  <a:pt x="169" y="97"/>
                </a:cubicBezTo>
                <a:cubicBezTo>
                  <a:pt x="162" y="98"/>
                  <a:pt x="157" y="78"/>
                  <a:pt x="165" y="71"/>
                </a:cubicBezTo>
                <a:cubicBezTo>
                  <a:pt x="173" y="64"/>
                  <a:pt x="175" y="41"/>
                  <a:pt x="165" y="48"/>
                </a:cubicBezTo>
                <a:cubicBezTo>
                  <a:pt x="154" y="55"/>
                  <a:pt x="122" y="63"/>
                  <a:pt x="130" y="59"/>
                </a:cubicBezTo>
                <a:cubicBezTo>
                  <a:pt x="138" y="54"/>
                  <a:pt x="144" y="53"/>
                  <a:pt x="142" y="45"/>
                </a:cubicBezTo>
                <a:cubicBezTo>
                  <a:pt x="139" y="37"/>
                  <a:pt x="127" y="32"/>
                  <a:pt x="123" y="34"/>
                </a:cubicBezTo>
                <a:cubicBezTo>
                  <a:pt x="120" y="37"/>
                  <a:pt x="89" y="42"/>
                  <a:pt x="105" y="32"/>
                </a:cubicBezTo>
                <a:cubicBezTo>
                  <a:pt x="121" y="22"/>
                  <a:pt x="135" y="0"/>
                  <a:pt x="121" y="6"/>
                </a:cubicBezTo>
                <a:cubicBezTo>
                  <a:pt x="107" y="11"/>
                  <a:pt x="76" y="8"/>
                  <a:pt x="71" y="12"/>
                </a:cubicBezTo>
                <a:cubicBezTo>
                  <a:pt x="67" y="17"/>
                  <a:pt x="62" y="11"/>
                  <a:pt x="60" y="17"/>
                </a:cubicBezTo>
                <a:cubicBezTo>
                  <a:pt x="58" y="23"/>
                  <a:pt x="55" y="25"/>
                  <a:pt x="55" y="2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Freeform 414"/>
          <p:cNvSpPr>
            <a:spLocks/>
          </p:cNvSpPr>
          <p:nvPr userDrawn="1"/>
        </p:nvSpPr>
        <p:spPr bwMode="auto">
          <a:xfrm>
            <a:off x="3313036" y="2587488"/>
            <a:ext cx="103856" cy="38528"/>
          </a:xfrm>
          <a:custGeom>
            <a:avLst/>
            <a:gdLst>
              <a:gd name="T0" fmla="*/ 2147483646 w 112"/>
              <a:gd name="T1" fmla="*/ 2147483646 h 42"/>
              <a:gd name="T2" fmla="*/ 2147483646 w 112"/>
              <a:gd name="T3" fmla="*/ 2147483646 h 42"/>
              <a:gd name="T4" fmla="*/ 2147483646 w 112"/>
              <a:gd name="T5" fmla="*/ 2147483646 h 42"/>
              <a:gd name="T6" fmla="*/ 2147483646 w 112"/>
              <a:gd name="T7" fmla="*/ 2147483646 h 42"/>
              <a:gd name="T8" fmla="*/ 2147483646 w 112"/>
              <a:gd name="T9" fmla="*/ 2147483646 h 42"/>
              <a:gd name="T10" fmla="*/ 2147483646 w 112"/>
              <a:gd name="T11" fmla="*/ 2147483646 h 42"/>
              <a:gd name="T12" fmla="*/ 2147483646 w 112"/>
              <a:gd name="T13" fmla="*/ 2147483646 h 42"/>
              <a:gd name="T14" fmla="*/ 2147483646 w 112"/>
              <a:gd name="T15" fmla="*/ 2147483646 h 42"/>
              <a:gd name="T16" fmla="*/ 2147483646 w 112"/>
              <a:gd name="T17" fmla="*/ 2147483646 h 42"/>
              <a:gd name="T18" fmla="*/ 2147483646 w 112"/>
              <a:gd name="T19" fmla="*/ 2147483646 h 42"/>
              <a:gd name="T20" fmla="*/ 2147483646 w 112"/>
              <a:gd name="T21" fmla="*/ 2147483646 h 42"/>
              <a:gd name="T22" fmla="*/ 2147483646 w 112"/>
              <a:gd name="T23" fmla="*/ 2147483646 h 42"/>
              <a:gd name="T24" fmla="*/ 2147483646 w 112"/>
              <a:gd name="T25" fmla="*/ 2147483646 h 4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2"/>
              <a:gd name="T40" fmla="*/ 0 h 42"/>
              <a:gd name="T41" fmla="*/ 112 w 112"/>
              <a:gd name="T42" fmla="*/ 42 h 4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2" h="42">
                <a:moveTo>
                  <a:pt x="73" y="1"/>
                </a:moveTo>
                <a:cubicBezTo>
                  <a:pt x="67" y="0"/>
                  <a:pt x="55" y="0"/>
                  <a:pt x="48" y="8"/>
                </a:cubicBezTo>
                <a:cubicBezTo>
                  <a:pt x="41" y="16"/>
                  <a:pt x="36" y="15"/>
                  <a:pt x="30" y="14"/>
                </a:cubicBezTo>
                <a:cubicBezTo>
                  <a:pt x="25" y="13"/>
                  <a:pt x="22" y="12"/>
                  <a:pt x="17" y="15"/>
                </a:cubicBezTo>
                <a:cubicBezTo>
                  <a:pt x="11" y="19"/>
                  <a:pt x="0" y="20"/>
                  <a:pt x="11" y="29"/>
                </a:cubicBezTo>
                <a:cubicBezTo>
                  <a:pt x="21" y="38"/>
                  <a:pt x="29" y="42"/>
                  <a:pt x="37" y="38"/>
                </a:cubicBezTo>
                <a:cubicBezTo>
                  <a:pt x="45" y="35"/>
                  <a:pt x="50" y="12"/>
                  <a:pt x="55" y="25"/>
                </a:cubicBezTo>
                <a:cubicBezTo>
                  <a:pt x="59" y="39"/>
                  <a:pt x="62" y="19"/>
                  <a:pt x="66" y="29"/>
                </a:cubicBezTo>
                <a:cubicBezTo>
                  <a:pt x="71" y="39"/>
                  <a:pt x="75" y="27"/>
                  <a:pt x="80" y="28"/>
                </a:cubicBezTo>
                <a:cubicBezTo>
                  <a:pt x="85" y="29"/>
                  <a:pt x="88" y="29"/>
                  <a:pt x="93" y="30"/>
                </a:cubicBezTo>
                <a:cubicBezTo>
                  <a:pt x="97" y="31"/>
                  <a:pt x="101" y="21"/>
                  <a:pt x="104" y="19"/>
                </a:cubicBezTo>
                <a:cubicBezTo>
                  <a:pt x="108" y="16"/>
                  <a:pt x="112" y="9"/>
                  <a:pt x="108" y="9"/>
                </a:cubicBezTo>
                <a:cubicBezTo>
                  <a:pt x="103" y="9"/>
                  <a:pt x="73" y="1"/>
                  <a:pt x="7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Freeform 415"/>
          <p:cNvSpPr>
            <a:spLocks/>
          </p:cNvSpPr>
          <p:nvPr userDrawn="1"/>
        </p:nvSpPr>
        <p:spPr bwMode="auto">
          <a:xfrm>
            <a:off x="3349888" y="2631040"/>
            <a:ext cx="115581" cy="61979"/>
          </a:xfrm>
          <a:custGeom>
            <a:avLst/>
            <a:gdLst>
              <a:gd name="T0" fmla="*/ 2147483646 w 124"/>
              <a:gd name="T1" fmla="*/ 2147483646 h 67"/>
              <a:gd name="T2" fmla="*/ 2147483646 w 124"/>
              <a:gd name="T3" fmla="*/ 2147483646 h 67"/>
              <a:gd name="T4" fmla="*/ 0 w 124"/>
              <a:gd name="T5" fmla="*/ 2147483646 h 67"/>
              <a:gd name="T6" fmla="*/ 2147483646 w 124"/>
              <a:gd name="T7" fmla="*/ 2147483646 h 67"/>
              <a:gd name="T8" fmla="*/ 2147483646 w 124"/>
              <a:gd name="T9" fmla="*/ 2147483646 h 67"/>
              <a:gd name="T10" fmla="*/ 2147483646 w 124"/>
              <a:gd name="T11" fmla="*/ 2147483646 h 67"/>
              <a:gd name="T12" fmla="*/ 2147483646 w 124"/>
              <a:gd name="T13" fmla="*/ 2147483646 h 67"/>
              <a:gd name="T14" fmla="*/ 2147483646 w 124"/>
              <a:gd name="T15" fmla="*/ 2147483646 h 67"/>
              <a:gd name="T16" fmla="*/ 2147483646 w 124"/>
              <a:gd name="T17" fmla="*/ 2147483646 h 67"/>
              <a:gd name="T18" fmla="*/ 2147483646 w 124"/>
              <a:gd name="T19" fmla="*/ 2147483646 h 67"/>
              <a:gd name="T20" fmla="*/ 2147483646 w 124"/>
              <a:gd name="T21" fmla="*/ 2147483646 h 67"/>
              <a:gd name="T22" fmla="*/ 2147483646 w 124"/>
              <a:gd name="T23" fmla="*/ 2147483646 h 67"/>
              <a:gd name="T24" fmla="*/ 2147483646 w 124"/>
              <a:gd name="T25" fmla="*/ 2147483646 h 67"/>
              <a:gd name="T26" fmla="*/ 2147483646 w 124"/>
              <a:gd name="T27" fmla="*/ 2147483646 h 67"/>
              <a:gd name="T28" fmla="*/ 2147483646 w 124"/>
              <a:gd name="T29" fmla="*/ 2147483646 h 67"/>
              <a:gd name="T30" fmla="*/ 2147483646 w 124"/>
              <a:gd name="T31" fmla="*/ 2147483646 h 67"/>
              <a:gd name="T32" fmla="*/ 2147483646 w 124"/>
              <a:gd name="T33" fmla="*/ 2147483646 h 67"/>
              <a:gd name="T34" fmla="*/ 2147483646 w 124"/>
              <a:gd name="T35" fmla="*/ 2147483646 h 67"/>
              <a:gd name="T36" fmla="*/ 2147483646 w 124"/>
              <a:gd name="T37" fmla="*/ 2147483646 h 6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24"/>
              <a:gd name="T58" fmla="*/ 0 h 67"/>
              <a:gd name="T59" fmla="*/ 124 w 124"/>
              <a:gd name="T60" fmla="*/ 67 h 6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24" h="67">
                <a:moveTo>
                  <a:pt x="34" y="3"/>
                </a:moveTo>
                <a:cubicBezTo>
                  <a:pt x="30" y="3"/>
                  <a:pt x="15" y="5"/>
                  <a:pt x="17" y="12"/>
                </a:cubicBezTo>
                <a:cubicBezTo>
                  <a:pt x="19" y="19"/>
                  <a:pt x="0" y="28"/>
                  <a:pt x="0" y="28"/>
                </a:cubicBezTo>
                <a:cubicBezTo>
                  <a:pt x="9" y="38"/>
                  <a:pt x="11" y="30"/>
                  <a:pt x="19" y="37"/>
                </a:cubicBezTo>
                <a:cubicBezTo>
                  <a:pt x="27" y="44"/>
                  <a:pt x="19" y="47"/>
                  <a:pt x="24" y="47"/>
                </a:cubicBezTo>
                <a:cubicBezTo>
                  <a:pt x="28" y="47"/>
                  <a:pt x="33" y="28"/>
                  <a:pt x="39" y="38"/>
                </a:cubicBezTo>
                <a:cubicBezTo>
                  <a:pt x="45" y="49"/>
                  <a:pt x="12" y="49"/>
                  <a:pt x="13" y="53"/>
                </a:cubicBezTo>
                <a:cubicBezTo>
                  <a:pt x="15" y="58"/>
                  <a:pt x="56" y="58"/>
                  <a:pt x="64" y="61"/>
                </a:cubicBezTo>
                <a:cubicBezTo>
                  <a:pt x="72" y="65"/>
                  <a:pt x="98" y="62"/>
                  <a:pt x="102" y="65"/>
                </a:cubicBezTo>
                <a:cubicBezTo>
                  <a:pt x="107" y="67"/>
                  <a:pt x="111" y="53"/>
                  <a:pt x="115" y="50"/>
                </a:cubicBezTo>
                <a:cubicBezTo>
                  <a:pt x="118" y="46"/>
                  <a:pt x="113" y="43"/>
                  <a:pt x="110" y="34"/>
                </a:cubicBezTo>
                <a:cubicBezTo>
                  <a:pt x="108" y="24"/>
                  <a:pt x="111" y="26"/>
                  <a:pt x="115" y="21"/>
                </a:cubicBezTo>
                <a:cubicBezTo>
                  <a:pt x="118" y="16"/>
                  <a:pt x="124" y="0"/>
                  <a:pt x="115" y="5"/>
                </a:cubicBezTo>
                <a:cubicBezTo>
                  <a:pt x="106" y="9"/>
                  <a:pt x="92" y="4"/>
                  <a:pt x="91" y="14"/>
                </a:cubicBezTo>
                <a:cubicBezTo>
                  <a:pt x="90" y="24"/>
                  <a:pt x="85" y="33"/>
                  <a:pt x="82" y="31"/>
                </a:cubicBezTo>
                <a:cubicBezTo>
                  <a:pt x="78" y="30"/>
                  <a:pt x="76" y="22"/>
                  <a:pt x="71" y="22"/>
                </a:cubicBezTo>
                <a:cubicBezTo>
                  <a:pt x="67" y="22"/>
                  <a:pt x="61" y="23"/>
                  <a:pt x="58" y="19"/>
                </a:cubicBezTo>
                <a:cubicBezTo>
                  <a:pt x="56" y="14"/>
                  <a:pt x="58" y="1"/>
                  <a:pt x="52" y="1"/>
                </a:cubicBezTo>
                <a:cubicBezTo>
                  <a:pt x="45" y="1"/>
                  <a:pt x="34" y="3"/>
                  <a:pt x="34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Freeform 416"/>
          <p:cNvSpPr>
            <a:spLocks/>
          </p:cNvSpPr>
          <p:nvPr userDrawn="1"/>
        </p:nvSpPr>
        <p:spPr bwMode="auto">
          <a:xfrm>
            <a:off x="3438669" y="2746623"/>
            <a:ext cx="87105" cy="80404"/>
          </a:xfrm>
          <a:custGeom>
            <a:avLst/>
            <a:gdLst>
              <a:gd name="T0" fmla="*/ 2147483646 w 94"/>
              <a:gd name="T1" fmla="*/ 2147483646 h 86"/>
              <a:gd name="T2" fmla="*/ 2147483646 w 94"/>
              <a:gd name="T3" fmla="*/ 2147483646 h 86"/>
              <a:gd name="T4" fmla="*/ 2147483646 w 94"/>
              <a:gd name="T5" fmla="*/ 2147483646 h 86"/>
              <a:gd name="T6" fmla="*/ 2147483646 w 94"/>
              <a:gd name="T7" fmla="*/ 2147483646 h 86"/>
              <a:gd name="T8" fmla="*/ 2147483646 w 94"/>
              <a:gd name="T9" fmla="*/ 2147483646 h 86"/>
              <a:gd name="T10" fmla="*/ 2147483646 w 94"/>
              <a:gd name="T11" fmla="*/ 2147483646 h 86"/>
              <a:gd name="T12" fmla="*/ 2147483646 w 94"/>
              <a:gd name="T13" fmla="*/ 2147483646 h 86"/>
              <a:gd name="T14" fmla="*/ 2147483646 w 94"/>
              <a:gd name="T15" fmla="*/ 2147483646 h 86"/>
              <a:gd name="T16" fmla="*/ 2147483646 w 94"/>
              <a:gd name="T17" fmla="*/ 2147483646 h 86"/>
              <a:gd name="T18" fmla="*/ 2147483646 w 94"/>
              <a:gd name="T19" fmla="*/ 2147483646 h 86"/>
              <a:gd name="T20" fmla="*/ 2147483646 w 94"/>
              <a:gd name="T21" fmla="*/ 2147483646 h 86"/>
              <a:gd name="T22" fmla="*/ 2147483646 w 94"/>
              <a:gd name="T23" fmla="*/ 2147483646 h 86"/>
              <a:gd name="T24" fmla="*/ 2147483646 w 94"/>
              <a:gd name="T25" fmla="*/ 2147483646 h 86"/>
              <a:gd name="T26" fmla="*/ 2147483646 w 94"/>
              <a:gd name="T27" fmla="*/ 2147483646 h 86"/>
              <a:gd name="T28" fmla="*/ 2147483646 w 94"/>
              <a:gd name="T29" fmla="*/ 2147483646 h 86"/>
              <a:gd name="T30" fmla="*/ 2147483646 w 94"/>
              <a:gd name="T31" fmla="*/ 2147483646 h 86"/>
              <a:gd name="T32" fmla="*/ 2147483646 w 94"/>
              <a:gd name="T33" fmla="*/ 2147483646 h 8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4"/>
              <a:gd name="T52" fmla="*/ 0 h 86"/>
              <a:gd name="T53" fmla="*/ 94 w 94"/>
              <a:gd name="T54" fmla="*/ 86 h 8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4" h="86">
                <a:moveTo>
                  <a:pt x="47" y="4"/>
                </a:moveTo>
                <a:cubicBezTo>
                  <a:pt x="42" y="2"/>
                  <a:pt x="35" y="18"/>
                  <a:pt x="39" y="20"/>
                </a:cubicBezTo>
                <a:cubicBezTo>
                  <a:pt x="44" y="23"/>
                  <a:pt x="53" y="26"/>
                  <a:pt x="45" y="28"/>
                </a:cubicBezTo>
                <a:cubicBezTo>
                  <a:pt x="37" y="31"/>
                  <a:pt x="27" y="32"/>
                  <a:pt x="27" y="32"/>
                </a:cubicBezTo>
                <a:cubicBezTo>
                  <a:pt x="27" y="32"/>
                  <a:pt x="24" y="17"/>
                  <a:pt x="20" y="18"/>
                </a:cubicBezTo>
                <a:cubicBezTo>
                  <a:pt x="15" y="19"/>
                  <a:pt x="0" y="49"/>
                  <a:pt x="12" y="54"/>
                </a:cubicBezTo>
                <a:cubicBezTo>
                  <a:pt x="23" y="58"/>
                  <a:pt x="31" y="47"/>
                  <a:pt x="34" y="58"/>
                </a:cubicBezTo>
                <a:cubicBezTo>
                  <a:pt x="36" y="70"/>
                  <a:pt x="24" y="80"/>
                  <a:pt x="32" y="83"/>
                </a:cubicBezTo>
                <a:cubicBezTo>
                  <a:pt x="41" y="85"/>
                  <a:pt x="49" y="86"/>
                  <a:pt x="53" y="78"/>
                </a:cubicBezTo>
                <a:cubicBezTo>
                  <a:pt x="58" y="70"/>
                  <a:pt x="54" y="58"/>
                  <a:pt x="64" y="64"/>
                </a:cubicBezTo>
                <a:cubicBezTo>
                  <a:pt x="73" y="70"/>
                  <a:pt x="77" y="59"/>
                  <a:pt x="79" y="53"/>
                </a:cubicBezTo>
                <a:cubicBezTo>
                  <a:pt x="80" y="46"/>
                  <a:pt x="79" y="38"/>
                  <a:pt x="79" y="38"/>
                </a:cubicBezTo>
                <a:cubicBezTo>
                  <a:pt x="79" y="38"/>
                  <a:pt x="75" y="21"/>
                  <a:pt x="81" y="20"/>
                </a:cubicBezTo>
                <a:cubicBezTo>
                  <a:pt x="87" y="19"/>
                  <a:pt x="91" y="11"/>
                  <a:pt x="91" y="11"/>
                </a:cubicBezTo>
                <a:cubicBezTo>
                  <a:pt x="91" y="11"/>
                  <a:pt x="94" y="0"/>
                  <a:pt x="88" y="3"/>
                </a:cubicBezTo>
                <a:cubicBezTo>
                  <a:pt x="82" y="6"/>
                  <a:pt x="51" y="3"/>
                  <a:pt x="51" y="3"/>
                </a:cubicBezTo>
                <a:lnTo>
                  <a:pt x="47" y="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Freeform 417"/>
          <p:cNvSpPr>
            <a:spLocks/>
          </p:cNvSpPr>
          <p:nvPr userDrawn="1"/>
        </p:nvSpPr>
        <p:spPr bwMode="auto">
          <a:xfrm>
            <a:off x="3586077" y="2770073"/>
            <a:ext cx="403697" cy="378571"/>
          </a:xfrm>
          <a:custGeom>
            <a:avLst/>
            <a:gdLst>
              <a:gd name="T0" fmla="*/ 2147483646 w 433"/>
              <a:gd name="T1" fmla="*/ 2147483646 h 406"/>
              <a:gd name="T2" fmla="*/ 2147483646 w 433"/>
              <a:gd name="T3" fmla="*/ 2147483646 h 406"/>
              <a:gd name="T4" fmla="*/ 2147483646 w 433"/>
              <a:gd name="T5" fmla="*/ 2147483646 h 406"/>
              <a:gd name="T6" fmla="*/ 2147483646 w 433"/>
              <a:gd name="T7" fmla="*/ 2147483646 h 406"/>
              <a:gd name="T8" fmla="*/ 2147483646 w 433"/>
              <a:gd name="T9" fmla="*/ 2147483646 h 406"/>
              <a:gd name="T10" fmla="*/ 2147483646 w 433"/>
              <a:gd name="T11" fmla="*/ 2147483646 h 406"/>
              <a:gd name="T12" fmla="*/ 2147483646 w 433"/>
              <a:gd name="T13" fmla="*/ 2147483646 h 406"/>
              <a:gd name="T14" fmla="*/ 2147483646 w 433"/>
              <a:gd name="T15" fmla="*/ 2147483646 h 406"/>
              <a:gd name="T16" fmla="*/ 2147483646 w 433"/>
              <a:gd name="T17" fmla="*/ 2147483646 h 406"/>
              <a:gd name="T18" fmla="*/ 2147483646 w 433"/>
              <a:gd name="T19" fmla="*/ 2147483646 h 406"/>
              <a:gd name="T20" fmla="*/ 2147483646 w 433"/>
              <a:gd name="T21" fmla="*/ 2147483646 h 406"/>
              <a:gd name="T22" fmla="*/ 2147483646 w 433"/>
              <a:gd name="T23" fmla="*/ 2147483646 h 406"/>
              <a:gd name="T24" fmla="*/ 2147483646 w 433"/>
              <a:gd name="T25" fmla="*/ 2147483646 h 406"/>
              <a:gd name="T26" fmla="*/ 2147483646 w 433"/>
              <a:gd name="T27" fmla="*/ 2147483646 h 406"/>
              <a:gd name="T28" fmla="*/ 2147483646 w 433"/>
              <a:gd name="T29" fmla="*/ 2147483646 h 406"/>
              <a:gd name="T30" fmla="*/ 2147483646 w 433"/>
              <a:gd name="T31" fmla="*/ 2147483646 h 406"/>
              <a:gd name="T32" fmla="*/ 2147483646 w 433"/>
              <a:gd name="T33" fmla="*/ 2147483646 h 406"/>
              <a:gd name="T34" fmla="*/ 2147483646 w 433"/>
              <a:gd name="T35" fmla="*/ 2147483646 h 406"/>
              <a:gd name="T36" fmla="*/ 2147483646 w 433"/>
              <a:gd name="T37" fmla="*/ 2147483646 h 406"/>
              <a:gd name="T38" fmla="*/ 2147483646 w 433"/>
              <a:gd name="T39" fmla="*/ 2147483646 h 406"/>
              <a:gd name="T40" fmla="*/ 2147483646 w 433"/>
              <a:gd name="T41" fmla="*/ 2147483646 h 406"/>
              <a:gd name="T42" fmla="*/ 2147483646 w 433"/>
              <a:gd name="T43" fmla="*/ 2147483646 h 406"/>
              <a:gd name="T44" fmla="*/ 2147483646 w 433"/>
              <a:gd name="T45" fmla="*/ 2147483646 h 406"/>
              <a:gd name="T46" fmla="*/ 2147483646 w 433"/>
              <a:gd name="T47" fmla="*/ 2147483646 h 406"/>
              <a:gd name="T48" fmla="*/ 2147483646 w 433"/>
              <a:gd name="T49" fmla="*/ 2147483646 h 406"/>
              <a:gd name="T50" fmla="*/ 2147483646 w 433"/>
              <a:gd name="T51" fmla="*/ 2147483646 h 406"/>
              <a:gd name="T52" fmla="*/ 2147483646 w 433"/>
              <a:gd name="T53" fmla="*/ 2147483646 h 406"/>
              <a:gd name="T54" fmla="*/ 2147483646 w 433"/>
              <a:gd name="T55" fmla="*/ 2147483646 h 406"/>
              <a:gd name="T56" fmla="*/ 2147483646 w 433"/>
              <a:gd name="T57" fmla="*/ 2147483646 h 406"/>
              <a:gd name="T58" fmla="*/ 2147483646 w 433"/>
              <a:gd name="T59" fmla="*/ 2147483646 h 406"/>
              <a:gd name="T60" fmla="*/ 2147483646 w 433"/>
              <a:gd name="T61" fmla="*/ 2147483646 h 406"/>
              <a:gd name="T62" fmla="*/ 2147483646 w 433"/>
              <a:gd name="T63" fmla="*/ 2147483646 h 406"/>
              <a:gd name="T64" fmla="*/ 2147483646 w 433"/>
              <a:gd name="T65" fmla="*/ 2147483646 h 406"/>
              <a:gd name="T66" fmla="*/ 2147483646 w 433"/>
              <a:gd name="T67" fmla="*/ 2147483646 h 406"/>
              <a:gd name="T68" fmla="*/ 2147483646 w 433"/>
              <a:gd name="T69" fmla="*/ 2147483646 h 406"/>
              <a:gd name="T70" fmla="*/ 2147483646 w 433"/>
              <a:gd name="T71" fmla="*/ 2147483646 h 406"/>
              <a:gd name="T72" fmla="*/ 2147483646 w 433"/>
              <a:gd name="T73" fmla="*/ 2147483646 h 406"/>
              <a:gd name="T74" fmla="*/ 2147483646 w 433"/>
              <a:gd name="T75" fmla="*/ 2147483646 h 406"/>
              <a:gd name="T76" fmla="*/ 2147483646 w 433"/>
              <a:gd name="T77" fmla="*/ 2147483646 h 406"/>
              <a:gd name="T78" fmla="*/ 2147483646 w 433"/>
              <a:gd name="T79" fmla="*/ 2147483646 h 406"/>
              <a:gd name="T80" fmla="*/ 2147483646 w 433"/>
              <a:gd name="T81" fmla="*/ 2147483646 h 406"/>
              <a:gd name="T82" fmla="*/ 2147483646 w 433"/>
              <a:gd name="T83" fmla="*/ 2147483646 h 406"/>
              <a:gd name="T84" fmla="*/ 2147483646 w 433"/>
              <a:gd name="T85" fmla="*/ 2147483646 h 406"/>
              <a:gd name="T86" fmla="*/ 2147483646 w 433"/>
              <a:gd name="T87" fmla="*/ 2147483646 h 406"/>
              <a:gd name="T88" fmla="*/ 2147483646 w 433"/>
              <a:gd name="T89" fmla="*/ 2147483646 h 406"/>
              <a:gd name="T90" fmla="*/ 2147483646 w 433"/>
              <a:gd name="T91" fmla="*/ 2147483646 h 406"/>
              <a:gd name="T92" fmla="*/ 2147483646 w 433"/>
              <a:gd name="T93" fmla="*/ 2147483646 h 406"/>
              <a:gd name="T94" fmla="*/ 2147483646 w 433"/>
              <a:gd name="T95" fmla="*/ 2147483646 h 406"/>
              <a:gd name="T96" fmla="*/ 2147483646 w 433"/>
              <a:gd name="T97" fmla="*/ 2147483646 h 406"/>
              <a:gd name="T98" fmla="*/ 2147483646 w 433"/>
              <a:gd name="T99" fmla="*/ 0 h 40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33"/>
              <a:gd name="T151" fmla="*/ 0 h 406"/>
              <a:gd name="T152" fmla="*/ 433 w 433"/>
              <a:gd name="T153" fmla="*/ 406 h 40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33" h="406">
                <a:moveTo>
                  <a:pt x="54" y="0"/>
                </a:moveTo>
                <a:cubicBezTo>
                  <a:pt x="43" y="1"/>
                  <a:pt x="35" y="12"/>
                  <a:pt x="27" y="24"/>
                </a:cubicBezTo>
                <a:cubicBezTo>
                  <a:pt x="19" y="37"/>
                  <a:pt x="7" y="42"/>
                  <a:pt x="7" y="54"/>
                </a:cubicBezTo>
                <a:cubicBezTo>
                  <a:pt x="7" y="67"/>
                  <a:pt x="0" y="70"/>
                  <a:pt x="5" y="76"/>
                </a:cubicBezTo>
                <a:cubicBezTo>
                  <a:pt x="9" y="82"/>
                  <a:pt x="17" y="65"/>
                  <a:pt x="28" y="74"/>
                </a:cubicBezTo>
                <a:cubicBezTo>
                  <a:pt x="38" y="83"/>
                  <a:pt x="42" y="85"/>
                  <a:pt x="31" y="89"/>
                </a:cubicBezTo>
                <a:cubicBezTo>
                  <a:pt x="21" y="92"/>
                  <a:pt x="8" y="98"/>
                  <a:pt x="8" y="98"/>
                </a:cubicBezTo>
                <a:cubicBezTo>
                  <a:pt x="8" y="98"/>
                  <a:pt x="5" y="102"/>
                  <a:pt x="21" y="106"/>
                </a:cubicBezTo>
                <a:cubicBezTo>
                  <a:pt x="37" y="111"/>
                  <a:pt x="43" y="92"/>
                  <a:pt x="46" y="103"/>
                </a:cubicBezTo>
                <a:cubicBezTo>
                  <a:pt x="50" y="113"/>
                  <a:pt x="44" y="116"/>
                  <a:pt x="55" y="116"/>
                </a:cubicBezTo>
                <a:cubicBezTo>
                  <a:pt x="67" y="116"/>
                  <a:pt x="67" y="108"/>
                  <a:pt x="77" y="116"/>
                </a:cubicBezTo>
                <a:cubicBezTo>
                  <a:pt x="88" y="125"/>
                  <a:pt x="97" y="121"/>
                  <a:pt x="112" y="125"/>
                </a:cubicBezTo>
                <a:cubicBezTo>
                  <a:pt x="127" y="128"/>
                  <a:pt x="138" y="119"/>
                  <a:pt x="138" y="119"/>
                </a:cubicBezTo>
                <a:cubicBezTo>
                  <a:pt x="138" y="119"/>
                  <a:pt x="138" y="96"/>
                  <a:pt x="149" y="111"/>
                </a:cubicBezTo>
                <a:cubicBezTo>
                  <a:pt x="159" y="126"/>
                  <a:pt x="153" y="128"/>
                  <a:pt x="165" y="133"/>
                </a:cubicBezTo>
                <a:cubicBezTo>
                  <a:pt x="176" y="137"/>
                  <a:pt x="195" y="149"/>
                  <a:pt x="208" y="163"/>
                </a:cubicBezTo>
                <a:cubicBezTo>
                  <a:pt x="220" y="176"/>
                  <a:pt x="218" y="171"/>
                  <a:pt x="220" y="176"/>
                </a:cubicBezTo>
                <a:cubicBezTo>
                  <a:pt x="223" y="182"/>
                  <a:pt x="206" y="193"/>
                  <a:pt x="216" y="190"/>
                </a:cubicBezTo>
                <a:cubicBezTo>
                  <a:pt x="225" y="188"/>
                  <a:pt x="227" y="185"/>
                  <a:pt x="232" y="188"/>
                </a:cubicBezTo>
                <a:cubicBezTo>
                  <a:pt x="236" y="191"/>
                  <a:pt x="241" y="194"/>
                  <a:pt x="240" y="199"/>
                </a:cubicBezTo>
                <a:cubicBezTo>
                  <a:pt x="239" y="205"/>
                  <a:pt x="229" y="218"/>
                  <a:pt x="240" y="212"/>
                </a:cubicBezTo>
                <a:cubicBezTo>
                  <a:pt x="250" y="206"/>
                  <a:pt x="255" y="190"/>
                  <a:pt x="255" y="204"/>
                </a:cubicBezTo>
                <a:cubicBezTo>
                  <a:pt x="255" y="218"/>
                  <a:pt x="249" y="220"/>
                  <a:pt x="254" y="224"/>
                </a:cubicBezTo>
                <a:cubicBezTo>
                  <a:pt x="258" y="227"/>
                  <a:pt x="269" y="232"/>
                  <a:pt x="261" y="235"/>
                </a:cubicBezTo>
                <a:cubicBezTo>
                  <a:pt x="253" y="239"/>
                  <a:pt x="256" y="242"/>
                  <a:pt x="251" y="244"/>
                </a:cubicBezTo>
                <a:cubicBezTo>
                  <a:pt x="247" y="247"/>
                  <a:pt x="242" y="241"/>
                  <a:pt x="238" y="251"/>
                </a:cubicBezTo>
                <a:cubicBezTo>
                  <a:pt x="233" y="262"/>
                  <a:pt x="233" y="265"/>
                  <a:pt x="236" y="272"/>
                </a:cubicBezTo>
                <a:cubicBezTo>
                  <a:pt x="240" y="279"/>
                  <a:pt x="210" y="292"/>
                  <a:pt x="201" y="288"/>
                </a:cubicBezTo>
                <a:cubicBezTo>
                  <a:pt x="191" y="285"/>
                  <a:pt x="182" y="274"/>
                  <a:pt x="178" y="278"/>
                </a:cubicBezTo>
                <a:cubicBezTo>
                  <a:pt x="173" y="281"/>
                  <a:pt x="155" y="302"/>
                  <a:pt x="160" y="314"/>
                </a:cubicBezTo>
                <a:cubicBezTo>
                  <a:pt x="166" y="325"/>
                  <a:pt x="171" y="340"/>
                  <a:pt x="188" y="339"/>
                </a:cubicBezTo>
                <a:cubicBezTo>
                  <a:pt x="205" y="338"/>
                  <a:pt x="206" y="318"/>
                  <a:pt x="212" y="322"/>
                </a:cubicBezTo>
                <a:cubicBezTo>
                  <a:pt x="218" y="325"/>
                  <a:pt x="234" y="310"/>
                  <a:pt x="240" y="314"/>
                </a:cubicBezTo>
                <a:cubicBezTo>
                  <a:pt x="246" y="317"/>
                  <a:pt x="256" y="304"/>
                  <a:pt x="263" y="325"/>
                </a:cubicBezTo>
                <a:cubicBezTo>
                  <a:pt x="270" y="346"/>
                  <a:pt x="280" y="350"/>
                  <a:pt x="288" y="355"/>
                </a:cubicBezTo>
                <a:cubicBezTo>
                  <a:pt x="296" y="360"/>
                  <a:pt x="310" y="339"/>
                  <a:pt x="304" y="359"/>
                </a:cubicBezTo>
                <a:cubicBezTo>
                  <a:pt x="299" y="378"/>
                  <a:pt x="329" y="372"/>
                  <a:pt x="339" y="383"/>
                </a:cubicBezTo>
                <a:cubicBezTo>
                  <a:pt x="349" y="393"/>
                  <a:pt x="348" y="371"/>
                  <a:pt x="361" y="389"/>
                </a:cubicBezTo>
                <a:cubicBezTo>
                  <a:pt x="374" y="406"/>
                  <a:pt x="379" y="391"/>
                  <a:pt x="386" y="397"/>
                </a:cubicBezTo>
                <a:cubicBezTo>
                  <a:pt x="393" y="402"/>
                  <a:pt x="401" y="389"/>
                  <a:pt x="404" y="393"/>
                </a:cubicBezTo>
                <a:cubicBezTo>
                  <a:pt x="406" y="398"/>
                  <a:pt x="348" y="356"/>
                  <a:pt x="344" y="354"/>
                </a:cubicBezTo>
                <a:cubicBezTo>
                  <a:pt x="339" y="352"/>
                  <a:pt x="330" y="340"/>
                  <a:pt x="339" y="340"/>
                </a:cubicBezTo>
                <a:cubicBezTo>
                  <a:pt x="348" y="340"/>
                  <a:pt x="359" y="336"/>
                  <a:pt x="367" y="349"/>
                </a:cubicBezTo>
                <a:cubicBezTo>
                  <a:pt x="375" y="363"/>
                  <a:pt x="377" y="352"/>
                  <a:pt x="385" y="359"/>
                </a:cubicBezTo>
                <a:cubicBezTo>
                  <a:pt x="393" y="365"/>
                  <a:pt x="399" y="354"/>
                  <a:pt x="405" y="361"/>
                </a:cubicBezTo>
                <a:cubicBezTo>
                  <a:pt x="410" y="368"/>
                  <a:pt x="414" y="357"/>
                  <a:pt x="415" y="354"/>
                </a:cubicBezTo>
                <a:cubicBezTo>
                  <a:pt x="416" y="350"/>
                  <a:pt x="413" y="330"/>
                  <a:pt x="413" y="330"/>
                </a:cubicBezTo>
                <a:cubicBezTo>
                  <a:pt x="413" y="330"/>
                  <a:pt x="406" y="302"/>
                  <a:pt x="398" y="310"/>
                </a:cubicBezTo>
                <a:cubicBezTo>
                  <a:pt x="390" y="318"/>
                  <a:pt x="389" y="289"/>
                  <a:pt x="376" y="293"/>
                </a:cubicBezTo>
                <a:cubicBezTo>
                  <a:pt x="363" y="296"/>
                  <a:pt x="368" y="281"/>
                  <a:pt x="352" y="276"/>
                </a:cubicBezTo>
                <a:cubicBezTo>
                  <a:pt x="336" y="270"/>
                  <a:pt x="325" y="246"/>
                  <a:pt x="322" y="249"/>
                </a:cubicBezTo>
                <a:cubicBezTo>
                  <a:pt x="318" y="253"/>
                  <a:pt x="314" y="233"/>
                  <a:pt x="309" y="244"/>
                </a:cubicBezTo>
                <a:cubicBezTo>
                  <a:pt x="304" y="256"/>
                  <a:pt x="334" y="228"/>
                  <a:pt x="339" y="235"/>
                </a:cubicBezTo>
                <a:cubicBezTo>
                  <a:pt x="344" y="242"/>
                  <a:pt x="354" y="248"/>
                  <a:pt x="359" y="253"/>
                </a:cubicBezTo>
                <a:cubicBezTo>
                  <a:pt x="363" y="257"/>
                  <a:pt x="370" y="243"/>
                  <a:pt x="382" y="258"/>
                </a:cubicBezTo>
                <a:cubicBezTo>
                  <a:pt x="393" y="273"/>
                  <a:pt x="401" y="267"/>
                  <a:pt x="412" y="279"/>
                </a:cubicBezTo>
                <a:cubicBezTo>
                  <a:pt x="422" y="291"/>
                  <a:pt x="428" y="279"/>
                  <a:pt x="428" y="267"/>
                </a:cubicBezTo>
                <a:cubicBezTo>
                  <a:pt x="428" y="256"/>
                  <a:pt x="433" y="228"/>
                  <a:pt x="430" y="234"/>
                </a:cubicBezTo>
                <a:cubicBezTo>
                  <a:pt x="427" y="240"/>
                  <a:pt x="421" y="204"/>
                  <a:pt x="409" y="217"/>
                </a:cubicBezTo>
                <a:cubicBezTo>
                  <a:pt x="398" y="229"/>
                  <a:pt x="391" y="196"/>
                  <a:pt x="378" y="199"/>
                </a:cubicBezTo>
                <a:cubicBezTo>
                  <a:pt x="365" y="203"/>
                  <a:pt x="362" y="187"/>
                  <a:pt x="355" y="183"/>
                </a:cubicBezTo>
                <a:cubicBezTo>
                  <a:pt x="348" y="180"/>
                  <a:pt x="340" y="161"/>
                  <a:pt x="336" y="164"/>
                </a:cubicBezTo>
                <a:cubicBezTo>
                  <a:pt x="331" y="166"/>
                  <a:pt x="323" y="143"/>
                  <a:pt x="318" y="143"/>
                </a:cubicBezTo>
                <a:cubicBezTo>
                  <a:pt x="314" y="143"/>
                  <a:pt x="333" y="156"/>
                  <a:pt x="333" y="149"/>
                </a:cubicBezTo>
                <a:cubicBezTo>
                  <a:pt x="333" y="142"/>
                  <a:pt x="326" y="122"/>
                  <a:pt x="319" y="127"/>
                </a:cubicBezTo>
                <a:cubicBezTo>
                  <a:pt x="312" y="131"/>
                  <a:pt x="302" y="135"/>
                  <a:pt x="301" y="140"/>
                </a:cubicBezTo>
                <a:cubicBezTo>
                  <a:pt x="300" y="144"/>
                  <a:pt x="297" y="143"/>
                  <a:pt x="294" y="140"/>
                </a:cubicBezTo>
                <a:cubicBezTo>
                  <a:pt x="291" y="136"/>
                  <a:pt x="291" y="111"/>
                  <a:pt x="299" y="114"/>
                </a:cubicBezTo>
                <a:cubicBezTo>
                  <a:pt x="307" y="118"/>
                  <a:pt x="289" y="108"/>
                  <a:pt x="289" y="108"/>
                </a:cubicBezTo>
                <a:cubicBezTo>
                  <a:pt x="289" y="108"/>
                  <a:pt x="284" y="118"/>
                  <a:pt x="279" y="125"/>
                </a:cubicBezTo>
                <a:cubicBezTo>
                  <a:pt x="274" y="131"/>
                  <a:pt x="278" y="91"/>
                  <a:pt x="281" y="91"/>
                </a:cubicBezTo>
                <a:cubicBezTo>
                  <a:pt x="285" y="91"/>
                  <a:pt x="259" y="87"/>
                  <a:pt x="257" y="99"/>
                </a:cubicBezTo>
                <a:cubicBezTo>
                  <a:pt x="255" y="112"/>
                  <a:pt x="246" y="89"/>
                  <a:pt x="247" y="85"/>
                </a:cubicBezTo>
                <a:cubicBezTo>
                  <a:pt x="248" y="82"/>
                  <a:pt x="236" y="74"/>
                  <a:pt x="236" y="74"/>
                </a:cubicBezTo>
                <a:cubicBezTo>
                  <a:pt x="236" y="74"/>
                  <a:pt x="229" y="88"/>
                  <a:pt x="232" y="92"/>
                </a:cubicBezTo>
                <a:cubicBezTo>
                  <a:pt x="234" y="97"/>
                  <a:pt x="219" y="90"/>
                  <a:pt x="217" y="87"/>
                </a:cubicBezTo>
                <a:cubicBezTo>
                  <a:pt x="214" y="83"/>
                  <a:pt x="211" y="74"/>
                  <a:pt x="213" y="68"/>
                </a:cubicBezTo>
                <a:cubicBezTo>
                  <a:pt x="216" y="62"/>
                  <a:pt x="208" y="52"/>
                  <a:pt x="203" y="53"/>
                </a:cubicBezTo>
                <a:cubicBezTo>
                  <a:pt x="198" y="54"/>
                  <a:pt x="183" y="48"/>
                  <a:pt x="187" y="59"/>
                </a:cubicBezTo>
                <a:cubicBezTo>
                  <a:pt x="190" y="69"/>
                  <a:pt x="197" y="88"/>
                  <a:pt x="187" y="78"/>
                </a:cubicBezTo>
                <a:cubicBezTo>
                  <a:pt x="176" y="69"/>
                  <a:pt x="163" y="55"/>
                  <a:pt x="161" y="52"/>
                </a:cubicBezTo>
                <a:cubicBezTo>
                  <a:pt x="160" y="48"/>
                  <a:pt x="144" y="40"/>
                  <a:pt x="144" y="40"/>
                </a:cubicBezTo>
                <a:cubicBezTo>
                  <a:pt x="144" y="40"/>
                  <a:pt x="140" y="50"/>
                  <a:pt x="138" y="53"/>
                </a:cubicBezTo>
                <a:cubicBezTo>
                  <a:pt x="137" y="57"/>
                  <a:pt x="130" y="54"/>
                  <a:pt x="127" y="57"/>
                </a:cubicBezTo>
                <a:cubicBezTo>
                  <a:pt x="123" y="59"/>
                  <a:pt x="117" y="54"/>
                  <a:pt x="122" y="46"/>
                </a:cubicBezTo>
                <a:cubicBezTo>
                  <a:pt x="128" y="38"/>
                  <a:pt x="133" y="23"/>
                  <a:pt x="129" y="22"/>
                </a:cubicBezTo>
                <a:cubicBezTo>
                  <a:pt x="126" y="21"/>
                  <a:pt x="123" y="6"/>
                  <a:pt x="113" y="7"/>
                </a:cubicBezTo>
                <a:cubicBezTo>
                  <a:pt x="103" y="8"/>
                  <a:pt x="92" y="30"/>
                  <a:pt x="85" y="31"/>
                </a:cubicBezTo>
                <a:cubicBezTo>
                  <a:pt x="78" y="32"/>
                  <a:pt x="58" y="20"/>
                  <a:pt x="63" y="28"/>
                </a:cubicBezTo>
                <a:cubicBezTo>
                  <a:pt x="69" y="36"/>
                  <a:pt x="63" y="42"/>
                  <a:pt x="73" y="43"/>
                </a:cubicBezTo>
                <a:cubicBezTo>
                  <a:pt x="82" y="44"/>
                  <a:pt x="88" y="57"/>
                  <a:pt x="84" y="57"/>
                </a:cubicBezTo>
                <a:cubicBezTo>
                  <a:pt x="81" y="57"/>
                  <a:pt x="77" y="53"/>
                  <a:pt x="74" y="54"/>
                </a:cubicBezTo>
                <a:cubicBezTo>
                  <a:pt x="70" y="55"/>
                  <a:pt x="70" y="40"/>
                  <a:pt x="66" y="46"/>
                </a:cubicBezTo>
                <a:cubicBezTo>
                  <a:pt x="61" y="52"/>
                  <a:pt x="63" y="53"/>
                  <a:pt x="68" y="60"/>
                </a:cubicBezTo>
                <a:cubicBezTo>
                  <a:pt x="73" y="67"/>
                  <a:pt x="85" y="65"/>
                  <a:pt x="84" y="68"/>
                </a:cubicBezTo>
                <a:cubicBezTo>
                  <a:pt x="83" y="72"/>
                  <a:pt x="81" y="75"/>
                  <a:pt x="73" y="77"/>
                </a:cubicBezTo>
                <a:cubicBezTo>
                  <a:pt x="65" y="80"/>
                  <a:pt x="68" y="73"/>
                  <a:pt x="61" y="77"/>
                </a:cubicBezTo>
                <a:cubicBezTo>
                  <a:pt x="54" y="82"/>
                  <a:pt x="45" y="75"/>
                  <a:pt x="46" y="68"/>
                </a:cubicBezTo>
                <a:cubicBezTo>
                  <a:pt x="47" y="61"/>
                  <a:pt x="51" y="19"/>
                  <a:pt x="68" y="13"/>
                </a:cubicBezTo>
                <a:cubicBezTo>
                  <a:pt x="85" y="7"/>
                  <a:pt x="54" y="0"/>
                  <a:pt x="5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Freeform 418"/>
          <p:cNvSpPr>
            <a:spLocks/>
          </p:cNvSpPr>
          <p:nvPr userDrawn="1"/>
        </p:nvSpPr>
        <p:spPr bwMode="auto">
          <a:xfrm>
            <a:off x="3713384" y="2771748"/>
            <a:ext cx="55277" cy="33501"/>
          </a:xfrm>
          <a:custGeom>
            <a:avLst/>
            <a:gdLst>
              <a:gd name="T0" fmla="*/ 2147483646 w 60"/>
              <a:gd name="T1" fmla="*/ 2147483646 h 36"/>
              <a:gd name="T2" fmla="*/ 2147483646 w 60"/>
              <a:gd name="T3" fmla="*/ 2147483646 h 36"/>
              <a:gd name="T4" fmla="*/ 2147483646 w 60"/>
              <a:gd name="T5" fmla="*/ 2147483646 h 36"/>
              <a:gd name="T6" fmla="*/ 2147483646 w 60"/>
              <a:gd name="T7" fmla="*/ 2147483646 h 36"/>
              <a:gd name="T8" fmla="*/ 2147483646 w 60"/>
              <a:gd name="T9" fmla="*/ 2147483646 h 36"/>
              <a:gd name="T10" fmla="*/ 2147483646 w 60"/>
              <a:gd name="T11" fmla="*/ 2147483646 h 36"/>
              <a:gd name="T12" fmla="*/ 2147483646 w 60"/>
              <a:gd name="T13" fmla="*/ 2147483646 h 36"/>
              <a:gd name="T14" fmla="*/ 2147483646 w 60"/>
              <a:gd name="T15" fmla="*/ 2147483646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0"/>
              <a:gd name="T25" fmla="*/ 0 h 36"/>
              <a:gd name="T26" fmla="*/ 60 w 60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0" h="36">
                <a:moveTo>
                  <a:pt x="18" y="4"/>
                </a:moveTo>
                <a:cubicBezTo>
                  <a:pt x="9" y="0"/>
                  <a:pt x="1" y="6"/>
                  <a:pt x="1" y="13"/>
                </a:cubicBezTo>
                <a:cubicBezTo>
                  <a:pt x="1" y="20"/>
                  <a:pt x="0" y="22"/>
                  <a:pt x="7" y="27"/>
                </a:cubicBezTo>
                <a:cubicBezTo>
                  <a:pt x="14" y="32"/>
                  <a:pt x="21" y="32"/>
                  <a:pt x="28" y="34"/>
                </a:cubicBezTo>
                <a:cubicBezTo>
                  <a:pt x="35" y="36"/>
                  <a:pt x="41" y="23"/>
                  <a:pt x="45" y="27"/>
                </a:cubicBezTo>
                <a:cubicBezTo>
                  <a:pt x="50" y="30"/>
                  <a:pt x="60" y="19"/>
                  <a:pt x="56" y="18"/>
                </a:cubicBezTo>
                <a:cubicBezTo>
                  <a:pt x="51" y="17"/>
                  <a:pt x="38" y="5"/>
                  <a:pt x="35" y="5"/>
                </a:cubicBezTo>
                <a:cubicBezTo>
                  <a:pt x="31" y="5"/>
                  <a:pt x="18" y="4"/>
                  <a:pt x="18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Freeform 419"/>
          <p:cNvSpPr>
            <a:spLocks/>
          </p:cNvSpPr>
          <p:nvPr userDrawn="1"/>
        </p:nvSpPr>
        <p:spPr bwMode="auto">
          <a:xfrm>
            <a:off x="3581051" y="3023013"/>
            <a:ext cx="113907" cy="85431"/>
          </a:xfrm>
          <a:custGeom>
            <a:avLst/>
            <a:gdLst>
              <a:gd name="T0" fmla="*/ 2147483646 w 123"/>
              <a:gd name="T1" fmla="*/ 0 h 92"/>
              <a:gd name="T2" fmla="*/ 2147483646 w 123"/>
              <a:gd name="T3" fmla="*/ 2147483646 h 92"/>
              <a:gd name="T4" fmla="*/ 2147483646 w 123"/>
              <a:gd name="T5" fmla="*/ 2147483646 h 92"/>
              <a:gd name="T6" fmla="*/ 2147483646 w 123"/>
              <a:gd name="T7" fmla="*/ 2147483646 h 92"/>
              <a:gd name="T8" fmla="*/ 2147483646 w 123"/>
              <a:gd name="T9" fmla="*/ 2147483646 h 92"/>
              <a:gd name="T10" fmla="*/ 2147483646 w 123"/>
              <a:gd name="T11" fmla="*/ 2147483646 h 92"/>
              <a:gd name="T12" fmla="*/ 2147483646 w 123"/>
              <a:gd name="T13" fmla="*/ 2147483646 h 92"/>
              <a:gd name="T14" fmla="*/ 2147483646 w 123"/>
              <a:gd name="T15" fmla="*/ 2147483646 h 92"/>
              <a:gd name="T16" fmla="*/ 2147483646 w 123"/>
              <a:gd name="T17" fmla="*/ 2147483646 h 92"/>
              <a:gd name="T18" fmla="*/ 2147483646 w 123"/>
              <a:gd name="T19" fmla="*/ 2147483646 h 92"/>
              <a:gd name="T20" fmla="*/ 2147483646 w 123"/>
              <a:gd name="T21" fmla="*/ 2147483646 h 92"/>
              <a:gd name="T22" fmla="*/ 2147483646 w 123"/>
              <a:gd name="T23" fmla="*/ 2147483646 h 92"/>
              <a:gd name="T24" fmla="*/ 2147483646 w 123"/>
              <a:gd name="T25" fmla="*/ 2147483646 h 92"/>
              <a:gd name="T26" fmla="*/ 2147483646 w 123"/>
              <a:gd name="T27" fmla="*/ 2147483646 h 92"/>
              <a:gd name="T28" fmla="*/ 2147483646 w 123"/>
              <a:gd name="T29" fmla="*/ 2147483646 h 92"/>
              <a:gd name="T30" fmla="*/ 2147483646 w 123"/>
              <a:gd name="T31" fmla="*/ 0 h 9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23"/>
              <a:gd name="T49" fmla="*/ 0 h 92"/>
              <a:gd name="T50" fmla="*/ 123 w 123"/>
              <a:gd name="T51" fmla="*/ 92 h 9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23" h="92">
                <a:moveTo>
                  <a:pt x="47" y="0"/>
                </a:moveTo>
                <a:cubicBezTo>
                  <a:pt x="47" y="0"/>
                  <a:pt x="30" y="3"/>
                  <a:pt x="30" y="11"/>
                </a:cubicBezTo>
                <a:cubicBezTo>
                  <a:pt x="30" y="20"/>
                  <a:pt x="30" y="25"/>
                  <a:pt x="29" y="35"/>
                </a:cubicBezTo>
                <a:cubicBezTo>
                  <a:pt x="28" y="44"/>
                  <a:pt x="5" y="67"/>
                  <a:pt x="3" y="71"/>
                </a:cubicBezTo>
                <a:cubicBezTo>
                  <a:pt x="0" y="76"/>
                  <a:pt x="14" y="69"/>
                  <a:pt x="20" y="70"/>
                </a:cubicBezTo>
                <a:cubicBezTo>
                  <a:pt x="26" y="71"/>
                  <a:pt x="41" y="56"/>
                  <a:pt x="35" y="71"/>
                </a:cubicBezTo>
                <a:cubicBezTo>
                  <a:pt x="29" y="86"/>
                  <a:pt x="20" y="92"/>
                  <a:pt x="32" y="91"/>
                </a:cubicBezTo>
                <a:cubicBezTo>
                  <a:pt x="43" y="90"/>
                  <a:pt x="47" y="71"/>
                  <a:pt x="54" y="70"/>
                </a:cubicBezTo>
                <a:cubicBezTo>
                  <a:pt x="60" y="69"/>
                  <a:pt x="65" y="51"/>
                  <a:pt x="71" y="65"/>
                </a:cubicBezTo>
                <a:cubicBezTo>
                  <a:pt x="77" y="78"/>
                  <a:pt x="78" y="67"/>
                  <a:pt x="90" y="76"/>
                </a:cubicBezTo>
                <a:cubicBezTo>
                  <a:pt x="103" y="85"/>
                  <a:pt x="113" y="75"/>
                  <a:pt x="118" y="76"/>
                </a:cubicBezTo>
                <a:cubicBezTo>
                  <a:pt x="123" y="77"/>
                  <a:pt x="119" y="56"/>
                  <a:pt x="111" y="56"/>
                </a:cubicBezTo>
                <a:cubicBezTo>
                  <a:pt x="103" y="56"/>
                  <a:pt x="89" y="46"/>
                  <a:pt x="85" y="40"/>
                </a:cubicBezTo>
                <a:cubicBezTo>
                  <a:pt x="80" y="35"/>
                  <a:pt x="80" y="23"/>
                  <a:pt x="74" y="21"/>
                </a:cubicBezTo>
                <a:cubicBezTo>
                  <a:pt x="68" y="18"/>
                  <a:pt x="60" y="11"/>
                  <a:pt x="60" y="11"/>
                </a:cubicBezTo>
                <a:lnTo>
                  <a:pt x="4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Freeform 420"/>
          <p:cNvSpPr>
            <a:spLocks/>
          </p:cNvSpPr>
          <p:nvPr userDrawn="1"/>
        </p:nvSpPr>
        <p:spPr bwMode="auto">
          <a:xfrm>
            <a:off x="3626279" y="3116817"/>
            <a:ext cx="38527" cy="31827"/>
          </a:xfrm>
          <a:custGeom>
            <a:avLst/>
            <a:gdLst>
              <a:gd name="T0" fmla="*/ 2147483646 w 41"/>
              <a:gd name="T1" fmla="*/ 0 h 34"/>
              <a:gd name="T2" fmla="*/ 2147483646 w 41"/>
              <a:gd name="T3" fmla="*/ 2147483646 h 34"/>
              <a:gd name="T4" fmla="*/ 2147483646 w 41"/>
              <a:gd name="T5" fmla="*/ 2147483646 h 34"/>
              <a:gd name="T6" fmla="*/ 2147483646 w 41"/>
              <a:gd name="T7" fmla="*/ 2147483646 h 34"/>
              <a:gd name="T8" fmla="*/ 2147483646 w 41"/>
              <a:gd name="T9" fmla="*/ 0 h 3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1"/>
              <a:gd name="T16" fmla="*/ 0 h 34"/>
              <a:gd name="T17" fmla="*/ 41 w 41"/>
              <a:gd name="T18" fmla="*/ 34 h 3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1" h="34">
                <a:moveTo>
                  <a:pt x="24" y="0"/>
                </a:moveTo>
                <a:cubicBezTo>
                  <a:pt x="18" y="4"/>
                  <a:pt x="0" y="4"/>
                  <a:pt x="8" y="19"/>
                </a:cubicBezTo>
                <a:cubicBezTo>
                  <a:pt x="16" y="34"/>
                  <a:pt x="21" y="23"/>
                  <a:pt x="26" y="23"/>
                </a:cubicBezTo>
                <a:cubicBezTo>
                  <a:pt x="32" y="23"/>
                  <a:pt x="37" y="19"/>
                  <a:pt x="39" y="15"/>
                </a:cubicBezTo>
                <a:cubicBezTo>
                  <a:pt x="41" y="12"/>
                  <a:pt x="24" y="0"/>
                  <a:pt x="2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Freeform 421"/>
          <p:cNvSpPr>
            <a:spLocks/>
          </p:cNvSpPr>
          <p:nvPr userDrawn="1"/>
        </p:nvSpPr>
        <p:spPr bwMode="auto">
          <a:xfrm>
            <a:off x="3694957" y="3136919"/>
            <a:ext cx="23451" cy="28477"/>
          </a:xfrm>
          <a:custGeom>
            <a:avLst/>
            <a:gdLst>
              <a:gd name="T0" fmla="*/ 2147483646 w 26"/>
              <a:gd name="T1" fmla="*/ 0 h 30"/>
              <a:gd name="T2" fmla="*/ 2147483646 w 26"/>
              <a:gd name="T3" fmla="*/ 2147483646 h 30"/>
              <a:gd name="T4" fmla="*/ 2147483646 w 26"/>
              <a:gd name="T5" fmla="*/ 2147483646 h 30"/>
              <a:gd name="T6" fmla="*/ 2147483646 w 26"/>
              <a:gd name="T7" fmla="*/ 2147483646 h 30"/>
              <a:gd name="T8" fmla="*/ 2147483646 w 26"/>
              <a:gd name="T9" fmla="*/ 0 h 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30"/>
              <a:gd name="T17" fmla="*/ 26 w 26"/>
              <a:gd name="T18" fmla="*/ 30 h 3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30">
                <a:moveTo>
                  <a:pt x="17" y="0"/>
                </a:moveTo>
                <a:cubicBezTo>
                  <a:pt x="10" y="0"/>
                  <a:pt x="0" y="2"/>
                  <a:pt x="3" y="14"/>
                </a:cubicBezTo>
                <a:cubicBezTo>
                  <a:pt x="6" y="25"/>
                  <a:pt x="8" y="30"/>
                  <a:pt x="14" y="28"/>
                </a:cubicBezTo>
                <a:cubicBezTo>
                  <a:pt x="21" y="25"/>
                  <a:pt x="26" y="15"/>
                  <a:pt x="26" y="15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Freeform 422"/>
          <p:cNvSpPr>
            <a:spLocks/>
          </p:cNvSpPr>
          <p:nvPr userDrawn="1"/>
        </p:nvSpPr>
        <p:spPr bwMode="auto">
          <a:xfrm>
            <a:off x="3745210" y="2944283"/>
            <a:ext cx="45228" cy="40203"/>
          </a:xfrm>
          <a:custGeom>
            <a:avLst/>
            <a:gdLst>
              <a:gd name="T0" fmla="*/ 2147483646 w 49"/>
              <a:gd name="T1" fmla="*/ 2147483646 h 42"/>
              <a:gd name="T2" fmla="*/ 2147483646 w 49"/>
              <a:gd name="T3" fmla="*/ 2147483646 h 42"/>
              <a:gd name="T4" fmla="*/ 2147483646 w 49"/>
              <a:gd name="T5" fmla="*/ 2147483646 h 42"/>
              <a:gd name="T6" fmla="*/ 2147483646 w 49"/>
              <a:gd name="T7" fmla="*/ 2147483646 h 42"/>
              <a:gd name="T8" fmla="*/ 2147483646 w 49"/>
              <a:gd name="T9" fmla="*/ 2147483646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9"/>
              <a:gd name="T16" fmla="*/ 0 h 42"/>
              <a:gd name="T17" fmla="*/ 49 w 49"/>
              <a:gd name="T18" fmla="*/ 42 h 4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9" h="42">
                <a:moveTo>
                  <a:pt x="29" y="4"/>
                </a:moveTo>
                <a:cubicBezTo>
                  <a:pt x="24" y="3"/>
                  <a:pt x="11" y="0"/>
                  <a:pt x="8" y="14"/>
                </a:cubicBezTo>
                <a:cubicBezTo>
                  <a:pt x="4" y="27"/>
                  <a:pt x="0" y="19"/>
                  <a:pt x="9" y="31"/>
                </a:cubicBezTo>
                <a:cubicBezTo>
                  <a:pt x="18" y="42"/>
                  <a:pt x="33" y="39"/>
                  <a:pt x="37" y="36"/>
                </a:cubicBezTo>
                <a:cubicBezTo>
                  <a:pt x="40" y="32"/>
                  <a:pt x="49" y="9"/>
                  <a:pt x="29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Freeform 423"/>
          <p:cNvSpPr>
            <a:spLocks/>
          </p:cNvSpPr>
          <p:nvPr userDrawn="1"/>
        </p:nvSpPr>
        <p:spPr bwMode="auto">
          <a:xfrm>
            <a:off x="3611203" y="2480282"/>
            <a:ext cx="224463" cy="226137"/>
          </a:xfrm>
          <a:custGeom>
            <a:avLst/>
            <a:gdLst>
              <a:gd name="T0" fmla="*/ 2147483646 w 242"/>
              <a:gd name="T1" fmla="*/ 2147483646 h 241"/>
              <a:gd name="T2" fmla="*/ 2147483646 w 242"/>
              <a:gd name="T3" fmla="*/ 2147483646 h 241"/>
              <a:gd name="T4" fmla="*/ 2147483646 w 242"/>
              <a:gd name="T5" fmla="*/ 2147483646 h 241"/>
              <a:gd name="T6" fmla="*/ 2147483646 w 242"/>
              <a:gd name="T7" fmla="*/ 2147483646 h 241"/>
              <a:gd name="T8" fmla="*/ 2147483646 w 242"/>
              <a:gd name="T9" fmla="*/ 2147483646 h 241"/>
              <a:gd name="T10" fmla="*/ 2147483646 w 242"/>
              <a:gd name="T11" fmla="*/ 2147483646 h 241"/>
              <a:gd name="T12" fmla="*/ 2147483646 w 242"/>
              <a:gd name="T13" fmla="*/ 2147483646 h 241"/>
              <a:gd name="T14" fmla="*/ 2147483646 w 242"/>
              <a:gd name="T15" fmla="*/ 2147483646 h 241"/>
              <a:gd name="T16" fmla="*/ 2147483646 w 242"/>
              <a:gd name="T17" fmla="*/ 2147483646 h 241"/>
              <a:gd name="T18" fmla="*/ 2147483646 w 242"/>
              <a:gd name="T19" fmla="*/ 2147483646 h 241"/>
              <a:gd name="T20" fmla="*/ 2147483646 w 242"/>
              <a:gd name="T21" fmla="*/ 2147483646 h 241"/>
              <a:gd name="T22" fmla="*/ 2147483646 w 242"/>
              <a:gd name="T23" fmla="*/ 2147483646 h 241"/>
              <a:gd name="T24" fmla="*/ 2147483646 w 242"/>
              <a:gd name="T25" fmla="*/ 2147483646 h 241"/>
              <a:gd name="T26" fmla="*/ 2147483646 w 242"/>
              <a:gd name="T27" fmla="*/ 2147483646 h 241"/>
              <a:gd name="T28" fmla="*/ 2147483646 w 242"/>
              <a:gd name="T29" fmla="*/ 2147483646 h 241"/>
              <a:gd name="T30" fmla="*/ 2147483646 w 242"/>
              <a:gd name="T31" fmla="*/ 2147483646 h 241"/>
              <a:gd name="T32" fmla="*/ 2147483646 w 242"/>
              <a:gd name="T33" fmla="*/ 2147483646 h 241"/>
              <a:gd name="T34" fmla="*/ 2147483646 w 242"/>
              <a:gd name="T35" fmla="*/ 2147483646 h 241"/>
              <a:gd name="T36" fmla="*/ 2147483646 w 242"/>
              <a:gd name="T37" fmla="*/ 2147483646 h 241"/>
              <a:gd name="T38" fmla="*/ 2147483646 w 242"/>
              <a:gd name="T39" fmla="*/ 2147483646 h 241"/>
              <a:gd name="T40" fmla="*/ 2147483646 w 242"/>
              <a:gd name="T41" fmla="*/ 2147483646 h 241"/>
              <a:gd name="T42" fmla="*/ 2147483646 w 242"/>
              <a:gd name="T43" fmla="*/ 2147483646 h 241"/>
              <a:gd name="T44" fmla="*/ 2147483646 w 242"/>
              <a:gd name="T45" fmla="*/ 2147483646 h 241"/>
              <a:gd name="T46" fmla="*/ 2147483646 w 242"/>
              <a:gd name="T47" fmla="*/ 2147483646 h 241"/>
              <a:gd name="T48" fmla="*/ 2147483646 w 242"/>
              <a:gd name="T49" fmla="*/ 2147483646 h 241"/>
              <a:gd name="T50" fmla="*/ 2147483646 w 242"/>
              <a:gd name="T51" fmla="*/ 2147483646 h 241"/>
              <a:gd name="T52" fmla="*/ 2147483646 w 242"/>
              <a:gd name="T53" fmla="*/ 2147483646 h 241"/>
              <a:gd name="T54" fmla="*/ 2147483646 w 242"/>
              <a:gd name="T55" fmla="*/ 2147483646 h 241"/>
              <a:gd name="T56" fmla="*/ 2147483646 w 242"/>
              <a:gd name="T57" fmla="*/ 2147483646 h 241"/>
              <a:gd name="T58" fmla="*/ 2147483646 w 242"/>
              <a:gd name="T59" fmla="*/ 2147483646 h 241"/>
              <a:gd name="T60" fmla="*/ 2147483646 w 242"/>
              <a:gd name="T61" fmla="*/ 2147483646 h 241"/>
              <a:gd name="T62" fmla="*/ 2147483646 w 242"/>
              <a:gd name="T63" fmla="*/ 2147483646 h 241"/>
              <a:gd name="T64" fmla="*/ 2147483646 w 242"/>
              <a:gd name="T65" fmla="*/ 2147483646 h 241"/>
              <a:gd name="T66" fmla="*/ 2147483646 w 242"/>
              <a:gd name="T67" fmla="*/ 2147483646 h 24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42"/>
              <a:gd name="T103" fmla="*/ 0 h 241"/>
              <a:gd name="T104" fmla="*/ 242 w 242"/>
              <a:gd name="T105" fmla="*/ 241 h 24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42" h="241">
                <a:moveTo>
                  <a:pt x="228" y="17"/>
                </a:moveTo>
                <a:cubicBezTo>
                  <a:pt x="219" y="16"/>
                  <a:pt x="213" y="9"/>
                  <a:pt x="204" y="14"/>
                </a:cubicBezTo>
                <a:cubicBezTo>
                  <a:pt x="194" y="18"/>
                  <a:pt x="192" y="17"/>
                  <a:pt x="186" y="15"/>
                </a:cubicBezTo>
                <a:cubicBezTo>
                  <a:pt x="181" y="13"/>
                  <a:pt x="181" y="0"/>
                  <a:pt x="169" y="5"/>
                </a:cubicBezTo>
                <a:cubicBezTo>
                  <a:pt x="158" y="9"/>
                  <a:pt x="139" y="14"/>
                  <a:pt x="141" y="20"/>
                </a:cubicBezTo>
                <a:cubicBezTo>
                  <a:pt x="144" y="25"/>
                  <a:pt x="139" y="29"/>
                  <a:pt x="129" y="25"/>
                </a:cubicBezTo>
                <a:cubicBezTo>
                  <a:pt x="118" y="22"/>
                  <a:pt x="110" y="10"/>
                  <a:pt x="114" y="21"/>
                </a:cubicBezTo>
                <a:cubicBezTo>
                  <a:pt x="117" y="31"/>
                  <a:pt x="92" y="22"/>
                  <a:pt x="88" y="28"/>
                </a:cubicBezTo>
                <a:cubicBezTo>
                  <a:pt x="85" y="33"/>
                  <a:pt x="75" y="40"/>
                  <a:pt x="79" y="45"/>
                </a:cubicBezTo>
                <a:cubicBezTo>
                  <a:pt x="84" y="50"/>
                  <a:pt x="79" y="42"/>
                  <a:pt x="66" y="48"/>
                </a:cubicBezTo>
                <a:cubicBezTo>
                  <a:pt x="54" y="55"/>
                  <a:pt x="55" y="58"/>
                  <a:pt x="68" y="65"/>
                </a:cubicBezTo>
                <a:cubicBezTo>
                  <a:pt x="80" y="71"/>
                  <a:pt x="92" y="58"/>
                  <a:pt x="85" y="70"/>
                </a:cubicBezTo>
                <a:cubicBezTo>
                  <a:pt x="78" y="83"/>
                  <a:pt x="71" y="88"/>
                  <a:pt x="81" y="85"/>
                </a:cubicBezTo>
                <a:cubicBezTo>
                  <a:pt x="92" y="83"/>
                  <a:pt x="92" y="71"/>
                  <a:pt x="98" y="71"/>
                </a:cubicBezTo>
                <a:cubicBezTo>
                  <a:pt x="103" y="71"/>
                  <a:pt x="114" y="81"/>
                  <a:pt x="121" y="77"/>
                </a:cubicBezTo>
                <a:cubicBezTo>
                  <a:pt x="128" y="74"/>
                  <a:pt x="124" y="61"/>
                  <a:pt x="130" y="67"/>
                </a:cubicBezTo>
                <a:cubicBezTo>
                  <a:pt x="136" y="73"/>
                  <a:pt x="113" y="92"/>
                  <a:pt x="117" y="96"/>
                </a:cubicBezTo>
                <a:cubicBezTo>
                  <a:pt x="122" y="99"/>
                  <a:pt x="103" y="99"/>
                  <a:pt x="102" y="96"/>
                </a:cubicBezTo>
                <a:cubicBezTo>
                  <a:pt x="101" y="92"/>
                  <a:pt x="87" y="88"/>
                  <a:pt x="95" y="96"/>
                </a:cubicBezTo>
                <a:cubicBezTo>
                  <a:pt x="103" y="104"/>
                  <a:pt x="113" y="98"/>
                  <a:pt x="115" y="111"/>
                </a:cubicBezTo>
                <a:cubicBezTo>
                  <a:pt x="117" y="123"/>
                  <a:pt x="99" y="125"/>
                  <a:pt x="96" y="120"/>
                </a:cubicBezTo>
                <a:cubicBezTo>
                  <a:pt x="94" y="115"/>
                  <a:pt x="91" y="104"/>
                  <a:pt x="91" y="104"/>
                </a:cubicBezTo>
                <a:cubicBezTo>
                  <a:pt x="91" y="104"/>
                  <a:pt x="71" y="106"/>
                  <a:pt x="75" y="115"/>
                </a:cubicBezTo>
                <a:cubicBezTo>
                  <a:pt x="78" y="125"/>
                  <a:pt x="84" y="128"/>
                  <a:pt x="88" y="131"/>
                </a:cubicBezTo>
                <a:cubicBezTo>
                  <a:pt x="93" y="135"/>
                  <a:pt x="108" y="128"/>
                  <a:pt x="101" y="141"/>
                </a:cubicBezTo>
                <a:cubicBezTo>
                  <a:pt x="94" y="153"/>
                  <a:pt x="87" y="149"/>
                  <a:pt x="83" y="149"/>
                </a:cubicBezTo>
                <a:cubicBezTo>
                  <a:pt x="78" y="149"/>
                  <a:pt x="78" y="133"/>
                  <a:pt x="72" y="141"/>
                </a:cubicBezTo>
                <a:cubicBezTo>
                  <a:pt x="66" y="149"/>
                  <a:pt x="72" y="158"/>
                  <a:pt x="66" y="159"/>
                </a:cubicBezTo>
                <a:cubicBezTo>
                  <a:pt x="61" y="160"/>
                  <a:pt x="50" y="160"/>
                  <a:pt x="50" y="160"/>
                </a:cubicBezTo>
                <a:cubicBezTo>
                  <a:pt x="50" y="160"/>
                  <a:pt x="38" y="167"/>
                  <a:pt x="50" y="172"/>
                </a:cubicBezTo>
                <a:cubicBezTo>
                  <a:pt x="53" y="173"/>
                  <a:pt x="56" y="173"/>
                  <a:pt x="58" y="173"/>
                </a:cubicBezTo>
                <a:cubicBezTo>
                  <a:pt x="65" y="174"/>
                  <a:pt x="68" y="170"/>
                  <a:pt x="71" y="173"/>
                </a:cubicBezTo>
                <a:cubicBezTo>
                  <a:pt x="75" y="176"/>
                  <a:pt x="72" y="183"/>
                  <a:pt x="75" y="189"/>
                </a:cubicBezTo>
                <a:cubicBezTo>
                  <a:pt x="77" y="195"/>
                  <a:pt x="85" y="188"/>
                  <a:pt x="85" y="188"/>
                </a:cubicBezTo>
                <a:cubicBezTo>
                  <a:pt x="85" y="188"/>
                  <a:pt x="70" y="198"/>
                  <a:pt x="66" y="191"/>
                </a:cubicBezTo>
                <a:cubicBezTo>
                  <a:pt x="63" y="184"/>
                  <a:pt x="44" y="179"/>
                  <a:pt x="45" y="183"/>
                </a:cubicBezTo>
                <a:cubicBezTo>
                  <a:pt x="46" y="198"/>
                  <a:pt x="26" y="194"/>
                  <a:pt x="23" y="198"/>
                </a:cubicBezTo>
                <a:cubicBezTo>
                  <a:pt x="19" y="203"/>
                  <a:pt x="0" y="207"/>
                  <a:pt x="19" y="214"/>
                </a:cubicBezTo>
                <a:cubicBezTo>
                  <a:pt x="39" y="221"/>
                  <a:pt x="39" y="210"/>
                  <a:pt x="51" y="213"/>
                </a:cubicBezTo>
                <a:cubicBezTo>
                  <a:pt x="64" y="217"/>
                  <a:pt x="66" y="222"/>
                  <a:pt x="72" y="219"/>
                </a:cubicBezTo>
                <a:cubicBezTo>
                  <a:pt x="78" y="216"/>
                  <a:pt x="78" y="198"/>
                  <a:pt x="84" y="209"/>
                </a:cubicBezTo>
                <a:cubicBezTo>
                  <a:pt x="90" y="219"/>
                  <a:pt x="80" y="221"/>
                  <a:pt x="87" y="224"/>
                </a:cubicBezTo>
                <a:cubicBezTo>
                  <a:pt x="94" y="226"/>
                  <a:pt x="99" y="216"/>
                  <a:pt x="102" y="222"/>
                </a:cubicBezTo>
                <a:cubicBezTo>
                  <a:pt x="106" y="229"/>
                  <a:pt x="99" y="241"/>
                  <a:pt x="109" y="239"/>
                </a:cubicBezTo>
                <a:cubicBezTo>
                  <a:pt x="119" y="236"/>
                  <a:pt x="115" y="218"/>
                  <a:pt x="126" y="222"/>
                </a:cubicBezTo>
                <a:cubicBezTo>
                  <a:pt x="138" y="227"/>
                  <a:pt x="140" y="217"/>
                  <a:pt x="140" y="217"/>
                </a:cubicBezTo>
                <a:cubicBezTo>
                  <a:pt x="140" y="217"/>
                  <a:pt x="140" y="205"/>
                  <a:pt x="136" y="206"/>
                </a:cubicBezTo>
                <a:cubicBezTo>
                  <a:pt x="131" y="207"/>
                  <a:pt x="126" y="203"/>
                  <a:pt x="126" y="199"/>
                </a:cubicBezTo>
                <a:cubicBezTo>
                  <a:pt x="126" y="196"/>
                  <a:pt x="133" y="201"/>
                  <a:pt x="139" y="196"/>
                </a:cubicBezTo>
                <a:cubicBezTo>
                  <a:pt x="145" y="191"/>
                  <a:pt x="137" y="177"/>
                  <a:pt x="140" y="178"/>
                </a:cubicBezTo>
                <a:cubicBezTo>
                  <a:pt x="156" y="181"/>
                  <a:pt x="156" y="176"/>
                  <a:pt x="160" y="173"/>
                </a:cubicBezTo>
                <a:cubicBezTo>
                  <a:pt x="163" y="169"/>
                  <a:pt x="164" y="151"/>
                  <a:pt x="164" y="151"/>
                </a:cubicBezTo>
                <a:cubicBezTo>
                  <a:pt x="164" y="151"/>
                  <a:pt x="158" y="141"/>
                  <a:pt x="153" y="145"/>
                </a:cubicBezTo>
                <a:cubicBezTo>
                  <a:pt x="148" y="150"/>
                  <a:pt x="147" y="136"/>
                  <a:pt x="147" y="136"/>
                </a:cubicBezTo>
                <a:cubicBezTo>
                  <a:pt x="147" y="136"/>
                  <a:pt x="136" y="143"/>
                  <a:pt x="140" y="134"/>
                </a:cubicBezTo>
                <a:cubicBezTo>
                  <a:pt x="145" y="125"/>
                  <a:pt x="155" y="114"/>
                  <a:pt x="161" y="123"/>
                </a:cubicBezTo>
                <a:cubicBezTo>
                  <a:pt x="167" y="133"/>
                  <a:pt x="158" y="127"/>
                  <a:pt x="167" y="130"/>
                </a:cubicBezTo>
                <a:cubicBezTo>
                  <a:pt x="176" y="134"/>
                  <a:pt x="172" y="130"/>
                  <a:pt x="179" y="122"/>
                </a:cubicBezTo>
                <a:cubicBezTo>
                  <a:pt x="186" y="114"/>
                  <a:pt x="191" y="108"/>
                  <a:pt x="186" y="110"/>
                </a:cubicBezTo>
                <a:cubicBezTo>
                  <a:pt x="182" y="111"/>
                  <a:pt x="174" y="110"/>
                  <a:pt x="176" y="105"/>
                </a:cubicBezTo>
                <a:cubicBezTo>
                  <a:pt x="178" y="100"/>
                  <a:pt x="182" y="95"/>
                  <a:pt x="186" y="97"/>
                </a:cubicBezTo>
                <a:cubicBezTo>
                  <a:pt x="191" y="99"/>
                  <a:pt x="191" y="84"/>
                  <a:pt x="200" y="83"/>
                </a:cubicBezTo>
                <a:cubicBezTo>
                  <a:pt x="209" y="82"/>
                  <a:pt x="212" y="75"/>
                  <a:pt x="216" y="70"/>
                </a:cubicBezTo>
                <a:cubicBezTo>
                  <a:pt x="221" y="66"/>
                  <a:pt x="229" y="55"/>
                  <a:pt x="229" y="55"/>
                </a:cubicBezTo>
                <a:cubicBezTo>
                  <a:pt x="229" y="55"/>
                  <a:pt x="221" y="53"/>
                  <a:pt x="216" y="55"/>
                </a:cubicBezTo>
                <a:cubicBezTo>
                  <a:pt x="212" y="58"/>
                  <a:pt x="202" y="52"/>
                  <a:pt x="211" y="48"/>
                </a:cubicBezTo>
                <a:cubicBezTo>
                  <a:pt x="219" y="45"/>
                  <a:pt x="242" y="27"/>
                  <a:pt x="242" y="27"/>
                </a:cubicBezTo>
                <a:cubicBezTo>
                  <a:pt x="242" y="27"/>
                  <a:pt x="237" y="18"/>
                  <a:pt x="228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Freeform 424"/>
          <p:cNvSpPr>
            <a:spLocks/>
          </p:cNvSpPr>
          <p:nvPr userDrawn="1"/>
        </p:nvSpPr>
        <p:spPr bwMode="auto">
          <a:xfrm>
            <a:off x="3594452" y="2532212"/>
            <a:ext cx="82080" cy="100505"/>
          </a:xfrm>
          <a:custGeom>
            <a:avLst/>
            <a:gdLst>
              <a:gd name="T0" fmla="*/ 2147483646 w 87"/>
              <a:gd name="T1" fmla="*/ 2147483646 h 109"/>
              <a:gd name="T2" fmla="*/ 2147483646 w 87"/>
              <a:gd name="T3" fmla="*/ 2147483646 h 109"/>
              <a:gd name="T4" fmla="*/ 2147483646 w 87"/>
              <a:gd name="T5" fmla="*/ 2147483646 h 109"/>
              <a:gd name="T6" fmla="*/ 2147483646 w 87"/>
              <a:gd name="T7" fmla="*/ 2147483646 h 109"/>
              <a:gd name="T8" fmla="*/ 2147483646 w 87"/>
              <a:gd name="T9" fmla="*/ 2147483646 h 109"/>
              <a:gd name="T10" fmla="*/ 2147483646 w 87"/>
              <a:gd name="T11" fmla="*/ 2147483646 h 109"/>
              <a:gd name="T12" fmla="*/ 2147483646 w 87"/>
              <a:gd name="T13" fmla="*/ 2147483646 h 109"/>
              <a:gd name="T14" fmla="*/ 2147483646 w 87"/>
              <a:gd name="T15" fmla="*/ 2147483646 h 109"/>
              <a:gd name="T16" fmla="*/ 2147483646 w 87"/>
              <a:gd name="T17" fmla="*/ 2147483646 h 109"/>
              <a:gd name="T18" fmla="*/ 2147483646 w 87"/>
              <a:gd name="T19" fmla="*/ 2147483646 h 109"/>
              <a:gd name="T20" fmla="*/ 2147483646 w 87"/>
              <a:gd name="T21" fmla="*/ 2147483646 h 109"/>
              <a:gd name="T22" fmla="*/ 2147483646 w 87"/>
              <a:gd name="T23" fmla="*/ 2147483646 h 109"/>
              <a:gd name="T24" fmla="*/ 2147483646 w 87"/>
              <a:gd name="T25" fmla="*/ 2147483646 h 109"/>
              <a:gd name="T26" fmla="*/ 2147483646 w 87"/>
              <a:gd name="T27" fmla="*/ 2147483646 h 109"/>
              <a:gd name="T28" fmla="*/ 2147483646 w 87"/>
              <a:gd name="T29" fmla="*/ 2147483646 h 109"/>
              <a:gd name="T30" fmla="*/ 2147483646 w 87"/>
              <a:gd name="T31" fmla="*/ 2147483646 h 109"/>
              <a:gd name="T32" fmla="*/ 2147483646 w 87"/>
              <a:gd name="T33" fmla="*/ 2147483646 h 109"/>
              <a:gd name="T34" fmla="*/ 2147483646 w 87"/>
              <a:gd name="T35" fmla="*/ 2147483646 h 109"/>
              <a:gd name="T36" fmla="*/ 2147483646 w 87"/>
              <a:gd name="T37" fmla="*/ 2147483646 h 109"/>
              <a:gd name="T38" fmla="*/ 2147483646 w 87"/>
              <a:gd name="T39" fmla="*/ 2147483646 h 109"/>
              <a:gd name="T40" fmla="*/ 2147483646 w 87"/>
              <a:gd name="T41" fmla="*/ 2147483646 h 109"/>
              <a:gd name="T42" fmla="*/ 2147483646 w 87"/>
              <a:gd name="T43" fmla="*/ 2147483646 h 10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7"/>
              <a:gd name="T67" fmla="*/ 0 h 109"/>
              <a:gd name="T68" fmla="*/ 87 w 87"/>
              <a:gd name="T69" fmla="*/ 109 h 10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7" h="109">
                <a:moveTo>
                  <a:pt x="55" y="1"/>
                </a:moveTo>
                <a:cubicBezTo>
                  <a:pt x="47" y="3"/>
                  <a:pt x="37" y="4"/>
                  <a:pt x="39" y="11"/>
                </a:cubicBezTo>
                <a:cubicBezTo>
                  <a:pt x="40" y="17"/>
                  <a:pt x="40" y="19"/>
                  <a:pt x="36" y="23"/>
                </a:cubicBezTo>
                <a:cubicBezTo>
                  <a:pt x="33" y="28"/>
                  <a:pt x="26" y="28"/>
                  <a:pt x="21" y="27"/>
                </a:cubicBezTo>
                <a:cubicBezTo>
                  <a:pt x="17" y="26"/>
                  <a:pt x="7" y="20"/>
                  <a:pt x="13" y="29"/>
                </a:cubicBezTo>
                <a:cubicBezTo>
                  <a:pt x="19" y="38"/>
                  <a:pt x="25" y="41"/>
                  <a:pt x="22" y="44"/>
                </a:cubicBezTo>
                <a:cubicBezTo>
                  <a:pt x="20" y="47"/>
                  <a:pt x="4" y="39"/>
                  <a:pt x="3" y="44"/>
                </a:cubicBezTo>
                <a:cubicBezTo>
                  <a:pt x="2" y="49"/>
                  <a:pt x="0" y="45"/>
                  <a:pt x="4" y="52"/>
                </a:cubicBezTo>
                <a:cubicBezTo>
                  <a:pt x="7" y="59"/>
                  <a:pt x="20" y="51"/>
                  <a:pt x="20" y="56"/>
                </a:cubicBezTo>
                <a:cubicBezTo>
                  <a:pt x="20" y="60"/>
                  <a:pt x="6" y="60"/>
                  <a:pt x="13" y="65"/>
                </a:cubicBezTo>
                <a:cubicBezTo>
                  <a:pt x="20" y="69"/>
                  <a:pt x="26" y="60"/>
                  <a:pt x="30" y="61"/>
                </a:cubicBezTo>
                <a:cubicBezTo>
                  <a:pt x="35" y="62"/>
                  <a:pt x="24" y="71"/>
                  <a:pt x="20" y="74"/>
                </a:cubicBezTo>
                <a:cubicBezTo>
                  <a:pt x="17" y="77"/>
                  <a:pt x="14" y="79"/>
                  <a:pt x="20" y="85"/>
                </a:cubicBezTo>
                <a:cubicBezTo>
                  <a:pt x="26" y="92"/>
                  <a:pt x="42" y="84"/>
                  <a:pt x="40" y="90"/>
                </a:cubicBezTo>
                <a:cubicBezTo>
                  <a:pt x="37" y="96"/>
                  <a:pt x="19" y="109"/>
                  <a:pt x="33" y="106"/>
                </a:cubicBezTo>
                <a:cubicBezTo>
                  <a:pt x="47" y="104"/>
                  <a:pt x="51" y="94"/>
                  <a:pt x="56" y="94"/>
                </a:cubicBezTo>
                <a:cubicBezTo>
                  <a:pt x="60" y="94"/>
                  <a:pt x="60" y="77"/>
                  <a:pt x="68" y="83"/>
                </a:cubicBezTo>
                <a:cubicBezTo>
                  <a:pt x="77" y="89"/>
                  <a:pt x="81" y="79"/>
                  <a:pt x="79" y="71"/>
                </a:cubicBezTo>
                <a:cubicBezTo>
                  <a:pt x="77" y="62"/>
                  <a:pt x="75" y="52"/>
                  <a:pt x="81" y="51"/>
                </a:cubicBezTo>
                <a:cubicBezTo>
                  <a:pt x="87" y="50"/>
                  <a:pt x="81" y="44"/>
                  <a:pt x="74" y="38"/>
                </a:cubicBezTo>
                <a:cubicBezTo>
                  <a:pt x="67" y="32"/>
                  <a:pt x="67" y="26"/>
                  <a:pt x="64" y="21"/>
                </a:cubicBezTo>
                <a:cubicBezTo>
                  <a:pt x="60" y="16"/>
                  <a:pt x="62" y="0"/>
                  <a:pt x="55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Freeform 425"/>
          <p:cNvSpPr>
            <a:spLocks/>
          </p:cNvSpPr>
          <p:nvPr userDrawn="1"/>
        </p:nvSpPr>
        <p:spPr bwMode="auto">
          <a:xfrm>
            <a:off x="3520748" y="2575763"/>
            <a:ext cx="43552" cy="65328"/>
          </a:xfrm>
          <a:custGeom>
            <a:avLst/>
            <a:gdLst>
              <a:gd name="T0" fmla="*/ 2147483646 w 46"/>
              <a:gd name="T1" fmla="*/ 2147483646 h 70"/>
              <a:gd name="T2" fmla="*/ 2147483646 w 46"/>
              <a:gd name="T3" fmla="*/ 2147483646 h 70"/>
              <a:gd name="T4" fmla="*/ 2147483646 w 46"/>
              <a:gd name="T5" fmla="*/ 2147483646 h 70"/>
              <a:gd name="T6" fmla="*/ 2147483646 w 46"/>
              <a:gd name="T7" fmla="*/ 2147483646 h 70"/>
              <a:gd name="T8" fmla="*/ 2147483646 w 46"/>
              <a:gd name="T9" fmla="*/ 2147483646 h 70"/>
              <a:gd name="T10" fmla="*/ 2147483646 w 46"/>
              <a:gd name="T11" fmla="*/ 2147483646 h 70"/>
              <a:gd name="T12" fmla="*/ 2147483646 w 46"/>
              <a:gd name="T13" fmla="*/ 2147483646 h 70"/>
              <a:gd name="T14" fmla="*/ 2147483646 w 46"/>
              <a:gd name="T15" fmla="*/ 2147483646 h 70"/>
              <a:gd name="T16" fmla="*/ 2147483646 w 46"/>
              <a:gd name="T17" fmla="*/ 2147483646 h 70"/>
              <a:gd name="T18" fmla="*/ 2147483646 w 46"/>
              <a:gd name="T19" fmla="*/ 2147483646 h 7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6"/>
              <a:gd name="T31" fmla="*/ 0 h 70"/>
              <a:gd name="T32" fmla="*/ 46 w 46"/>
              <a:gd name="T33" fmla="*/ 70 h 7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6" h="70">
                <a:moveTo>
                  <a:pt x="15" y="2"/>
                </a:moveTo>
                <a:cubicBezTo>
                  <a:pt x="7" y="3"/>
                  <a:pt x="5" y="24"/>
                  <a:pt x="9" y="27"/>
                </a:cubicBezTo>
                <a:cubicBezTo>
                  <a:pt x="14" y="30"/>
                  <a:pt x="5" y="27"/>
                  <a:pt x="2" y="30"/>
                </a:cubicBezTo>
                <a:cubicBezTo>
                  <a:pt x="0" y="34"/>
                  <a:pt x="10" y="38"/>
                  <a:pt x="16" y="41"/>
                </a:cubicBezTo>
                <a:cubicBezTo>
                  <a:pt x="22" y="43"/>
                  <a:pt x="25" y="49"/>
                  <a:pt x="24" y="55"/>
                </a:cubicBezTo>
                <a:cubicBezTo>
                  <a:pt x="23" y="60"/>
                  <a:pt x="29" y="70"/>
                  <a:pt x="35" y="64"/>
                </a:cubicBezTo>
                <a:cubicBezTo>
                  <a:pt x="40" y="58"/>
                  <a:pt x="40" y="45"/>
                  <a:pt x="40" y="38"/>
                </a:cubicBezTo>
                <a:cubicBezTo>
                  <a:pt x="40" y="32"/>
                  <a:pt x="46" y="22"/>
                  <a:pt x="44" y="19"/>
                </a:cubicBezTo>
                <a:cubicBezTo>
                  <a:pt x="41" y="15"/>
                  <a:pt x="35" y="0"/>
                  <a:pt x="31" y="3"/>
                </a:cubicBezTo>
                <a:cubicBezTo>
                  <a:pt x="28" y="5"/>
                  <a:pt x="15" y="2"/>
                  <a:pt x="15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Freeform 426"/>
          <p:cNvSpPr>
            <a:spLocks/>
          </p:cNvSpPr>
          <p:nvPr userDrawn="1"/>
        </p:nvSpPr>
        <p:spPr bwMode="auto">
          <a:xfrm>
            <a:off x="3567651" y="2609264"/>
            <a:ext cx="28477" cy="25125"/>
          </a:xfrm>
          <a:custGeom>
            <a:avLst/>
            <a:gdLst>
              <a:gd name="T0" fmla="*/ 2147483646 w 30"/>
              <a:gd name="T1" fmla="*/ 2147483646 h 27"/>
              <a:gd name="T2" fmla="*/ 2147483646 w 30"/>
              <a:gd name="T3" fmla="*/ 2147483646 h 27"/>
              <a:gd name="T4" fmla="*/ 2147483646 w 30"/>
              <a:gd name="T5" fmla="*/ 2147483646 h 27"/>
              <a:gd name="T6" fmla="*/ 2147483646 w 30"/>
              <a:gd name="T7" fmla="*/ 2147483646 h 27"/>
              <a:gd name="T8" fmla="*/ 2147483646 w 30"/>
              <a:gd name="T9" fmla="*/ 2147483646 h 27"/>
              <a:gd name="T10" fmla="*/ 2147483646 w 30"/>
              <a:gd name="T11" fmla="*/ 2147483646 h 2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"/>
              <a:gd name="T19" fmla="*/ 0 h 27"/>
              <a:gd name="T20" fmla="*/ 30 w 30"/>
              <a:gd name="T21" fmla="*/ 27 h 2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" h="27">
                <a:moveTo>
                  <a:pt x="12" y="1"/>
                </a:moveTo>
                <a:cubicBezTo>
                  <a:pt x="9" y="0"/>
                  <a:pt x="0" y="8"/>
                  <a:pt x="5" y="16"/>
                </a:cubicBezTo>
                <a:cubicBezTo>
                  <a:pt x="11" y="24"/>
                  <a:pt x="9" y="20"/>
                  <a:pt x="15" y="23"/>
                </a:cubicBezTo>
                <a:cubicBezTo>
                  <a:pt x="20" y="27"/>
                  <a:pt x="25" y="19"/>
                  <a:pt x="25" y="19"/>
                </a:cubicBezTo>
                <a:cubicBezTo>
                  <a:pt x="30" y="9"/>
                  <a:pt x="30" y="9"/>
                  <a:pt x="30" y="9"/>
                </a:cubicBezTo>
                <a:lnTo>
                  <a:pt x="12" y="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Freeform 427"/>
          <p:cNvSpPr>
            <a:spLocks/>
          </p:cNvSpPr>
          <p:nvPr userDrawn="1"/>
        </p:nvSpPr>
        <p:spPr bwMode="auto">
          <a:xfrm>
            <a:off x="3490596" y="2647792"/>
            <a:ext cx="63653" cy="65329"/>
          </a:xfrm>
          <a:custGeom>
            <a:avLst/>
            <a:gdLst>
              <a:gd name="T0" fmla="*/ 2147483646 w 67"/>
              <a:gd name="T1" fmla="*/ 2147483646 h 70"/>
              <a:gd name="T2" fmla="*/ 2147483646 w 67"/>
              <a:gd name="T3" fmla="*/ 2147483646 h 70"/>
              <a:gd name="T4" fmla="*/ 2147483646 w 67"/>
              <a:gd name="T5" fmla="*/ 2147483646 h 70"/>
              <a:gd name="T6" fmla="*/ 2147483646 w 67"/>
              <a:gd name="T7" fmla="*/ 2147483646 h 70"/>
              <a:gd name="T8" fmla="*/ 2147483646 w 67"/>
              <a:gd name="T9" fmla="*/ 2147483646 h 70"/>
              <a:gd name="T10" fmla="*/ 2147483646 w 67"/>
              <a:gd name="T11" fmla="*/ 2147483646 h 70"/>
              <a:gd name="T12" fmla="*/ 2147483646 w 67"/>
              <a:gd name="T13" fmla="*/ 2147483646 h 70"/>
              <a:gd name="T14" fmla="*/ 2147483646 w 67"/>
              <a:gd name="T15" fmla="*/ 2147483646 h 70"/>
              <a:gd name="T16" fmla="*/ 2147483646 w 67"/>
              <a:gd name="T17" fmla="*/ 2147483646 h 70"/>
              <a:gd name="T18" fmla="*/ 2147483646 w 67"/>
              <a:gd name="T19" fmla="*/ 2147483646 h 70"/>
              <a:gd name="T20" fmla="*/ 2147483646 w 67"/>
              <a:gd name="T21" fmla="*/ 2147483646 h 70"/>
              <a:gd name="T22" fmla="*/ 2147483646 w 67"/>
              <a:gd name="T23" fmla="*/ 2147483646 h 70"/>
              <a:gd name="T24" fmla="*/ 2147483646 w 67"/>
              <a:gd name="T25" fmla="*/ 2147483646 h 7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7"/>
              <a:gd name="T40" fmla="*/ 0 h 70"/>
              <a:gd name="T41" fmla="*/ 67 w 67"/>
              <a:gd name="T42" fmla="*/ 70 h 7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7" h="70">
                <a:moveTo>
                  <a:pt x="39" y="13"/>
                </a:moveTo>
                <a:cubicBezTo>
                  <a:pt x="38" y="19"/>
                  <a:pt x="28" y="26"/>
                  <a:pt x="25" y="28"/>
                </a:cubicBezTo>
                <a:cubicBezTo>
                  <a:pt x="22" y="31"/>
                  <a:pt x="16" y="24"/>
                  <a:pt x="16" y="24"/>
                </a:cubicBezTo>
                <a:cubicBezTo>
                  <a:pt x="16" y="24"/>
                  <a:pt x="8" y="29"/>
                  <a:pt x="7" y="25"/>
                </a:cubicBezTo>
                <a:cubicBezTo>
                  <a:pt x="5" y="20"/>
                  <a:pt x="10" y="0"/>
                  <a:pt x="5" y="2"/>
                </a:cubicBezTo>
                <a:cubicBezTo>
                  <a:pt x="1" y="4"/>
                  <a:pt x="0" y="41"/>
                  <a:pt x="4" y="42"/>
                </a:cubicBezTo>
                <a:cubicBezTo>
                  <a:pt x="9" y="43"/>
                  <a:pt x="17" y="36"/>
                  <a:pt x="22" y="39"/>
                </a:cubicBezTo>
                <a:cubicBezTo>
                  <a:pt x="26" y="41"/>
                  <a:pt x="15" y="54"/>
                  <a:pt x="13" y="57"/>
                </a:cubicBezTo>
                <a:cubicBezTo>
                  <a:pt x="12" y="61"/>
                  <a:pt x="18" y="65"/>
                  <a:pt x="23" y="68"/>
                </a:cubicBezTo>
                <a:cubicBezTo>
                  <a:pt x="27" y="70"/>
                  <a:pt x="37" y="61"/>
                  <a:pt x="42" y="63"/>
                </a:cubicBezTo>
                <a:cubicBezTo>
                  <a:pt x="48" y="65"/>
                  <a:pt x="57" y="54"/>
                  <a:pt x="58" y="49"/>
                </a:cubicBezTo>
                <a:cubicBezTo>
                  <a:pt x="60" y="44"/>
                  <a:pt x="67" y="19"/>
                  <a:pt x="62" y="18"/>
                </a:cubicBezTo>
                <a:cubicBezTo>
                  <a:pt x="57" y="17"/>
                  <a:pt x="39" y="13"/>
                  <a:pt x="39" y="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Freeform 428"/>
          <p:cNvSpPr>
            <a:spLocks/>
          </p:cNvSpPr>
          <p:nvPr userDrawn="1"/>
        </p:nvSpPr>
        <p:spPr bwMode="auto">
          <a:xfrm>
            <a:off x="3582727" y="2676269"/>
            <a:ext cx="137357" cy="77055"/>
          </a:xfrm>
          <a:custGeom>
            <a:avLst/>
            <a:gdLst>
              <a:gd name="T0" fmla="*/ 2147483646 w 148"/>
              <a:gd name="T1" fmla="*/ 2147483646 h 82"/>
              <a:gd name="T2" fmla="*/ 2147483646 w 148"/>
              <a:gd name="T3" fmla="*/ 2147483646 h 82"/>
              <a:gd name="T4" fmla="*/ 2147483646 w 148"/>
              <a:gd name="T5" fmla="*/ 2147483646 h 82"/>
              <a:gd name="T6" fmla="*/ 2147483646 w 148"/>
              <a:gd name="T7" fmla="*/ 2147483646 h 82"/>
              <a:gd name="T8" fmla="*/ 2147483646 w 148"/>
              <a:gd name="T9" fmla="*/ 2147483646 h 82"/>
              <a:gd name="T10" fmla="*/ 2147483646 w 148"/>
              <a:gd name="T11" fmla="*/ 2147483646 h 82"/>
              <a:gd name="T12" fmla="*/ 2147483646 w 148"/>
              <a:gd name="T13" fmla="*/ 2147483646 h 82"/>
              <a:gd name="T14" fmla="*/ 2147483646 w 148"/>
              <a:gd name="T15" fmla="*/ 2147483646 h 82"/>
              <a:gd name="T16" fmla="*/ 2147483646 w 148"/>
              <a:gd name="T17" fmla="*/ 2147483646 h 82"/>
              <a:gd name="T18" fmla="*/ 2147483646 w 148"/>
              <a:gd name="T19" fmla="*/ 2147483646 h 82"/>
              <a:gd name="T20" fmla="*/ 2147483646 w 148"/>
              <a:gd name="T21" fmla="*/ 2147483646 h 82"/>
              <a:gd name="T22" fmla="*/ 2147483646 w 148"/>
              <a:gd name="T23" fmla="*/ 2147483646 h 82"/>
              <a:gd name="T24" fmla="*/ 2147483646 w 148"/>
              <a:gd name="T25" fmla="*/ 2147483646 h 82"/>
              <a:gd name="T26" fmla="*/ 2147483646 w 148"/>
              <a:gd name="T27" fmla="*/ 2147483646 h 82"/>
              <a:gd name="T28" fmla="*/ 2147483646 w 148"/>
              <a:gd name="T29" fmla="*/ 2147483646 h 82"/>
              <a:gd name="T30" fmla="*/ 2147483646 w 148"/>
              <a:gd name="T31" fmla="*/ 2147483646 h 82"/>
              <a:gd name="T32" fmla="*/ 2147483646 w 148"/>
              <a:gd name="T33" fmla="*/ 2147483646 h 8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8"/>
              <a:gd name="T52" fmla="*/ 0 h 82"/>
              <a:gd name="T53" fmla="*/ 148 w 148"/>
              <a:gd name="T54" fmla="*/ 82 h 82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8" h="82">
                <a:moveTo>
                  <a:pt x="22" y="1"/>
                </a:moveTo>
                <a:cubicBezTo>
                  <a:pt x="15" y="0"/>
                  <a:pt x="0" y="1"/>
                  <a:pt x="9" y="11"/>
                </a:cubicBezTo>
                <a:cubicBezTo>
                  <a:pt x="18" y="22"/>
                  <a:pt x="22" y="30"/>
                  <a:pt x="17" y="34"/>
                </a:cubicBezTo>
                <a:cubicBezTo>
                  <a:pt x="12" y="39"/>
                  <a:pt x="4" y="40"/>
                  <a:pt x="5" y="47"/>
                </a:cubicBezTo>
                <a:cubicBezTo>
                  <a:pt x="7" y="54"/>
                  <a:pt x="10" y="53"/>
                  <a:pt x="17" y="56"/>
                </a:cubicBezTo>
                <a:cubicBezTo>
                  <a:pt x="24" y="60"/>
                  <a:pt x="32" y="46"/>
                  <a:pt x="41" y="56"/>
                </a:cubicBezTo>
                <a:cubicBezTo>
                  <a:pt x="50" y="67"/>
                  <a:pt x="60" y="62"/>
                  <a:pt x="66" y="68"/>
                </a:cubicBezTo>
                <a:cubicBezTo>
                  <a:pt x="73" y="74"/>
                  <a:pt x="78" y="61"/>
                  <a:pt x="87" y="71"/>
                </a:cubicBezTo>
                <a:cubicBezTo>
                  <a:pt x="96" y="82"/>
                  <a:pt x="100" y="62"/>
                  <a:pt x="106" y="67"/>
                </a:cubicBezTo>
                <a:cubicBezTo>
                  <a:pt x="111" y="71"/>
                  <a:pt x="121" y="47"/>
                  <a:pt x="125" y="64"/>
                </a:cubicBezTo>
                <a:cubicBezTo>
                  <a:pt x="130" y="82"/>
                  <a:pt x="148" y="39"/>
                  <a:pt x="144" y="38"/>
                </a:cubicBezTo>
                <a:cubicBezTo>
                  <a:pt x="139" y="37"/>
                  <a:pt x="108" y="26"/>
                  <a:pt x="107" y="30"/>
                </a:cubicBezTo>
                <a:cubicBezTo>
                  <a:pt x="106" y="33"/>
                  <a:pt x="90" y="40"/>
                  <a:pt x="83" y="42"/>
                </a:cubicBezTo>
                <a:cubicBezTo>
                  <a:pt x="76" y="45"/>
                  <a:pt x="62" y="33"/>
                  <a:pt x="58" y="36"/>
                </a:cubicBezTo>
                <a:cubicBezTo>
                  <a:pt x="55" y="38"/>
                  <a:pt x="49" y="30"/>
                  <a:pt x="45" y="31"/>
                </a:cubicBezTo>
                <a:cubicBezTo>
                  <a:pt x="40" y="32"/>
                  <a:pt x="30" y="17"/>
                  <a:pt x="32" y="14"/>
                </a:cubicBezTo>
                <a:cubicBezTo>
                  <a:pt x="34" y="10"/>
                  <a:pt x="28" y="2"/>
                  <a:pt x="22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Freeform 429"/>
          <p:cNvSpPr>
            <a:spLocks/>
          </p:cNvSpPr>
          <p:nvPr userDrawn="1"/>
        </p:nvSpPr>
        <p:spPr bwMode="auto">
          <a:xfrm>
            <a:off x="3535824" y="2699721"/>
            <a:ext cx="43552" cy="36852"/>
          </a:xfrm>
          <a:custGeom>
            <a:avLst/>
            <a:gdLst>
              <a:gd name="T0" fmla="*/ 2147483646 w 47"/>
              <a:gd name="T1" fmla="*/ 2147483646 h 38"/>
              <a:gd name="T2" fmla="*/ 2147483646 w 47"/>
              <a:gd name="T3" fmla="*/ 2147483646 h 38"/>
              <a:gd name="T4" fmla="*/ 2147483646 w 47"/>
              <a:gd name="T5" fmla="*/ 2147483646 h 38"/>
              <a:gd name="T6" fmla="*/ 2147483646 w 47"/>
              <a:gd name="T7" fmla="*/ 2147483646 h 38"/>
              <a:gd name="T8" fmla="*/ 2147483646 w 47"/>
              <a:gd name="T9" fmla="*/ 2147483646 h 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7"/>
              <a:gd name="T16" fmla="*/ 0 h 38"/>
              <a:gd name="T17" fmla="*/ 47 w 47"/>
              <a:gd name="T18" fmla="*/ 38 h 3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7" h="38">
                <a:moveTo>
                  <a:pt x="23" y="1"/>
                </a:moveTo>
                <a:cubicBezTo>
                  <a:pt x="16" y="0"/>
                  <a:pt x="0" y="5"/>
                  <a:pt x="10" y="21"/>
                </a:cubicBezTo>
                <a:cubicBezTo>
                  <a:pt x="21" y="37"/>
                  <a:pt x="20" y="31"/>
                  <a:pt x="30" y="35"/>
                </a:cubicBezTo>
                <a:cubicBezTo>
                  <a:pt x="40" y="38"/>
                  <a:pt x="47" y="31"/>
                  <a:pt x="47" y="24"/>
                </a:cubicBezTo>
                <a:cubicBezTo>
                  <a:pt x="47" y="17"/>
                  <a:pt x="29" y="2"/>
                  <a:pt x="2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Freeform 430"/>
          <p:cNvSpPr>
            <a:spLocks/>
          </p:cNvSpPr>
          <p:nvPr userDrawn="1"/>
        </p:nvSpPr>
        <p:spPr bwMode="auto">
          <a:xfrm>
            <a:off x="4187435" y="3450162"/>
            <a:ext cx="187611" cy="174209"/>
          </a:xfrm>
          <a:custGeom>
            <a:avLst/>
            <a:gdLst>
              <a:gd name="T0" fmla="*/ 2147483646 w 200"/>
              <a:gd name="T1" fmla="*/ 2147483646 h 187"/>
              <a:gd name="T2" fmla="*/ 2147483646 w 200"/>
              <a:gd name="T3" fmla="*/ 2147483646 h 187"/>
              <a:gd name="T4" fmla="*/ 2147483646 w 200"/>
              <a:gd name="T5" fmla="*/ 2147483646 h 187"/>
              <a:gd name="T6" fmla="*/ 2147483646 w 200"/>
              <a:gd name="T7" fmla="*/ 2147483646 h 187"/>
              <a:gd name="T8" fmla="*/ 2147483646 w 200"/>
              <a:gd name="T9" fmla="*/ 2147483646 h 187"/>
              <a:gd name="T10" fmla="*/ 2147483646 w 200"/>
              <a:gd name="T11" fmla="*/ 2147483646 h 187"/>
              <a:gd name="T12" fmla="*/ 2147483646 w 200"/>
              <a:gd name="T13" fmla="*/ 2147483646 h 187"/>
              <a:gd name="T14" fmla="*/ 2147483646 w 200"/>
              <a:gd name="T15" fmla="*/ 2147483646 h 187"/>
              <a:gd name="T16" fmla="*/ 2147483646 w 200"/>
              <a:gd name="T17" fmla="*/ 2147483646 h 187"/>
              <a:gd name="T18" fmla="*/ 2147483646 w 200"/>
              <a:gd name="T19" fmla="*/ 2147483646 h 187"/>
              <a:gd name="T20" fmla="*/ 2147483646 w 200"/>
              <a:gd name="T21" fmla="*/ 2147483646 h 187"/>
              <a:gd name="T22" fmla="*/ 2147483646 w 200"/>
              <a:gd name="T23" fmla="*/ 2147483646 h 187"/>
              <a:gd name="T24" fmla="*/ 2147483646 w 200"/>
              <a:gd name="T25" fmla="*/ 2147483646 h 187"/>
              <a:gd name="T26" fmla="*/ 2147483646 w 200"/>
              <a:gd name="T27" fmla="*/ 2147483646 h 187"/>
              <a:gd name="T28" fmla="*/ 2147483646 w 200"/>
              <a:gd name="T29" fmla="*/ 2147483646 h 187"/>
              <a:gd name="T30" fmla="*/ 2147483646 w 200"/>
              <a:gd name="T31" fmla="*/ 2147483646 h 187"/>
              <a:gd name="T32" fmla="*/ 2147483646 w 200"/>
              <a:gd name="T33" fmla="*/ 2147483646 h 187"/>
              <a:gd name="T34" fmla="*/ 2147483646 w 200"/>
              <a:gd name="T35" fmla="*/ 2147483646 h 187"/>
              <a:gd name="T36" fmla="*/ 2147483646 w 200"/>
              <a:gd name="T37" fmla="*/ 2147483646 h 187"/>
              <a:gd name="T38" fmla="*/ 2147483646 w 200"/>
              <a:gd name="T39" fmla="*/ 2147483646 h 187"/>
              <a:gd name="T40" fmla="*/ 2147483646 w 200"/>
              <a:gd name="T41" fmla="*/ 2147483646 h 187"/>
              <a:gd name="T42" fmla="*/ 2147483646 w 200"/>
              <a:gd name="T43" fmla="*/ 2147483646 h 187"/>
              <a:gd name="T44" fmla="*/ 2147483646 w 200"/>
              <a:gd name="T45" fmla="*/ 2147483646 h 1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00"/>
              <a:gd name="T70" fmla="*/ 0 h 187"/>
              <a:gd name="T71" fmla="*/ 200 w 200"/>
              <a:gd name="T72" fmla="*/ 187 h 187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00" h="187">
                <a:moveTo>
                  <a:pt x="80" y="25"/>
                </a:moveTo>
                <a:cubicBezTo>
                  <a:pt x="76" y="11"/>
                  <a:pt x="64" y="0"/>
                  <a:pt x="56" y="14"/>
                </a:cubicBezTo>
                <a:cubicBezTo>
                  <a:pt x="47" y="27"/>
                  <a:pt x="42" y="18"/>
                  <a:pt x="45" y="43"/>
                </a:cubicBezTo>
                <a:cubicBezTo>
                  <a:pt x="47" y="67"/>
                  <a:pt x="45" y="73"/>
                  <a:pt x="36" y="86"/>
                </a:cubicBezTo>
                <a:cubicBezTo>
                  <a:pt x="28" y="100"/>
                  <a:pt x="46" y="100"/>
                  <a:pt x="34" y="106"/>
                </a:cubicBezTo>
                <a:cubicBezTo>
                  <a:pt x="22" y="112"/>
                  <a:pt x="0" y="102"/>
                  <a:pt x="12" y="114"/>
                </a:cubicBezTo>
                <a:cubicBezTo>
                  <a:pt x="24" y="126"/>
                  <a:pt x="41" y="121"/>
                  <a:pt x="32" y="131"/>
                </a:cubicBezTo>
                <a:cubicBezTo>
                  <a:pt x="22" y="141"/>
                  <a:pt x="5" y="135"/>
                  <a:pt x="15" y="146"/>
                </a:cubicBezTo>
                <a:cubicBezTo>
                  <a:pt x="24" y="156"/>
                  <a:pt x="50" y="147"/>
                  <a:pt x="59" y="148"/>
                </a:cubicBezTo>
                <a:cubicBezTo>
                  <a:pt x="69" y="149"/>
                  <a:pt x="80" y="140"/>
                  <a:pt x="92" y="149"/>
                </a:cubicBezTo>
                <a:cubicBezTo>
                  <a:pt x="104" y="159"/>
                  <a:pt x="110" y="143"/>
                  <a:pt x="121" y="149"/>
                </a:cubicBezTo>
                <a:cubicBezTo>
                  <a:pt x="132" y="155"/>
                  <a:pt x="99" y="171"/>
                  <a:pt x="132" y="166"/>
                </a:cubicBezTo>
                <a:cubicBezTo>
                  <a:pt x="165" y="161"/>
                  <a:pt x="162" y="131"/>
                  <a:pt x="171" y="159"/>
                </a:cubicBezTo>
                <a:cubicBezTo>
                  <a:pt x="179" y="187"/>
                  <a:pt x="183" y="183"/>
                  <a:pt x="191" y="176"/>
                </a:cubicBezTo>
                <a:cubicBezTo>
                  <a:pt x="200" y="169"/>
                  <a:pt x="200" y="125"/>
                  <a:pt x="190" y="126"/>
                </a:cubicBezTo>
                <a:cubicBezTo>
                  <a:pt x="180" y="127"/>
                  <a:pt x="184" y="103"/>
                  <a:pt x="173" y="117"/>
                </a:cubicBezTo>
                <a:cubicBezTo>
                  <a:pt x="162" y="130"/>
                  <a:pt x="154" y="117"/>
                  <a:pt x="157" y="108"/>
                </a:cubicBezTo>
                <a:cubicBezTo>
                  <a:pt x="161" y="100"/>
                  <a:pt x="170" y="79"/>
                  <a:pt x="153" y="87"/>
                </a:cubicBezTo>
                <a:cubicBezTo>
                  <a:pt x="136" y="96"/>
                  <a:pt x="159" y="73"/>
                  <a:pt x="127" y="79"/>
                </a:cubicBezTo>
                <a:cubicBezTo>
                  <a:pt x="96" y="85"/>
                  <a:pt x="82" y="84"/>
                  <a:pt x="81" y="73"/>
                </a:cubicBezTo>
                <a:cubicBezTo>
                  <a:pt x="80" y="62"/>
                  <a:pt x="76" y="50"/>
                  <a:pt x="81" y="44"/>
                </a:cubicBezTo>
                <a:cubicBezTo>
                  <a:pt x="86" y="38"/>
                  <a:pt x="87" y="26"/>
                  <a:pt x="87" y="26"/>
                </a:cubicBezTo>
                <a:lnTo>
                  <a:pt x="80" y="2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Freeform 431"/>
          <p:cNvSpPr>
            <a:spLocks noEditPoints="1"/>
          </p:cNvSpPr>
          <p:nvPr userDrawn="1"/>
        </p:nvSpPr>
        <p:spPr bwMode="auto">
          <a:xfrm>
            <a:off x="2495592" y="3411634"/>
            <a:ext cx="1534385" cy="1016781"/>
          </a:xfrm>
          <a:custGeom>
            <a:avLst/>
            <a:gdLst>
              <a:gd name="T0" fmla="*/ 2147483646 w 1644"/>
              <a:gd name="T1" fmla="*/ 2147483646 h 1089"/>
              <a:gd name="T2" fmla="*/ 2147483646 w 1644"/>
              <a:gd name="T3" fmla="*/ 2147483646 h 1089"/>
              <a:gd name="T4" fmla="*/ 2147483646 w 1644"/>
              <a:gd name="T5" fmla="*/ 2147483646 h 1089"/>
              <a:gd name="T6" fmla="*/ 2147483646 w 1644"/>
              <a:gd name="T7" fmla="*/ 2147483646 h 1089"/>
              <a:gd name="T8" fmla="*/ 2147483646 w 1644"/>
              <a:gd name="T9" fmla="*/ 2147483646 h 1089"/>
              <a:gd name="T10" fmla="*/ 2147483646 w 1644"/>
              <a:gd name="T11" fmla="*/ 2147483646 h 1089"/>
              <a:gd name="T12" fmla="*/ 2147483646 w 1644"/>
              <a:gd name="T13" fmla="*/ 2147483646 h 1089"/>
              <a:gd name="T14" fmla="*/ 2147483646 w 1644"/>
              <a:gd name="T15" fmla="*/ 2147483646 h 1089"/>
              <a:gd name="T16" fmla="*/ 2147483646 w 1644"/>
              <a:gd name="T17" fmla="*/ 2147483646 h 1089"/>
              <a:gd name="T18" fmla="*/ 2147483646 w 1644"/>
              <a:gd name="T19" fmla="*/ 2147483646 h 1089"/>
              <a:gd name="T20" fmla="*/ 2147483646 w 1644"/>
              <a:gd name="T21" fmla="*/ 2147483646 h 1089"/>
              <a:gd name="T22" fmla="*/ 2147483646 w 1644"/>
              <a:gd name="T23" fmla="*/ 2147483646 h 1089"/>
              <a:gd name="T24" fmla="*/ 2147483646 w 1644"/>
              <a:gd name="T25" fmla="*/ 2147483646 h 1089"/>
              <a:gd name="T26" fmla="*/ 2147483646 w 1644"/>
              <a:gd name="T27" fmla="*/ 2147483646 h 1089"/>
              <a:gd name="T28" fmla="*/ 2147483646 w 1644"/>
              <a:gd name="T29" fmla="*/ 2147483646 h 1089"/>
              <a:gd name="T30" fmla="*/ 2147483646 w 1644"/>
              <a:gd name="T31" fmla="*/ 2147483646 h 1089"/>
              <a:gd name="T32" fmla="*/ 2147483646 w 1644"/>
              <a:gd name="T33" fmla="*/ 2147483646 h 1089"/>
              <a:gd name="T34" fmla="*/ 2147483646 w 1644"/>
              <a:gd name="T35" fmla="*/ 2147483646 h 1089"/>
              <a:gd name="T36" fmla="*/ 2147483646 w 1644"/>
              <a:gd name="T37" fmla="*/ 2147483646 h 1089"/>
              <a:gd name="T38" fmla="*/ 2147483646 w 1644"/>
              <a:gd name="T39" fmla="*/ 2147483646 h 1089"/>
              <a:gd name="T40" fmla="*/ 2147483646 w 1644"/>
              <a:gd name="T41" fmla="*/ 2147483646 h 1089"/>
              <a:gd name="T42" fmla="*/ 2147483646 w 1644"/>
              <a:gd name="T43" fmla="*/ 2147483646 h 1089"/>
              <a:gd name="T44" fmla="*/ 2147483646 w 1644"/>
              <a:gd name="T45" fmla="*/ 2147483646 h 1089"/>
              <a:gd name="T46" fmla="*/ 2147483646 w 1644"/>
              <a:gd name="T47" fmla="*/ 2147483646 h 1089"/>
              <a:gd name="T48" fmla="*/ 2147483646 w 1644"/>
              <a:gd name="T49" fmla="*/ 2147483646 h 1089"/>
              <a:gd name="T50" fmla="*/ 2147483646 w 1644"/>
              <a:gd name="T51" fmla="*/ 2147483646 h 1089"/>
              <a:gd name="T52" fmla="*/ 2147483646 w 1644"/>
              <a:gd name="T53" fmla="*/ 2147483646 h 1089"/>
              <a:gd name="T54" fmla="*/ 2147483646 w 1644"/>
              <a:gd name="T55" fmla="*/ 2147483646 h 1089"/>
              <a:gd name="T56" fmla="*/ 2147483646 w 1644"/>
              <a:gd name="T57" fmla="*/ 2147483646 h 1089"/>
              <a:gd name="T58" fmla="*/ 2147483646 w 1644"/>
              <a:gd name="T59" fmla="*/ 2147483646 h 1089"/>
              <a:gd name="T60" fmla="*/ 2147483646 w 1644"/>
              <a:gd name="T61" fmla="*/ 2147483646 h 1089"/>
              <a:gd name="T62" fmla="*/ 2147483646 w 1644"/>
              <a:gd name="T63" fmla="*/ 2147483646 h 1089"/>
              <a:gd name="T64" fmla="*/ 2147483646 w 1644"/>
              <a:gd name="T65" fmla="*/ 2147483646 h 1089"/>
              <a:gd name="T66" fmla="*/ 2147483646 w 1644"/>
              <a:gd name="T67" fmla="*/ 2147483646 h 1089"/>
              <a:gd name="T68" fmla="*/ 2147483646 w 1644"/>
              <a:gd name="T69" fmla="*/ 2147483646 h 1089"/>
              <a:gd name="T70" fmla="*/ 2147483646 w 1644"/>
              <a:gd name="T71" fmla="*/ 2147483646 h 1089"/>
              <a:gd name="T72" fmla="*/ 2147483646 w 1644"/>
              <a:gd name="T73" fmla="*/ 2147483646 h 1089"/>
              <a:gd name="T74" fmla="*/ 2147483646 w 1644"/>
              <a:gd name="T75" fmla="*/ 2147483646 h 1089"/>
              <a:gd name="T76" fmla="*/ 2147483646 w 1644"/>
              <a:gd name="T77" fmla="*/ 2147483646 h 1089"/>
              <a:gd name="T78" fmla="*/ 2147483646 w 1644"/>
              <a:gd name="T79" fmla="*/ 2147483646 h 1089"/>
              <a:gd name="T80" fmla="*/ 2147483646 w 1644"/>
              <a:gd name="T81" fmla="*/ 2147483646 h 1089"/>
              <a:gd name="T82" fmla="*/ 2147483646 w 1644"/>
              <a:gd name="T83" fmla="*/ 2147483646 h 1089"/>
              <a:gd name="T84" fmla="*/ 2147483646 w 1644"/>
              <a:gd name="T85" fmla="*/ 2147483646 h 1089"/>
              <a:gd name="T86" fmla="*/ 2147483646 w 1644"/>
              <a:gd name="T87" fmla="*/ 2147483646 h 1089"/>
              <a:gd name="T88" fmla="*/ 2147483646 w 1644"/>
              <a:gd name="T89" fmla="*/ 2147483646 h 1089"/>
              <a:gd name="T90" fmla="*/ 2147483646 w 1644"/>
              <a:gd name="T91" fmla="*/ 2147483646 h 1089"/>
              <a:gd name="T92" fmla="*/ 2147483646 w 1644"/>
              <a:gd name="T93" fmla="*/ 2147483646 h 1089"/>
              <a:gd name="T94" fmla="*/ 2147483646 w 1644"/>
              <a:gd name="T95" fmla="*/ 2147483646 h 1089"/>
              <a:gd name="T96" fmla="*/ 2147483646 w 1644"/>
              <a:gd name="T97" fmla="*/ 2147483646 h 1089"/>
              <a:gd name="T98" fmla="*/ 2147483646 w 1644"/>
              <a:gd name="T99" fmla="*/ 2147483646 h 1089"/>
              <a:gd name="T100" fmla="*/ 2147483646 w 1644"/>
              <a:gd name="T101" fmla="*/ 2147483646 h 1089"/>
              <a:gd name="T102" fmla="*/ 2147483646 w 1644"/>
              <a:gd name="T103" fmla="*/ 2147483646 h 1089"/>
              <a:gd name="T104" fmla="*/ 2147483646 w 1644"/>
              <a:gd name="T105" fmla="*/ 2147483646 h 1089"/>
              <a:gd name="T106" fmla="*/ 2147483646 w 1644"/>
              <a:gd name="T107" fmla="*/ 2147483646 h 1089"/>
              <a:gd name="T108" fmla="*/ 2147483646 w 1644"/>
              <a:gd name="T109" fmla="*/ 2147483646 h 108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44"/>
              <a:gd name="T166" fmla="*/ 0 h 1089"/>
              <a:gd name="T167" fmla="*/ 1644 w 1644"/>
              <a:gd name="T168" fmla="*/ 1089 h 108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44" h="1089">
                <a:moveTo>
                  <a:pt x="1642" y="328"/>
                </a:moveTo>
                <a:cubicBezTo>
                  <a:pt x="1636" y="320"/>
                  <a:pt x="1622" y="299"/>
                  <a:pt x="1615" y="284"/>
                </a:cubicBezTo>
                <a:cubicBezTo>
                  <a:pt x="1608" y="268"/>
                  <a:pt x="1618" y="253"/>
                  <a:pt x="1608" y="244"/>
                </a:cubicBezTo>
                <a:cubicBezTo>
                  <a:pt x="1598" y="236"/>
                  <a:pt x="1593" y="249"/>
                  <a:pt x="1583" y="239"/>
                </a:cubicBezTo>
                <a:cubicBezTo>
                  <a:pt x="1572" y="229"/>
                  <a:pt x="1565" y="239"/>
                  <a:pt x="1560" y="251"/>
                </a:cubicBezTo>
                <a:cubicBezTo>
                  <a:pt x="1555" y="263"/>
                  <a:pt x="1547" y="278"/>
                  <a:pt x="1542" y="302"/>
                </a:cubicBezTo>
                <a:cubicBezTo>
                  <a:pt x="1536" y="326"/>
                  <a:pt x="1514" y="326"/>
                  <a:pt x="1500" y="332"/>
                </a:cubicBezTo>
                <a:cubicBezTo>
                  <a:pt x="1487" y="337"/>
                  <a:pt x="1463" y="338"/>
                  <a:pt x="1439" y="335"/>
                </a:cubicBezTo>
                <a:cubicBezTo>
                  <a:pt x="1415" y="331"/>
                  <a:pt x="1413" y="337"/>
                  <a:pt x="1406" y="343"/>
                </a:cubicBezTo>
                <a:cubicBezTo>
                  <a:pt x="1400" y="350"/>
                  <a:pt x="1386" y="359"/>
                  <a:pt x="1386" y="359"/>
                </a:cubicBezTo>
                <a:cubicBezTo>
                  <a:pt x="1384" y="360"/>
                  <a:pt x="1384" y="360"/>
                  <a:pt x="1384" y="360"/>
                </a:cubicBezTo>
                <a:cubicBezTo>
                  <a:pt x="1386" y="363"/>
                  <a:pt x="1387" y="368"/>
                  <a:pt x="1387" y="368"/>
                </a:cubicBezTo>
                <a:cubicBezTo>
                  <a:pt x="1387" y="368"/>
                  <a:pt x="1385" y="387"/>
                  <a:pt x="1382" y="389"/>
                </a:cubicBezTo>
                <a:cubicBezTo>
                  <a:pt x="1378" y="391"/>
                  <a:pt x="1368" y="400"/>
                  <a:pt x="1361" y="401"/>
                </a:cubicBezTo>
                <a:cubicBezTo>
                  <a:pt x="1355" y="402"/>
                  <a:pt x="1340" y="404"/>
                  <a:pt x="1324" y="394"/>
                </a:cubicBezTo>
                <a:cubicBezTo>
                  <a:pt x="1308" y="383"/>
                  <a:pt x="1314" y="399"/>
                  <a:pt x="1305" y="402"/>
                </a:cubicBezTo>
                <a:cubicBezTo>
                  <a:pt x="1295" y="405"/>
                  <a:pt x="1289" y="391"/>
                  <a:pt x="1291" y="383"/>
                </a:cubicBezTo>
                <a:cubicBezTo>
                  <a:pt x="1291" y="380"/>
                  <a:pt x="1291" y="380"/>
                  <a:pt x="1291" y="380"/>
                </a:cubicBezTo>
                <a:cubicBezTo>
                  <a:pt x="1283" y="370"/>
                  <a:pt x="1270" y="355"/>
                  <a:pt x="1257" y="347"/>
                </a:cubicBezTo>
                <a:cubicBezTo>
                  <a:pt x="1257" y="347"/>
                  <a:pt x="1254" y="342"/>
                  <a:pt x="1250" y="336"/>
                </a:cubicBezTo>
                <a:cubicBezTo>
                  <a:pt x="1242" y="323"/>
                  <a:pt x="1235" y="320"/>
                  <a:pt x="1231" y="322"/>
                </a:cubicBezTo>
                <a:cubicBezTo>
                  <a:pt x="1227" y="324"/>
                  <a:pt x="1235" y="336"/>
                  <a:pt x="1233" y="339"/>
                </a:cubicBezTo>
                <a:cubicBezTo>
                  <a:pt x="1231" y="342"/>
                  <a:pt x="1237" y="369"/>
                  <a:pt x="1227" y="387"/>
                </a:cubicBezTo>
                <a:cubicBezTo>
                  <a:pt x="1217" y="405"/>
                  <a:pt x="1218" y="402"/>
                  <a:pt x="1208" y="390"/>
                </a:cubicBezTo>
                <a:cubicBezTo>
                  <a:pt x="1197" y="379"/>
                  <a:pt x="1203" y="379"/>
                  <a:pt x="1194" y="368"/>
                </a:cubicBezTo>
                <a:cubicBezTo>
                  <a:pt x="1184" y="357"/>
                  <a:pt x="1177" y="378"/>
                  <a:pt x="1167" y="378"/>
                </a:cubicBezTo>
                <a:cubicBezTo>
                  <a:pt x="1158" y="378"/>
                  <a:pt x="1176" y="358"/>
                  <a:pt x="1181" y="348"/>
                </a:cubicBezTo>
                <a:cubicBezTo>
                  <a:pt x="1186" y="337"/>
                  <a:pt x="1185" y="336"/>
                  <a:pt x="1181" y="327"/>
                </a:cubicBezTo>
                <a:cubicBezTo>
                  <a:pt x="1177" y="319"/>
                  <a:pt x="1173" y="316"/>
                  <a:pt x="1149" y="302"/>
                </a:cubicBezTo>
                <a:cubicBezTo>
                  <a:pt x="1143" y="298"/>
                  <a:pt x="1139" y="297"/>
                  <a:pt x="1136" y="296"/>
                </a:cubicBezTo>
                <a:cubicBezTo>
                  <a:pt x="1139" y="296"/>
                  <a:pt x="1141" y="296"/>
                  <a:pt x="1145" y="296"/>
                </a:cubicBezTo>
                <a:cubicBezTo>
                  <a:pt x="1154" y="296"/>
                  <a:pt x="1167" y="294"/>
                  <a:pt x="1166" y="286"/>
                </a:cubicBezTo>
                <a:cubicBezTo>
                  <a:pt x="1165" y="277"/>
                  <a:pt x="1158" y="278"/>
                  <a:pt x="1143" y="264"/>
                </a:cubicBezTo>
                <a:cubicBezTo>
                  <a:pt x="1128" y="249"/>
                  <a:pt x="1138" y="268"/>
                  <a:pt x="1115" y="258"/>
                </a:cubicBezTo>
                <a:cubicBezTo>
                  <a:pt x="1092" y="249"/>
                  <a:pt x="1104" y="261"/>
                  <a:pt x="1087" y="253"/>
                </a:cubicBezTo>
                <a:cubicBezTo>
                  <a:pt x="1070" y="244"/>
                  <a:pt x="1069" y="257"/>
                  <a:pt x="1065" y="245"/>
                </a:cubicBezTo>
                <a:cubicBezTo>
                  <a:pt x="1061" y="234"/>
                  <a:pt x="1061" y="237"/>
                  <a:pt x="1048" y="237"/>
                </a:cubicBezTo>
                <a:cubicBezTo>
                  <a:pt x="1035" y="237"/>
                  <a:pt x="1035" y="248"/>
                  <a:pt x="1012" y="250"/>
                </a:cubicBezTo>
                <a:cubicBezTo>
                  <a:pt x="988" y="252"/>
                  <a:pt x="991" y="251"/>
                  <a:pt x="964" y="252"/>
                </a:cubicBezTo>
                <a:cubicBezTo>
                  <a:pt x="936" y="253"/>
                  <a:pt x="961" y="244"/>
                  <a:pt x="965" y="239"/>
                </a:cubicBezTo>
                <a:cubicBezTo>
                  <a:pt x="968" y="234"/>
                  <a:pt x="986" y="228"/>
                  <a:pt x="1002" y="222"/>
                </a:cubicBezTo>
                <a:cubicBezTo>
                  <a:pt x="1014" y="217"/>
                  <a:pt x="1024" y="216"/>
                  <a:pt x="1032" y="208"/>
                </a:cubicBezTo>
                <a:cubicBezTo>
                  <a:pt x="1027" y="208"/>
                  <a:pt x="1027" y="208"/>
                  <a:pt x="1027" y="208"/>
                </a:cubicBezTo>
                <a:cubicBezTo>
                  <a:pt x="1027" y="208"/>
                  <a:pt x="1011" y="207"/>
                  <a:pt x="1003" y="207"/>
                </a:cubicBezTo>
                <a:cubicBezTo>
                  <a:pt x="994" y="207"/>
                  <a:pt x="993" y="208"/>
                  <a:pt x="989" y="200"/>
                </a:cubicBezTo>
                <a:cubicBezTo>
                  <a:pt x="986" y="191"/>
                  <a:pt x="976" y="196"/>
                  <a:pt x="970" y="196"/>
                </a:cubicBezTo>
                <a:cubicBezTo>
                  <a:pt x="965" y="196"/>
                  <a:pt x="958" y="198"/>
                  <a:pt x="953" y="193"/>
                </a:cubicBezTo>
                <a:cubicBezTo>
                  <a:pt x="948" y="188"/>
                  <a:pt x="941" y="184"/>
                  <a:pt x="933" y="184"/>
                </a:cubicBezTo>
                <a:cubicBezTo>
                  <a:pt x="924" y="184"/>
                  <a:pt x="909" y="172"/>
                  <a:pt x="897" y="169"/>
                </a:cubicBezTo>
                <a:cubicBezTo>
                  <a:pt x="885" y="166"/>
                  <a:pt x="899" y="152"/>
                  <a:pt x="894" y="149"/>
                </a:cubicBezTo>
                <a:cubicBezTo>
                  <a:pt x="888" y="145"/>
                  <a:pt x="882" y="154"/>
                  <a:pt x="882" y="161"/>
                </a:cubicBezTo>
                <a:cubicBezTo>
                  <a:pt x="882" y="167"/>
                  <a:pt x="856" y="161"/>
                  <a:pt x="856" y="161"/>
                </a:cubicBezTo>
                <a:cubicBezTo>
                  <a:pt x="675" y="140"/>
                  <a:pt x="251" y="10"/>
                  <a:pt x="222" y="5"/>
                </a:cubicBezTo>
                <a:cubicBezTo>
                  <a:pt x="193" y="0"/>
                  <a:pt x="193" y="27"/>
                  <a:pt x="181" y="34"/>
                </a:cubicBezTo>
                <a:cubicBezTo>
                  <a:pt x="169" y="41"/>
                  <a:pt x="155" y="15"/>
                  <a:pt x="155" y="15"/>
                </a:cubicBezTo>
                <a:cubicBezTo>
                  <a:pt x="154" y="24"/>
                  <a:pt x="149" y="31"/>
                  <a:pt x="144" y="37"/>
                </a:cubicBezTo>
                <a:cubicBezTo>
                  <a:pt x="140" y="43"/>
                  <a:pt x="144" y="49"/>
                  <a:pt x="141" y="55"/>
                </a:cubicBezTo>
                <a:cubicBezTo>
                  <a:pt x="138" y="62"/>
                  <a:pt x="132" y="71"/>
                  <a:pt x="132" y="79"/>
                </a:cubicBezTo>
                <a:cubicBezTo>
                  <a:pt x="132" y="86"/>
                  <a:pt x="143" y="91"/>
                  <a:pt x="132" y="99"/>
                </a:cubicBezTo>
                <a:cubicBezTo>
                  <a:pt x="121" y="107"/>
                  <a:pt x="110" y="96"/>
                  <a:pt x="104" y="111"/>
                </a:cubicBezTo>
                <a:cubicBezTo>
                  <a:pt x="98" y="127"/>
                  <a:pt x="62" y="173"/>
                  <a:pt x="61" y="179"/>
                </a:cubicBezTo>
                <a:cubicBezTo>
                  <a:pt x="59" y="186"/>
                  <a:pt x="56" y="200"/>
                  <a:pt x="45" y="207"/>
                </a:cubicBezTo>
                <a:cubicBezTo>
                  <a:pt x="34" y="215"/>
                  <a:pt x="25" y="217"/>
                  <a:pt x="30" y="227"/>
                </a:cubicBezTo>
                <a:cubicBezTo>
                  <a:pt x="34" y="238"/>
                  <a:pt x="45" y="245"/>
                  <a:pt x="39" y="252"/>
                </a:cubicBezTo>
                <a:cubicBezTo>
                  <a:pt x="33" y="260"/>
                  <a:pt x="31" y="258"/>
                  <a:pt x="28" y="268"/>
                </a:cubicBezTo>
                <a:cubicBezTo>
                  <a:pt x="25" y="277"/>
                  <a:pt x="2" y="307"/>
                  <a:pt x="5" y="314"/>
                </a:cubicBezTo>
                <a:cubicBezTo>
                  <a:pt x="8" y="322"/>
                  <a:pt x="17" y="336"/>
                  <a:pt x="11" y="344"/>
                </a:cubicBezTo>
                <a:cubicBezTo>
                  <a:pt x="5" y="351"/>
                  <a:pt x="0" y="348"/>
                  <a:pt x="3" y="367"/>
                </a:cubicBezTo>
                <a:cubicBezTo>
                  <a:pt x="6" y="386"/>
                  <a:pt x="20" y="395"/>
                  <a:pt x="23" y="398"/>
                </a:cubicBezTo>
                <a:cubicBezTo>
                  <a:pt x="27" y="401"/>
                  <a:pt x="37" y="396"/>
                  <a:pt x="37" y="404"/>
                </a:cubicBezTo>
                <a:cubicBezTo>
                  <a:pt x="37" y="412"/>
                  <a:pt x="23" y="409"/>
                  <a:pt x="16" y="423"/>
                </a:cubicBezTo>
                <a:cubicBezTo>
                  <a:pt x="8" y="437"/>
                  <a:pt x="11" y="448"/>
                  <a:pt x="14" y="452"/>
                </a:cubicBezTo>
                <a:cubicBezTo>
                  <a:pt x="17" y="457"/>
                  <a:pt x="20" y="472"/>
                  <a:pt x="23" y="479"/>
                </a:cubicBezTo>
                <a:cubicBezTo>
                  <a:pt x="27" y="485"/>
                  <a:pt x="20" y="492"/>
                  <a:pt x="19" y="503"/>
                </a:cubicBezTo>
                <a:cubicBezTo>
                  <a:pt x="17" y="514"/>
                  <a:pt x="19" y="520"/>
                  <a:pt x="25" y="534"/>
                </a:cubicBezTo>
                <a:cubicBezTo>
                  <a:pt x="31" y="548"/>
                  <a:pt x="39" y="558"/>
                  <a:pt x="44" y="564"/>
                </a:cubicBezTo>
                <a:cubicBezTo>
                  <a:pt x="48" y="570"/>
                  <a:pt x="56" y="570"/>
                  <a:pt x="54" y="581"/>
                </a:cubicBezTo>
                <a:cubicBezTo>
                  <a:pt x="53" y="592"/>
                  <a:pt x="64" y="593"/>
                  <a:pt x="70" y="601"/>
                </a:cubicBezTo>
                <a:cubicBezTo>
                  <a:pt x="76" y="609"/>
                  <a:pt x="82" y="609"/>
                  <a:pt x="82" y="621"/>
                </a:cubicBezTo>
                <a:cubicBezTo>
                  <a:pt x="82" y="634"/>
                  <a:pt x="79" y="644"/>
                  <a:pt x="78" y="655"/>
                </a:cubicBezTo>
                <a:cubicBezTo>
                  <a:pt x="78" y="655"/>
                  <a:pt x="88" y="658"/>
                  <a:pt x="107" y="658"/>
                </a:cubicBezTo>
                <a:cubicBezTo>
                  <a:pt x="126" y="658"/>
                  <a:pt x="152" y="650"/>
                  <a:pt x="162" y="663"/>
                </a:cubicBezTo>
                <a:cubicBezTo>
                  <a:pt x="172" y="677"/>
                  <a:pt x="174" y="687"/>
                  <a:pt x="193" y="697"/>
                </a:cubicBezTo>
                <a:cubicBezTo>
                  <a:pt x="211" y="708"/>
                  <a:pt x="237" y="749"/>
                  <a:pt x="288" y="749"/>
                </a:cubicBezTo>
                <a:cubicBezTo>
                  <a:pt x="340" y="749"/>
                  <a:pt x="350" y="764"/>
                  <a:pt x="355" y="750"/>
                </a:cubicBezTo>
                <a:cubicBezTo>
                  <a:pt x="360" y="737"/>
                  <a:pt x="367" y="745"/>
                  <a:pt x="391" y="750"/>
                </a:cubicBezTo>
                <a:cubicBezTo>
                  <a:pt x="415" y="756"/>
                  <a:pt x="415" y="764"/>
                  <a:pt x="432" y="781"/>
                </a:cubicBezTo>
                <a:cubicBezTo>
                  <a:pt x="449" y="798"/>
                  <a:pt x="442" y="802"/>
                  <a:pt x="451" y="827"/>
                </a:cubicBezTo>
                <a:cubicBezTo>
                  <a:pt x="459" y="853"/>
                  <a:pt x="458" y="858"/>
                  <a:pt x="475" y="868"/>
                </a:cubicBezTo>
                <a:cubicBezTo>
                  <a:pt x="492" y="879"/>
                  <a:pt x="507" y="865"/>
                  <a:pt x="523" y="853"/>
                </a:cubicBezTo>
                <a:cubicBezTo>
                  <a:pt x="538" y="841"/>
                  <a:pt x="528" y="831"/>
                  <a:pt x="555" y="853"/>
                </a:cubicBezTo>
                <a:cubicBezTo>
                  <a:pt x="582" y="875"/>
                  <a:pt x="598" y="877"/>
                  <a:pt x="594" y="908"/>
                </a:cubicBezTo>
                <a:cubicBezTo>
                  <a:pt x="591" y="938"/>
                  <a:pt x="594" y="954"/>
                  <a:pt x="610" y="978"/>
                </a:cubicBezTo>
                <a:cubicBezTo>
                  <a:pt x="625" y="1002"/>
                  <a:pt x="625" y="1009"/>
                  <a:pt x="640" y="1014"/>
                </a:cubicBezTo>
                <a:cubicBezTo>
                  <a:pt x="656" y="1019"/>
                  <a:pt x="673" y="1027"/>
                  <a:pt x="673" y="1027"/>
                </a:cubicBezTo>
                <a:cubicBezTo>
                  <a:pt x="674" y="1027"/>
                  <a:pt x="674" y="1027"/>
                  <a:pt x="674" y="1027"/>
                </a:cubicBezTo>
                <a:cubicBezTo>
                  <a:pt x="674" y="1023"/>
                  <a:pt x="674" y="1018"/>
                  <a:pt x="673" y="1009"/>
                </a:cubicBezTo>
                <a:cubicBezTo>
                  <a:pt x="669" y="985"/>
                  <a:pt x="665" y="988"/>
                  <a:pt x="669" y="969"/>
                </a:cubicBezTo>
                <a:cubicBezTo>
                  <a:pt x="673" y="950"/>
                  <a:pt x="686" y="933"/>
                  <a:pt x="697" y="929"/>
                </a:cubicBezTo>
                <a:cubicBezTo>
                  <a:pt x="709" y="925"/>
                  <a:pt x="706" y="912"/>
                  <a:pt x="722" y="916"/>
                </a:cubicBezTo>
                <a:cubicBezTo>
                  <a:pt x="738" y="921"/>
                  <a:pt x="722" y="932"/>
                  <a:pt x="760" y="911"/>
                </a:cubicBezTo>
                <a:cubicBezTo>
                  <a:pt x="798" y="889"/>
                  <a:pt x="813" y="889"/>
                  <a:pt x="813" y="889"/>
                </a:cubicBezTo>
                <a:cubicBezTo>
                  <a:pt x="813" y="889"/>
                  <a:pt x="830" y="892"/>
                  <a:pt x="847" y="894"/>
                </a:cubicBezTo>
                <a:cubicBezTo>
                  <a:pt x="863" y="896"/>
                  <a:pt x="869" y="894"/>
                  <a:pt x="872" y="894"/>
                </a:cubicBezTo>
                <a:cubicBezTo>
                  <a:pt x="876" y="894"/>
                  <a:pt x="876" y="880"/>
                  <a:pt x="884" y="894"/>
                </a:cubicBezTo>
                <a:cubicBezTo>
                  <a:pt x="891" y="908"/>
                  <a:pt x="893" y="898"/>
                  <a:pt x="904" y="908"/>
                </a:cubicBezTo>
                <a:cubicBezTo>
                  <a:pt x="914" y="918"/>
                  <a:pt x="913" y="898"/>
                  <a:pt x="927" y="911"/>
                </a:cubicBezTo>
                <a:cubicBezTo>
                  <a:pt x="941" y="923"/>
                  <a:pt x="924" y="929"/>
                  <a:pt x="945" y="924"/>
                </a:cubicBezTo>
                <a:cubicBezTo>
                  <a:pt x="967" y="919"/>
                  <a:pt x="968" y="914"/>
                  <a:pt x="964" y="914"/>
                </a:cubicBezTo>
                <a:cubicBezTo>
                  <a:pt x="961" y="913"/>
                  <a:pt x="947" y="903"/>
                  <a:pt x="947" y="903"/>
                </a:cubicBezTo>
                <a:cubicBezTo>
                  <a:pt x="947" y="903"/>
                  <a:pt x="940" y="880"/>
                  <a:pt x="957" y="882"/>
                </a:cubicBezTo>
                <a:cubicBezTo>
                  <a:pt x="974" y="883"/>
                  <a:pt x="951" y="879"/>
                  <a:pt x="984" y="877"/>
                </a:cubicBezTo>
                <a:cubicBezTo>
                  <a:pt x="1018" y="875"/>
                  <a:pt x="996" y="892"/>
                  <a:pt x="1011" y="881"/>
                </a:cubicBezTo>
                <a:cubicBezTo>
                  <a:pt x="1027" y="870"/>
                  <a:pt x="1027" y="864"/>
                  <a:pt x="1038" y="871"/>
                </a:cubicBezTo>
                <a:cubicBezTo>
                  <a:pt x="1050" y="878"/>
                  <a:pt x="1047" y="870"/>
                  <a:pt x="1060" y="880"/>
                </a:cubicBezTo>
                <a:cubicBezTo>
                  <a:pt x="1072" y="889"/>
                  <a:pt x="1089" y="894"/>
                  <a:pt x="1092" y="902"/>
                </a:cubicBezTo>
                <a:cubicBezTo>
                  <a:pt x="1094" y="910"/>
                  <a:pt x="1103" y="916"/>
                  <a:pt x="1103" y="916"/>
                </a:cubicBezTo>
                <a:cubicBezTo>
                  <a:pt x="1103" y="916"/>
                  <a:pt x="1109" y="896"/>
                  <a:pt x="1127" y="898"/>
                </a:cubicBezTo>
                <a:cubicBezTo>
                  <a:pt x="1145" y="900"/>
                  <a:pt x="1139" y="896"/>
                  <a:pt x="1149" y="910"/>
                </a:cubicBezTo>
                <a:cubicBezTo>
                  <a:pt x="1159" y="924"/>
                  <a:pt x="1165" y="932"/>
                  <a:pt x="1171" y="934"/>
                </a:cubicBezTo>
                <a:cubicBezTo>
                  <a:pt x="1176" y="935"/>
                  <a:pt x="1178" y="925"/>
                  <a:pt x="1178" y="939"/>
                </a:cubicBezTo>
                <a:cubicBezTo>
                  <a:pt x="1178" y="954"/>
                  <a:pt x="1163" y="946"/>
                  <a:pt x="1167" y="967"/>
                </a:cubicBezTo>
                <a:cubicBezTo>
                  <a:pt x="1171" y="988"/>
                  <a:pt x="1175" y="988"/>
                  <a:pt x="1180" y="990"/>
                </a:cubicBezTo>
                <a:cubicBezTo>
                  <a:pt x="1184" y="992"/>
                  <a:pt x="1176" y="986"/>
                  <a:pt x="1179" y="1003"/>
                </a:cubicBezTo>
                <a:cubicBezTo>
                  <a:pt x="1182" y="1019"/>
                  <a:pt x="1187" y="1016"/>
                  <a:pt x="1194" y="1024"/>
                </a:cubicBezTo>
                <a:cubicBezTo>
                  <a:pt x="1201" y="1033"/>
                  <a:pt x="1207" y="1038"/>
                  <a:pt x="1207" y="1038"/>
                </a:cubicBezTo>
                <a:cubicBezTo>
                  <a:pt x="1207" y="1038"/>
                  <a:pt x="1211" y="1060"/>
                  <a:pt x="1213" y="1066"/>
                </a:cubicBezTo>
                <a:cubicBezTo>
                  <a:pt x="1214" y="1072"/>
                  <a:pt x="1214" y="1072"/>
                  <a:pt x="1227" y="1078"/>
                </a:cubicBezTo>
                <a:cubicBezTo>
                  <a:pt x="1239" y="1085"/>
                  <a:pt x="1241" y="1089"/>
                  <a:pt x="1247" y="1081"/>
                </a:cubicBezTo>
                <a:cubicBezTo>
                  <a:pt x="1254" y="1073"/>
                  <a:pt x="1256" y="1067"/>
                  <a:pt x="1258" y="1062"/>
                </a:cubicBezTo>
                <a:cubicBezTo>
                  <a:pt x="1259" y="1057"/>
                  <a:pt x="1265" y="1026"/>
                  <a:pt x="1265" y="1026"/>
                </a:cubicBezTo>
                <a:cubicBezTo>
                  <a:pt x="1265" y="1026"/>
                  <a:pt x="1260" y="1001"/>
                  <a:pt x="1255" y="997"/>
                </a:cubicBezTo>
                <a:cubicBezTo>
                  <a:pt x="1250" y="993"/>
                  <a:pt x="1242" y="987"/>
                  <a:pt x="1241" y="972"/>
                </a:cubicBezTo>
                <a:cubicBezTo>
                  <a:pt x="1240" y="958"/>
                  <a:pt x="1243" y="957"/>
                  <a:pt x="1233" y="935"/>
                </a:cubicBezTo>
                <a:cubicBezTo>
                  <a:pt x="1224" y="913"/>
                  <a:pt x="1221" y="889"/>
                  <a:pt x="1219" y="868"/>
                </a:cubicBezTo>
                <a:cubicBezTo>
                  <a:pt x="1217" y="847"/>
                  <a:pt x="1226" y="835"/>
                  <a:pt x="1226" y="835"/>
                </a:cubicBezTo>
                <a:cubicBezTo>
                  <a:pt x="1226" y="835"/>
                  <a:pt x="1230" y="829"/>
                  <a:pt x="1241" y="815"/>
                </a:cubicBezTo>
                <a:cubicBezTo>
                  <a:pt x="1252" y="802"/>
                  <a:pt x="1272" y="802"/>
                  <a:pt x="1298" y="769"/>
                </a:cubicBezTo>
                <a:cubicBezTo>
                  <a:pt x="1324" y="737"/>
                  <a:pt x="1321" y="755"/>
                  <a:pt x="1334" y="746"/>
                </a:cubicBezTo>
                <a:cubicBezTo>
                  <a:pt x="1348" y="737"/>
                  <a:pt x="1348" y="718"/>
                  <a:pt x="1363" y="717"/>
                </a:cubicBezTo>
                <a:cubicBezTo>
                  <a:pt x="1379" y="717"/>
                  <a:pt x="1384" y="720"/>
                  <a:pt x="1388" y="712"/>
                </a:cubicBezTo>
                <a:cubicBezTo>
                  <a:pt x="1393" y="705"/>
                  <a:pt x="1379" y="701"/>
                  <a:pt x="1379" y="694"/>
                </a:cubicBezTo>
                <a:cubicBezTo>
                  <a:pt x="1379" y="688"/>
                  <a:pt x="1399" y="688"/>
                  <a:pt x="1397" y="686"/>
                </a:cubicBezTo>
                <a:cubicBezTo>
                  <a:pt x="1395" y="685"/>
                  <a:pt x="1387" y="679"/>
                  <a:pt x="1385" y="677"/>
                </a:cubicBezTo>
                <a:cubicBezTo>
                  <a:pt x="1383" y="675"/>
                  <a:pt x="1380" y="671"/>
                  <a:pt x="1380" y="671"/>
                </a:cubicBezTo>
                <a:cubicBezTo>
                  <a:pt x="1370" y="670"/>
                  <a:pt x="1370" y="670"/>
                  <a:pt x="1370" y="670"/>
                </a:cubicBezTo>
                <a:cubicBezTo>
                  <a:pt x="1370" y="670"/>
                  <a:pt x="1376" y="657"/>
                  <a:pt x="1381" y="661"/>
                </a:cubicBezTo>
                <a:cubicBezTo>
                  <a:pt x="1387" y="665"/>
                  <a:pt x="1392" y="659"/>
                  <a:pt x="1392" y="659"/>
                </a:cubicBezTo>
                <a:cubicBezTo>
                  <a:pt x="1392" y="659"/>
                  <a:pt x="1396" y="652"/>
                  <a:pt x="1395" y="649"/>
                </a:cubicBezTo>
                <a:cubicBezTo>
                  <a:pt x="1393" y="646"/>
                  <a:pt x="1395" y="638"/>
                  <a:pt x="1390" y="638"/>
                </a:cubicBezTo>
                <a:cubicBezTo>
                  <a:pt x="1385" y="638"/>
                  <a:pt x="1381" y="634"/>
                  <a:pt x="1381" y="634"/>
                </a:cubicBezTo>
                <a:cubicBezTo>
                  <a:pt x="1381" y="634"/>
                  <a:pt x="1372" y="632"/>
                  <a:pt x="1369" y="631"/>
                </a:cubicBezTo>
                <a:cubicBezTo>
                  <a:pt x="1366" y="630"/>
                  <a:pt x="1361" y="626"/>
                  <a:pt x="1361" y="626"/>
                </a:cubicBezTo>
                <a:cubicBezTo>
                  <a:pt x="1375" y="618"/>
                  <a:pt x="1375" y="618"/>
                  <a:pt x="1375" y="618"/>
                </a:cubicBezTo>
                <a:cubicBezTo>
                  <a:pt x="1384" y="618"/>
                  <a:pt x="1384" y="618"/>
                  <a:pt x="1384" y="618"/>
                </a:cubicBezTo>
                <a:cubicBezTo>
                  <a:pt x="1384" y="618"/>
                  <a:pt x="1386" y="608"/>
                  <a:pt x="1383" y="607"/>
                </a:cubicBezTo>
                <a:cubicBezTo>
                  <a:pt x="1380" y="605"/>
                  <a:pt x="1378" y="601"/>
                  <a:pt x="1378" y="601"/>
                </a:cubicBezTo>
                <a:cubicBezTo>
                  <a:pt x="1378" y="601"/>
                  <a:pt x="1376" y="600"/>
                  <a:pt x="1373" y="595"/>
                </a:cubicBezTo>
                <a:cubicBezTo>
                  <a:pt x="1370" y="590"/>
                  <a:pt x="1378" y="595"/>
                  <a:pt x="1379" y="584"/>
                </a:cubicBezTo>
                <a:cubicBezTo>
                  <a:pt x="1379" y="574"/>
                  <a:pt x="1378" y="571"/>
                  <a:pt x="1378" y="571"/>
                </a:cubicBezTo>
                <a:cubicBezTo>
                  <a:pt x="1378" y="571"/>
                  <a:pt x="1377" y="562"/>
                  <a:pt x="1378" y="558"/>
                </a:cubicBezTo>
                <a:cubicBezTo>
                  <a:pt x="1379" y="555"/>
                  <a:pt x="1377" y="551"/>
                  <a:pt x="1381" y="546"/>
                </a:cubicBezTo>
                <a:cubicBezTo>
                  <a:pt x="1386" y="540"/>
                  <a:pt x="1394" y="545"/>
                  <a:pt x="1394" y="545"/>
                </a:cubicBezTo>
                <a:cubicBezTo>
                  <a:pt x="1394" y="545"/>
                  <a:pt x="1385" y="558"/>
                  <a:pt x="1388" y="569"/>
                </a:cubicBezTo>
                <a:cubicBezTo>
                  <a:pt x="1392" y="581"/>
                  <a:pt x="1397" y="591"/>
                  <a:pt x="1397" y="591"/>
                </a:cubicBezTo>
                <a:cubicBezTo>
                  <a:pt x="1397" y="591"/>
                  <a:pt x="1406" y="602"/>
                  <a:pt x="1405" y="607"/>
                </a:cubicBezTo>
                <a:cubicBezTo>
                  <a:pt x="1404" y="611"/>
                  <a:pt x="1396" y="617"/>
                  <a:pt x="1396" y="617"/>
                </a:cubicBezTo>
                <a:cubicBezTo>
                  <a:pt x="1396" y="617"/>
                  <a:pt x="1392" y="617"/>
                  <a:pt x="1397" y="621"/>
                </a:cubicBezTo>
                <a:cubicBezTo>
                  <a:pt x="1402" y="625"/>
                  <a:pt x="1409" y="613"/>
                  <a:pt x="1409" y="613"/>
                </a:cubicBezTo>
                <a:cubicBezTo>
                  <a:pt x="1409" y="613"/>
                  <a:pt x="1409" y="600"/>
                  <a:pt x="1413" y="596"/>
                </a:cubicBezTo>
                <a:cubicBezTo>
                  <a:pt x="1417" y="591"/>
                  <a:pt x="1422" y="592"/>
                  <a:pt x="1422" y="585"/>
                </a:cubicBezTo>
                <a:cubicBezTo>
                  <a:pt x="1423" y="578"/>
                  <a:pt x="1426" y="572"/>
                  <a:pt x="1422" y="567"/>
                </a:cubicBezTo>
                <a:cubicBezTo>
                  <a:pt x="1417" y="561"/>
                  <a:pt x="1419" y="557"/>
                  <a:pt x="1413" y="555"/>
                </a:cubicBezTo>
                <a:cubicBezTo>
                  <a:pt x="1408" y="553"/>
                  <a:pt x="1405" y="551"/>
                  <a:pt x="1406" y="544"/>
                </a:cubicBezTo>
                <a:cubicBezTo>
                  <a:pt x="1406" y="537"/>
                  <a:pt x="1413" y="526"/>
                  <a:pt x="1413" y="526"/>
                </a:cubicBezTo>
                <a:cubicBezTo>
                  <a:pt x="1413" y="526"/>
                  <a:pt x="1424" y="522"/>
                  <a:pt x="1420" y="527"/>
                </a:cubicBezTo>
                <a:cubicBezTo>
                  <a:pt x="1416" y="532"/>
                  <a:pt x="1413" y="542"/>
                  <a:pt x="1417" y="546"/>
                </a:cubicBezTo>
                <a:cubicBezTo>
                  <a:pt x="1422" y="551"/>
                  <a:pt x="1424" y="555"/>
                  <a:pt x="1428" y="557"/>
                </a:cubicBezTo>
                <a:cubicBezTo>
                  <a:pt x="1431" y="559"/>
                  <a:pt x="1441" y="551"/>
                  <a:pt x="1441" y="551"/>
                </a:cubicBezTo>
                <a:cubicBezTo>
                  <a:pt x="1441" y="551"/>
                  <a:pt x="1444" y="544"/>
                  <a:pt x="1444" y="542"/>
                </a:cubicBezTo>
                <a:cubicBezTo>
                  <a:pt x="1444" y="539"/>
                  <a:pt x="1450" y="519"/>
                  <a:pt x="1450" y="519"/>
                </a:cubicBezTo>
                <a:cubicBezTo>
                  <a:pt x="1450" y="519"/>
                  <a:pt x="1452" y="506"/>
                  <a:pt x="1452" y="499"/>
                </a:cubicBezTo>
                <a:cubicBezTo>
                  <a:pt x="1452" y="493"/>
                  <a:pt x="1475" y="479"/>
                  <a:pt x="1475" y="479"/>
                </a:cubicBezTo>
                <a:cubicBezTo>
                  <a:pt x="1475" y="479"/>
                  <a:pt x="1485" y="472"/>
                  <a:pt x="1494" y="475"/>
                </a:cubicBezTo>
                <a:cubicBezTo>
                  <a:pt x="1502" y="477"/>
                  <a:pt x="1494" y="466"/>
                  <a:pt x="1510" y="468"/>
                </a:cubicBezTo>
                <a:cubicBezTo>
                  <a:pt x="1526" y="469"/>
                  <a:pt x="1536" y="460"/>
                  <a:pt x="1536" y="460"/>
                </a:cubicBezTo>
                <a:cubicBezTo>
                  <a:pt x="1536" y="460"/>
                  <a:pt x="1540" y="458"/>
                  <a:pt x="1543" y="454"/>
                </a:cubicBezTo>
                <a:cubicBezTo>
                  <a:pt x="1547" y="450"/>
                  <a:pt x="1549" y="448"/>
                  <a:pt x="1549" y="444"/>
                </a:cubicBezTo>
                <a:cubicBezTo>
                  <a:pt x="1549" y="440"/>
                  <a:pt x="1549" y="432"/>
                  <a:pt x="1549" y="432"/>
                </a:cubicBezTo>
                <a:cubicBezTo>
                  <a:pt x="1549" y="432"/>
                  <a:pt x="1545" y="427"/>
                  <a:pt x="1543" y="421"/>
                </a:cubicBezTo>
                <a:cubicBezTo>
                  <a:pt x="1542" y="415"/>
                  <a:pt x="1542" y="420"/>
                  <a:pt x="1545" y="404"/>
                </a:cubicBezTo>
                <a:cubicBezTo>
                  <a:pt x="1549" y="388"/>
                  <a:pt x="1575" y="360"/>
                  <a:pt x="1575" y="360"/>
                </a:cubicBezTo>
                <a:cubicBezTo>
                  <a:pt x="1575" y="360"/>
                  <a:pt x="1610" y="351"/>
                  <a:pt x="1619" y="347"/>
                </a:cubicBezTo>
                <a:cubicBezTo>
                  <a:pt x="1629" y="344"/>
                  <a:pt x="1637" y="340"/>
                  <a:pt x="1642" y="333"/>
                </a:cubicBezTo>
                <a:cubicBezTo>
                  <a:pt x="1644" y="330"/>
                  <a:pt x="1644" y="330"/>
                  <a:pt x="1644" y="330"/>
                </a:cubicBezTo>
                <a:lnTo>
                  <a:pt x="1642" y="328"/>
                </a:lnTo>
                <a:close/>
                <a:moveTo>
                  <a:pt x="1121" y="313"/>
                </a:moveTo>
                <a:cubicBezTo>
                  <a:pt x="1108" y="322"/>
                  <a:pt x="1093" y="364"/>
                  <a:pt x="1093" y="364"/>
                </a:cubicBezTo>
                <a:cubicBezTo>
                  <a:pt x="1093" y="364"/>
                  <a:pt x="1093" y="410"/>
                  <a:pt x="1090" y="419"/>
                </a:cubicBezTo>
                <a:cubicBezTo>
                  <a:pt x="1088" y="429"/>
                  <a:pt x="1071" y="446"/>
                  <a:pt x="1063" y="449"/>
                </a:cubicBezTo>
                <a:cubicBezTo>
                  <a:pt x="1054" y="452"/>
                  <a:pt x="1051" y="403"/>
                  <a:pt x="1057" y="384"/>
                </a:cubicBezTo>
                <a:cubicBezTo>
                  <a:pt x="1064" y="365"/>
                  <a:pt x="1067" y="364"/>
                  <a:pt x="1068" y="350"/>
                </a:cubicBezTo>
                <a:cubicBezTo>
                  <a:pt x="1069" y="336"/>
                  <a:pt x="1058" y="340"/>
                  <a:pt x="1063" y="319"/>
                </a:cubicBezTo>
                <a:cubicBezTo>
                  <a:pt x="1067" y="298"/>
                  <a:pt x="1079" y="309"/>
                  <a:pt x="1093" y="296"/>
                </a:cubicBezTo>
                <a:cubicBezTo>
                  <a:pt x="1106" y="282"/>
                  <a:pt x="1113" y="292"/>
                  <a:pt x="1122" y="296"/>
                </a:cubicBezTo>
                <a:cubicBezTo>
                  <a:pt x="1127" y="297"/>
                  <a:pt x="1130" y="297"/>
                  <a:pt x="1134" y="297"/>
                </a:cubicBezTo>
                <a:cubicBezTo>
                  <a:pt x="1130" y="299"/>
                  <a:pt x="1130" y="307"/>
                  <a:pt x="1121" y="313"/>
                </a:cubicBezTo>
                <a:close/>
                <a:moveTo>
                  <a:pt x="1302" y="407"/>
                </a:moveTo>
                <a:cubicBezTo>
                  <a:pt x="1300" y="411"/>
                  <a:pt x="1298" y="419"/>
                  <a:pt x="1294" y="420"/>
                </a:cubicBezTo>
                <a:cubicBezTo>
                  <a:pt x="1288" y="421"/>
                  <a:pt x="1277" y="435"/>
                  <a:pt x="1272" y="439"/>
                </a:cubicBezTo>
                <a:cubicBezTo>
                  <a:pt x="1268" y="444"/>
                  <a:pt x="1233" y="465"/>
                  <a:pt x="1217" y="465"/>
                </a:cubicBezTo>
                <a:cubicBezTo>
                  <a:pt x="1201" y="465"/>
                  <a:pt x="1205" y="468"/>
                  <a:pt x="1185" y="460"/>
                </a:cubicBezTo>
                <a:cubicBezTo>
                  <a:pt x="1165" y="451"/>
                  <a:pt x="1173" y="450"/>
                  <a:pt x="1174" y="444"/>
                </a:cubicBezTo>
                <a:cubicBezTo>
                  <a:pt x="1175" y="437"/>
                  <a:pt x="1198" y="444"/>
                  <a:pt x="1205" y="437"/>
                </a:cubicBezTo>
                <a:cubicBezTo>
                  <a:pt x="1205" y="437"/>
                  <a:pt x="1216" y="423"/>
                  <a:pt x="1221" y="426"/>
                </a:cubicBezTo>
                <a:cubicBezTo>
                  <a:pt x="1227" y="428"/>
                  <a:pt x="1248" y="426"/>
                  <a:pt x="1255" y="416"/>
                </a:cubicBezTo>
                <a:cubicBezTo>
                  <a:pt x="1263" y="406"/>
                  <a:pt x="1270" y="419"/>
                  <a:pt x="1278" y="415"/>
                </a:cubicBezTo>
                <a:cubicBezTo>
                  <a:pt x="1284" y="411"/>
                  <a:pt x="1298" y="410"/>
                  <a:pt x="1302" y="407"/>
                </a:cubicBezTo>
                <a:cubicBezTo>
                  <a:pt x="1302" y="406"/>
                  <a:pt x="1302" y="405"/>
                  <a:pt x="1302" y="406"/>
                </a:cubicBezTo>
                <a:cubicBezTo>
                  <a:pt x="1302" y="407"/>
                  <a:pt x="1302" y="407"/>
                  <a:pt x="1302" y="40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Freeform 432"/>
          <p:cNvSpPr>
            <a:spLocks noEditPoints="1"/>
          </p:cNvSpPr>
          <p:nvPr userDrawn="1"/>
        </p:nvSpPr>
        <p:spPr bwMode="auto">
          <a:xfrm>
            <a:off x="2601123" y="2662869"/>
            <a:ext cx="1653316" cy="1107236"/>
          </a:xfrm>
          <a:custGeom>
            <a:avLst/>
            <a:gdLst>
              <a:gd name="T0" fmla="*/ 2147483646 w 1772"/>
              <a:gd name="T1" fmla="*/ 2147483646 h 1187"/>
              <a:gd name="T2" fmla="*/ 2147483646 w 1772"/>
              <a:gd name="T3" fmla="*/ 2147483646 h 1187"/>
              <a:gd name="T4" fmla="*/ 2147483646 w 1772"/>
              <a:gd name="T5" fmla="*/ 2147483646 h 1187"/>
              <a:gd name="T6" fmla="*/ 2147483646 w 1772"/>
              <a:gd name="T7" fmla="*/ 2147483646 h 1187"/>
              <a:gd name="T8" fmla="*/ 2147483646 w 1772"/>
              <a:gd name="T9" fmla="*/ 2147483646 h 1187"/>
              <a:gd name="T10" fmla="*/ 2147483646 w 1772"/>
              <a:gd name="T11" fmla="*/ 2147483646 h 1187"/>
              <a:gd name="T12" fmla="*/ 2147483646 w 1772"/>
              <a:gd name="T13" fmla="*/ 2147483646 h 1187"/>
              <a:gd name="T14" fmla="*/ 2147483646 w 1772"/>
              <a:gd name="T15" fmla="*/ 2147483646 h 1187"/>
              <a:gd name="T16" fmla="*/ 2147483646 w 1772"/>
              <a:gd name="T17" fmla="*/ 2147483646 h 1187"/>
              <a:gd name="T18" fmla="*/ 2147483646 w 1772"/>
              <a:gd name="T19" fmla="*/ 2147483646 h 1187"/>
              <a:gd name="T20" fmla="*/ 2147483646 w 1772"/>
              <a:gd name="T21" fmla="*/ 2147483646 h 1187"/>
              <a:gd name="T22" fmla="*/ 2147483646 w 1772"/>
              <a:gd name="T23" fmla="*/ 2147483646 h 1187"/>
              <a:gd name="T24" fmla="*/ 2147483646 w 1772"/>
              <a:gd name="T25" fmla="*/ 2147483646 h 1187"/>
              <a:gd name="T26" fmla="*/ 2147483646 w 1772"/>
              <a:gd name="T27" fmla="*/ 2147483646 h 1187"/>
              <a:gd name="T28" fmla="*/ 2147483646 w 1772"/>
              <a:gd name="T29" fmla="*/ 2147483646 h 1187"/>
              <a:gd name="T30" fmla="*/ 2147483646 w 1772"/>
              <a:gd name="T31" fmla="*/ 2147483646 h 1187"/>
              <a:gd name="T32" fmla="*/ 2147483646 w 1772"/>
              <a:gd name="T33" fmla="*/ 2147483646 h 1187"/>
              <a:gd name="T34" fmla="*/ 2147483646 w 1772"/>
              <a:gd name="T35" fmla="*/ 2147483646 h 1187"/>
              <a:gd name="T36" fmla="*/ 2147483646 w 1772"/>
              <a:gd name="T37" fmla="*/ 2147483646 h 1187"/>
              <a:gd name="T38" fmla="*/ 2147483646 w 1772"/>
              <a:gd name="T39" fmla="*/ 2147483646 h 1187"/>
              <a:gd name="T40" fmla="*/ 2147483646 w 1772"/>
              <a:gd name="T41" fmla="*/ 2147483646 h 1187"/>
              <a:gd name="T42" fmla="*/ 2147483646 w 1772"/>
              <a:gd name="T43" fmla="*/ 2147483646 h 1187"/>
              <a:gd name="T44" fmla="*/ 2147483646 w 1772"/>
              <a:gd name="T45" fmla="*/ 2147483646 h 1187"/>
              <a:gd name="T46" fmla="*/ 2147483646 w 1772"/>
              <a:gd name="T47" fmla="*/ 2147483646 h 1187"/>
              <a:gd name="T48" fmla="*/ 2147483646 w 1772"/>
              <a:gd name="T49" fmla="*/ 2147483646 h 1187"/>
              <a:gd name="T50" fmla="*/ 2147483646 w 1772"/>
              <a:gd name="T51" fmla="*/ 2147483646 h 1187"/>
              <a:gd name="T52" fmla="*/ 2147483646 w 1772"/>
              <a:gd name="T53" fmla="*/ 2147483646 h 1187"/>
              <a:gd name="T54" fmla="*/ 2147483646 w 1772"/>
              <a:gd name="T55" fmla="*/ 2147483646 h 1187"/>
              <a:gd name="T56" fmla="*/ 2147483646 w 1772"/>
              <a:gd name="T57" fmla="*/ 2147483646 h 1187"/>
              <a:gd name="T58" fmla="*/ 2147483646 w 1772"/>
              <a:gd name="T59" fmla="*/ 2147483646 h 1187"/>
              <a:gd name="T60" fmla="*/ 2147483646 w 1772"/>
              <a:gd name="T61" fmla="*/ 2147483646 h 1187"/>
              <a:gd name="T62" fmla="*/ 2147483646 w 1772"/>
              <a:gd name="T63" fmla="*/ 2147483646 h 1187"/>
              <a:gd name="T64" fmla="*/ 2147483646 w 1772"/>
              <a:gd name="T65" fmla="*/ 2147483646 h 1187"/>
              <a:gd name="T66" fmla="*/ 2147483646 w 1772"/>
              <a:gd name="T67" fmla="*/ 2147483646 h 1187"/>
              <a:gd name="T68" fmla="*/ 2147483646 w 1772"/>
              <a:gd name="T69" fmla="*/ 2147483646 h 1187"/>
              <a:gd name="T70" fmla="*/ 2147483646 w 1772"/>
              <a:gd name="T71" fmla="*/ 2147483646 h 1187"/>
              <a:gd name="T72" fmla="*/ 2147483646 w 1772"/>
              <a:gd name="T73" fmla="*/ 2147483646 h 1187"/>
              <a:gd name="T74" fmla="*/ 2147483646 w 1772"/>
              <a:gd name="T75" fmla="*/ 2147483646 h 1187"/>
              <a:gd name="T76" fmla="*/ 2147483646 w 1772"/>
              <a:gd name="T77" fmla="*/ 2147483646 h 1187"/>
              <a:gd name="T78" fmla="*/ 2147483646 w 1772"/>
              <a:gd name="T79" fmla="*/ 2147483646 h 1187"/>
              <a:gd name="T80" fmla="*/ 2147483646 w 1772"/>
              <a:gd name="T81" fmla="*/ 2147483646 h 1187"/>
              <a:gd name="T82" fmla="*/ 2147483646 w 1772"/>
              <a:gd name="T83" fmla="*/ 2147483646 h 1187"/>
              <a:gd name="T84" fmla="*/ 2147483646 w 1772"/>
              <a:gd name="T85" fmla="*/ 2147483646 h 1187"/>
              <a:gd name="T86" fmla="*/ 2147483646 w 1772"/>
              <a:gd name="T87" fmla="*/ 2147483646 h 1187"/>
              <a:gd name="T88" fmla="*/ 2147483646 w 1772"/>
              <a:gd name="T89" fmla="*/ 2147483646 h 1187"/>
              <a:gd name="T90" fmla="*/ 2147483646 w 1772"/>
              <a:gd name="T91" fmla="*/ 2147483646 h 1187"/>
              <a:gd name="T92" fmla="*/ 2147483646 w 1772"/>
              <a:gd name="T93" fmla="*/ 2147483646 h 1187"/>
              <a:gd name="T94" fmla="*/ 2147483646 w 1772"/>
              <a:gd name="T95" fmla="*/ 2147483646 h 1187"/>
              <a:gd name="T96" fmla="*/ 2147483646 w 1772"/>
              <a:gd name="T97" fmla="*/ 2147483646 h 1187"/>
              <a:gd name="T98" fmla="*/ 2147483646 w 1772"/>
              <a:gd name="T99" fmla="*/ 2147483646 h 1187"/>
              <a:gd name="T100" fmla="*/ 2147483646 w 1772"/>
              <a:gd name="T101" fmla="*/ 2147483646 h 1187"/>
              <a:gd name="T102" fmla="*/ 2147483646 w 1772"/>
              <a:gd name="T103" fmla="*/ 2147483646 h 1187"/>
              <a:gd name="T104" fmla="*/ 2147483646 w 1772"/>
              <a:gd name="T105" fmla="*/ 2147483646 h 1187"/>
              <a:gd name="T106" fmla="*/ 2147483646 w 1772"/>
              <a:gd name="T107" fmla="*/ 2147483646 h 1187"/>
              <a:gd name="T108" fmla="*/ 2147483646 w 1772"/>
              <a:gd name="T109" fmla="*/ 2147483646 h 1187"/>
              <a:gd name="T110" fmla="*/ 2147483646 w 1772"/>
              <a:gd name="T111" fmla="*/ 2147483646 h 1187"/>
              <a:gd name="T112" fmla="*/ 2147483646 w 1772"/>
              <a:gd name="T113" fmla="*/ 2147483646 h 1187"/>
              <a:gd name="T114" fmla="*/ 2147483646 w 1772"/>
              <a:gd name="T115" fmla="*/ 2147483646 h 1187"/>
              <a:gd name="T116" fmla="*/ 2147483646 w 1772"/>
              <a:gd name="T117" fmla="*/ 2147483646 h 1187"/>
              <a:gd name="T118" fmla="*/ 2147483646 w 1772"/>
              <a:gd name="T119" fmla="*/ 2147483646 h 1187"/>
              <a:gd name="T120" fmla="*/ 2147483646 w 1772"/>
              <a:gd name="T121" fmla="*/ 2147483646 h 1187"/>
              <a:gd name="T122" fmla="*/ 2147483646 w 1772"/>
              <a:gd name="T123" fmla="*/ 2147483646 h 118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772"/>
              <a:gd name="T187" fmla="*/ 0 h 1187"/>
              <a:gd name="T188" fmla="*/ 1772 w 1772"/>
              <a:gd name="T189" fmla="*/ 1187 h 118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772" h="1187">
                <a:moveTo>
                  <a:pt x="1762" y="825"/>
                </a:moveTo>
                <a:cubicBezTo>
                  <a:pt x="1753" y="819"/>
                  <a:pt x="1749" y="817"/>
                  <a:pt x="1749" y="817"/>
                </a:cubicBezTo>
                <a:cubicBezTo>
                  <a:pt x="1751" y="802"/>
                  <a:pt x="1751" y="802"/>
                  <a:pt x="1751" y="802"/>
                </a:cubicBezTo>
                <a:cubicBezTo>
                  <a:pt x="1751" y="802"/>
                  <a:pt x="1751" y="784"/>
                  <a:pt x="1742" y="784"/>
                </a:cubicBezTo>
                <a:cubicBezTo>
                  <a:pt x="1733" y="784"/>
                  <a:pt x="1726" y="778"/>
                  <a:pt x="1726" y="778"/>
                </a:cubicBezTo>
                <a:cubicBezTo>
                  <a:pt x="1726" y="778"/>
                  <a:pt x="1719" y="787"/>
                  <a:pt x="1716" y="788"/>
                </a:cubicBezTo>
                <a:cubicBezTo>
                  <a:pt x="1713" y="790"/>
                  <a:pt x="1708" y="775"/>
                  <a:pt x="1708" y="775"/>
                </a:cubicBezTo>
                <a:cubicBezTo>
                  <a:pt x="1708" y="775"/>
                  <a:pt x="1684" y="772"/>
                  <a:pt x="1680" y="777"/>
                </a:cubicBezTo>
                <a:cubicBezTo>
                  <a:pt x="1676" y="781"/>
                  <a:pt x="1670" y="787"/>
                  <a:pt x="1670" y="787"/>
                </a:cubicBezTo>
                <a:cubicBezTo>
                  <a:pt x="1670" y="787"/>
                  <a:pt x="1651" y="805"/>
                  <a:pt x="1649" y="805"/>
                </a:cubicBezTo>
                <a:cubicBezTo>
                  <a:pt x="1647" y="805"/>
                  <a:pt x="1644" y="797"/>
                  <a:pt x="1644" y="797"/>
                </a:cubicBezTo>
                <a:cubicBezTo>
                  <a:pt x="1644" y="797"/>
                  <a:pt x="1667" y="775"/>
                  <a:pt x="1677" y="770"/>
                </a:cubicBezTo>
                <a:cubicBezTo>
                  <a:pt x="1688" y="764"/>
                  <a:pt x="1708" y="766"/>
                  <a:pt x="1699" y="757"/>
                </a:cubicBezTo>
                <a:cubicBezTo>
                  <a:pt x="1690" y="748"/>
                  <a:pt x="1662" y="749"/>
                  <a:pt x="1659" y="745"/>
                </a:cubicBezTo>
                <a:cubicBezTo>
                  <a:pt x="1655" y="741"/>
                  <a:pt x="1655" y="737"/>
                  <a:pt x="1650" y="740"/>
                </a:cubicBezTo>
                <a:cubicBezTo>
                  <a:pt x="1644" y="743"/>
                  <a:pt x="1640" y="756"/>
                  <a:pt x="1634" y="748"/>
                </a:cubicBezTo>
                <a:cubicBezTo>
                  <a:pt x="1629" y="739"/>
                  <a:pt x="1630" y="740"/>
                  <a:pt x="1625" y="733"/>
                </a:cubicBezTo>
                <a:cubicBezTo>
                  <a:pt x="1620" y="726"/>
                  <a:pt x="1616" y="721"/>
                  <a:pt x="1616" y="721"/>
                </a:cubicBezTo>
                <a:cubicBezTo>
                  <a:pt x="1616" y="721"/>
                  <a:pt x="1587" y="703"/>
                  <a:pt x="1581" y="693"/>
                </a:cubicBezTo>
                <a:cubicBezTo>
                  <a:pt x="1576" y="683"/>
                  <a:pt x="1592" y="688"/>
                  <a:pt x="1585" y="679"/>
                </a:cubicBezTo>
                <a:cubicBezTo>
                  <a:pt x="1579" y="670"/>
                  <a:pt x="1569" y="658"/>
                  <a:pt x="1562" y="655"/>
                </a:cubicBezTo>
                <a:cubicBezTo>
                  <a:pt x="1554" y="652"/>
                  <a:pt x="1557" y="648"/>
                  <a:pt x="1550" y="649"/>
                </a:cubicBezTo>
                <a:cubicBezTo>
                  <a:pt x="1543" y="651"/>
                  <a:pt x="1540" y="645"/>
                  <a:pt x="1542" y="641"/>
                </a:cubicBezTo>
                <a:cubicBezTo>
                  <a:pt x="1543" y="638"/>
                  <a:pt x="1549" y="624"/>
                  <a:pt x="1542" y="628"/>
                </a:cubicBezTo>
                <a:cubicBezTo>
                  <a:pt x="1536" y="631"/>
                  <a:pt x="1531" y="624"/>
                  <a:pt x="1531" y="624"/>
                </a:cubicBezTo>
                <a:cubicBezTo>
                  <a:pt x="1531" y="624"/>
                  <a:pt x="1539" y="608"/>
                  <a:pt x="1533" y="612"/>
                </a:cubicBezTo>
                <a:cubicBezTo>
                  <a:pt x="1528" y="616"/>
                  <a:pt x="1526" y="611"/>
                  <a:pt x="1526" y="611"/>
                </a:cubicBezTo>
                <a:cubicBezTo>
                  <a:pt x="1524" y="606"/>
                  <a:pt x="1524" y="606"/>
                  <a:pt x="1524" y="606"/>
                </a:cubicBezTo>
                <a:cubicBezTo>
                  <a:pt x="1524" y="602"/>
                  <a:pt x="1524" y="602"/>
                  <a:pt x="1524" y="602"/>
                </a:cubicBezTo>
                <a:cubicBezTo>
                  <a:pt x="1524" y="602"/>
                  <a:pt x="1521" y="596"/>
                  <a:pt x="1518" y="601"/>
                </a:cubicBezTo>
                <a:cubicBezTo>
                  <a:pt x="1515" y="606"/>
                  <a:pt x="1513" y="610"/>
                  <a:pt x="1513" y="610"/>
                </a:cubicBezTo>
                <a:cubicBezTo>
                  <a:pt x="1512" y="597"/>
                  <a:pt x="1512" y="597"/>
                  <a:pt x="1512" y="597"/>
                </a:cubicBezTo>
                <a:cubicBezTo>
                  <a:pt x="1512" y="597"/>
                  <a:pt x="1515" y="586"/>
                  <a:pt x="1512" y="586"/>
                </a:cubicBezTo>
                <a:cubicBezTo>
                  <a:pt x="1509" y="585"/>
                  <a:pt x="1503" y="586"/>
                  <a:pt x="1503" y="586"/>
                </a:cubicBezTo>
                <a:cubicBezTo>
                  <a:pt x="1497" y="576"/>
                  <a:pt x="1497" y="576"/>
                  <a:pt x="1497" y="576"/>
                </a:cubicBezTo>
                <a:cubicBezTo>
                  <a:pt x="1495" y="567"/>
                  <a:pt x="1495" y="567"/>
                  <a:pt x="1495" y="567"/>
                </a:cubicBezTo>
                <a:cubicBezTo>
                  <a:pt x="1488" y="564"/>
                  <a:pt x="1488" y="564"/>
                  <a:pt x="1488" y="564"/>
                </a:cubicBezTo>
                <a:cubicBezTo>
                  <a:pt x="1488" y="564"/>
                  <a:pt x="1484" y="573"/>
                  <a:pt x="1484" y="578"/>
                </a:cubicBezTo>
                <a:cubicBezTo>
                  <a:pt x="1485" y="584"/>
                  <a:pt x="1490" y="590"/>
                  <a:pt x="1483" y="595"/>
                </a:cubicBezTo>
                <a:cubicBezTo>
                  <a:pt x="1476" y="600"/>
                  <a:pt x="1472" y="593"/>
                  <a:pt x="1477" y="603"/>
                </a:cubicBezTo>
                <a:cubicBezTo>
                  <a:pt x="1482" y="613"/>
                  <a:pt x="1486" y="609"/>
                  <a:pt x="1484" y="616"/>
                </a:cubicBezTo>
                <a:cubicBezTo>
                  <a:pt x="1483" y="622"/>
                  <a:pt x="1480" y="622"/>
                  <a:pt x="1480" y="627"/>
                </a:cubicBezTo>
                <a:cubicBezTo>
                  <a:pt x="1480" y="631"/>
                  <a:pt x="1479" y="641"/>
                  <a:pt x="1479" y="641"/>
                </a:cubicBezTo>
                <a:cubicBezTo>
                  <a:pt x="1474" y="628"/>
                  <a:pt x="1474" y="628"/>
                  <a:pt x="1474" y="628"/>
                </a:cubicBezTo>
                <a:cubicBezTo>
                  <a:pt x="1474" y="628"/>
                  <a:pt x="1475" y="612"/>
                  <a:pt x="1468" y="623"/>
                </a:cubicBezTo>
                <a:cubicBezTo>
                  <a:pt x="1461" y="634"/>
                  <a:pt x="1464" y="637"/>
                  <a:pt x="1453" y="645"/>
                </a:cubicBezTo>
                <a:cubicBezTo>
                  <a:pt x="1441" y="652"/>
                  <a:pt x="1432" y="656"/>
                  <a:pt x="1432" y="656"/>
                </a:cubicBezTo>
                <a:cubicBezTo>
                  <a:pt x="1432" y="656"/>
                  <a:pt x="1435" y="650"/>
                  <a:pt x="1434" y="644"/>
                </a:cubicBezTo>
                <a:cubicBezTo>
                  <a:pt x="1432" y="638"/>
                  <a:pt x="1446" y="640"/>
                  <a:pt x="1431" y="634"/>
                </a:cubicBezTo>
                <a:cubicBezTo>
                  <a:pt x="1416" y="628"/>
                  <a:pt x="1419" y="621"/>
                  <a:pt x="1414" y="627"/>
                </a:cubicBezTo>
                <a:cubicBezTo>
                  <a:pt x="1409" y="632"/>
                  <a:pt x="1400" y="635"/>
                  <a:pt x="1400" y="635"/>
                </a:cubicBezTo>
                <a:cubicBezTo>
                  <a:pt x="1400" y="635"/>
                  <a:pt x="1391" y="639"/>
                  <a:pt x="1392" y="631"/>
                </a:cubicBezTo>
                <a:cubicBezTo>
                  <a:pt x="1392" y="624"/>
                  <a:pt x="1403" y="614"/>
                  <a:pt x="1401" y="611"/>
                </a:cubicBezTo>
                <a:cubicBezTo>
                  <a:pt x="1400" y="609"/>
                  <a:pt x="1405" y="599"/>
                  <a:pt x="1399" y="603"/>
                </a:cubicBezTo>
                <a:cubicBezTo>
                  <a:pt x="1394" y="607"/>
                  <a:pt x="1390" y="609"/>
                  <a:pt x="1391" y="603"/>
                </a:cubicBezTo>
                <a:cubicBezTo>
                  <a:pt x="1392" y="598"/>
                  <a:pt x="1397" y="589"/>
                  <a:pt x="1397" y="589"/>
                </a:cubicBezTo>
                <a:cubicBezTo>
                  <a:pt x="1392" y="579"/>
                  <a:pt x="1392" y="579"/>
                  <a:pt x="1392" y="579"/>
                </a:cubicBezTo>
                <a:cubicBezTo>
                  <a:pt x="1396" y="569"/>
                  <a:pt x="1396" y="569"/>
                  <a:pt x="1396" y="569"/>
                </a:cubicBezTo>
                <a:cubicBezTo>
                  <a:pt x="1396" y="569"/>
                  <a:pt x="1395" y="558"/>
                  <a:pt x="1387" y="559"/>
                </a:cubicBezTo>
                <a:cubicBezTo>
                  <a:pt x="1379" y="559"/>
                  <a:pt x="1373" y="557"/>
                  <a:pt x="1373" y="557"/>
                </a:cubicBezTo>
                <a:cubicBezTo>
                  <a:pt x="1360" y="548"/>
                  <a:pt x="1360" y="548"/>
                  <a:pt x="1360" y="548"/>
                </a:cubicBezTo>
                <a:cubicBezTo>
                  <a:pt x="1360" y="548"/>
                  <a:pt x="1340" y="544"/>
                  <a:pt x="1339" y="539"/>
                </a:cubicBezTo>
                <a:cubicBezTo>
                  <a:pt x="1338" y="533"/>
                  <a:pt x="1341" y="524"/>
                  <a:pt x="1336" y="528"/>
                </a:cubicBezTo>
                <a:cubicBezTo>
                  <a:pt x="1330" y="531"/>
                  <a:pt x="1322" y="520"/>
                  <a:pt x="1322" y="520"/>
                </a:cubicBezTo>
                <a:cubicBezTo>
                  <a:pt x="1315" y="519"/>
                  <a:pt x="1315" y="519"/>
                  <a:pt x="1315" y="519"/>
                </a:cubicBezTo>
                <a:cubicBezTo>
                  <a:pt x="1303" y="506"/>
                  <a:pt x="1303" y="506"/>
                  <a:pt x="1303" y="506"/>
                </a:cubicBezTo>
                <a:cubicBezTo>
                  <a:pt x="1303" y="506"/>
                  <a:pt x="1298" y="506"/>
                  <a:pt x="1295" y="509"/>
                </a:cubicBezTo>
                <a:cubicBezTo>
                  <a:pt x="1292" y="512"/>
                  <a:pt x="1294" y="514"/>
                  <a:pt x="1287" y="515"/>
                </a:cubicBezTo>
                <a:cubicBezTo>
                  <a:pt x="1279" y="517"/>
                  <a:pt x="1275" y="514"/>
                  <a:pt x="1275" y="514"/>
                </a:cubicBezTo>
                <a:cubicBezTo>
                  <a:pt x="1275" y="514"/>
                  <a:pt x="1263" y="511"/>
                  <a:pt x="1253" y="510"/>
                </a:cubicBezTo>
                <a:cubicBezTo>
                  <a:pt x="1242" y="510"/>
                  <a:pt x="1228" y="492"/>
                  <a:pt x="1222" y="503"/>
                </a:cubicBezTo>
                <a:cubicBezTo>
                  <a:pt x="1215" y="515"/>
                  <a:pt x="1211" y="524"/>
                  <a:pt x="1220" y="530"/>
                </a:cubicBezTo>
                <a:cubicBezTo>
                  <a:pt x="1229" y="537"/>
                  <a:pt x="1235" y="544"/>
                  <a:pt x="1231" y="549"/>
                </a:cubicBezTo>
                <a:cubicBezTo>
                  <a:pt x="1227" y="555"/>
                  <a:pt x="1225" y="569"/>
                  <a:pt x="1225" y="569"/>
                </a:cubicBezTo>
                <a:cubicBezTo>
                  <a:pt x="1225" y="569"/>
                  <a:pt x="1230" y="591"/>
                  <a:pt x="1229" y="593"/>
                </a:cubicBezTo>
                <a:cubicBezTo>
                  <a:pt x="1228" y="596"/>
                  <a:pt x="1231" y="601"/>
                  <a:pt x="1231" y="601"/>
                </a:cubicBezTo>
                <a:cubicBezTo>
                  <a:pt x="1231" y="601"/>
                  <a:pt x="1230" y="601"/>
                  <a:pt x="1219" y="614"/>
                </a:cubicBezTo>
                <a:cubicBezTo>
                  <a:pt x="1208" y="627"/>
                  <a:pt x="1215" y="632"/>
                  <a:pt x="1211" y="636"/>
                </a:cubicBezTo>
                <a:cubicBezTo>
                  <a:pt x="1208" y="640"/>
                  <a:pt x="1190" y="636"/>
                  <a:pt x="1206" y="642"/>
                </a:cubicBezTo>
                <a:cubicBezTo>
                  <a:pt x="1222" y="649"/>
                  <a:pt x="1303" y="750"/>
                  <a:pt x="1187" y="782"/>
                </a:cubicBezTo>
                <a:cubicBezTo>
                  <a:pt x="1187" y="782"/>
                  <a:pt x="1177" y="783"/>
                  <a:pt x="1182" y="789"/>
                </a:cubicBezTo>
                <a:cubicBezTo>
                  <a:pt x="1187" y="795"/>
                  <a:pt x="1190" y="807"/>
                  <a:pt x="1192" y="810"/>
                </a:cubicBezTo>
                <a:cubicBezTo>
                  <a:pt x="1194" y="813"/>
                  <a:pt x="1197" y="824"/>
                  <a:pt x="1197" y="824"/>
                </a:cubicBezTo>
                <a:cubicBezTo>
                  <a:pt x="1197" y="824"/>
                  <a:pt x="1202" y="857"/>
                  <a:pt x="1206" y="861"/>
                </a:cubicBezTo>
                <a:cubicBezTo>
                  <a:pt x="1209" y="865"/>
                  <a:pt x="1212" y="870"/>
                  <a:pt x="1204" y="875"/>
                </a:cubicBezTo>
                <a:cubicBezTo>
                  <a:pt x="1197" y="880"/>
                  <a:pt x="1194" y="876"/>
                  <a:pt x="1196" y="887"/>
                </a:cubicBezTo>
                <a:cubicBezTo>
                  <a:pt x="1198" y="898"/>
                  <a:pt x="1202" y="902"/>
                  <a:pt x="1202" y="902"/>
                </a:cubicBezTo>
                <a:cubicBezTo>
                  <a:pt x="1202" y="902"/>
                  <a:pt x="1186" y="910"/>
                  <a:pt x="1186" y="903"/>
                </a:cubicBezTo>
                <a:cubicBezTo>
                  <a:pt x="1186" y="896"/>
                  <a:pt x="1190" y="882"/>
                  <a:pt x="1183" y="892"/>
                </a:cubicBezTo>
                <a:cubicBezTo>
                  <a:pt x="1175" y="903"/>
                  <a:pt x="1177" y="914"/>
                  <a:pt x="1177" y="914"/>
                </a:cubicBezTo>
                <a:cubicBezTo>
                  <a:pt x="1177" y="914"/>
                  <a:pt x="1172" y="912"/>
                  <a:pt x="1168" y="910"/>
                </a:cubicBezTo>
                <a:cubicBezTo>
                  <a:pt x="1165" y="908"/>
                  <a:pt x="1161" y="905"/>
                  <a:pt x="1161" y="905"/>
                </a:cubicBezTo>
                <a:cubicBezTo>
                  <a:pt x="1161" y="905"/>
                  <a:pt x="1150" y="911"/>
                  <a:pt x="1149" y="905"/>
                </a:cubicBezTo>
                <a:cubicBezTo>
                  <a:pt x="1148" y="898"/>
                  <a:pt x="1145" y="882"/>
                  <a:pt x="1145" y="882"/>
                </a:cubicBezTo>
                <a:cubicBezTo>
                  <a:pt x="1145" y="882"/>
                  <a:pt x="1141" y="869"/>
                  <a:pt x="1133" y="871"/>
                </a:cubicBezTo>
                <a:cubicBezTo>
                  <a:pt x="1125" y="874"/>
                  <a:pt x="1126" y="873"/>
                  <a:pt x="1127" y="867"/>
                </a:cubicBezTo>
                <a:cubicBezTo>
                  <a:pt x="1129" y="861"/>
                  <a:pt x="1117" y="847"/>
                  <a:pt x="1117" y="847"/>
                </a:cubicBezTo>
                <a:cubicBezTo>
                  <a:pt x="1117" y="847"/>
                  <a:pt x="1105" y="838"/>
                  <a:pt x="1112" y="829"/>
                </a:cubicBezTo>
                <a:cubicBezTo>
                  <a:pt x="1118" y="821"/>
                  <a:pt x="1116" y="804"/>
                  <a:pt x="1116" y="804"/>
                </a:cubicBezTo>
                <a:cubicBezTo>
                  <a:pt x="1116" y="804"/>
                  <a:pt x="1102" y="794"/>
                  <a:pt x="1109" y="783"/>
                </a:cubicBezTo>
                <a:cubicBezTo>
                  <a:pt x="1117" y="772"/>
                  <a:pt x="1117" y="766"/>
                  <a:pt x="1117" y="766"/>
                </a:cubicBezTo>
                <a:cubicBezTo>
                  <a:pt x="1117" y="766"/>
                  <a:pt x="1095" y="761"/>
                  <a:pt x="1084" y="760"/>
                </a:cubicBezTo>
                <a:cubicBezTo>
                  <a:pt x="1073" y="759"/>
                  <a:pt x="1065" y="755"/>
                  <a:pt x="1058" y="759"/>
                </a:cubicBezTo>
                <a:cubicBezTo>
                  <a:pt x="1052" y="764"/>
                  <a:pt x="1048" y="762"/>
                  <a:pt x="1048" y="762"/>
                </a:cubicBezTo>
                <a:cubicBezTo>
                  <a:pt x="1048" y="762"/>
                  <a:pt x="1046" y="743"/>
                  <a:pt x="1039" y="741"/>
                </a:cubicBezTo>
                <a:cubicBezTo>
                  <a:pt x="1032" y="739"/>
                  <a:pt x="1053" y="750"/>
                  <a:pt x="1019" y="732"/>
                </a:cubicBezTo>
                <a:cubicBezTo>
                  <a:pt x="985" y="714"/>
                  <a:pt x="983" y="691"/>
                  <a:pt x="950" y="687"/>
                </a:cubicBezTo>
                <a:cubicBezTo>
                  <a:pt x="918" y="684"/>
                  <a:pt x="922" y="676"/>
                  <a:pt x="901" y="683"/>
                </a:cubicBezTo>
                <a:cubicBezTo>
                  <a:pt x="881" y="689"/>
                  <a:pt x="910" y="670"/>
                  <a:pt x="896" y="643"/>
                </a:cubicBezTo>
                <a:cubicBezTo>
                  <a:pt x="885" y="621"/>
                  <a:pt x="872" y="617"/>
                  <a:pt x="868" y="621"/>
                </a:cubicBezTo>
                <a:cubicBezTo>
                  <a:pt x="869" y="616"/>
                  <a:pt x="871" y="606"/>
                  <a:pt x="870" y="594"/>
                </a:cubicBezTo>
                <a:cubicBezTo>
                  <a:pt x="869" y="571"/>
                  <a:pt x="864" y="571"/>
                  <a:pt x="882" y="549"/>
                </a:cubicBezTo>
                <a:cubicBezTo>
                  <a:pt x="900" y="528"/>
                  <a:pt x="917" y="499"/>
                  <a:pt x="941" y="488"/>
                </a:cubicBezTo>
                <a:cubicBezTo>
                  <a:pt x="966" y="477"/>
                  <a:pt x="982" y="476"/>
                  <a:pt x="975" y="463"/>
                </a:cubicBezTo>
                <a:cubicBezTo>
                  <a:pt x="975" y="463"/>
                  <a:pt x="979" y="459"/>
                  <a:pt x="994" y="452"/>
                </a:cubicBezTo>
                <a:cubicBezTo>
                  <a:pt x="1009" y="445"/>
                  <a:pt x="1012" y="438"/>
                  <a:pt x="1015" y="437"/>
                </a:cubicBezTo>
                <a:cubicBezTo>
                  <a:pt x="1017" y="436"/>
                  <a:pt x="1031" y="437"/>
                  <a:pt x="1031" y="437"/>
                </a:cubicBezTo>
                <a:cubicBezTo>
                  <a:pt x="1031" y="437"/>
                  <a:pt x="1055" y="418"/>
                  <a:pt x="1059" y="412"/>
                </a:cubicBezTo>
                <a:cubicBezTo>
                  <a:pt x="1063" y="406"/>
                  <a:pt x="1067" y="407"/>
                  <a:pt x="1058" y="404"/>
                </a:cubicBezTo>
                <a:cubicBezTo>
                  <a:pt x="1054" y="403"/>
                  <a:pt x="1051" y="402"/>
                  <a:pt x="1048" y="402"/>
                </a:cubicBezTo>
                <a:cubicBezTo>
                  <a:pt x="1050" y="402"/>
                  <a:pt x="1052" y="401"/>
                  <a:pt x="1055" y="400"/>
                </a:cubicBezTo>
                <a:cubicBezTo>
                  <a:pt x="1062" y="396"/>
                  <a:pt x="1076" y="387"/>
                  <a:pt x="1078" y="380"/>
                </a:cubicBezTo>
                <a:cubicBezTo>
                  <a:pt x="1080" y="374"/>
                  <a:pt x="1074" y="369"/>
                  <a:pt x="1075" y="362"/>
                </a:cubicBezTo>
                <a:cubicBezTo>
                  <a:pt x="1076" y="355"/>
                  <a:pt x="1085" y="348"/>
                  <a:pt x="1096" y="355"/>
                </a:cubicBezTo>
                <a:cubicBezTo>
                  <a:pt x="1106" y="362"/>
                  <a:pt x="1121" y="358"/>
                  <a:pt x="1125" y="360"/>
                </a:cubicBezTo>
                <a:cubicBezTo>
                  <a:pt x="1130" y="363"/>
                  <a:pt x="1137" y="364"/>
                  <a:pt x="1143" y="359"/>
                </a:cubicBezTo>
                <a:cubicBezTo>
                  <a:pt x="1148" y="353"/>
                  <a:pt x="1157" y="352"/>
                  <a:pt x="1159" y="340"/>
                </a:cubicBezTo>
                <a:cubicBezTo>
                  <a:pt x="1162" y="327"/>
                  <a:pt x="1160" y="320"/>
                  <a:pt x="1160" y="320"/>
                </a:cubicBezTo>
                <a:cubicBezTo>
                  <a:pt x="1160" y="320"/>
                  <a:pt x="1157" y="323"/>
                  <a:pt x="1152" y="315"/>
                </a:cubicBezTo>
                <a:cubicBezTo>
                  <a:pt x="1147" y="306"/>
                  <a:pt x="1144" y="296"/>
                  <a:pt x="1152" y="297"/>
                </a:cubicBezTo>
                <a:cubicBezTo>
                  <a:pt x="1161" y="299"/>
                  <a:pt x="1167" y="293"/>
                  <a:pt x="1167" y="293"/>
                </a:cubicBezTo>
                <a:cubicBezTo>
                  <a:pt x="1163" y="275"/>
                  <a:pt x="1163" y="275"/>
                  <a:pt x="1163" y="275"/>
                </a:cubicBezTo>
                <a:cubicBezTo>
                  <a:pt x="1163" y="275"/>
                  <a:pt x="1155" y="267"/>
                  <a:pt x="1150" y="267"/>
                </a:cubicBezTo>
                <a:cubicBezTo>
                  <a:pt x="1145" y="267"/>
                  <a:pt x="1133" y="258"/>
                  <a:pt x="1127" y="255"/>
                </a:cubicBezTo>
                <a:cubicBezTo>
                  <a:pt x="1122" y="252"/>
                  <a:pt x="1113" y="255"/>
                  <a:pt x="1113" y="255"/>
                </a:cubicBezTo>
                <a:cubicBezTo>
                  <a:pt x="1109" y="266"/>
                  <a:pt x="1109" y="266"/>
                  <a:pt x="1109" y="266"/>
                </a:cubicBezTo>
                <a:cubicBezTo>
                  <a:pt x="1112" y="275"/>
                  <a:pt x="1112" y="275"/>
                  <a:pt x="1112" y="275"/>
                </a:cubicBezTo>
                <a:cubicBezTo>
                  <a:pt x="1112" y="275"/>
                  <a:pt x="1120" y="281"/>
                  <a:pt x="1115" y="284"/>
                </a:cubicBezTo>
                <a:cubicBezTo>
                  <a:pt x="1110" y="288"/>
                  <a:pt x="1108" y="290"/>
                  <a:pt x="1103" y="293"/>
                </a:cubicBezTo>
                <a:cubicBezTo>
                  <a:pt x="1097" y="295"/>
                  <a:pt x="1093" y="304"/>
                  <a:pt x="1093" y="304"/>
                </a:cubicBezTo>
                <a:cubicBezTo>
                  <a:pt x="1085" y="313"/>
                  <a:pt x="1085" y="313"/>
                  <a:pt x="1085" y="313"/>
                </a:cubicBezTo>
                <a:cubicBezTo>
                  <a:pt x="1085" y="313"/>
                  <a:pt x="1076" y="317"/>
                  <a:pt x="1076" y="324"/>
                </a:cubicBezTo>
                <a:cubicBezTo>
                  <a:pt x="1076" y="331"/>
                  <a:pt x="1074" y="337"/>
                  <a:pt x="1067" y="331"/>
                </a:cubicBezTo>
                <a:cubicBezTo>
                  <a:pt x="1061" y="324"/>
                  <a:pt x="1054" y="321"/>
                  <a:pt x="1055" y="312"/>
                </a:cubicBezTo>
                <a:cubicBezTo>
                  <a:pt x="1056" y="303"/>
                  <a:pt x="1062" y="297"/>
                  <a:pt x="1062" y="297"/>
                </a:cubicBezTo>
                <a:cubicBezTo>
                  <a:pt x="1060" y="271"/>
                  <a:pt x="1060" y="271"/>
                  <a:pt x="1060" y="271"/>
                </a:cubicBezTo>
                <a:cubicBezTo>
                  <a:pt x="1060" y="271"/>
                  <a:pt x="1054" y="250"/>
                  <a:pt x="1046" y="263"/>
                </a:cubicBezTo>
                <a:cubicBezTo>
                  <a:pt x="1038" y="275"/>
                  <a:pt x="1035" y="282"/>
                  <a:pt x="1032" y="290"/>
                </a:cubicBezTo>
                <a:cubicBezTo>
                  <a:pt x="1029" y="299"/>
                  <a:pt x="1021" y="296"/>
                  <a:pt x="1021" y="296"/>
                </a:cubicBezTo>
                <a:cubicBezTo>
                  <a:pt x="1023" y="267"/>
                  <a:pt x="1023" y="267"/>
                  <a:pt x="1023" y="267"/>
                </a:cubicBezTo>
                <a:cubicBezTo>
                  <a:pt x="1023" y="267"/>
                  <a:pt x="1028" y="253"/>
                  <a:pt x="1021" y="250"/>
                </a:cubicBezTo>
                <a:cubicBezTo>
                  <a:pt x="1014" y="248"/>
                  <a:pt x="1005" y="244"/>
                  <a:pt x="1005" y="244"/>
                </a:cubicBezTo>
                <a:cubicBezTo>
                  <a:pt x="1005" y="244"/>
                  <a:pt x="1006" y="237"/>
                  <a:pt x="1013" y="230"/>
                </a:cubicBezTo>
                <a:cubicBezTo>
                  <a:pt x="1019" y="222"/>
                  <a:pt x="1022" y="203"/>
                  <a:pt x="1017" y="198"/>
                </a:cubicBezTo>
                <a:cubicBezTo>
                  <a:pt x="1013" y="194"/>
                  <a:pt x="1008" y="178"/>
                  <a:pt x="1008" y="178"/>
                </a:cubicBezTo>
                <a:cubicBezTo>
                  <a:pt x="1008" y="178"/>
                  <a:pt x="1015" y="160"/>
                  <a:pt x="1008" y="162"/>
                </a:cubicBezTo>
                <a:cubicBezTo>
                  <a:pt x="1001" y="164"/>
                  <a:pt x="994" y="167"/>
                  <a:pt x="998" y="163"/>
                </a:cubicBezTo>
                <a:cubicBezTo>
                  <a:pt x="1002" y="159"/>
                  <a:pt x="1012" y="156"/>
                  <a:pt x="1013" y="153"/>
                </a:cubicBezTo>
                <a:cubicBezTo>
                  <a:pt x="1015" y="150"/>
                  <a:pt x="997" y="142"/>
                  <a:pt x="1016" y="142"/>
                </a:cubicBezTo>
                <a:cubicBezTo>
                  <a:pt x="1035" y="142"/>
                  <a:pt x="1042" y="138"/>
                  <a:pt x="1042" y="138"/>
                </a:cubicBezTo>
                <a:cubicBezTo>
                  <a:pt x="1042" y="138"/>
                  <a:pt x="1054" y="131"/>
                  <a:pt x="1056" y="124"/>
                </a:cubicBezTo>
                <a:cubicBezTo>
                  <a:pt x="1057" y="118"/>
                  <a:pt x="1064" y="111"/>
                  <a:pt x="1064" y="111"/>
                </a:cubicBezTo>
                <a:cubicBezTo>
                  <a:pt x="1064" y="111"/>
                  <a:pt x="1071" y="104"/>
                  <a:pt x="1062" y="102"/>
                </a:cubicBezTo>
                <a:cubicBezTo>
                  <a:pt x="1052" y="101"/>
                  <a:pt x="1053" y="92"/>
                  <a:pt x="1044" y="100"/>
                </a:cubicBezTo>
                <a:cubicBezTo>
                  <a:pt x="1035" y="109"/>
                  <a:pt x="1024" y="99"/>
                  <a:pt x="1024" y="99"/>
                </a:cubicBezTo>
                <a:cubicBezTo>
                  <a:pt x="998" y="118"/>
                  <a:pt x="998" y="118"/>
                  <a:pt x="998" y="118"/>
                </a:cubicBezTo>
                <a:cubicBezTo>
                  <a:pt x="998" y="118"/>
                  <a:pt x="998" y="127"/>
                  <a:pt x="997" y="135"/>
                </a:cubicBezTo>
                <a:cubicBezTo>
                  <a:pt x="995" y="143"/>
                  <a:pt x="997" y="154"/>
                  <a:pt x="997" y="154"/>
                </a:cubicBezTo>
                <a:cubicBezTo>
                  <a:pt x="997" y="154"/>
                  <a:pt x="1000" y="156"/>
                  <a:pt x="993" y="160"/>
                </a:cubicBezTo>
                <a:cubicBezTo>
                  <a:pt x="987" y="165"/>
                  <a:pt x="973" y="177"/>
                  <a:pt x="973" y="177"/>
                </a:cubicBezTo>
                <a:cubicBezTo>
                  <a:pt x="961" y="198"/>
                  <a:pt x="961" y="198"/>
                  <a:pt x="961" y="198"/>
                </a:cubicBezTo>
                <a:cubicBezTo>
                  <a:pt x="968" y="203"/>
                  <a:pt x="968" y="203"/>
                  <a:pt x="968" y="203"/>
                </a:cubicBezTo>
                <a:cubicBezTo>
                  <a:pt x="952" y="212"/>
                  <a:pt x="952" y="212"/>
                  <a:pt x="952" y="212"/>
                </a:cubicBezTo>
                <a:cubicBezTo>
                  <a:pt x="952" y="212"/>
                  <a:pt x="948" y="218"/>
                  <a:pt x="952" y="224"/>
                </a:cubicBezTo>
                <a:cubicBezTo>
                  <a:pt x="957" y="230"/>
                  <a:pt x="962" y="222"/>
                  <a:pt x="967" y="233"/>
                </a:cubicBezTo>
                <a:cubicBezTo>
                  <a:pt x="972" y="244"/>
                  <a:pt x="978" y="246"/>
                  <a:pt x="980" y="248"/>
                </a:cubicBezTo>
                <a:cubicBezTo>
                  <a:pt x="982" y="250"/>
                  <a:pt x="968" y="255"/>
                  <a:pt x="969" y="263"/>
                </a:cubicBezTo>
                <a:cubicBezTo>
                  <a:pt x="970" y="272"/>
                  <a:pt x="976" y="275"/>
                  <a:pt x="976" y="275"/>
                </a:cubicBezTo>
                <a:cubicBezTo>
                  <a:pt x="976" y="275"/>
                  <a:pt x="954" y="283"/>
                  <a:pt x="951" y="287"/>
                </a:cubicBezTo>
                <a:cubicBezTo>
                  <a:pt x="948" y="291"/>
                  <a:pt x="943" y="293"/>
                  <a:pt x="943" y="293"/>
                </a:cubicBezTo>
                <a:cubicBezTo>
                  <a:pt x="943" y="293"/>
                  <a:pt x="939" y="302"/>
                  <a:pt x="935" y="311"/>
                </a:cubicBezTo>
                <a:cubicBezTo>
                  <a:pt x="932" y="321"/>
                  <a:pt x="923" y="322"/>
                  <a:pt x="923" y="322"/>
                </a:cubicBezTo>
                <a:cubicBezTo>
                  <a:pt x="923" y="322"/>
                  <a:pt x="915" y="306"/>
                  <a:pt x="921" y="304"/>
                </a:cubicBezTo>
                <a:cubicBezTo>
                  <a:pt x="926" y="301"/>
                  <a:pt x="932" y="292"/>
                  <a:pt x="932" y="292"/>
                </a:cubicBezTo>
                <a:cubicBezTo>
                  <a:pt x="932" y="292"/>
                  <a:pt x="929" y="279"/>
                  <a:pt x="921" y="279"/>
                </a:cubicBezTo>
                <a:cubicBezTo>
                  <a:pt x="912" y="278"/>
                  <a:pt x="907" y="272"/>
                  <a:pt x="907" y="272"/>
                </a:cubicBezTo>
                <a:cubicBezTo>
                  <a:pt x="894" y="282"/>
                  <a:pt x="894" y="282"/>
                  <a:pt x="894" y="282"/>
                </a:cubicBezTo>
                <a:cubicBezTo>
                  <a:pt x="894" y="282"/>
                  <a:pt x="912" y="296"/>
                  <a:pt x="903" y="296"/>
                </a:cubicBezTo>
                <a:cubicBezTo>
                  <a:pt x="895" y="296"/>
                  <a:pt x="877" y="290"/>
                  <a:pt x="877" y="290"/>
                </a:cubicBezTo>
                <a:cubicBezTo>
                  <a:pt x="863" y="288"/>
                  <a:pt x="863" y="288"/>
                  <a:pt x="863" y="288"/>
                </a:cubicBezTo>
                <a:cubicBezTo>
                  <a:pt x="863" y="288"/>
                  <a:pt x="842" y="281"/>
                  <a:pt x="838" y="284"/>
                </a:cubicBezTo>
                <a:cubicBezTo>
                  <a:pt x="834" y="286"/>
                  <a:pt x="813" y="274"/>
                  <a:pt x="812" y="270"/>
                </a:cubicBezTo>
                <a:cubicBezTo>
                  <a:pt x="811" y="267"/>
                  <a:pt x="791" y="252"/>
                  <a:pt x="795" y="246"/>
                </a:cubicBezTo>
                <a:cubicBezTo>
                  <a:pt x="800" y="239"/>
                  <a:pt x="813" y="225"/>
                  <a:pt x="790" y="231"/>
                </a:cubicBezTo>
                <a:cubicBezTo>
                  <a:pt x="767" y="237"/>
                  <a:pt x="764" y="238"/>
                  <a:pt x="764" y="238"/>
                </a:cubicBezTo>
                <a:cubicBezTo>
                  <a:pt x="764" y="238"/>
                  <a:pt x="749" y="235"/>
                  <a:pt x="753" y="239"/>
                </a:cubicBezTo>
                <a:cubicBezTo>
                  <a:pt x="756" y="243"/>
                  <a:pt x="762" y="241"/>
                  <a:pt x="764" y="245"/>
                </a:cubicBezTo>
                <a:cubicBezTo>
                  <a:pt x="766" y="248"/>
                  <a:pt x="758" y="256"/>
                  <a:pt x="753" y="255"/>
                </a:cubicBezTo>
                <a:cubicBezTo>
                  <a:pt x="747" y="255"/>
                  <a:pt x="744" y="250"/>
                  <a:pt x="742" y="257"/>
                </a:cubicBezTo>
                <a:cubicBezTo>
                  <a:pt x="741" y="264"/>
                  <a:pt x="745" y="272"/>
                  <a:pt x="745" y="272"/>
                </a:cubicBezTo>
                <a:cubicBezTo>
                  <a:pt x="744" y="288"/>
                  <a:pt x="744" y="288"/>
                  <a:pt x="744" y="288"/>
                </a:cubicBezTo>
                <a:cubicBezTo>
                  <a:pt x="744" y="288"/>
                  <a:pt x="733" y="291"/>
                  <a:pt x="730" y="292"/>
                </a:cubicBezTo>
                <a:cubicBezTo>
                  <a:pt x="728" y="293"/>
                  <a:pt x="733" y="268"/>
                  <a:pt x="733" y="268"/>
                </a:cubicBezTo>
                <a:cubicBezTo>
                  <a:pt x="724" y="255"/>
                  <a:pt x="724" y="255"/>
                  <a:pt x="724" y="255"/>
                </a:cubicBezTo>
                <a:cubicBezTo>
                  <a:pt x="724" y="255"/>
                  <a:pt x="731" y="248"/>
                  <a:pt x="719" y="247"/>
                </a:cubicBezTo>
                <a:cubicBezTo>
                  <a:pt x="706" y="246"/>
                  <a:pt x="695" y="243"/>
                  <a:pt x="694" y="246"/>
                </a:cubicBezTo>
                <a:cubicBezTo>
                  <a:pt x="692" y="249"/>
                  <a:pt x="695" y="243"/>
                  <a:pt x="682" y="243"/>
                </a:cubicBezTo>
                <a:cubicBezTo>
                  <a:pt x="670" y="244"/>
                  <a:pt x="637" y="239"/>
                  <a:pt x="645" y="229"/>
                </a:cubicBezTo>
                <a:cubicBezTo>
                  <a:pt x="654" y="219"/>
                  <a:pt x="651" y="216"/>
                  <a:pt x="660" y="219"/>
                </a:cubicBezTo>
                <a:cubicBezTo>
                  <a:pt x="669" y="221"/>
                  <a:pt x="672" y="219"/>
                  <a:pt x="672" y="212"/>
                </a:cubicBezTo>
                <a:cubicBezTo>
                  <a:pt x="673" y="204"/>
                  <a:pt x="668" y="191"/>
                  <a:pt x="668" y="191"/>
                </a:cubicBezTo>
                <a:cubicBezTo>
                  <a:pt x="668" y="191"/>
                  <a:pt x="663" y="189"/>
                  <a:pt x="656" y="187"/>
                </a:cubicBezTo>
                <a:cubicBezTo>
                  <a:pt x="650" y="186"/>
                  <a:pt x="640" y="180"/>
                  <a:pt x="640" y="180"/>
                </a:cubicBezTo>
                <a:cubicBezTo>
                  <a:pt x="628" y="165"/>
                  <a:pt x="628" y="165"/>
                  <a:pt x="628" y="165"/>
                </a:cubicBezTo>
                <a:cubicBezTo>
                  <a:pt x="628" y="165"/>
                  <a:pt x="624" y="163"/>
                  <a:pt x="619" y="150"/>
                </a:cubicBezTo>
                <a:cubicBezTo>
                  <a:pt x="614" y="138"/>
                  <a:pt x="613" y="131"/>
                  <a:pt x="605" y="129"/>
                </a:cubicBezTo>
                <a:cubicBezTo>
                  <a:pt x="596" y="126"/>
                  <a:pt x="599" y="120"/>
                  <a:pt x="589" y="123"/>
                </a:cubicBezTo>
                <a:cubicBezTo>
                  <a:pt x="580" y="126"/>
                  <a:pt x="568" y="136"/>
                  <a:pt x="567" y="128"/>
                </a:cubicBezTo>
                <a:cubicBezTo>
                  <a:pt x="567" y="120"/>
                  <a:pt x="587" y="104"/>
                  <a:pt x="587" y="104"/>
                </a:cubicBezTo>
                <a:cubicBezTo>
                  <a:pt x="587" y="104"/>
                  <a:pt x="589" y="93"/>
                  <a:pt x="586" y="97"/>
                </a:cubicBezTo>
                <a:cubicBezTo>
                  <a:pt x="583" y="100"/>
                  <a:pt x="569" y="104"/>
                  <a:pt x="569" y="104"/>
                </a:cubicBezTo>
                <a:cubicBezTo>
                  <a:pt x="569" y="104"/>
                  <a:pt x="561" y="112"/>
                  <a:pt x="556" y="115"/>
                </a:cubicBezTo>
                <a:cubicBezTo>
                  <a:pt x="550" y="119"/>
                  <a:pt x="547" y="110"/>
                  <a:pt x="547" y="110"/>
                </a:cubicBezTo>
                <a:cubicBezTo>
                  <a:pt x="556" y="89"/>
                  <a:pt x="556" y="89"/>
                  <a:pt x="556" y="89"/>
                </a:cubicBezTo>
                <a:cubicBezTo>
                  <a:pt x="556" y="89"/>
                  <a:pt x="571" y="80"/>
                  <a:pt x="568" y="73"/>
                </a:cubicBezTo>
                <a:cubicBezTo>
                  <a:pt x="565" y="66"/>
                  <a:pt x="560" y="62"/>
                  <a:pt x="560" y="62"/>
                </a:cubicBezTo>
                <a:cubicBezTo>
                  <a:pt x="560" y="62"/>
                  <a:pt x="554" y="66"/>
                  <a:pt x="550" y="72"/>
                </a:cubicBezTo>
                <a:cubicBezTo>
                  <a:pt x="546" y="77"/>
                  <a:pt x="541" y="80"/>
                  <a:pt x="541" y="80"/>
                </a:cubicBezTo>
                <a:cubicBezTo>
                  <a:pt x="541" y="80"/>
                  <a:pt x="527" y="98"/>
                  <a:pt x="525" y="87"/>
                </a:cubicBezTo>
                <a:cubicBezTo>
                  <a:pt x="523" y="76"/>
                  <a:pt x="543" y="63"/>
                  <a:pt x="524" y="66"/>
                </a:cubicBezTo>
                <a:cubicBezTo>
                  <a:pt x="506" y="68"/>
                  <a:pt x="506" y="61"/>
                  <a:pt x="502" y="65"/>
                </a:cubicBezTo>
                <a:cubicBezTo>
                  <a:pt x="499" y="69"/>
                  <a:pt x="502" y="75"/>
                  <a:pt x="494" y="79"/>
                </a:cubicBezTo>
                <a:cubicBezTo>
                  <a:pt x="486" y="82"/>
                  <a:pt x="482" y="79"/>
                  <a:pt x="476" y="77"/>
                </a:cubicBezTo>
                <a:cubicBezTo>
                  <a:pt x="470" y="75"/>
                  <a:pt x="466" y="53"/>
                  <a:pt x="463" y="68"/>
                </a:cubicBezTo>
                <a:cubicBezTo>
                  <a:pt x="459" y="82"/>
                  <a:pt x="459" y="88"/>
                  <a:pt x="452" y="80"/>
                </a:cubicBezTo>
                <a:cubicBezTo>
                  <a:pt x="444" y="71"/>
                  <a:pt x="444" y="64"/>
                  <a:pt x="444" y="64"/>
                </a:cubicBezTo>
                <a:cubicBezTo>
                  <a:pt x="444" y="64"/>
                  <a:pt x="425" y="83"/>
                  <a:pt x="431" y="75"/>
                </a:cubicBezTo>
                <a:cubicBezTo>
                  <a:pt x="437" y="66"/>
                  <a:pt x="431" y="63"/>
                  <a:pt x="431" y="63"/>
                </a:cubicBezTo>
                <a:cubicBezTo>
                  <a:pt x="418" y="56"/>
                  <a:pt x="418" y="56"/>
                  <a:pt x="418" y="56"/>
                </a:cubicBezTo>
                <a:cubicBezTo>
                  <a:pt x="418" y="56"/>
                  <a:pt x="418" y="46"/>
                  <a:pt x="415" y="44"/>
                </a:cubicBezTo>
                <a:cubicBezTo>
                  <a:pt x="412" y="43"/>
                  <a:pt x="408" y="34"/>
                  <a:pt x="408" y="34"/>
                </a:cubicBezTo>
                <a:cubicBezTo>
                  <a:pt x="410" y="17"/>
                  <a:pt x="410" y="17"/>
                  <a:pt x="410" y="17"/>
                </a:cubicBezTo>
                <a:cubicBezTo>
                  <a:pt x="410" y="17"/>
                  <a:pt x="403" y="0"/>
                  <a:pt x="401" y="1"/>
                </a:cubicBezTo>
                <a:cubicBezTo>
                  <a:pt x="376" y="14"/>
                  <a:pt x="95" y="232"/>
                  <a:pt x="90" y="240"/>
                </a:cubicBezTo>
                <a:cubicBezTo>
                  <a:pt x="85" y="249"/>
                  <a:pt x="93" y="249"/>
                  <a:pt x="98" y="254"/>
                </a:cubicBezTo>
                <a:cubicBezTo>
                  <a:pt x="104" y="259"/>
                  <a:pt x="107" y="266"/>
                  <a:pt x="114" y="273"/>
                </a:cubicBezTo>
                <a:cubicBezTo>
                  <a:pt x="121" y="279"/>
                  <a:pt x="114" y="290"/>
                  <a:pt x="109" y="298"/>
                </a:cubicBezTo>
                <a:cubicBezTo>
                  <a:pt x="104" y="307"/>
                  <a:pt x="92" y="312"/>
                  <a:pt x="95" y="324"/>
                </a:cubicBezTo>
                <a:cubicBezTo>
                  <a:pt x="98" y="336"/>
                  <a:pt x="110" y="329"/>
                  <a:pt x="117" y="319"/>
                </a:cubicBezTo>
                <a:cubicBezTo>
                  <a:pt x="124" y="309"/>
                  <a:pt x="139" y="327"/>
                  <a:pt x="136" y="341"/>
                </a:cubicBezTo>
                <a:cubicBezTo>
                  <a:pt x="133" y="355"/>
                  <a:pt x="129" y="396"/>
                  <a:pt x="124" y="413"/>
                </a:cubicBezTo>
                <a:cubicBezTo>
                  <a:pt x="119" y="430"/>
                  <a:pt x="121" y="430"/>
                  <a:pt x="114" y="444"/>
                </a:cubicBezTo>
                <a:cubicBezTo>
                  <a:pt x="107" y="457"/>
                  <a:pt x="110" y="457"/>
                  <a:pt x="117" y="468"/>
                </a:cubicBezTo>
                <a:cubicBezTo>
                  <a:pt x="124" y="478"/>
                  <a:pt x="126" y="493"/>
                  <a:pt x="122" y="500"/>
                </a:cubicBezTo>
                <a:cubicBezTo>
                  <a:pt x="119" y="507"/>
                  <a:pt x="109" y="515"/>
                  <a:pt x="100" y="529"/>
                </a:cubicBezTo>
                <a:cubicBezTo>
                  <a:pt x="92" y="543"/>
                  <a:pt x="71" y="529"/>
                  <a:pt x="71" y="529"/>
                </a:cubicBezTo>
                <a:cubicBezTo>
                  <a:pt x="69" y="528"/>
                  <a:pt x="69" y="528"/>
                  <a:pt x="69" y="528"/>
                </a:cubicBezTo>
                <a:cubicBezTo>
                  <a:pt x="68" y="530"/>
                  <a:pt x="68" y="530"/>
                  <a:pt x="68" y="530"/>
                </a:cubicBezTo>
                <a:cubicBezTo>
                  <a:pt x="67" y="532"/>
                  <a:pt x="66" y="535"/>
                  <a:pt x="67" y="539"/>
                </a:cubicBezTo>
                <a:cubicBezTo>
                  <a:pt x="69" y="548"/>
                  <a:pt x="73" y="562"/>
                  <a:pt x="65" y="562"/>
                </a:cubicBezTo>
                <a:cubicBezTo>
                  <a:pt x="58" y="562"/>
                  <a:pt x="58" y="558"/>
                  <a:pt x="51" y="564"/>
                </a:cubicBezTo>
                <a:cubicBezTo>
                  <a:pt x="45" y="570"/>
                  <a:pt x="36" y="567"/>
                  <a:pt x="42" y="576"/>
                </a:cubicBezTo>
                <a:cubicBezTo>
                  <a:pt x="48" y="586"/>
                  <a:pt x="56" y="584"/>
                  <a:pt x="56" y="584"/>
                </a:cubicBezTo>
                <a:cubicBezTo>
                  <a:pt x="56" y="584"/>
                  <a:pt x="64" y="572"/>
                  <a:pt x="67" y="581"/>
                </a:cubicBezTo>
                <a:cubicBezTo>
                  <a:pt x="70" y="590"/>
                  <a:pt x="75" y="590"/>
                  <a:pt x="70" y="596"/>
                </a:cubicBezTo>
                <a:cubicBezTo>
                  <a:pt x="65" y="603"/>
                  <a:pt x="64" y="604"/>
                  <a:pt x="58" y="607"/>
                </a:cubicBezTo>
                <a:cubicBezTo>
                  <a:pt x="51" y="610"/>
                  <a:pt x="53" y="598"/>
                  <a:pt x="51" y="610"/>
                </a:cubicBezTo>
                <a:cubicBezTo>
                  <a:pt x="50" y="623"/>
                  <a:pt x="58" y="617"/>
                  <a:pt x="58" y="621"/>
                </a:cubicBezTo>
                <a:cubicBezTo>
                  <a:pt x="58" y="626"/>
                  <a:pt x="48" y="634"/>
                  <a:pt x="48" y="634"/>
                </a:cubicBezTo>
                <a:cubicBezTo>
                  <a:pt x="48" y="634"/>
                  <a:pt x="67" y="634"/>
                  <a:pt x="69" y="637"/>
                </a:cubicBezTo>
                <a:cubicBezTo>
                  <a:pt x="70" y="640"/>
                  <a:pt x="78" y="627"/>
                  <a:pt x="79" y="638"/>
                </a:cubicBezTo>
                <a:cubicBezTo>
                  <a:pt x="81" y="649"/>
                  <a:pt x="76" y="654"/>
                  <a:pt x="69" y="657"/>
                </a:cubicBezTo>
                <a:cubicBezTo>
                  <a:pt x="61" y="660"/>
                  <a:pt x="53" y="660"/>
                  <a:pt x="53" y="660"/>
                </a:cubicBezTo>
                <a:cubicBezTo>
                  <a:pt x="53" y="660"/>
                  <a:pt x="47" y="655"/>
                  <a:pt x="45" y="663"/>
                </a:cubicBezTo>
                <a:cubicBezTo>
                  <a:pt x="44" y="671"/>
                  <a:pt x="47" y="674"/>
                  <a:pt x="51" y="677"/>
                </a:cubicBezTo>
                <a:cubicBezTo>
                  <a:pt x="56" y="680"/>
                  <a:pt x="41" y="688"/>
                  <a:pt x="47" y="696"/>
                </a:cubicBezTo>
                <a:cubicBezTo>
                  <a:pt x="53" y="703"/>
                  <a:pt x="65" y="699"/>
                  <a:pt x="65" y="699"/>
                </a:cubicBezTo>
                <a:cubicBezTo>
                  <a:pt x="65" y="699"/>
                  <a:pt x="76" y="683"/>
                  <a:pt x="75" y="696"/>
                </a:cubicBezTo>
                <a:cubicBezTo>
                  <a:pt x="73" y="708"/>
                  <a:pt x="58" y="706"/>
                  <a:pt x="64" y="714"/>
                </a:cubicBezTo>
                <a:cubicBezTo>
                  <a:pt x="70" y="722"/>
                  <a:pt x="73" y="711"/>
                  <a:pt x="79" y="720"/>
                </a:cubicBezTo>
                <a:cubicBezTo>
                  <a:pt x="86" y="730"/>
                  <a:pt x="78" y="733"/>
                  <a:pt x="78" y="741"/>
                </a:cubicBezTo>
                <a:cubicBezTo>
                  <a:pt x="78" y="748"/>
                  <a:pt x="87" y="753"/>
                  <a:pt x="89" y="758"/>
                </a:cubicBezTo>
                <a:cubicBezTo>
                  <a:pt x="90" y="762"/>
                  <a:pt x="93" y="776"/>
                  <a:pt x="89" y="781"/>
                </a:cubicBezTo>
                <a:cubicBezTo>
                  <a:pt x="84" y="785"/>
                  <a:pt x="79" y="784"/>
                  <a:pt x="81" y="793"/>
                </a:cubicBezTo>
                <a:cubicBezTo>
                  <a:pt x="82" y="803"/>
                  <a:pt x="84" y="804"/>
                  <a:pt x="76" y="809"/>
                </a:cubicBezTo>
                <a:cubicBezTo>
                  <a:pt x="69" y="813"/>
                  <a:pt x="64" y="815"/>
                  <a:pt x="64" y="807"/>
                </a:cubicBezTo>
                <a:cubicBezTo>
                  <a:pt x="64" y="799"/>
                  <a:pt x="69" y="787"/>
                  <a:pt x="67" y="781"/>
                </a:cubicBezTo>
                <a:cubicBezTo>
                  <a:pt x="65" y="775"/>
                  <a:pt x="70" y="751"/>
                  <a:pt x="64" y="751"/>
                </a:cubicBezTo>
                <a:cubicBezTo>
                  <a:pt x="58" y="751"/>
                  <a:pt x="58" y="737"/>
                  <a:pt x="58" y="733"/>
                </a:cubicBezTo>
                <a:cubicBezTo>
                  <a:pt x="58" y="728"/>
                  <a:pt x="48" y="716"/>
                  <a:pt x="45" y="722"/>
                </a:cubicBezTo>
                <a:cubicBezTo>
                  <a:pt x="42" y="728"/>
                  <a:pt x="36" y="720"/>
                  <a:pt x="36" y="720"/>
                </a:cubicBezTo>
                <a:cubicBezTo>
                  <a:pt x="36" y="720"/>
                  <a:pt x="38" y="693"/>
                  <a:pt x="31" y="697"/>
                </a:cubicBezTo>
                <a:cubicBezTo>
                  <a:pt x="25" y="702"/>
                  <a:pt x="19" y="680"/>
                  <a:pt x="13" y="689"/>
                </a:cubicBezTo>
                <a:cubicBezTo>
                  <a:pt x="7" y="699"/>
                  <a:pt x="0" y="689"/>
                  <a:pt x="8" y="705"/>
                </a:cubicBezTo>
                <a:cubicBezTo>
                  <a:pt x="16" y="720"/>
                  <a:pt x="18" y="733"/>
                  <a:pt x="22" y="736"/>
                </a:cubicBezTo>
                <a:cubicBezTo>
                  <a:pt x="31" y="744"/>
                  <a:pt x="41" y="747"/>
                  <a:pt x="36" y="753"/>
                </a:cubicBezTo>
                <a:cubicBezTo>
                  <a:pt x="31" y="759"/>
                  <a:pt x="28" y="756"/>
                  <a:pt x="28" y="765"/>
                </a:cubicBezTo>
                <a:cubicBezTo>
                  <a:pt x="28" y="775"/>
                  <a:pt x="39" y="776"/>
                  <a:pt x="39" y="776"/>
                </a:cubicBezTo>
                <a:cubicBezTo>
                  <a:pt x="39" y="776"/>
                  <a:pt x="41" y="775"/>
                  <a:pt x="36" y="793"/>
                </a:cubicBezTo>
                <a:cubicBezTo>
                  <a:pt x="31" y="812"/>
                  <a:pt x="44" y="809"/>
                  <a:pt x="42" y="818"/>
                </a:cubicBezTo>
                <a:cubicBezTo>
                  <a:pt x="42" y="818"/>
                  <a:pt x="56" y="844"/>
                  <a:pt x="68" y="837"/>
                </a:cubicBezTo>
                <a:cubicBezTo>
                  <a:pt x="80" y="830"/>
                  <a:pt x="80" y="803"/>
                  <a:pt x="109" y="808"/>
                </a:cubicBezTo>
                <a:cubicBezTo>
                  <a:pt x="138" y="813"/>
                  <a:pt x="562" y="943"/>
                  <a:pt x="743" y="963"/>
                </a:cubicBezTo>
                <a:cubicBezTo>
                  <a:pt x="743" y="963"/>
                  <a:pt x="769" y="970"/>
                  <a:pt x="769" y="963"/>
                </a:cubicBezTo>
                <a:cubicBezTo>
                  <a:pt x="769" y="957"/>
                  <a:pt x="775" y="948"/>
                  <a:pt x="781" y="951"/>
                </a:cubicBezTo>
                <a:cubicBezTo>
                  <a:pt x="786" y="955"/>
                  <a:pt x="772" y="968"/>
                  <a:pt x="784" y="972"/>
                </a:cubicBezTo>
                <a:cubicBezTo>
                  <a:pt x="796" y="975"/>
                  <a:pt x="811" y="987"/>
                  <a:pt x="820" y="987"/>
                </a:cubicBezTo>
                <a:cubicBezTo>
                  <a:pt x="828" y="987"/>
                  <a:pt x="835" y="991"/>
                  <a:pt x="840" y="996"/>
                </a:cubicBezTo>
                <a:cubicBezTo>
                  <a:pt x="846" y="1001"/>
                  <a:pt x="852" y="999"/>
                  <a:pt x="858" y="999"/>
                </a:cubicBezTo>
                <a:cubicBezTo>
                  <a:pt x="863" y="999"/>
                  <a:pt x="873" y="994"/>
                  <a:pt x="876" y="1003"/>
                </a:cubicBezTo>
                <a:cubicBezTo>
                  <a:pt x="880" y="1011"/>
                  <a:pt x="881" y="1010"/>
                  <a:pt x="890" y="1010"/>
                </a:cubicBezTo>
                <a:cubicBezTo>
                  <a:pt x="899" y="1010"/>
                  <a:pt x="914" y="1011"/>
                  <a:pt x="914" y="1011"/>
                </a:cubicBezTo>
                <a:cubicBezTo>
                  <a:pt x="915" y="1014"/>
                  <a:pt x="915" y="1014"/>
                  <a:pt x="915" y="1014"/>
                </a:cubicBezTo>
                <a:cubicBezTo>
                  <a:pt x="919" y="1011"/>
                  <a:pt x="923" y="1008"/>
                  <a:pt x="926" y="1002"/>
                </a:cubicBezTo>
                <a:cubicBezTo>
                  <a:pt x="937" y="986"/>
                  <a:pt x="940" y="986"/>
                  <a:pt x="952" y="987"/>
                </a:cubicBezTo>
                <a:cubicBezTo>
                  <a:pt x="952" y="987"/>
                  <a:pt x="968" y="980"/>
                  <a:pt x="978" y="981"/>
                </a:cubicBezTo>
                <a:cubicBezTo>
                  <a:pt x="987" y="982"/>
                  <a:pt x="987" y="990"/>
                  <a:pt x="989" y="998"/>
                </a:cubicBezTo>
                <a:cubicBezTo>
                  <a:pt x="991" y="1007"/>
                  <a:pt x="1002" y="1018"/>
                  <a:pt x="1005" y="1012"/>
                </a:cubicBezTo>
                <a:cubicBezTo>
                  <a:pt x="1008" y="1006"/>
                  <a:pt x="1023" y="1022"/>
                  <a:pt x="1028" y="1022"/>
                </a:cubicBezTo>
                <a:cubicBezTo>
                  <a:pt x="1032" y="1022"/>
                  <a:pt x="1033" y="1030"/>
                  <a:pt x="1043" y="1060"/>
                </a:cubicBezTo>
                <a:cubicBezTo>
                  <a:pt x="1052" y="1090"/>
                  <a:pt x="1062" y="1075"/>
                  <a:pt x="1065" y="1080"/>
                </a:cubicBezTo>
                <a:cubicBezTo>
                  <a:pt x="1068" y="1086"/>
                  <a:pt x="1073" y="1083"/>
                  <a:pt x="1078" y="1086"/>
                </a:cubicBezTo>
                <a:cubicBezTo>
                  <a:pt x="1082" y="1088"/>
                  <a:pt x="1104" y="1091"/>
                  <a:pt x="1113" y="1091"/>
                </a:cubicBezTo>
                <a:cubicBezTo>
                  <a:pt x="1121" y="1091"/>
                  <a:pt x="1131" y="1098"/>
                  <a:pt x="1140" y="1102"/>
                </a:cubicBezTo>
                <a:cubicBezTo>
                  <a:pt x="1148" y="1105"/>
                  <a:pt x="1158" y="1122"/>
                  <a:pt x="1163" y="1127"/>
                </a:cubicBezTo>
                <a:cubicBezTo>
                  <a:pt x="1168" y="1132"/>
                  <a:pt x="1166" y="1145"/>
                  <a:pt x="1156" y="1147"/>
                </a:cubicBezTo>
                <a:cubicBezTo>
                  <a:pt x="1151" y="1148"/>
                  <a:pt x="1149" y="1149"/>
                  <a:pt x="1147" y="1149"/>
                </a:cubicBezTo>
                <a:cubicBezTo>
                  <a:pt x="1146" y="1150"/>
                  <a:pt x="1146" y="1150"/>
                  <a:pt x="1146" y="1150"/>
                </a:cubicBezTo>
                <a:cubicBezTo>
                  <a:pt x="1155" y="1164"/>
                  <a:pt x="1167" y="1172"/>
                  <a:pt x="1177" y="1187"/>
                </a:cubicBezTo>
                <a:cubicBezTo>
                  <a:pt x="1178" y="1186"/>
                  <a:pt x="1178" y="1186"/>
                  <a:pt x="1178" y="1186"/>
                </a:cubicBezTo>
                <a:cubicBezTo>
                  <a:pt x="1196" y="1175"/>
                  <a:pt x="1196" y="1175"/>
                  <a:pt x="1196" y="1175"/>
                </a:cubicBezTo>
                <a:cubicBezTo>
                  <a:pt x="1196" y="1175"/>
                  <a:pt x="1227" y="1177"/>
                  <a:pt x="1231" y="1177"/>
                </a:cubicBezTo>
                <a:cubicBezTo>
                  <a:pt x="1236" y="1177"/>
                  <a:pt x="1263" y="1168"/>
                  <a:pt x="1268" y="1162"/>
                </a:cubicBezTo>
                <a:cubicBezTo>
                  <a:pt x="1269" y="1161"/>
                  <a:pt x="1270" y="1161"/>
                  <a:pt x="1271" y="1162"/>
                </a:cubicBezTo>
                <a:cubicBezTo>
                  <a:pt x="1273" y="1162"/>
                  <a:pt x="1273" y="1162"/>
                  <a:pt x="1273" y="1162"/>
                </a:cubicBezTo>
                <a:cubicBezTo>
                  <a:pt x="1273" y="1162"/>
                  <a:pt x="1287" y="1153"/>
                  <a:pt x="1294" y="1146"/>
                </a:cubicBezTo>
                <a:cubicBezTo>
                  <a:pt x="1300" y="1139"/>
                  <a:pt x="1302" y="1134"/>
                  <a:pt x="1326" y="1138"/>
                </a:cubicBezTo>
                <a:cubicBezTo>
                  <a:pt x="1350" y="1141"/>
                  <a:pt x="1374" y="1139"/>
                  <a:pt x="1388" y="1134"/>
                </a:cubicBezTo>
                <a:cubicBezTo>
                  <a:pt x="1401" y="1129"/>
                  <a:pt x="1423" y="1129"/>
                  <a:pt x="1429" y="1105"/>
                </a:cubicBezTo>
                <a:cubicBezTo>
                  <a:pt x="1434" y="1081"/>
                  <a:pt x="1442" y="1066"/>
                  <a:pt x="1447" y="1054"/>
                </a:cubicBezTo>
                <a:cubicBezTo>
                  <a:pt x="1453" y="1042"/>
                  <a:pt x="1459" y="1032"/>
                  <a:pt x="1470" y="1042"/>
                </a:cubicBezTo>
                <a:cubicBezTo>
                  <a:pt x="1480" y="1052"/>
                  <a:pt x="1485" y="1039"/>
                  <a:pt x="1495" y="1047"/>
                </a:cubicBezTo>
                <a:cubicBezTo>
                  <a:pt x="1506" y="1056"/>
                  <a:pt x="1495" y="1071"/>
                  <a:pt x="1502" y="1086"/>
                </a:cubicBezTo>
                <a:cubicBezTo>
                  <a:pt x="1509" y="1102"/>
                  <a:pt x="1523" y="1122"/>
                  <a:pt x="1529" y="1131"/>
                </a:cubicBezTo>
                <a:cubicBezTo>
                  <a:pt x="1531" y="1133"/>
                  <a:pt x="1531" y="1133"/>
                  <a:pt x="1531" y="1133"/>
                </a:cubicBezTo>
                <a:cubicBezTo>
                  <a:pt x="1535" y="1128"/>
                  <a:pt x="1537" y="1125"/>
                  <a:pt x="1537" y="1125"/>
                </a:cubicBezTo>
                <a:cubicBezTo>
                  <a:pt x="1537" y="1125"/>
                  <a:pt x="1557" y="1116"/>
                  <a:pt x="1565" y="1112"/>
                </a:cubicBezTo>
                <a:cubicBezTo>
                  <a:pt x="1574" y="1109"/>
                  <a:pt x="1583" y="1099"/>
                  <a:pt x="1583" y="1099"/>
                </a:cubicBezTo>
                <a:cubicBezTo>
                  <a:pt x="1589" y="1093"/>
                  <a:pt x="1589" y="1093"/>
                  <a:pt x="1589" y="1093"/>
                </a:cubicBezTo>
                <a:cubicBezTo>
                  <a:pt x="1589" y="1093"/>
                  <a:pt x="1583" y="1099"/>
                  <a:pt x="1596" y="1102"/>
                </a:cubicBezTo>
                <a:cubicBezTo>
                  <a:pt x="1608" y="1106"/>
                  <a:pt x="1618" y="1096"/>
                  <a:pt x="1618" y="1102"/>
                </a:cubicBezTo>
                <a:cubicBezTo>
                  <a:pt x="1617" y="1109"/>
                  <a:pt x="1601" y="1116"/>
                  <a:pt x="1601" y="1116"/>
                </a:cubicBezTo>
                <a:cubicBezTo>
                  <a:pt x="1601" y="1116"/>
                  <a:pt x="1598" y="1116"/>
                  <a:pt x="1591" y="1117"/>
                </a:cubicBezTo>
                <a:cubicBezTo>
                  <a:pt x="1584" y="1118"/>
                  <a:pt x="1573" y="1132"/>
                  <a:pt x="1573" y="1132"/>
                </a:cubicBezTo>
                <a:cubicBezTo>
                  <a:pt x="1573" y="1132"/>
                  <a:pt x="1568" y="1135"/>
                  <a:pt x="1565" y="1140"/>
                </a:cubicBezTo>
                <a:cubicBezTo>
                  <a:pt x="1561" y="1146"/>
                  <a:pt x="1558" y="1152"/>
                  <a:pt x="1559" y="1158"/>
                </a:cubicBezTo>
                <a:cubicBezTo>
                  <a:pt x="1560" y="1165"/>
                  <a:pt x="1559" y="1169"/>
                  <a:pt x="1567" y="1172"/>
                </a:cubicBezTo>
                <a:cubicBezTo>
                  <a:pt x="1574" y="1174"/>
                  <a:pt x="1584" y="1169"/>
                  <a:pt x="1584" y="1169"/>
                </a:cubicBezTo>
                <a:cubicBezTo>
                  <a:pt x="1584" y="1169"/>
                  <a:pt x="1601" y="1156"/>
                  <a:pt x="1603" y="1152"/>
                </a:cubicBezTo>
                <a:cubicBezTo>
                  <a:pt x="1604" y="1149"/>
                  <a:pt x="1609" y="1138"/>
                  <a:pt x="1609" y="1138"/>
                </a:cubicBezTo>
                <a:cubicBezTo>
                  <a:pt x="1625" y="1129"/>
                  <a:pt x="1625" y="1129"/>
                  <a:pt x="1625" y="1129"/>
                </a:cubicBezTo>
                <a:cubicBezTo>
                  <a:pt x="1625" y="1129"/>
                  <a:pt x="1634" y="1129"/>
                  <a:pt x="1643" y="1127"/>
                </a:cubicBezTo>
                <a:cubicBezTo>
                  <a:pt x="1653" y="1125"/>
                  <a:pt x="1666" y="1118"/>
                  <a:pt x="1666" y="1118"/>
                </a:cubicBezTo>
                <a:cubicBezTo>
                  <a:pt x="1666" y="1118"/>
                  <a:pt x="1677" y="1113"/>
                  <a:pt x="1681" y="1109"/>
                </a:cubicBezTo>
                <a:cubicBezTo>
                  <a:pt x="1684" y="1104"/>
                  <a:pt x="1685" y="1102"/>
                  <a:pt x="1685" y="1102"/>
                </a:cubicBezTo>
                <a:cubicBezTo>
                  <a:pt x="1685" y="1102"/>
                  <a:pt x="1684" y="1093"/>
                  <a:pt x="1681" y="1093"/>
                </a:cubicBezTo>
                <a:cubicBezTo>
                  <a:pt x="1677" y="1092"/>
                  <a:pt x="1673" y="1095"/>
                  <a:pt x="1681" y="1088"/>
                </a:cubicBezTo>
                <a:cubicBezTo>
                  <a:pt x="1690" y="1081"/>
                  <a:pt x="1683" y="1085"/>
                  <a:pt x="1691" y="1079"/>
                </a:cubicBezTo>
                <a:cubicBezTo>
                  <a:pt x="1699" y="1073"/>
                  <a:pt x="1702" y="1063"/>
                  <a:pt x="1702" y="1063"/>
                </a:cubicBezTo>
                <a:cubicBezTo>
                  <a:pt x="1698" y="1045"/>
                  <a:pt x="1698" y="1045"/>
                  <a:pt x="1698" y="1045"/>
                </a:cubicBezTo>
                <a:cubicBezTo>
                  <a:pt x="1698" y="1045"/>
                  <a:pt x="1690" y="1035"/>
                  <a:pt x="1686" y="1044"/>
                </a:cubicBezTo>
                <a:cubicBezTo>
                  <a:pt x="1682" y="1053"/>
                  <a:pt x="1680" y="1065"/>
                  <a:pt x="1677" y="1075"/>
                </a:cubicBezTo>
                <a:cubicBezTo>
                  <a:pt x="1673" y="1086"/>
                  <a:pt x="1664" y="1087"/>
                  <a:pt x="1664" y="1087"/>
                </a:cubicBezTo>
                <a:cubicBezTo>
                  <a:pt x="1664" y="1087"/>
                  <a:pt x="1657" y="1084"/>
                  <a:pt x="1649" y="1086"/>
                </a:cubicBezTo>
                <a:cubicBezTo>
                  <a:pt x="1641" y="1087"/>
                  <a:pt x="1611" y="1093"/>
                  <a:pt x="1607" y="1082"/>
                </a:cubicBezTo>
                <a:cubicBezTo>
                  <a:pt x="1604" y="1072"/>
                  <a:pt x="1594" y="1062"/>
                  <a:pt x="1587" y="1064"/>
                </a:cubicBezTo>
                <a:cubicBezTo>
                  <a:pt x="1579" y="1066"/>
                  <a:pt x="1574" y="1056"/>
                  <a:pt x="1575" y="1046"/>
                </a:cubicBezTo>
                <a:cubicBezTo>
                  <a:pt x="1576" y="1037"/>
                  <a:pt x="1569" y="1021"/>
                  <a:pt x="1569" y="1021"/>
                </a:cubicBezTo>
                <a:cubicBezTo>
                  <a:pt x="1569" y="1021"/>
                  <a:pt x="1590" y="1017"/>
                  <a:pt x="1567" y="1017"/>
                </a:cubicBezTo>
                <a:cubicBezTo>
                  <a:pt x="1543" y="1018"/>
                  <a:pt x="1535" y="1016"/>
                  <a:pt x="1535" y="1016"/>
                </a:cubicBezTo>
                <a:cubicBezTo>
                  <a:pt x="1560" y="997"/>
                  <a:pt x="1560" y="997"/>
                  <a:pt x="1560" y="997"/>
                </a:cubicBezTo>
                <a:cubicBezTo>
                  <a:pt x="1560" y="997"/>
                  <a:pt x="1575" y="1001"/>
                  <a:pt x="1578" y="996"/>
                </a:cubicBezTo>
                <a:cubicBezTo>
                  <a:pt x="1580" y="990"/>
                  <a:pt x="1579" y="983"/>
                  <a:pt x="1579" y="983"/>
                </a:cubicBezTo>
                <a:cubicBezTo>
                  <a:pt x="1579" y="983"/>
                  <a:pt x="1580" y="968"/>
                  <a:pt x="1549" y="972"/>
                </a:cubicBezTo>
                <a:cubicBezTo>
                  <a:pt x="1519" y="975"/>
                  <a:pt x="1486" y="989"/>
                  <a:pt x="1479" y="995"/>
                </a:cubicBezTo>
                <a:cubicBezTo>
                  <a:pt x="1472" y="1000"/>
                  <a:pt x="1433" y="1053"/>
                  <a:pt x="1414" y="1061"/>
                </a:cubicBezTo>
                <a:cubicBezTo>
                  <a:pt x="1414" y="1061"/>
                  <a:pt x="1444" y="1026"/>
                  <a:pt x="1438" y="1018"/>
                </a:cubicBezTo>
                <a:cubicBezTo>
                  <a:pt x="1432" y="1010"/>
                  <a:pt x="1452" y="983"/>
                  <a:pt x="1472" y="976"/>
                </a:cubicBezTo>
                <a:cubicBezTo>
                  <a:pt x="1491" y="968"/>
                  <a:pt x="1497" y="971"/>
                  <a:pt x="1504" y="953"/>
                </a:cubicBezTo>
                <a:cubicBezTo>
                  <a:pt x="1512" y="935"/>
                  <a:pt x="1522" y="927"/>
                  <a:pt x="1531" y="927"/>
                </a:cubicBezTo>
                <a:cubicBezTo>
                  <a:pt x="1539" y="927"/>
                  <a:pt x="1538" y="927"/>
                  <a:pt x="1558" y="926"/>
                </a:cubicBezTo>
                <a:cubicBezTo>
                  <a:pt x="1577" y="925"/>
                  <a:pt x="1592" y="920"/>
                  <a:pt x="1592" y="920"/>
                </a:cubicBezTo>
                <a:cubicBezTo>
                  <a:pt x="1592" y="920"/>
                  <a:pt x="1627" y="921"/>
                  <a:pt x="1638" y="923"/>
                </a:cubicBezTo>
                <a:cubicBezTo>
                  <a:pt x="1648" y="925"/>
                  <a:pt x="1665" y="917"/>
                  <a:pt x="1673" y="914"/>
                </a:cubicBezTo>
                <a:cubicBezTo>
                  <a:pt x="1681" y="912"/>
                  <a:pt x="1694" y="904"/>
                  <a:pt x="1699" y="899"/>
                </a:cubicBezTo>
                <a:cubicBezTo>
                  <a:pt x="1704" y="894"/>
                  <a:pt x="1710" y="878"/>
                  <a:pt x="1710" y="878"/>
                </a:cubicBezTo>
                <a:cubicBezTo>
                  <a:pt x="1710" y="878"/>
                  <a:pt x="1722" y="862"/>
                  <a:pt x="1731" y="860"/>
                </a:cubicBezTo>
                <a:cubicBezTo>
                  <a:pt x="1739" y="859"/>
                  <a:pt x="1745" y="858"/>
                  <a:pt x="1751" y="852"/>
                </a:cubicBezTo>
                <a:cubicBezTo>
                  <a:pt x="1756" y="847"/>
                  <a:pt x="1772" y="831"/>
                  <a:pt x="1762" y="825"/>
                </a:cubicBezTo>
                <a:close/>
                <a:moveTo>
                  <a:pt x="1038" y="389"/>
                </a:moveTo>
                <a:cubicBezTo>
                  <a:pt x="1042" y="397"/>
                  <a:pt x="1044" y="400"/>
                  <a:pt x="1047" y="401"/>
                </a:cubicBezTo>
                <a:cubicBezTo>
                  <a:pt x="1043" y="401"/>
                  <a:pt x="1041" y="400"/>
                  <a:pt x="1041" y="400"/>
                </a:cubicBezTo>
                <a:cubicBezTo>
                  <a:pt x="1041" y="400"/>
                  <a:pt x="1029" y="389"/>
                  <a:pt x="1011" y="384"/>
                </a:cubicBezTo>
                <a:cubicBezTo>
                  <a:pt x="1011" y="384"/>
                  <a:pt x="1032" y="374"/>
                  <a:pt x="1038" y="389"/>
                </a:cubicBezTo>
                <a:close/>
                <a:moveTo>
                  <a:pt x="512" y="251"/>
                </a:moveTo>
                <a:cubicBezTo>
                  <a:pt x="521" y="243"/>
                  <a:pt x="481" y="235"/>
                  <a:pt x="476" y="227"/>
                </a:cubicBezTo>
                <a:cubicBezTo>
                  <a:pt x="471" y="219"/>
                  <a:pt x="497" y="220"/>
                  <a:pt x="508" y="219"/>
                </a:cubicBezTo>
                <a:cubicBezTo>
                  <a:pt x="555" y="222"/>
                  <a:pt x="555" y="222"/>
                  <a:pt x="555" y="222"/>
                </a:cubicBezTo>
                <a:cubicBezTo>
                  <a:pt x="555" y="222"/>
                  <a:pt x="538" y="240"/>
                  <a:pt x="542" y="242"/>
                </a:cubicBezTo>
                <a:cubicBezTo>
                  <a:pt x="545" y="242"/>
                  <a:pt x="554" y="247"/>
                  <a:pt x="562" y="249"/>
                </a:cubicBezTo>
                <a:cubicBezTo>
                  <a:pt x="567" y="247"/>
                  <a:pt x="571" y="246"/>
                  <a:pt x="572" y="248"/>
                </a:cubicBezTo>
                <a:cubicBezTo>
                  <a:pt x="573" y="252"/>
                  <a:pt x="568" y="251"/>
                  <a:pt x="562" y="249"/>
                </a:cubicBezTo>
                <a:cubicBezTo>
                  <a:pt x="549" y="255"/>
                  <a:pt x="526" y="270"/>
                  <a:pt x="513" y="269"/>
                </a:cubicBezTo>
                <a:cubicBezTo>
                  <a:pt x="495" y="268"/>
                  <a:pt x="471" y="274"/>
                  <a:pt x="468" y="268"/>
                </a:cubicBezTo>
                <a:cubicBezTo>
                  <a:pt x="465" y="261"/>
                  <a:pt x="502" y="259"/>
                  <a:pt x="512" y="251"/>
                </a:cubicBezTo>
                <a:close/>
                <a:moveTo>
                  <a:pt x="602" y="414"/>
                </a:moveTo>
                <a:cubicBezTo>
                  <a:pt x="591" y="412"/>
                  <a:pt x="577" y="441"/>
                  <a:pt x="572" y="441"/>
                </a:cubicBezTo>
                <a:cubicBezTo>
                  <a:pt x="567" y="441"/>
                  <a:pt x="538" y="453"/>
                  <a:pt x="523" y="449"/>
                </a:cubicBezTo>
                <a:cubicBezTo>
                  <a:pt x="508" y="446"/>
                  <a:pt x="476" y="436"/>
                  <a:pt x="466" y="427"/>
                </a:cubicBezTo>
                <a:cubicBezTo>
                  <a:pt x="456" y="417"/>
                  <a:pt x="481" y="430"/>
                  <a:pt x="489" y="430"/>
                </a:cubicBezTo>
                <a:cubicBezTo>
                  <a:pt x="497" y="430"/>
                  <a:pt x="507" y="410"/>
                  <a:pt x="508" y="381"/>
                </a:cubicBezTo>
                <a:cubicBezTo>
                  <a:pt x="510" y="352"/>
                  <a:pt x="521" y="391"/>
                  <a:pt x="534" y="402"/>
                </a:cubicBezTo>
                <a:cubicBezTo>
                  <a:pt x="534" y="402"/>
                  <a:pt x="614" y="396"/>
                  <a:pt x="620" y="401"/>
                </a:cubicBezTo>
                <a:cubicBezTo>
                  <a:pt x="627" y="405"/>
                  <a:pt x="614" y="415"/>
                  <a:pt x="602" y="414"/>
                </a:cubicBezTo>
                <a:close/>
                <a:moveTo>
                  <a:pt x="752" y="898"/>
                </a:moveTo>
                <a:cubicBezTo>
                  <a:pt x="752" y="898"/>
                  <a:pt x="752" y="898"/>
                  <a:pt x="752" y="886"/>
                </a:cubicBezTo>
                <a:cubicBezTo>
                  <a:pt x="752" y="875"/>
                  <a:pt x="738" y="864"/>
                  <a:pt x="731" y="853"/>
                </a:cubicBezTo>
                <a:cubicBezTo>
                  <a:pt x="725" y="841"/>
                  <a:pt x="729" y="830"/>
                  <a:pt x="713" y="819"/>
                </a:cubicBezTo>
                <a:cubicBezTo>
                  <a:pt x="698" y="808"/>
                  <a:pt x="718" y="787"/>
                  <a:pt x="731" y="778"/>
                </a:cubicBezTo>
                <a:cubicBezTo>
                  <a:pt x="731" y="771"/>
                  <a:pt x="731" y="771"/>
                  <a:pt x="731" y="771"/>
                </a:cubicBezTo>
                <a:cubicBezTo>
                  <a:pt x="743" y="794"/>
                  <a:pt x="743" y="794"/>
                  <a:pt x="743" y="794"/>
                </a:cubicBezTo>
                <a:cubicBezTo>
                  <a:pt x="743" y="794"/>
                  <a:pt x="740" y="814"/>
                  <a:pt x="745" y="823"/>
                </a:cubicBezTo>
                <a:cubicBezTo>
                  <a:pt x="750" y="832"/>
                  <a:pt x="759" y="859"/>
                  <a:pt x="759" y="859"/>
                </a:cubicBezTo>
                <a:lnTo>
                  <a:pt x="752" y="89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Freeform 433"/>
          <p:cNvSpPr>
            <a:spLocks/>
          </p:cNvSpPr>
          <p:nvPr userDrawn="1"/>
        </p:nvSpPr>
        <p:spPr bwMode="auto">
          <a:xfrm>
            <a:off x="4939551" y="2892355"/>
            <a:ext cx="201011" cy="162484"/>
          </a:xfrm>
          <a:custGeom>
            <a:avLst/>
            <a:gdLst>
              <a:gd name="T0" fmla="*/ 2147483646 w 217"/>
              <a:gd name="T1" fmla="*/ 2147483646 h 174"/>
              <a:gd name="T2" fmla="*/ 2147483646 w 217"/>
              <a:gd name="T3" fmla="*/ 2147483646 h 174"/>
              <a:gd name="T4" fmla="*/ 2147483646 w 217"/>
              <a:gd name="T5" fmla="*/ 2147483646 h 174"/>
              <a:gd name="T6" fmla="*/ 2147483646 w 217"/>
              <a:gd name="T7" fmla="*/ 2147483646 h 174"/>
              <a:gd name="T8" fmla="*/ 2147483646 w 217"/>
              <a:gd name="T9" fmla="*/ 2147483646 h 174"/>
              <a:gd name="T10" fmla="*/ 2147483646 w 217"/>
              <a:gd name="T11" fmla="*/ 2147483646 h 174"/>
              <a:gd name="T12" fmla="*/ 2147483646 w 217"/>
              <a:gd name="T13" fmla="*/ 2147483646 h 174"/>
              <a:gd name="T14" fmla="*/ 2147483646 w 217"/>
              <a:gd name="T15" fmla="*/ 2147483646 h 174"/>
              <a:gd name="T16" fmla="*/ 2147483646 w 217"/>
              <a:gd name="T17" fmla="*/ 2147483646 h 174"/>
              <a:gd name="T18" fmla="*/ 2147483646 w 217"/>
              <a:gd name="T19" fmla="*/ 2147483646 h 174"/>
              <a:gd name="T20" fmla="*/ 2147483646 w 217"/>
              <a:gd name="T21" fmla="*/ 2147483646 h 174"/>
              <a:gd name="T22" fmla="*/ 2147483646 w 217"/>
              <a:gd name="T23" fmla="*/ 2147483646 h 174"/>
              <a:gd name="T24" fmla="*/ 2147483646 w 217"/>
              <a:gd name="T25" fmla="*/ 2147483646 h 174"/>
              <a:gd name="T26" fmla="*/ 2147483646 w 217"/>
              <a:gd name="T27" fmla="*/ 2147483646 h 174"/>
              <a:gd name="T28" fmla="*/ 2147483646 w 217"/>
              <a:gd name="T29" fmla="*/ 2147483646 h 174"/>
              <a:gd name="T30" fmla="*/ 2147483646 w 217"/>
              <a:gd name="T31" fmla="*/ 2147483646 h 174"/>
              <a:gd name="T32" fmla="*/ 2147483646 w 217"/>
              <a:gd name="T33" fmla="*/ 2147483646 h 174"/>
              <a:gd name="T34" fmla="*/ 2147483646 w 217"/>
              <a:gd name="T35" fmla="*/ 2147483646 h 174"/>
              <a:gd name="T36" fmla="*/ 2147483646 w 217"/>
              <a:gd name="T37" fmla="*/ 2147483646 h 174"/>
              <a:gd name="T38" fmla="*/ 2147483646 w 217"/>
              <a:gd name="T39" fmla="*/ 2147483646 h 174"/>
              <a:gd name="T40" fmla="*/ 2147483646 w 217"/>
              <a:gd name="T41" fmla="*/ 2147483646 h 174"/>
              <a:gd name="T42" fmla="*/ 2147483646 w 217"/>
              <a:gd name="T43" fmla="*/ 2147483646 h 174"/>
              <a:gd name="T44" fmla="*/ 2147483646 w 217"/>
              <a:gd name="T45" fmla="*/ 2147483646 h 174"/>
              <a:gd name="T46" fmla="*/ 2147483646 w 217"/>
              <a:gd name="T47" fmla="*/ 2147483646 h 174"/>
              <a:gd name="T48" fmla="*/ 2147483646 w 217"/>
              <a:gd name="T49" fmla="*/ 2147483646 h 174"/>
              <a:gd name="T50" fmla="*/ 2147483646 w 217"/>
              <a:gd name="T51" fmla="*/ 2147483646 h 174"/>
              <a:gd name="T52" fmla="*/ 2147483646 w 217"/>
              <a:gd name="T53" fmla="*/ 2147483646 h 17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17"/>
              <a:gd name="T82" fmla="*/ 0 h 174"/>
              <a:gd name="T83" fmla="*/ 217 w 217"/>
              <a:gd name="T84" fmla="*/ 174 h 17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17" h="174">
                <a:moveTo>
                  <a:pt x="148" y="8"/>
                </a:moveTo>
                <a:cubicBezTo>
                  <a:pt x="140" y="10"/>
                  <a:pt x="124" y="0"/>
                  <a:pt x="118" y="10"/>
                </a:cubicBezTo>
                <a:cubicBezTo>
                  <a:pt x="111" y="20"/>
                  <a:pt x="111" y="26"/>
                  <a:pt x="114" y="32"/>
                </a:cubicBezTo>
                <a:cubicBezTo>
                  <a:pt x="116" y="38"/>
                  <a:pt x="107" y="50"/>
                  <a:pt x="97" y="46"/>
                </a:cubicBezTo>
                <a:cubicBezTo>
                  <a:pt x="87" y="42"/>
                  <a:pt x="79" y="40"/>
                  <a:pt x="83" y="46"/>
                </a:cubicBezTo>
                <a:cubicBezTo>
                  <a:pt x="87" y="52"/>
                  <a:pt x="99" y="64"/>
                  <a:pt x="93" y="71"/>
                </a:cubicBezTo>
                <a:cubicBezTo>
                  <a:pt x="87" y="77"/>
                  <a:pt x="73" y="60"/>
                  <a:pt x="73" y="66"/>
                </a:cubicBezTo>
                <a:cubicBezTo>
                  <a:pt x="73" y="85"/>
                  <a:pt x="91" y="85"/>
                  <a:pt x="87" y="93"/>
                </a:cubicBezTo>
                <a:cubicBezTo>
                  <a:pt x="83" y="101"/>
                  <a:pt x="77" y="97"/>
                  <a:pt x="69" y="95"/>
                </a:cubicBezTo>
                <a:cubicBezTo>
                  <a:pt x="61" y="93"/>
                  <a:pt x="59" y="83"/>
                  <a:pt x="53" y="77"/>
                </a:cubicBezTo>
                <a:cubicBezTo>
                  <a:pt x="47" y="71"/>
                  <a:pt x="28" y="60"/>
                  <a:pt x="28" y="75"/>
                </a:cubicBezTo>
                <a:cubicBezTo>
                  <a:pt x="28" y="89"/>
                  <a:pt x="0" y="101"/>
                  <a:pt x="14" y="103"/>
                </a:cubicBezTo>
                <a:cubicBezTo>
                  <a:pt x="28" y="105"/>
                  <a:pt x="59" y="93"/>
                  <a:pt x="49" y="105"/>
                </a:cubicBezTo>
                <a:cubicBezTo>
                  <a:pt x="38" y="117"/>
                  <a:pt x="26" y="127"/>
                  <a:pt x="36" y="125"/>
                </a:cubicBezTo>
                <a:cubicBezTo>
                  <a:pt x="47" y="123"/>
                  <a:pt x="53" y="109"/>
                  <a:pt x="61" y="111"/>
                </a:cubicBezTo>
                <a:cubicBezTo>
                  <a:pt x="69" y="113"/>
                  <a:pt x="69" y="117"/>
                  <a:pt x="69" y="125"/>
                </a:cubicBezTo>
                <a:cubicBezTo>
                  <a:pt x="69" y="133"/>
                  <a:pt x="87" y="142"/>
                  <a:pt x="83" y="148"/>
                </a:cubicBezTo>
                <a:cubicBezTo>
                  <a:pt x="79" y="154"/>
                  <a:pt x="97" y="138"/>
                  <a:pt x="105" y="140"/>
                </a:cubicBezTo>
                <a:cubicBezTo>
                  <a:pt x="114" y="142"/>
                  <a:pt x="128" y="131"/>
                  <a:pt x="124" y="150"/>
                </a:cubicBezTo>
                <a:cubicBezTo>
                  <a:pt x="120" y="168"/>
                  <a:pt x="124" y="174"/>
                  <a:pt x="130" y="172"/>
                </a:cubicBezTo>
                <a:cubicBezTo>
                  <a:pt x="136" y="170"/>
                  <a:pt x="140" y="119"/>
                  <a:pt x="158" y="140"/>
                </a:cubicBezTo>
                <a:cubicBezTo>
                  <a:pt x="176" y="160"/>
                  <a:pt x="176" y="156"/>
                  <a:pt x="187" y="148"/>
                </a:cubicBezTo>
                <a:cubicBezTo>
                  <a:pt x="197" y="140"/>
                  <a:pt x="199" y="121"/>
                  <a:pt x="205" y="117"/>
                </a:cubicBezTo>
                <a:cubicBezTo>
                  <a:pt x="211" y="113"/>
                  <a:pt x="211" y="83"/>
                  <a:pt x="211" y="83"/>
                </a:cubicBezTo>
                <a:cubicBezTo>
                  <a:pt x="211" y="83"/>
                  <a:pt x="217" y="60"/>
                  <a:pt x="207" y="54"/>
                </a:cubicBezTo>
                <a:cubicBezTo>
                  <a:pt x="197" y="48"/>
                  <a:pt x="199" y="12"/>
                  <a:pt x="180" y="14"/>
                </a:cubicBezTo>
                <a:cubicBezTo>
                  <a:pt x="162" y="16"/>
                  <a:pt x="148" y="8"/>
                  <a:pt x="148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Freeform 434"/>
          <p:cNvSpPr>
            <a:spLocks/>
          </p:cNvSpPr>
          <p:nvPr userDrawn="1"/>
        </p:nvSpPr>
        <p:spPr bwMode="auto">
          <a:xfrm>
            <a:off x="5370049" y="3224023"/>
            <a:ext cx="190960" cy="373547"/>
          </a:xfrm>
          <a:custGeom>
            <a:avLst/>
            <a:gdLst>
              <a:gd name="T0" fmla="*/ 2147483646 w 205"/>
              <a:gd name="T1" fmla="*/ 2147483646 h 400"/>
              <a:gd name="T2" fmla="*/ 2147483646 w 205"/>
              <a:gd name="T3" fmla="*/ 2147483646 h 400"/>
              <a:gd name="T4" fmla="*/ 2147483646 w 205"/>
              <a:gd name="T5" fmla="*/ 2147483646 h 400"/>
              <a:gd name="T6" fmla="*/ 2147483646 w 205"/>
              <a:gd name="T7" fmla="*/ 2147483646 h 400"/>
              <a:gd name="T8" fmla="*/ 2147483646 w 205"/>
              <a:gd name="T9" fmla="*/ 2147483646 h 400"/>
              <a:gd name="T10" fmla="*/ 2147483646 w 205"/>
              <a:gd name="T11" fmla="*/ 2147483646 h 400"/>
              <a:gd name="T12" fmla="*/ 2147483646 w 205"/>
              <a:gd name="T13" fmla="*/ 2147483646 h 400"/>
              <a:gd name="T14" fmla="*/ 2147483646 w 205"/>
              <a:gd name="T15" fmla="*/ 2147483646 h 400"/>
              <a:gd name="T16" fmla="*/ 2147483646 w 205"/>
              <a:gd name="T17" fmla="*/ 2147483646 h 400"/>
              <a:gd name="T18" fmla="*/ 2147483646 w 205"/>
              <a:gd name="T19" fmla="*/ 2147483646 h 400"/>
              <a:gd name="T20" fmla="*/ 2147483646 w 205"/>
              <a:gd name="T21" fmla="*/ 2147483646 h 400"/>
              <a:gd name="T22" fmla="*/ 2147483646 w 205"/>
              <a:gd name="T23" fmla="*/ 2147483646 h 400"/>
              <a:gd name="T24" fmla="*/ 2147483646 w 205"/>
              <a:gd name="T25" fmla="*/ 2147483646 h 400"/>
              <a:gd name="T26" fmla="*/ 2147483646 w 205"/>
              <a:gd name="T27" fmla="*/ 2147483646 h 400"/>
              <a:gd name="T28" fmla="*/ 2147483646 w 205"/>
              <a:gd name="T29" fmla="*/ 2147483646 h 400"/>
              <a:gd name="T30" fmla="*/ 2147483646 w 205"/>
              <a:gd name="T31" fmla="*/ 2147483646 h 400"/>
              <a:gd name="T32" fmla="*/ 2147483646 w 205"/>
              <a:gd name="T33" fmla="*/ 2147483646 h 400"/>
              <a:gd name="T34" fmla="*/ 2147483646 w 205"/>
              <a:gd name="T35" fmla="*/ 2147483646 h 400"/>
              <a:gd name="T36" fmla="*/ 2147483646 w 205"/>
              <a:gd name="T37" fmla="*/ 2147483646 h 400"/>
              <a:gd name="T38" fmla="*/ 2147483646 w 205"/>
              <a:gd name="T39" fmla="*/ 2147483646 h 400"/>
              <a:gd name="T40" fmla="*/ 2147483646 w 205"/>
              <a:gd name="T41" fmla="*/ 2147483646 h 400"/>
              <a:gd name="T42" fmla="*/ 2147483646 w 205"/>
              <a:gd name="T43" fmla="*/ 2147483646 h 400"/>
              <a:gd name="T44" fmla="*/ 2147483646 w 205"/>
              <a:gd name="T45" fmla="*/ 2147483646 h 400"/>
              <a:gd name="T46" fmla="*/ 2147483646 w 205"/>
              <a:gd name="T47" fmla="*/ 2147483646 h 400"/>
              <a:gd name="T48" fmla="*/ 2147483646 w 205"/>
              <a:gd name="T49" fmla="*/ 2147483646 h 400"/>
              <a:gd name="T50" fmla="*/ 2147483646 w 205"/>
              <a:gd name="T51" fmla="*/ 2147483646 h 400"/>
              <a:gd name="T52" fmla="*/ 2147483646 w 205"/>
              <a:gd name="T53" fmla="*/ 2147483646 h 400"/>
              <a:gd name="T54" fmla="*/ 2147483646 w 205"/>
              <a:gd name="T55" fmla="*/ 2147483646 h 400"/>
              <a:gd name="T56" fmla="*/ 2147483646 w 205"/>
              <a:gd name="T57" fmla="*/ 2147483646 h 400"/>
              <a:gd name="T58" fmla="*/ 2147483646 w 205"/>
              <a:gd name="T59" fmla="*/ 2147483646 h 400"/>
              <a:gd name="T60" fmla="*/ 2147483646 w 205"/>
              <a:gd name="T61" fmla="*/ 2147483646 h 400"/>
              <a:gd name="T62" fmla="*/ 2147483646 w 205"/>
              <a:gd name="T63" fmla="*/ 2147483646 h 400"/>
              <a:gd name="T64" fmla="*/ 2147483646 w 205"/>
              <a:gd name="T65" fmla="*/ 2147483646 h 400"/>
              <a:gd name="T66" fmla="*/ 2147483646 w 205"/>
              <a:gd name="T67" fmla="*/ 2147483646 h 400"/>
              <a:gd name="T68" fmla="*/ 2147483646 w 205"/>
              <a:gd name="T69" fmla="*/ 2147483646 h 400"/>
              <a:gd name="T70" fmla="*/ 2147483646 w 205"/>
              <a:gd name="T71" fmla="*/ 2147483646 h 400"/>
              <a:gd name="T72" fmla="*/ 2147483646 w 205"/>
              <a:gd name="T73" fmla="*/ 2147483646 h 400"/>
              <a:gd name="T74" fmla="*/ 2147483646 w 205"/>
              <a:gd name="T75" fmla="*/ 2147483646 h 400"/>
              <a:gd name="T76" fmla="*/ 2147483646 w 205"/>
              <a:gd name="T77" fmla="*/ 2147483646 h 400"/>
              <a:gd name="T78" fmla="*/ 2147483646 w 205"/>
              <a:gd name="T79" fmla="*/ 2147483646 h 400"/>
              <a:gd name="T80" fmla="*/ 2147483646 w 205"/>
              <a:gd name="T81" fmla="*/ 2147483646 h 400"/>
              <a:gd name="T82" fmla="*/ 2147483646 w 205"/>
              <a:gd name="T83" fmla="*/ 2147483646 h 400"/>
              <a:gd name="T84" fmla="*/ 2147483646 w 205"/>
              <a:gd name="T85" fmla="*/ 2147483646 h 400"/>
              <a:gd name="T86" fmla="*/ 2147483646 w 205"/>
              <a:gd name="T87" fmla="*/ 2147483646 h 400"/>
              <a:gd name="T88" fmla="*/ 2147483646 w 205"/>
              <a:gd name="T89" fmla="*/ 2147483646 h 400"/>
              <a:gd name="T90" fmla="*/ 2147483646 w 205"/>
              <a:gd name="T91" fmla="*/ 2147483646 h 400"/>
              <a:gd name="T92" fmla="*/ 2147483646 w 205"/>
              <a:gd name="T93" fmla="*/ 2147483646 h 400"/>
              <a:gd name="T94" fmla="*/ 2147483646 w 205"/>
              <a:gd name="T95" fmla="*/ 2147483646 h 400"/>
              <a:gd name="T96" fmla="*/ 2147483646 w 205"/>
              <a:gd name="T97" fmla="*/ 2147483646 h 400"/>
              <a:gd name="T98" fmla="*/ 2147483646 w 205"/>
              <a:gd name="T99" fmla="*/ 2147483646 h 400"/>
              <a:gd name="T100" fmla="*/ 2147483646 w 205"/>
              <a:gd name="T101" fmla="*/ 2147483646 h 400"/>
              <a:gd name="T102" fmla="*/ 2147483646 w 205"/>
              <a:gd name="T103" fmla="*/ 2147483646 h 400"/>
              <a:gd name="T104" fmla="*/ 2147483646 w 205"/>
              <a:gd name="T105" fmla="*/ 2147483646 h 400"/>
              <a:gd name="T106" fmla="*/ 2147483646 w 205"/>
              <a:gd name="T107" fmla="*/ 2147483646 h 400"/>
              <a:gd name="T108" fmla="*/ 2147483646 w 205"/>
              <a:gd name="T109" fmla="*/ 2147483646 h 400"/>
              <a:gd name="T110" fmla="*/ 2147483646 w 205"/>
              <a:gd name="T111" fmla="*/ 2147483646 h 400"/>
              <a:gd name="T112" fmla="*/ 2147483646 w 205"/>
              <a:gd name="T113" fmla="*/ 2147483646 h 400"/>
              <a:gd name="T114" fmla="*/ 2147483646 w 205"/>
              <a:gd name="T115" fmla="*/ 2147483646 h 400"/>
              <a:gd name="T116" fmla="*/ 2147483646 w 205"/>
              <a:gd name="T117" fmla="*/ 2147483646 h 400"/>
              <a:gd name="T118" fmla="*/ 2147483646 w 205"/>
              <a:gd name="T119" fmla="*/ 2147483646 h 400"/>
              <a:gd name="T120" fmla="*/ 2147483646 w 205"/>
              <a:gd name="T121" fmla="*/ 2147483646 h 40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05"/>
              <a:gd name="T184" fmla="*/ 0 h 400"/>
              <a:gd name="T185" fmla="*/ 205 w 205"/>
              <a:gd name="T186" fmla="*/ 400 h 40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05" h="400">
                <a:moveTo>
                  <a:pt x="31" y="6"/>
                </a:moveTo>
                <a:cubicBezTo>
                  <a:pt x="31" y="6"/>
                  <a:pt x="25" y="6"/>
                  <a:pt x="25" y="8"/>
                </a:cubicBezTo>
                <a:cubicBezTo>
                  <a:pt x="25" y="11"/>
                  <a:pt x="21" y="17"/>
                  <a:pt x="23" y="18"/>
                </a:cubicBezTo>
                <a:cubicBezTo>
                  <a:pt x="25" y="20"/>
                  <a:pt x="29" y="25"/>
                  <a:pt x="27" y="25"/>
                </a:cubicBezTo>
                <a:cubicBezTo>
                  <a:pt x="25" y="25"/>
                  <a:pt x="23" y="25"/>
                  <a:pt x="21" y="25"/>
                </a:cubicBezTo>
                <a:cubicBezTo>
                  <a:pt x="19" y="25"/>
                  <a:pt x="17" y="26"/>
                  <a:pt x="17" y="29"/>
                </a:cubicBezTo>
                <a:cubicBezTo>
                  <a:pt x="17" y="32"/>
                  <a:pt x="19" y="33"/>
                  <a:pt x="16" y="34"/>
                </a:cubicBezTo>
                <a:cubicBezTo>
                  <a:pt x="14" y="35"/>
                  <a:pt x="12" y="32"/>
                  <a:pt x="14" y="35"/>
                </a:cubicBezTo>
                <a:cubicBezTo>
                  <a:pt x="16" y="37"/>
                  <a:pt x="17" y="35"/>
                  <a:pt x="19" y="38"/>
                </a:cubicBezTo>
                <a:cubicBezTo>
                  <a:pt x="20" y="41"/>
                  <a:pt x="19" y="41"/>
                  <a:pt x="17" y="41"/>
                </a:cubicBezTo>
                <a:cubicBezTo>
                  <a:pt x="16" y="42"/>
                  <a:pt x="15" y="42"/>
                  <a:pt x="12" y="41"/>
                </a:cubicBezTo>
                <a:cubicBezTo>
                  <a:pt x="9" y="41"/>
                  <a:pt x="5" y="40"/>
                  <a:pt x="5" y="42"/>
                </a:cubicBezTo>
                <a:cubicBezTo>
                  <a:pt x="5" y="45"/>
                  <a:pt x="5" y="47"/>
                  <a:pt x="6" y="50"/>
                </a:cubicBezTo>
                <a:cubicBezTo>
                  <a:pt x="7" y="52"/>
                  <a:pt x="2" y="53"/>
                  <a:pt x="5" y="54"/>
                </a:cubicBezTo>
                <a:cubicBezTo>
                  <a:pt x="7" y="55"/>
                  <a:pt x="9" y="58"/>
                  <a:pt x="9" y="58"/>
                </a:cubicBezTo>
                <a:cubicBezTo>
                  <a:pt x="9" y="58"/>
                  <a:pt x="15" y="61"/>
                  <a:pt x="10" y="61"/>
                </a:cubicBezTo>
                <a:cubicBezTo>
                  <a:pt x="5" y="60"/>
                  <a:pt x="2" y="55"/>
                  <a:pt x="4" y="60"/>
                </a:cubicBezTo>
                <a:cubicBezTo>
                  <a:pt x="5" y="65"/>
                  <a:pt x="5" y="68"/>
                  <a:pt x="7" y="68"/>
                </a:cubicBezTo>
                <a:cubicBezTo>
                  <a:pt x="8" y="68"/>
                  <a:pt x="9" y="71"/>
                  <a:pt x="11" y="70"/>
                </a:cubicBezTo>
                <a:cubicBezTo>
                  <a:pt x="12" y="69"/>
                  <a:pt x="12" y="65"/>
                  <a:pt x="14" y="67"/>
                </a:cubicBezTo>
                <a:cubicBezTo>
                  <a:pt x="16" y="69"/>
                  <a:pt x="19" y="73"/>
                  <a:pt x="15" y="74"/>
                </a:cubicBezTo>
                <a:cubicBezTo>
                  <a:pt x="12" y="75"/>
                  <a:pt x="10" y="73"/>
                  <a:pt x="11" y="75"/>
                </a:cubicBezTo>
                <a:cubicBezTo>
                  <a:pt x="12" y="77"/>
                  <a:pt x="14" y="81"/>
                  <a:pt x="10" y="81"/>
                </a:cubicBezTo>
                <a:cubicBezTo>
                  <a:pt x="7" y="81"/>
                  <a:pt x="5" y="80"/>
                  <a:pt x="6" y="84"/>
                </a:cubicBezTo>
                <a:cubicBezTo>
                  <a:pt x="7" y="87"/>
                  <a:pt x="8" y="89"/>
                  <a:pt x="6" y="89"/>
                </a:cubicBezTo>
                <a:cubicBezTo>
                  <a:pt x="4" y="90"/>
                  <a:pt x="3" y="89"/>
                  <a:pt x="4" y="91"/>
                </a:cubicBezTo>
                <a:cubicBezTo>
                  <a:pt x="6" y="93"/>
                  <a:pt x="4" y="95"/>
                  <a:pt x="3" y="96"/>
                </a:cubicBezTo>
                <a:cubicBezTo>
                  <a:pt x="2" y="96"/>
                  <a:pt x="0" y="101"/>
                  <a:pt x="2" y="101"/>
                </a:cubicBezTo>
                <a:cubicBezTo>
                  <a:pt x="5" y="101"/>
                  <a:pt x="7" y="102"/>
                  <a:pt x="7" y="102"/>
                </a:cubicBezTo>
                <a:cubicBezTo>
                  <a:pt x="7" y="102"/>
                  <a:pt x="5" y="103"/>
                  <a:pt x="4" y="105"/>
                </a:cubicBezTo>
                <a:cubicBezTo>
                  <a:pt x="4" y="106"/>
                  <a:pt x="2" y="107"/>
                  <a:pt x="5" y="108"/>
                </a:cubicBezTo>
                <a:cubicBezTo>
                  <a:pt x="8" y="109"/>
                  <a:pt x="9" y="108"/>
                  <a:pt x="9" y="108"/>
                </a:cubicBezTo>
                <a:cubicBezTo>
                  <a:pt x="9" y="108"/>
                  <a:pt x="11" y="107"/>
                  <a:pt x="12" y="107"/>
                </a:cubicBezTo>
                <a:cubicBezTo>
                  <a:pt x="13" y="107"/>
                  <a:pt x="16" y="105"/>
                  <a:pt x="17" y="103"/>
                </a:cubicBezTo>
                <a:cubicBezTo>
                  <a:pt x="19" y="101"/>
                  <a:pt x="27" y="88"/>
                  <a:pt x="29" y="88"/>
                </a:cubicBezTo>
                <a:cubicBezTo>
                  <a:pt x="31" y="88"/>
                  <a:pt x="21" y="102"/>
                  <a:pt x="21" y="105"/>
                </a:cubicBezTo>
                <a:cubicBezTo>
                  <a:pt x="21" y="107"/>
                  <a:pt x="17" y="110"/>
                  <a:pt x="17" y="111"/>
                </a:cubicBezTo>
                <a:cubicBezTo>
                  <a:pt x="16" y="113"/>
                  <a:pt x="12" y="116"/>
                  <a:pt x="11" y="117"/>
                </a:cubicBezTo>
                <a:cubicBezTo>
                  <a:pt x="10" y="118"/>
                  <a:pt x="9" y="122"/>
                  <a:pt x="12" y="123"/>
                </a:cubicBezTo>
                <a:cubicBezTo>
                  <a:pt x="14" y="124"/>
                  <a:pt x="17" y="124"/>
                  <a:pt x="15" y="126"/>
                </a:cubicBezTo>
                <a:cubicBezTo>
                  <a:pt x="13" y="129"/>
                  <a:pt x="12" y="127"/>
                  <a:pt x="11" y="131"/>
                </a:cubicBezTo>
                <a:cubicBezTo>
                  <a:pt x="11" y="134"/>
                  <a:pt x="13" y="136"/>
                  <a:pt x="11" y="136"/>
                </a:cubicBezTo>
                <a:cubicBezTo>
                  <a:pt x="10" y="137"/>
                  <a:pt x="6" y="142"/>
                  <a:pt x="9" y="142"/>
                </a:cubicBezTo>
                <a:cubicBezTo>
                  <a:pt x="11" y="143"/>
                  <a:pt x="15" y="141"/>
                  <a:pt x="12" y="146"/>
                </a:cubicBezTo>
                <a:cubicBezTo>
                  <a:pt x="9" y="150"/>
                  <a:pt x="0" y="162"/>
                  <a:pt x="7" y="166"/>
                </a:cubicBezTo>
                <a:cubicBezTo>
                  <a:pt x="13" y="169"/>
                  <a:pt x="12" y="161"/>
                  <a:pt x="13" y="158"/>
                </a:cubicBezTo>
                <a:cubicBezTo>
                  <a:pt x="15" y="155"/>
                  <a:pt x="16" y="150"/>
                  <a:pt x="17" y="148"/>
                </a:cubicBezTo>
                <a:cubicBezTo>
                  <a:pt x="18" y="147"/>
                  <a:pt x="19" y="146"/>
                  <a:pt x="19" y="143"/>
                </a:cubicBezTo>
                <a:cubicBezTo>
                  <a:pt x="20" y="141"/>
                  <a:pt x="20" y="138"/>
                  <a:pt x="19" y="137"/>
                </a:cubicBezTo>
                <a:cubicBezTo>
                  <a:pt x="18" y="136"/>
                  <a:pt x="16" y="135"/>
                  <a:pt x="17" y="133"/>
                </a:cubicBezTo>
                <a:cubicBezTo>
                  <a:pt x="18" y="131"/>
                  <a:pt x="18" y="130"/>
                  <a:pt x="20" y="129"/>
                </a:cubicBezTo>
                <a:cubicBezTo>
                  <a:pt x="21" y="127"/>
                  <a:pt x="20" y="133"/>
                  <a:pt x="23" y="135"/>
                </a:cubicBezTo>
                <a:cubicBezTo>
                  <a:pt x="26" y="136"/>
                  <a:pt x="29" y="134"/>
                  <a:pt x="29" y="134"/>
                </a:cubicBezTo>
                <a:cubicBezTo>
                  <a:pt x="29" y="134"/>
                  <a:pt x="29" y="131"/>
                  <a:pt x="30" y="130"/>
                </a:cubicBezTo>
                <a:cubicBezTo>
                  <a:pt x="31" y="129"/>
                  <a:pt x="31" y="133"/>
                  <a:pt x="34" y="134"/>
                </a:cubicBezTo>
                <a:cubicBezTo>
                  <a:pt x="36" y="136"/>
                  <a:pt x="40" y="132"/>
                  <a:pt x="35" y="138"/>
                </a:cubicBezTo>
                <a:cubicBezTo>
                  <a:pt x="31" y="144"/>
                  <a:pt x="29" y="146"/>
                  <a:pt x="31" y="148"/>
                </a:cubicBezTo>
                <a:cubicBezTo>
                  <a:pt x="33" y="151"/>
                  <a:pt x="34" y="150"/>
                  <a:pt x="34" y="154"/>
                </a:cubicBezTo>
                <a:cubicBezTo>
                  <a:pt x="34" y="158"/>
                  <a:pt x="35" y="156"/>
                  <a:pt x="32" y="160"/>
                </a:cubicBezTo>
                <a:cubicBezTo>
                  <a:pt x="29" y="164"/>
                  <a:pt x="26" y="168"/>
                  <a:pt x="28" y="170"/>
                </a:cubicBezTo>
                <a:cubicBezTo>
                  <a:pt x="29" y="173"/>
                  <a:pt x="30" y="170"/>
                  <a:pt x="28" y="175"/>
                </a:cubicBezTo>
                <a:cubicBezTo>
                  <a:pt x="26" y="179"/>
                  <a:pt x="26" y="179"/>
                  <a:pt x="25" y="181"/>
                </a:cubicBezTo>
                <a:cubicBezTo>
                  <a:pt x="24" y="183"/>
                  <a:pt x="19" y="182"/>
                  <a:pt x="22" y="184"/>
                </a:cubicBezTo>
                <a:cubicBezTo>
                  <a:pt x="24" y="185"/>
                  <a:pt x="21" y="184"/>
                  <a:pt x="24" y="186"/>
                </a:cubicBezTo>
                <a:cubicBezTo>
                  <a:pt x="27" y="188"/>
                  <a:pt x="29" y="183"/>
                  <a:pt x="30" y="186"/>
                </a:cubicBezTo>
                <a:cubicBezTo>
                  <a:pt x="31" y="189"/>
                  <a:pt x="26" y="197"/>
                  <a:pt x="30" y="195"/>
                </a:cubicBezTo>
                <a:cubicBezTo>
                  <a:pt x="34" y="193"/>
                  <a:pt x="29" y="186"/>
                  <a:pt x="33" y="187"/>
                </a:cubicBezTo>
                <a:cubicBezTo>
                  <a:pt x="37" y="188"/>
                  <a:pt x="36" y="195"/>
                  <a:pt x="40" y="194"/>
                </a:cubicBezTo>
                <a:cubicBezTo>
                  <a:pt x="43" y="194"/>
                  <a:pt x="40" y="186"/>
                  <a:pt x="45" y="190"/>
                </a:cubicBezTo>
                <a:cubicBezTo>
                  <a:pt x="50" y="194"/>
                  <a:pt x="47" y="191"/>
                  <a:pt x="49" y="188"/>
                </a:cubicBezTo>
                <a:cubicBezTo>
                  <a:pt x="51" y="186"/>
                  <a:pt x="53" y="187"/>
                  <a:pt x="55" y="188"/>
                </a:cubicBezTo>
                <a:cubicBezTo>
                  <a:pt x="57" y="188"/>
                  <a:pt x="61" y="183"/>
                  <a:pt x="63" y="183"/>
                </a:cubicBezTo>
                <a:cubicBezTo>
                  <a:pt x="66" y="183"/>
                  <a:pt x="64" y="179"/>
                  <a:pt x="66" y="178"/>
                </a:cubicBezTo>
                <a:cubicBezTo>
                  <a:pt x="68" y="176"/>
                  <a:pt x="67" y="185"/>
                  <a:pt x="71" y="184"/>
                </a:cubicBezTo>
                <a:cubicBezTo>
                  <a:pt x="76" y="183"/>
                  <a:pt x="84" y="182"/>
                  <a:pt x="79" y="185"/>
                </a:cubicBezTo>
                <a:cubicBezTo>
                  <a:pt x="73" y="188"/>
                  <a:pt x="66" y="184"/>
                  <a:pt x="68" y="189"/>
                </a:cubicBezTo>
                <a:cubicBezTo>
                  <a:pt x="70" y="194"/>
                  <a:pt x="65" y="196"/>
                  <a:pt x="65" y="200"/>
                </a:cubicBezTo>
                <a:cubicBezTo>
                  <a:pt x="64" y="204"/>
                  <a:pt x="63" y="204"/>
                  <a:pt x="66" y="206"/>
                </a:cubicBezTo>
                <a:cubicBezTo>
                  <a:pt x="68" y="209"/>
                  <a:pt x="69" y="209"/>
                  <a:pt x="71" y="211"/>
                </a:cubicBezTo>
                <a:cubicBezTo>
                  <a:pt x="71" y="211"/>
                  <a:pt x="71" y="213"/>
                  <a:pt x="71" y="215"/>
                </a:cubicBezTo>
                <a:cubicBezTo>
                  <a:pt x="72" y="218"/>
                  <a:pt x="73" y="218"/>
                  <a:pt x="75" y="219"/>
                </a:cubicBezTo>
                <a:cubicBezTo>
                  <a:pt x="77" y="219"/>
                  <a:pt x="79" y="219"/>
                  <a:pt x="79" y="219"/>
                </a:cubicBezTo>
                <a:cubicBezTo>
                  <a:pt x="79" y="219"/>
                  <a:pt x="81" y="215"/>
                  <a:pt x="82" y="217"/>
                </a:cubicBezTo>
                <a:cubicBezTo>
                  <a:pt x="84" y="219"/>
                  <a:pt x="80" y="223"/>
                  <a:pt x="82" y="225"/>
                </a:cubicBezTo>
                <a:cubicBezTo>
                  <a:pt x="84" y="227"/>
                  <a:pt x="83" y="224"/>
                  <a:pt x="81" y="230"/>
                </a:cubicBezTo>
                <a:cubicBezTo>
                  <a:pt x="79" y="236"/>
                  <a:pt x="81" y="236"/>
                  <a:pt x="80" y="238"/>
                </a:cubicBezTo>
                <a:cubicBezTo>
                  <a:pt x="79" y="240"/>
                  <a:pt x="76" y="238"/>
                  <a:pt x="78" y="241"/>
                </a:cubicBezTo>
                <a:cubicBezTo>
                  <a:pt x="79" y="245"/>
                  <a:pt x="81" y="245"/>
                  <a:pt x="80" y="247"/>
                </a:cubicBezTo>
                <a:cubicBezTo>
                  <a:pt x="79" y="249"/>
                  <a:pt x="76" y="249"/>
                  <a:pt x="78" y="251"/>
                </a:cubicBezTo>
                <a:cubicBezTo>
                  <a:pt x="81" y="253"/>
                  <a:pt x="87" y="253"/>
                  <a:pt x="84" y="255"/>
                </a:cubicBezTo>
                <a:cubicBezTo>
                  <a:pt x="81" y="257"/>
                  <a:pt x="77" y="255"/>
                  <a:pt x="76" y="254"/>
                </a:cubicBezTo>
                <a:cubicBezTo>
                  <a:pt x="75" y="253"/>
                  <a:pt x="73" y="248"/>
                  <a:pt x="74" y="252"/>
                </a:cubicBezTo>
                <a:cubicBezTo>
                  <a:pt x="75" y="256"/>
                  <a:pt x="78" y="258"/>
                  <a:pt x="75" y="258"/>
                </a:cubicBezTo>
                <a:cubicBezTo>
                  <a:pt x="72" y="259"/>
                  <a:pt x="68" y="253"/>
                  <a:pt x="68" y="255"/>
                </a:cubicBezTo>
                <a:cubicBezTo>
                  <a:pt x="67" y="258"/>
                  <a:pt x="65" y="260"/>
                  <a:pt x="63" y="258"/>
                </a:cubicBezTo>
                <a:cubicBezTo>
                  <a:pt x="61" y="257"/>
                  <a:pt x="60" y="252"/>
                  <a:pt x="59" y="255"/>
                </a:cubicBezTo>
                <a:cubicBezTo>
                  <a:pt x="57" y="257"/>
                  <a:pt x="56" y="255"/>
                  <a:pt x="54" y="255"/>
                </a:cubicBezTo>
                <a:cubicBezTo>
                  <a:pt x="53" y="256"/>
                  <a:pt x="52" y="260"/>
                  <a:pt x="51" y="258"/>
                </a:cubicBezTo>
                <a:cubicBezTo>
                  <a:pt x="50" y="256"/>
                  <a:pt x="47" y="258"/>
                  <a:pt x="47" y="261"/>
                </a:cubicBezTo>
                <a:cubicBezTo>
                  <a:pt x="47" y="263"/>
                  <a:pt x="48" y="267"/>
                  <a:pt x="46" y="269"/>
                </a:cubicBezTo>
                <a:cubicBezTo>
                  <a:pt x="43" y="271"/>
                  <a:pt x="42" y="269"/>
                  <a:pt x="39" y="272"/>
                </a:cubicBezTo>
                <a:cubicBezTo>
                  <a:pt x="37" y="274"/>
                  <a:pt x="34" y="272"/>
                  <a:pt x="35" y="276"/>
                </a:cubicBezTo>
                <a:cubicBezTo>
                  <a:pt x="36" y="279"/>
                  <a:pt x="36" y="277"/>
                  <a:pt x="34" y="279"/>
                </a:cubicBezTo>
                <a:cubicBezTo>
                  <a:pt x="32" y="282"/>
                  <a:pt x="32" y="283"/>
                  <a:pt x="35" y="282"/>
                </a:cubicBezTo>
                <a:cubicBezTo>
                  <a:pt x="38" y="282"/>
                  <a:pt x="38" y="281"/>
                  <a:pt x="41" y="279"/>
                </a:cubicBezTo>
                <a:cubicBezTo>
                  <a:pt x="43" y="276"/>
                  <a:pt x="49" y="274"/>
                  <a:pt x="49" y="275"/>
                </a:cubicBezTo>
                <a:cubicBezTo>
                  <a:pt x="50" y="276"/>
                  <a:pt x="49" y="273"/>
                  <a:pt x="51" y="278"/>
                </a:cubicBezTo>
                <a:cubicBezTo>
                  <a:pt x="52" y="282"/>
                  <a:pt x="51" y="287"/>
                  <a:pt x="52" y="291"/>
                </a:cubicBezTo>
                <a:cubicBezTo>
                  <a:pt x="53" y="295"/>
                  <a:pt x="53" y="301"/>
                  <a:pt x="49" y="303"/>
                </a:cubicBezTo>
                <a:cubicBezTo>
                  <a:pt x="45" y="305"/>
                  <a:pt x="42" y="304"/>
                  <a:pt x="41" y="307"/>
                </a:cubicBezTo>
                <a:cubicBezTo>
                  <a:pt x="40" y="310"/>
                  <a:pt x="43" y="305"/>
                  <a:pt x="37" y="310"/>
                </a:cubicBezTo>
                <a:cubicBezTo>
                  <a:pt x="32" y="315"/>
                  <a:pt x="32" y="315"/>
                  <a:pt x="29" y="316"/>
                </a:cubicBezTo>
                <a:cubicBezTo>
                  <a:pt x="25" y="317"/>
                  <a:pt x="20" y="310"/>
                  <a:pt x="23" y="317"/>
                </a:cubicBezTo>
                <a:cubicBezTo>
                  <a:pt x="25" y="323"/>
                  <a:pt x="25" y="322"/>
                  <a:pt x="24" y="325"/>
                </a:cubicBezTo>
                <a:cubicBezTo>
                  <a:pt x="23" y="328"/>
                  <a:pt x="24" y="327"/>
                  <a:pt x="27" y="329"/>
                </a:cubicBezTo>
                <a:cubicBezTo>
                  <a:pt x="31" y="331"/>
                  <a:pt x="30" y="330"/>
                  <a:pt x="33" y="330"/>
                </a:cubicBezTo>
                <a:cubicBezTo>
                  <a:pt x="35" y="331"/>
                  <a:pt x="35" y="324"/>
                  <a:pt x="38" y="324"/>
                </a:cubicBezTo>
                <a:cubicBezTo>
                  <a:pt x="41" y="324"/>
                  <a:pt x="41" y="320"/>
                  <a:pt x="43" y="322"/>
                </a:cubicBezTo>
                <a:cubicBezTo>
                  <a:pt x="46" y="323"/>
                  <a:pt x="44" y="324"/>
                  <a:pt x="47" y="324"/>
                </a:cubicBezTo>
                <a:cubicBezTo>
                  <a:pt x="49" y="324"/>
                  <a:pt x="50" y="321"/>
                  <a:pt x="49" y="324"/>
                </a:cubicBezTo>
                <a:cubicBezTo>
                  <a:pt x="49" y="328"/>
                  <a:pt x="41" y="329"/>
                  <a:pt x="44" y="331"/>
                </a:cubicBezTo>
                <a:cubicBezTo>
                  <a:pt x="47" y="332"/>
                  <a:pt x="48" y="330"/>
                  <a:pt x="51" y="330"/>
                </a:cubicBezTo>
                <a:cubicBezTo>
                  <a:pt x="53" y="331"/>
                  <a:pt x="51" y="329"/>
                  <a:pt x="54" y="329"/>
                </a:cubicBezTo>
                <a:cubicBezTo>
                  <a:pt x="58" y="330"/>
                  <a:pt x="58" y="327"/>
                  <a:pt x="59" y="330"/>
                </a:cubicBezTo>
                <a:cubicBezTo>
                  <a:pt x="60" y="333"/>
                  <a:pt x="65" y="338"/>
                  <a:pt x="69" y="338"/>
                </a:cubicBezTo>
                <a:cubicBezTo>
                  <a:pt x="72" y="338"/>
                  <a:pt x="70" y="334"/>
                  <a:pt x="74" y="335"/>
                </a:cubicBezTo>
                <a:cubicBezTo>
                  <a:pt x="78" y="336"/>
                  <a:pt x="77" y="333"/>
                  <a:pt x="79" y="333"/>
                </a:cubicBezTo>
                <a:cubicBezTo>
                  <a:pt x="82" y="332"/>
                  <a:pt x="80" y="328"/>
                  <a:pt x="84" y="329"/>
                </a:cubicBezTo>
                <a:cubicBezTo>
                  <a:pt x="87" y="330"/>
                  <a:pt x="84" y="330"/>
                  <a:pt x="89" y="327"/>
                </a:cubicBezTo>
                <a:cubicBezTo>
                  <a:pt x="93" y="323"/>
                  <a:pt x="92" y="321"/>
                  <a:pt x="94" y="322"/>
                </a:cubicBezTo>
                <a:cubicBezTo>
                  <a:pt x="96" y="323"/>
                  <a:pt x="97" y="321"/>
                  <a:pt x="97" y="321"/>
                </a:cubicBezTo>
                <a:cubicBezTo>
                  <a:pt x="97" y="321"/>
                  <a:pt x="91" y="333"/>
                  <a:pt x="87" y="335"/>
                </a:cubicBezTo>
                <a:cubicBezTo>
                  <a:pt x="83" y="337"/>
                  <a:pt x="82" y="336"/>
                  <a:pt x="79" y="341"/>
                </a:cubicBezTo>
                <a:cubicBezTo>
                  <a:pt x="77" y="347"/>
                  <a:pt x="74" y="350"/>
                  <a:pt x="69" y="349"/>
                </a:cubicBezTo>
                <a:cubicBezTo>
                  <a:pt x="65" y="347"/>
                  <a:pt x="64" y="345"/>
                  <a:pt x="61" y="346"/>
                </a:cubicBezTo>
                <a:cubicBezTo>
                  <a:pt x="57" y="347"/>
                  <a:pt x="57" y="345"/>
                  <a:pt x="54" y="348"/>
                </a:cubicBezTo>
                <a:cubicBezTo>
                  <a:pt x="51" y="350"/>
                  <a:pt x="46" y="349"/>
                  <a:pt x="48" y="351"/>
                </a:cubicBezTo>
                <a:cubicBezTo>
                  <a:pt x="51" y="354"/>
                  <a:pt x="56" y="358"/>
                  <a:pt x="49" y="357"/>
                </a:cubicBezTo>
                <a:cubicBezTo>
                  <a:pt x="43" y="355"/>
                  <a:pt x="42" y="351"/>
                  <a:pt x="41" y="356"/>
                </a:cubicBezTo>
                <a:cubicBezTo>
                  <a:pt x="41" y="361"/>
                  <a:pt x="44" y="359"/>
                  <a:pt x="42" y="364"/>
                </a:cubicBezTo>
                <a:cubicBezTo>
                  <a:pt x="40" y="368"/>
                  <a:pt x="42" y="365"/>
                  <a:pt x="38" y="368"/>
                </a:cubicBezTo>
                <a:cubicBezTo>
                  <a:pt x="33" y="370"/>
                  <a:pt x="33" y="365"/>
                  <a:pt x="31" y="370"/>
                </a:cubicBezTo>
                <a:cubicBezTo>
                  <a:pt x="29" y="376"/>
                  <a:pt x="30" y="374"/>
                  <a:pt x="28" y="378"/>
                </a:cubicBezTo>
                <a:cubicBezTo>
                  <a:pt x="26" y="382"/>
                  <a:pt x="16" y="389"/>
                  <a:pt x="13" y="390"/>
                </a:cubicBezTo>
                <a:cubicBezTo>
                  <a:pt x="10" y="390"/>
                  <a:pt x="8" y="390"/>
                  <a:pt x="10" y="395"/>
                </a:cubicBezTo>
                <a:cubicBezTo>
                  <a:pt x="12" y="399"/>
                  <a:pt x="14" y="399"/>
                  <a:pt x="15" y="399"/>
                </a:cubicBezTo>
                <a:cubicBezTo>
                  <a:pt x="16" y="399"/>
                  <a:pt x="17" y="392"/>
                  <a:pt x="19" y="395"/>
                </a:cubicBezTo>
                <a:cubicBezTo>
                  <a:pt x="21" y="398"/>
                  <a:pt x="29" y="400"/>
                  <a:pt x="29" y="395"/>
                </a:cubicBezTo>
                <a:cubicBezTo>
                  <a:pt x="28" y="390"/>
                  <a:pt x="29" y="388"/>
                  <a:pt x="33" y="387"/>
                </a:cubicBezTo>
                <a:cubicBezTo>
                  <a:pt x="36" y="385"/>
                  <a:pt x="38" y="383"/>
                  <a:pt x="40" y="382"/>
                </a:cubicBezTo>
                <a:cubicBezTo>
                  <a:pt x="42" y="381"/>
                  <a:pt x="38" y="377"/>
                  <a:pt x="43" y="379"/>
                </a:cubicBezTo>
                <a:cubicBezTo>
                  <a:pt x="47" y="381"/>
                  <a:pt x="58" y="386"/>
                  <a:pt x="62" y="386"/>
                </a:cubicBezTo>
                <a:cubicBezTo>
                  <a:pt x="66" y="386"/>
                  <a:pt x="67" y="384"/>
                  <a:pt x="66" y="380"/>
                </a:cubicBezTo>
                <a:cubicBezTo>
                  <a:pt x="66" y="376"/>
                  <a:pt x="65" y="374"/>
                  <a:pt x="67" y="372"/>
                </a:cubicBezTo>
                <a:cubicBezTo>
                  <a:pt x="70" y="370"/>
                  <a:pt x="68" y="366"/>
                  <a:pt x="72" y="369"/>
                </a:cubicBezTo>
                <a:cubicBezTo>
                  <a:pt x="76" y="371"/>
                  <a:pt x="76" y="371"/>
                  <a:pt x="80" y="369"/>
                </a:cubicBezTo>
                <a:cubicBezTo>
                  <a:pt x="83" y="366"/>
                  <a:pt x="84" y="362"/>
                  <a:pt x="88" y="366"/>
                </a:cubicBezTo>
                <a:cubicBezTo>
                  <a:pt x="91" y="370"/>
                  <a:pt x="92" y="367"/>
                  <a:pt x="93" y="371"/>
                </a:cubicBezTo>
                <a:cubicBezTo>
                  <a:pt x="94" y="375"/>
                  <a:pt x="98" y="374"/>
                  <a:pt x="102" y="374"/>
                </a:cubicBezTo>
                <a:cubicBezTo>
                  <a:pt x="106" y="373"/>
                  <a:pt x="107" y="370"/>
                  <a:pt x="107" y="368"/>
                </a:cubicBezTo>
                <a:cubicBezTo>
                  <a:pt x="107" y="366"/>
                  <a:pt x="109" y="366"/>
                  <a:pt x="112" y="367"/>
                </a:cubicBezTo>
                <a:cubicBezTo>
                  <a:pt x="114" y="368"/>
                  <a:pt x="115" y="372"/>
                  <a:pt x="118" y="371"/>
                </a:cubicBezTo>
                <a:cubicBezTo>
                  <a:pt x="120" y="369"/>
                  <a:pt x="118" y="354"/>
                  <a:pt x="122" y="358"/>
                </a:cubicBezTo>
                <a:cubicBezTo>
                  <a:pt x="125" y="362"/>
                  <a:pt x="126" y="363"/>
                  <a:pt x="130" y="362"/>
                </a:cubicBezTo>
                <a:cubicBezTo>
                  <a:pt x="133" y="362"/>
                  <a:pt x="136" y="355"/>
                  <a:pt x="137" y="361"/>
                </a:cubicBezTo>
                <a:cubicBezTo>
                  <a:pt x="138" y="367"/>
                  <a:pt x="140" y="366"/>
                  <a:pt x="142" y="366"/>
                </a:cubicBezTo>
                <a:cubicBezTo>
                  <a:pt x="144" y="365"/>
                  <a:pt x="144" y="361"/>
                  <a:pt x="147" y="362"/>
                </a:cubicBezTo>
                <a:cubicBezTo>
                  <a:pt x="150" y="363"/>
                  <a:pt x="150" y="362"/>
                  <a:pt x="154" y="364"/>
                </a:cubicBezTo>
                <a:cubicBezTo>
                  <a:pt x="157" y="365"/>
                  <a:pt x="165" y="364"/>
                  <a:pt x="169" y="362"/>
                </a:cubicBezTo>
                <a:cubicBezTo>
                  <a:pt x="172" y="361"/>
                  <a:pt x="175" y="358"/>
                  <a:pt x="177" y="358"/>
                </a:cubicBezTo>
                <a:cubicBezTo>
                  <a:pt x="179" y="357"/>
                  <a:pt x="180" y="355"/>
                  <a:pt x="182" y="356"/>
                </a:cubicBezTo>
                <a:cubicBezTo>
                  <a:pt x="184" y="357"/>
                  <a:pt x="184" y="355"/>
                  <a:pt x="187" y="353"/>
                </a:cubicBezTo>
                <a:cubicBezTo>
                  <a:pt x="191" y="351"/>
                  <a:pt x="194" y="342"/>
                  <a:pt x="194" y="340"/>
                </a:cubicBezTo>
                <a:cubicBezTo>
                  <a:pt x="194" y="338"/>
                  <a:pt x="192" y="340"/>
                  <a:pt x="186" y="340"/>
                </a:cubicBezTo>
                <a:cubicBezTo>
                  <a:pt x="181" y="341"/>
                  <a:pt x="181" y="341"/>
                  <a:pt x="176" y="341"/>
                </a:cubicBezTo>
                <a:cubicBezTo>
                  <a:pt x="172" y="340"/>
                  <a:pt x="168" y="341"/>
                  <a:pt x="171" y="338"/>
                </a:cubicBezTo>
                <a:cubicBezTo>
                  <a:pt x="175" y="336"/>
                  <a:pt x="176" y="335"/>
                  <a:pt x="177" y="333"/>
                </a:cubicBezTo>
                <a:cubicBezTo>
                  <a:pt x="178" y="331"/>
                  <a:pt x="182" y="329"/>
                  <a:pt x="182" y="327"/>
                </a:cubicBezTo>
                <a:cubicBezTo>
                  <a:pt x="182" y="324"/>
                  <a:pt x="182" y="324"/>
                  <a:pt x="181" y="323"/>
                </a:cubicBezTo>
                <a:cubicBezTo>
                  <a:pt x="180" y="322"/>
                  <a:pt x="180" y="322"/>
                  <a:pt x="179" y="322"/>
                </a:cubicBezTo>
                <a:cubicBezTo>
                  <a:pt x="178" y="321"/>
                  <a:pt x="181" y="321"/>
                  <a:pt x="184" y="322"/>
                </a:cubicBezTo>
                <a:cubicBezTo>
                  <a:pt x="186" y="323"/>
                  <a:pt x="186" y="322"/>
                  <a:pt x="188" y="322"/>
                </a:cubicBezTo>
                <a:cubicBezTo>
                  <a:pt x="191" y="323"/>
                  <a:pt x="192" y="323"/>
                  <a:pt x="193" y="320"/>
                </a:cubicBezTo>
                <a:cubicBezTo>
                  <a:pt x="194" y="318"/>
                  <a:pt x="193" y="320"/>
                  <a:pt x="191" y="317"/>
                </a:cubicBezTo>
                <a:cubicBezTo>
                  <a:pt x="190" y="313"/>
                  <a:pt x="190" y="310"/>
                  <a:pt x="193" y="310"/>
                </a:cubicBezTo>
                <a:cubicBezTo>
                  <a:pt x="197" y="310"/>
                  <a:pt x="197" y="313"/>
                  <a:pt x="199" y="308"/>
                </a:cubicBezTo>
                <a:cubicBezTo>
                  <a:pt x="202" y="303"/>
                  <a:pt x="203" y="306"/>
                  <a:pt x="203" y="300"/>
                </a:cubicBezTo>
                <a:cubicBezTo>
                  <a:pt x="203" y="295"/>
                  <a:pt x="205" y="296"/>
                  <a:pt x="202" y="291"/>
                </a:cubicBezTo>
                <a:cubicBezTo>
                  <a:pt x="200" y="286"/>
                  <a:pt x="189" y="269"/>
                  <a:pt x="181" y="271"/>
                </a:cubicBezTo>
                <a:cubicBezTo>
                  <a:pt x="172" y="272"/>
                  <a:pt x="164" y="269"/>
                  <a:pt x="165" y="273"/>
                </a:cubicBezTo>
                <a:cubicBezTo>
                  <a:pt x="166" y="276"/>
                  <a:pt x="168" y="283"/>
                  <a:pt x="164" y="281"/>
                </a:cubicBezTo>
                <a:cubicBezTo>
                  <a:pt x="160" y="279"/>
                  <a:pt x="155" y="279"/>
                  <a:pt x="157" y="274"/>
                </a:cubicBezTo>
                <a:cubicBezTo>
                  <a:pt x="158" y="269"/>
                  <a:pt x="160" y="265"/>
                  <a:pt x="162" y="264"/>
                </a:cubicBezTo>
                <a:cubicBezTo>
                  <a:pt x="164" y="262"/>
                  <a:pt x="164" y="260"/>
                  <a:pt x="164" y="258"/>
                </a:cubicBezTo>
                <a:cubicBezTo>
                  <a:pt x="164" y="257"/>
                  <a:pt x="163" y="249"/>
                  <a:pt x="158" y="246"/>
                </a:cubicBezTo>
                <a:cubicBezTo>
                  <a:pt x="154" y="244"/>
                  <a:pt x="160" y="244"/>
                  <a:pt x="150" y="242"/>
                </a:cubicBezTo>
                <a:cubicBezTo>
                  <a:pt x="141" y="240"/>
                  <a:pt x="136" y="238"/>
                  <a:pt x="135" y="237"/>
                </a:cubicBezTo>
                <a:cubicBezTo>
                  <a:pt x="134" y="236"/>
                  <a:pt x="154" y="239"/>
                  <a:pt x="157" y="240"/>
                </a:cubicBezTo>
                <a:cubicBezTo>
                  <a:pt x="159" y="241"/>
                  <a:pt x="163" y="240"/>
                  <a:pt x="161" y="237"/>
                </a:cubicBezTo>
                <a:cubicBezTo>
                  <a:pt x="159" y="234"/>
                  <a:pt x="157" y="232"/>
                  <a:pt x="154" y="231"/>
                </a:cubicBezTo>
                <a:cubicBezTo>
                  <a:pt x="151" y="229"/>
                  <a:pt x="149" y="228"/>
                  <a:pt x="149" y="226"/>
                </a:cubicBezTo>
                <a:cubicBezTo>
                  <a:pt x="150" y="223"/>
                  <a:pt x="149" y="221"/>
                  <a:pt x="150" y="220"/>
                </a:cubicBezTo>
                <a:cubicBezTo>
                  <a:pt x="151" y="218"/>
                  <a:pt x="152" y="218"/>
                  <a:pt x="149" y="216"/>
                </a:cubicBezTo>
                <a:cubicBezTo>
                  <a:pt x="146" y="214"/>
                  <a:pt x="143" y="213"/>
                  <a:pt x="142" y="212"/>
                </a:cubicBezTo>
                <a:cubicBezTo>
                  <a:pt x="141" y="211"/>
                  <a:pt x="133" y="195"/>
                  <a:pt x="127" y="198"/>
                </a:cubicBezTo>
                <a:cubicBezTo>
                  <a:pt x="121" y="201"/>
                  <a:pt x="127" y="195"/>
                  <a:pt x="123" y="188"/>
                </a:cubicBezTo>
                <a:cubicBezTo>
                  <a:pt x="118" y="181"/>
                  <a:pt x="118" y="177"/>
                  <a:pt x="118" y="173"/>
                </a:cubicBezTo>
                <a:cubicBezTo>
                  <a:pt x="118" y="169"/>
                  <a:pt x="114" y="170"/>
                  <a:pt x="115" y="163"/>
                </a:cubicBezTo>
                <a:cubicBezTo>
                  <a:pt x="117" y="156"/>
                  <a:pt x="119" y="157"/>
                  <a:pt x="114" y="153"/>
                </a:cubicBezTo>
                <a:cubicBezTo>
                  <a:pt x="108" y="148"/>
                  <a:pt x="108" y="146"/>
                  <a:pt x="106" y="145"/>
                </a:cubicBezTo>
                <a:cubicBezTo>
                  <a:pt x="104" y="144"/>
                  <a:pt x="100" y="139"/>
                  <a:pt x="95" y="136"/>
                </a:cubicBezTo>
                <a:cubicBezTo>
                  <a:pt x="89" y="133"/>
                  <a:pt x="88" y="132"/>
                  <a:pt x="85" y="131"/>
                </a:cubicBezTo>
                <a:cubicBezTo>
                  <a:pt x="82" y="131"/>
                  <a:pt x="84" y="130"/>
                  <a:pt x="78" y="132"/>
                </a:cubicBezTo>
                <a:cubicBezTo>
                  <a:pt x="72" y="134"/>
                  <a:pt x="66" y="132"/>
                  <a:pt x="60" y="131"/>
                </a:cubicBezTo>
                <a:cubicBezTo>
                  <a:pt x="55" y="130"/>
                  <a:pt x="74" y="130"/>
                  <a:pt x="77" y="127"/>
                </a:cubicBezTo>
                <a:cubicBezTo>
                  <a:pt x="80" y="123"/>
                  <a:pt x="79" y="121"/>
                  <a:pt x="84" y="122"/>
                </a:cubicBezTo>
                <a:cubicBezTo>
                  <a:pt x="89" y="123"/>
                  <a:pt x="92" y="121"/>
                  <a:pt x="90" y="118"/>
                </a:cubicBezTo>
                <a:cubicBezTo>
                  <a:pt x="87" y="116"/>
                  <a:pt x="87" y="114"/>
                  <a:pt x="83" y="115"/>
                </a:cubicBezTo>
                <a:cubicBezTo>
                  <a:pt x="79" y="115"/>
                  <a:pt x="79" y="114"/>
                  <a:pt x="77" y="113"/>
                </a:cubicBezTo>
                <a:cubicBezTo>
                  <a:pt x="75" y="112"/>
                  <a:pt x="87" y="108"/>
                  <a:pt x="89" y="105"/>
                </a:cubicBezTo>
                <a:cubicBezTo>
                  <a:pt x="91" y="103"/>
                  <a:pt x="91" y="99"/>
                  <a:pt x="93" y="96"/>
                </a:cubicBezTo>
                <a:cubicBezTo>
                  <a:pt x="96" y="92"/>
                  <a:pt x="101" y="85"/>
                  <a:pt x="100" y="82"/>
                </a:cubicBezTo>
                <a:cubicBezTo>
                  <a:pt x="100" y="78"/>
                  <a:pt x="99" y="75"/>
                  <a:pt x="102" y="73"/>
                </a:cubicBezTo>
                <a:cubicBezTo>
                  <a:pt x="105" y="71"/>
                  <a:pt x="107" y="70"/>
                  <a:pt x="107" y="67"/>
                </a:cubicBezTo>
                <a:cubicBezTo>
                  <a:pt x="107" y="64"/>
                  <a:pt x="108" y="58"/>
                  <a:pt x="106" y="55"/>
                </a:cubicBezTo>
                <a:cubicBezTo>
                  <a:pt x="105" y="52"/>
                  <a:pt x="105" y="50"/>
                  <a:pt x="99" y="51"/>
                </a:cubicBezTo>
                <a:cubicBezTo>
                  <a:pt x="93" y="52"/>
                  <a:pt x="97" y="51"/>
                  <a:pt x="89" y="51"/>
                </a:cubicBezTo>
                <a:cubicBezTo>
                  <a:pt x="81" y="50"/>
                  <a:pt x="84" y="49"/>
                  <a:pt x="80" y="50"/>
                </a:cubicBezTo>
                <a:cubicBezTo>
                  <a:pt x="75" y="51"/>
                  <a:pt x="76" y="53"/>
                  <a:pt x="71" y="53"/>
                </a:cubicBezTo>
                <a:cubicBezTo>
                  <a:pt x="66" y="53"/>
                  <a:pt x="68" y="51"/>
                  <a:pt x="63" y="53"/>
                </a:cubicBezTo>
                <a:cubicBezTo>
                  <a:pt x="58" y="55"/>
                  <a:pt x="59" y="48"/>
                  <a:pt x="54" y="55"/>
                </a:cubicBezTo>
                <a:cubicBezTo>
                  <a:pt x="48" y="63"/>
                  <a:pt x="39" y="65"/>
                  <a:pt x="41" y="61"/>
                </a:cubicBezTo>
                <a:cubicBezTo>
                  <a:pt x="43" y="57"/>
                  <a:pt x="50" y="54"/>
                  <a:pt x="48" y="53"/>
                </a:cubicBezTo>
                <a:cubicBezTo>
                  <a:pt x="45" y="52"/>
                  <a:pt x="44" y="46"/>
                  <a:pt x="48" y="49"/>
                </a:cubicBezTo>
                <a:cubicBezTo>
                  <a:pt x="52" y="51"/>
                  <a:pt x="55" y="47"/>
                  <a:pt x="55" y="45"/>
                </a:cubicBezTo>
                <a:cubicBezTo>
                  <a:pt x="55" y="42"/>
                  <a:pt x="55" y="43"/>
                  <a:pt x="53" y="40"/>
                </a:cubicBezTo>
                <a:cubicBezTo>
                  <a:pt x="51" y="38"/>
                  <a:pt x="49" y="38"/>
                  <a:pt x="54" y="36"/>
                </a:cubicBezTo>
                <a:cubicBezTo>
                  <a:pt x="58" y="34"/>
                  <a:pt x="59" y="30"/>
                  <a:pt x="62" y="27"/>
                </a:cubicBezTo>
                <a:cubicBezTo>
                  <a:pt x="65" y="25"/>
                  <a:pt x="80" y="14"/>
                  <a:pt x="76" y="11"/>
                </a:cubicBezTo>
                <a:cubicBezTo>
                  <a:pt x="73" y="8"/>
                  <a:pt x="78" y="0"/>
                  <a:pt x="71" y="3"/>
                </a:cubicBezTo>
                <a:cubicBezTo>
                  <a:pt x="64" y="7"/>
                  <a:pt x="62" y="1"/>
                  <a:pt x="59" y="6"/>
                </a:cubicBezTo>
                <a:cubicBezTo>
                  <a:pt x="56" y="10"/>
                  <a:pt x="55" y="3"/>
                  <a:pt x="50" y="6"/>
                </a:cubicBezTo>
                <a:cubicBezTo>
                  <a:pt x="46" y="10"/>
                  <a:pt x="42" y="9"/>
                  <a:pt x="39" y="8"/>
                </a:cubicBezTo>
                <a:cubicBezTo>
                  <a:pt x="35" y="7"/>
                  <a:pt x="33" y="6"/>
                  <a:pt x="33" y="5"/>
                </a:cubicBezTo>
                <a:cubicBezTo>
                  <a:pt x="33" y="4"/>
                  <a:pt x="31" y="6"/>
                  <a:pt x="31" y="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Freeform 436"/>
          <p:cNvSpPr>
            <a:spLocks/>
          </p:cNvSpPr>
          <p:nvPr userDrawn="1"/>
        </p:nvSpPr>
        <p:spPr bwMode="auto">
          <a:xfrm>
            <a:off x="5338223" y="3229050"/>
            <a:ext cx="31827" cy="38527"/>
          </a:xfrm>
          <a:custGeom>
            <a:avLst/>
            <a:gdLst>
              <a:gd name="T0" fmla="*/ 2147483646 w 33"/>
              <a:gd name="T1" fmla="*/ 2147483646 h 42"/>
              <a:gd name="T2" fmla="*/ 2147483646 w 33"/>
              <a:gd name="T3" fmla="*/ 2147483646 h 42"/>
              <a:gd name="T4" fmla="*/ 2147483646 w 33"/>
              <a:gd name="T5" fmla="*/ 2147483646 h 42"/>
              <a:gd name="T6" fmla="*/ 2147483646 w 33"/>
              <a:gd name="T7" fmla="*/ 2147483646 h 42"/>
              <a:gd name="T8" fmla="*/ 2147483646 w 33"/>
              <a:gd name="T9" fmla="*/ 2147483646 h 42"/>
              <a:gd name="T10" fmla="*/ 2147483646 w 33"/>
              <a:gd name="T11" fmla="*/ 2147483646 h 42"/>
              <a:gd name="T12" fmla="*/ 2147483646 w 33"/>
              <a:gd name="T13" fmla="*/ 2147483646 h 42"/>
              <a:gd name="T14" fmla="*/ 2147483646 w 33"/>
              <a:gd name="T15" fmla="*/ 2147483646 h 42"/>
              <a:gd name="T16" fmla="*/ 2147483646 w 33"/>
              <a:gd name="T17" fmla="*/ 2147483646 h 42"/>
              <a:gd name="T18" fmla="*/ 2147483646 w 33"/>
              <a:gd name="T19" fmla="*/ 2147483646 h 42"/>
              <a:gd name="T20" fmla="*/ 2147483646 w 33"/>
              <a:gd name="T21" fmla="*/ 2147483646 h 4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42"/>
              <a:gd name="T35" fmla="*/ 33 w 33"/>
              <a:gd name="T36" fmla="*/ 42 h 4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42">
                <a:moveTo>
                  <a:pt x="30" y="10"/>
                </a:moveTo>
                <a:cubicBezTo>
                  <a:pt x="26" y="7"/>
                  <a:pt x="26" y="0"/>
                  <a:pt x="23" y="8"/>
                </a:cubicBezTo>
                <a:cubicBezTo>
                  <a:pt x="20" y="16"/>
                  <a:pt x="20" y="12"/>
                  <a:pt x="16" y="16"/>
                </a:cubicBezTo>
                <a:cubicBezTo>
                  <a:pt x="13" y="19"/>
                  <a:pt x="11" y="20"/>
                  <a:pt x="8" y="20"/>
                </a:cubicBezTo>
                <a:cubicBezTo>
                  <a:pt x="6" y="21"/>
                  <a:pt x="0" y="15"/>
                  <a:pt x="3" y="22"/>
                </a:cubicBezTo>
                <a:cubicBezTo>
                  <a:pt x="5" y="30"/>
                  <a:pt x="11" y="28"/>
                  <a:pt x="11" y="33"/>
                </a:cubicBezTo>
                <a:cubicBezTo>
                  <a:pt x="10" y="38"/>
                  <a:pt x="7" y="41"/>
                  <a:pt x="10" y="42"/>
                </a:cubicBezTo>
                <a:cubicBezTo>
                  <a:pt x="12" y="42"/>
                  <a:pt x="17" y="41"/>
                  <a:pt x="19" y="35"/>
                </a:cubicBezTo>
                <a:cubicBezTo>
                  <a:pt x="21" y="29"/>
                  <a:pt x="20" y="19"/>
                  <a:pt x="24" y="22"/>
                </a:cubicBezTo>
                <a:cubicBezTo>
                  <a:pt x="28" y="26"/>
                  <a:pt x="25" y="23"/>
                  <a:pt x="29" y="19"/>
                </a:cubicBezTo>
                <a:cubicBezTo>
                  <a:pt x="33" y="15"/>
                  <a:pt x="30" y="10"/>
                  <a:pt x="30" y="1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Freeform 437"/>
          <p:cNvSpPr>
            <a:spLocks/>
          </p:cNvSpPr>
          <p:nvPr userDrawn="1"/>
        </p:nvSpPr>
        <p:spPr bwMode="auto">
          <a:xfrm>
            <a:off x="5326497" y="3274276"/>
            <a:ext cx="18427" cy="33501"/>
          </a:xfrm>
          <a:custGeom>
            <a:avLst/>
            <a:gdLst>
              <a:gd name="T0" fmla="*/ 2147483646 w 20"/>
              <a:gd name="T1" fmla="*/ 2147483646 h 37"/>
              <a:gd name="T2" fmla="*/ 2147483646 w 20"/>
              <a:gd name="T3" fmla="*/ 2147483646 h 37"/>
              <a:gd name="T4" fmla="*/ 2147483646 w 20"/>
              <a:gd name="T5" fmla="*/ 2147483646 h 37"/>
              <a:gd name="T6" fmla="*/ 2147483646 w 20"/>
              <a:gd name="T7" fmla="*/ 2147483646 h 37"/>
              <a:gd name="T8" fmla="*/ 2147483646 w 20"/>
              <a:gd name="T9" fmla="*/ 2147483646 h 37"/>
              <a:gd name="T10" fmla="*/ 2147483646 w 20"/>
              <a:gd name="T11" fmla="*/ 2147483646 h 37"/>
              <a:gd name="T12" fmla="*/ 2147483646 w 20"/>
              <a:gd name="T13" fmla="*/ 2147483646 h 37"/>
              <a:gd name="T14" fmla="*/ 2147483646 w 20"/>
              <a:gd name="T15" fmla="*/ 2147483646 h 37"/>
              <a:gd name="T16" fmla="*/ 2147483646 w 20"/>
              <a:gd name="T17" fmla="*/ 2147483646 h 3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37"/>
              <a:gd name="T29" fmla="*/ 20 w 20"/>
              <a:gd name="T30" fmla="*/ 37 h 3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37">
                <a:moveTo>
                  <a:pt x="12" y="1"/>
                </a:moveTo>
                <a:cubicBezTo>
                  <a:pt x="7" y="2"/>
                  <a:pt x="0" y="1"/>
                  <a:pt x="6" y="6"/>
                </a:cubicBezTo>
                <a:cubicBezTo>
                  <a:pt x="13" y="11"/>
                  <a:pt x="16" y="11"/>
                  <a:pt x="12" y="15"/>
                </a:cubicBezTo>
                <a:cubicBezTo>
                  <a:pt x="9" y="19"/>
                  <a:pt x="9" y="18"/>
                  <a:pt x="11" y="25"/>
                </a:cubicBezTo>
                <a:cubicBezTo>
                  <a:pt x="13" y="31"/>
                  <a:pt x="10" y="32"/>
                  <a:pt x="12" y="34"/>
                </a:cubicBezTo>
                <a:cubicBezTo>
                  <a:pt x="14" y="36"/>
                  <a:pt x="14" y="37"/>
                  <a:pt x="17" y="24"/>
                </a:cubicBezTo>
                <a:cubicBezTo>
                  <a:pt x="20" y="11"/>
                  <a:pt x="18" y="10"/>
                  <a:pt x="17" y="6"/>
                </a:cubicBezTo>
                <a:cubicBezTo>
                  <a:pt x="16" y="3"/>
                  <a:pt x="16" y="1"/>
                  <a:pt x="15" y="1"/>
                </a:cubicBezTo>
                <a:cubicBezTo>
                  <a:pt x="13" y="0"/>
                  <a:pt x="12" y="1"/>
                  <a:pt x="12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Freeform 438"/>
          <p:cNvSpPr>
            <a:spLocks/>
          </p:cNvSpPr>
          <p:nvPr userDrawn="1"/>
        </p:nvSpPr>
        <p:spPr bwMode="auto">
          <a:xfrm>
            <a:off x="5344924" y="3274276"/>
            <a:ext cx="30152" cy="28477"/>
          </a:xfrm>
          <a:custGeom>
            <a:avLst/>
            <a:gdLst>
              <a:gd name="T0" fmla="*/ 2147483646 w 32"/>
              <a:gd name="T1" fmla="*/ 2147483646 h 31"/>
              <a:gd name="T2" fmla="*/ 2147483646 w 32"/>
              <a:gd name="T3" fmla="*/ 2147483646 h 31"/>
              <a:gd name="T4" fmla="*/ 2147483646 w 32"/>
              <a:gd name="T5" fmla="*/ 2147483646 h 31"/>
              <a:gd name="T6" fmla="*/ 2147483646 w 32"/>
              <a:gd name="T7" fmla="*/ 2147483646 h 31"/>
              <a:gd name="T8" fmla="*/ 2147483646 w 32"/>
              <a:gd name="T9" fmla="*/ 2147483646 h 31"/>
              <a:gd name="T10" fmla="*/ 2147483646 w 32"/>
              <a:gd name="T11" fmla="*/ 2147483646 h 31"/>
              <a:gd name="T12" fmla="*/ 2147483646 w 32"/>
              <a:gd name="T13" fmla="*/ 2147483646 h 31"/>
              <a:gd name="T14" fmla="*/ 2147483646 w 32"/>
              <a:gd name="T15" fmla="*/ 2147483646 h 31"/>
              <a:gd name="T16" fmla="*/ 2147483646 w 32"/>
              <a:gd name="T17" fmla="*/ 2147483646 h 31"/>
              <a:gd name="T18" fmla="*/ 2147483646 w 32"/>
              <a:gd name="T19" fmla="*/ 2147483646 h 31"/>
              <a:gd name="T20" fmla="*/ 2147483646 w 32"/>
              <a:gd name="T21" fmla="*/ 2147483646 h 31"/>
              <a:gd name="T22" fmla="*/ 2147483646 w 32"/>
              <a:gd name="T23" fmla="*/ 2147483646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31"/>
              <a:gd name="T38" fmla="*/ 32 w 32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31">
                <a:moveTo>
                  <a:pt x="13" y="2"/>
                </a:moveTo>
                <a:cubicBezTo>
                  <a:pt x="15" y="8"/>
                  <a:pt x="12" y="3"/>
                  <a:pt x="11" y="6"/>
                </a:cubicBezTo>
                <a:cubicBezTo>
                  <a:pt x="10" y="11"/>
                  <a:pt x="10" y="12"/>
                  <a:pt x="7" y="12"/>
                </a:cubicBezTo>
                <a:cubicBezTo>
                  <a:pt x="5" y="12"/>
                  <a:pt x="0" y="8"/>
                  <a:pt x="5" y="12"/>
                </a:cubicBezTo>
                <a:cubicBezTo>
                  <a:pt x="10" y="16"/>
                  <a:pt x="9" y="8"/>
                  <a:pt x="14" y="17"/>
                </a:cubicBezTo>
                <a:cubicBezTo>
                  <a:pt x="19" y="27"/>
                  <a:pt x="20" y="20"/>
                  <a:pt x="24" y="25"/>
                </a:cubicBezTo>
                <a:cubicBezTo>
                  <a:pt x="29" y="31"/>
                  <a:pt x="31" y="28"/>
                  <a:pt x="30" y="25"/>
                </a:cubicBezTo>
                <a:cubicBezTo>
                  <a:pt x="29" y="21"/>
                  <a:pt x="32" y="15"/>
                  <a:pt x="27" y="15"/>
                </a:cubicBezTo>
                <a:cubicBezTo>
                  <a:pt x="23" y="15"/>
                  <a:pt x="18" y="13"/>
                  <a:pt x="19" y="10"/>
                </a:cubicBezTo>
                <a:cubicBezTo>
                  <a:pt x="21" y="7"/>
                  <a:pt x="23" y="7"/>
                  <a:pt x="21" y="5"/>
                </a:cubicBezTo>
                <a:cubicBezTo>
                  <a:pt x="19" y="2"/>
                  <a:pt x="21" y="2"/>
                  <a:pt x="19" y="1"/>
                </a:cubicBezTo>
                <a:cubicBezTo>
                  <a:pt x="17" y="0"/>
                  <a:pt x="13" y="2"/>
                  <a:pt x="13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Freeform 439"/>
          <p:cNvSpPr>
            <a:spLocks/>
          </p:cNvSpPr>
          <p:nvPr userDrawn="1"/>
        </p:nvSpPr>
        <p:spPr bwMode="auto">
          <a:xfrm>
            <a:off x="5358325" y="3301077"/>
            <a:ext cx="8375" cy="10051"/>
          </a:xfrm>
          <a:custGeom>
            <a:avLst/>
            <a:gdLst>
              <a:gd name="T0" fmla="*/ 2147483646 w 9"/>
              <a:gd name="T1" fmla="*/ 2147483646 h 11"/>
              <a:gd name="T2" fmla="*/ 2147483646 w 9"/>
              <a:gd name="T3" fmla="*/ 2147483646 h 11"/>
              <a:gd name="T4" fmla="*/ 2147483646 w 9"/>
              <a:gd name="T5" fmla="*/ 2147483646 h 11"/>
              <a:gd name="T6" fmla="*/ 2147483646 w 9"/>
              <a:gd name="T7" fmla="*/ 2147483646 h 11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11"/>
              <a:gd name="T14" fmla="*/ 9 w 9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11">
                <a:moveTo>
                  <a:pt x="2" y="3"/>
                </a:moveTo>
                <a:cubicBezTo>
                  <a:pt x="0" y="6"/>
                  <a:pt x="4" y="4"/>
                  <a:pt x="5" y="7"/>
                </a:cubicBezTo>
                <a:cubicBezTo>
                  <a:pt x="7" y="11"/>
                  <a:pt x="7" y="9"/>
                  <a:pt x="8" y="7"/>
                </a:cubicBezTo>
                <a:cubicBezTo>
                  <a:pt x="9" y="6"/>
                  <a:pt x="3" y="0"/>
                  <a:pt x="2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Freeform 440"/>
          <p:cNvSpPr>
            <a:spLocks/>
          </p:cNvSpPr>
          <p:nvPr userDrawn="1"/>
        </p:nvSpPr>
        <p:spPr bwMode="auto">
          <a:xfrm>
            <a:off x="5359999" y="3316153"/>
            <a:ext cx="8376" cy="10051"/>
          </a:xfrm>
          <a:custGeom>
            <a:avLst/>
            <a:gdLst>
              <a:gd name="T0" fmla="*/ 2147483646 w 8"/>
              <a:gd name="T1" fmla="*/ 0 h 11"/>
              <a:gd name="T2" fmla="*/ 2147483646 w 8"/>
              <a:gd name="T3" fmla="*/ 2147483646 h 11"/>
              <a:gd name="T4" fmla="*/ 2147483646 w 8"/>
              <a:gd name="T5" fmla="*/ 2147483646 h 11"/>
              <a:gd name="T6" fmla="*/ 2147483646 w 8"/>
              <a:gd name="T7" fmla="*/ 2147483646 h 11"/>
              <a:gd name="T8" fmla="*/ 2147483646 w 8"/>
              <a:gd name="T9" fmla="*/ 0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11"/>
              <a:gd name="T17" fmla="*/ 8 w 8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11">
                <a:moveTo>
                  <a:pt x="5" y="0"/>
                </a:moveTo>
                <a:cubicBezTo>
                  <a:pt x="3" y="0"/>
                  <a:pt x="0" y="3"/>
                  <a:pt x="2" y="5"/>
                </a:cubicBezTo>
                <a:cubicBezTo>
                  <a:pt x="4" y="7"/>
                  <a:pt x="5" y="4"/>
                  <a:pt x="5" y="7"/>
                </a:cubicBezTo>
                <a:cubicBezTo>
                  <a:pt x="6" y="11"/>
                  <a:pt x="8" y="5"/>
                  <a:pt x="8" y="5"/>
                </a:cubicBezTo>
                <a:lnTo>
                  <a:pt x="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Freeform 441"/>
          <p:cNvSpPr>
            <a:spLocks/>
          </p:cNvSpPr>
          <p:nvPr userDrawn="1"/>
        </p:nvSpPr>
        <p:spPr bwMode="auto">
          <a:xfrm>
            <a:off x="5359999" y="3327879"/>
            <a:ext cx="16751" cy="10051"/>
          </a:xfrm>
          <a:custGeom>
            <a:avLst/>
            <a:gdLst>
              <a:gd name="T0" fmla="*/ 2147483646 w 17"/>
              <a:gd name="T1" fmla="*/ 2147483646 h 10"/>
              <a:gd name="T2" fmla="*/ 2147483646 w 17"/>
              <a:gd name="T3" fmla="*/ 2147483646 h 10"/>
              <a:gd name="T4" fmla="*/ 2147483646 w 17"/>
              <a:gd name="T5" fmla="*/ 2147483646 h 10"/>
              <a:gd name="T6" fmla="*/ 2147483646 w 17"/>
              <a:gd name="T7" fmla="*/ 2147483646 h 10"/>
              <a:gd name="T8" fmla="*/ 2147483646 w 17"/>
              <a:gd name="T9" fmla="*/ 2147483646 h 10"/>
              <a:gd name="T10" fmla="*/ 2147483646 w 17"/>
              <a:gd name="T11" fmla="*/ 2147483646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10"/>
              <a:gd name="T20" fmla="*/ 17 w 17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10">
                <a:moveTo>
                  <a:pt x="8" y="2"/>
                </a:moveTo>
                <a:cubicBezTo>
                  <a:pt x="6" y="4"/>
                  <a:pt x="0" y="1"/>
                  <a:pt x="4" y="6"/>
                </a:cubicBezTo>
                <a:cubicBezTo>
                  <a:pt x="8" y="10"/>
                  <a:pt x="10" y="8"/>
                  <a:pt x="12" y="8"/>
                </a:cubicBezTo>
                <a:cubicBezTo>
                  <a:pt x="14" y="8"/>
                  <a:pt x="13" y="7"/>
                  <a:pt x="14" y="6"/>
                </a:cubicBezTo>
                <a:cubicBezTo>
                  <a:pt x="16" y="5"/>
                  <a:pt x="17" y="4"/>
                  <a:pt x="15" y="2"/>
                </a:cubicBezTo>
                <a:cubicBezTo>
                  <a:pt x="13" y="0"/>
                  <a:pt x="11" y="0"/>
                  <a:pt x="8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Freeform 442"/>
          <p:cNvSpPr>
            <a:spLocks/>
          </p:cNvSpPr>
          <p:nvPr userDrawn="1"/>
        </p:nvSpPr>
        <p:spPr bwMode="auto">
          <a:xfrm>
            <a:off x="5351625" y="3319505"/>
            <a:ext cx="6700" cy="8375"/>
          </a:xfrm>
          <a:custGeom>
            <a:avLst/>
            <a:gdLst>
              <a:gd name="T0" fmla="*/ 2147483646 w 6"/>
              <a:gd name="T1" fmla="*/ 0 h 9"/>
              <a:gd name="T2" fmla="*/ 2147483646 w 6"/>
              <a:gd name="T3" fmla="*/ 2147483646 h 9"/>
              <a:gd name="T4" fmla="*/ 2147483646 w 6"/>
              <a:gd name="T5" fmla="*/ 2147483646 h 9"/>
              <a:gd name="T6" fmla="*/ 2147483646 w 6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6" y="0"/>
                </a:moveTo>
                <a:cubicBezTo>
                  <a:pt x="6" y="4"/>
                  <a:pt x="3" y="9"/>
                  <a:pt x="2" y="8"/>
                </a:cubicBezTo>
                <a:cubicBezTo>
                  <a:pt x="0" y="6"/>
                  <a:pt x="2" y="1"/>
                  <a:pt x="2" y="1"/>
                </a:cubicBezTo>
                <a:lnTo>
                  <a:pt x="6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Freeform 443"/>
          <p:cNvSpPr>
            <a:spLocks/>
          </p:cNvSpPr>
          <p:nvPr userDrawn="1"/>
        </p:nvSpPr>
        <p:spPr bwMode="auto">
          <a:xfrm>
            <a:off x="5358324" y="3346306"/>
            <a:ext cx="15075" cy="18425"/>
          </a:xfrm>
          <a:custGeom>
            <a:avLst/>
            <a:gdLst>
              <a:gd name="T0" fmla="*/ 2147483646 w 17"/>
              <a:gd name="T1" fmla="*/ 0 h 19"/>
              <a:gd name="T2" fmla="*/ 2147483646 w 17"/>
              <a:gd name="T3" fmla="*/ 2147483646 h 19"/>
              <a:gd name="T4" fmla="*/ 2147483646 w 17"/>
              <a:gd name="T5" fmla="*/ 2147483646 h 19"/>
              <a:gd name="T6" fmla="*/ 2147483646 w 17"/>
              <a:gd name="T7" fmla="*/ 2147483646 h 19"/>
              <a:gd name="T8" fmla="*/ 2147483646 w 17"/>
              <a:gd name="T9" fmla="*/ 2147483646 h 19"/>
              <a:gd name="T10" fmla="*/ 2147483646 w 17"/>
              <a:gd name="T11" fmla="*/ 2147483646 h 19"/>
              <a:gd name="T12" fmla="*/ 2147483646 w 1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7"/>
              <a:gd name="T22" fmla="*/ 0 h 19"/>
              <a:gd name="T23" fmla="*/ 17 w 17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7" h="19">
                <a:moveTo>
                  <a:pt x="16" y="0"/>
                </a:moveTo>
                <a:cubicBezTo>
                  <a:pt x="12" y="3"/>
                  <a:pt x="11" y="6"/>
                  <a:pt x="7" y="8"/>
                </a:cubicBezTo>
                <a:cubicBezTo>
                  <a:pt x="4" y="9"/>
                  <a:pt x="0" y="5"/>
                  <a:pt x="3" y="11"/>
                </a:cubicBezTo>
                <a:cubicBezTo>
                  <a:pt x="6" y="16"/>
                  <a:pt x="7" y="11"/>
                  <a:pt x="10" y="15"/>
                </a:cubicBezTo>
                <a:cubicBezTo>
                  <a:pt x="12" y="19"/>
                  <a:pt x="13" y="14"/>
                  <a:pt x="14" y="10"/>
                </a:cubicBezTo>
                <a:cubicBezTo>
                  <a:pt x="15" y="7"/>
                  <a:pt x="17" y="4"/>
                  <a:pt x="17" y="4"/>
                </a:cubicBezTo>
                <a:lnTo>
                  <a:pt x="16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Freeform 444"/>
          <p:cNvSpPr>
            <a:spLocks/>
          </p:cNvSpPr>
          <p:nvPr userDrawn="1"/>
        </p:nvSpPr>
        <p:spPr bwMode="auto">
          <a:xfrm>
            <a:off x="5395176" y="3414985"/>
            <a:ext cx="15075" cy="16751"/>
          </a:xfrm>
          <a:custGeom>
            <a:avLst/>
            <a:gdLst>
              <a:gd name="T0" fmla="*/ 2147483646 w 17"/>
              <a:gd name="T1" fmla="*/ 2147483646 h 18"/>
              <a:gd name="T2" fmla="*/ 2147483646 w 17"/>
              <a:gd name="T3" fmla="*/ 2147483646 h 18"/>
              <a:gd name="T4" fmla="*/ 2147483646 w 17"/>
              <a:gd name="T5" fmla="*/ 2147483646 h 18"/>
              <a:gd name="T6" fmla="*/ 2147483646 w 17"/>
              <a:gd name="T7" fmla="*/ 2147483646 h 18"/>
              <a:gd name="T8" fmla="*/ 2147483646 w 17"/>
              <a:gd name="T9" fmla="*/ 2147483646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8"/>
              <a:gd name="T17" fmla="*/ 17 w 17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8">
                <a:moveTo>
                  <a:pt x="16" y="4"/>
                </a:moveTo>
                <a:cubicBezTo>
                  <a:pt x="12" y="4"/>
                  <a:pt x="11" y="0"/>
                  <a:pt x="10" y="7"/>
                </a:cubicBezTo>
                <a:cubicBezTo>
                  <a:pt x="9" y="14"/>
                  <a:pt x="0" y="15"/>
                  <a:pt x="6" y="17"/>
                </a:cubicBezTo>
                <a:cubicBezTo>
                  <a:pt x="11" y="18"/>
                  <a:pt x="16" y="15"/>
                  <a:pt x="16" y="13"/>
                </a:cubicBezTo>
                <a:cubicBezTo>
                  <a:pt x="17" y="10"/>
                  <a:pt x="16" y="4"/>
                  <a:pt x="16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Freeform 445"/>
          <p:cNvSpPr>
            <a:spLocks/>
          </p:cNvSpPr>
          <p:nvPr userDrawn="1"/>
        </p:nvSpPr>
        <p:spPr bwMode="auto">
          <a:xfrm>
            <a:off x="5400202" y="3456862"/>
            <a:ext cx="15076" cy="13401"/>
          </a:xfrm>
          <a:custGeom>
            <a:avLst/>
            <a:gdLst>
              <a:gd name="T0" fmla="*/ 2147483646 w 17"/>
              <a:gd name="T1" fmla="*/ 0 h 13"/>
              <a:gd name="T2" fmla="*/ 2147483646 w 17"/>
              <a:gd name="T3" fmla="*/ 2147483646 h 13"/>
              <a:gd name="T4" fmla="*/ 2147483646 w 17"/>
              <a:gd name="T5" fmla="*/ 2147483646 h 13"/>
              <a:gd name="T6" fmla="*/ 2147483646 w 17"/>
              <a:gd name="T7" fmla="*/ 2147483646 h 13"/>
              <a:gd name="T8" fmla="*/ 2147483646 w 17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3"/>
              <a:gd name="T17" fmla="*/ 17 w 17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3">
                <a:moveTo>
                  <a:pt x="7" y="0"/>
                </a:moveTo>
                <a:cubicBezTo>
                  <a:pt x="4" y="3"/>
                  <a:pt x="0" y="9"/>
                  <a:pt x="6" y="11"/>
                </a:cubicBezTo>
                <a:cubicBezTo>
                  <a:pt x="11" y="13"/>
                  <a:pt x="12" y="11"/>
                  <a:pt x="12" y="11"/>
                </a:cubicBezTo>
                <a:cubicBezTo>
                  <a:pt x="17" y="5"/>
                  <a:pt x="17" y="5"/>
                  <a:pt x="17" y="5"/>
                </a:cubicBezTo>
                <a:lnTo>
                  <a:pt x="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Freeform 446"/>
          <p:cNvSpPr>
            <a:spLocks/>
          </p:cNvSpPr>
          <p:nvPr userDrawn="1"/>
        </p:nvSpPr>
        <p:spPr bwMode="auto">
          <a:xfrm>
            <a:off x="5430354" y="3203921"/>
            <a:ext cx="11727" cy="8376"/>
          </a:xfrm>
          <a:custGeom>
            <a:avLst/>
            <a:gdLst>
              <a:gd name="T0" fmla="*/ 2147483646 w 13"/>
              <a:gd name="T1" fmla="*/ 2147483646 h 10"/>
              <a:gd name="T2" fmla="*/ 2147483646 w 13"/>
              <a:gd name="T3" fmla="*/ 2147483646 h 10"/>
              <a:gd name="T4" fmla="*/ 2147483646 w 13"/>
              <a:gd name="T5" fmla="*/ 2147483646 h 10"/>
              <a:gd name="T6" fmla="*/ 2147483646 w 13"/>
              <a:gd name="T7" fmla="*/ 2147483646 h 10"/>
              <a:gd name="T8" fmla="*/ 2147483646 w 13"/>
              <a:gd name="T9" fmla="*/ 2147483646 h 10"/>
              <a:gd name="T10" fmla="*/ 2147483646 w 13"/>
              <a:gd name="T11" fmla="*/ 0 h 10"/>
              <a:gd name="T12" fmla="*/ 2147483646 w 13"/>
              <a:gd name="T13" fmla="*/ 2147483646 h 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3"/>
              <a:gd name="T22" fmla="*/ 0 h 10"/>
              <a:gd name="T23" fmla="*/ 13 w 13"/>
              <a:gd name="T24" fmla="*/ 10 h 1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3" h="10">
                <a:moveTo>
                  <a:pt x="6" y="1"/>
                </a:moveTo>
                <a:cubicBezTo>
                  <a:pt x="5" y="2"/>
                  <a:pt x="0" y="4"/>
                  <a:pt x="3" y="7"/>
                </a:cubicBezTo>
                <a:cubicBezTo>
                  <a:pt x="6" y="10"/>
                  <a:pt x="7" y="8"/>
                  <a:pt x="9" y="9"/>
                </a:cubicBezTo>
                <a:cubicBezTo>
                  <a:pt x="10" y="9"/>
                  <a:pt x="12" y="7"/>
                  <a:pt x="12" y="7"/>
                </a:cubicBezTo>
                <a:cubicBezTo>
                  <a:pt x="12" y="7"/>
                  <a:pt x="13" y="5"/>
                  <a:pt x="11" y="3"/>
                </a:cubicBezTo>
                <a:cubicBezTo>
                  <a:pt x="10" y="2"/>
                  <a:pt x="10" y="0"/>
                  <a:pt x="9" y="0"/>
                </a:cubicBezTo>
                <a:cubicBezTo>
                  <a:pt x="7" y="1"/>
                  <a:pt x="6" y="1"/>
                  <a:pt x="6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Freeform 447"/>
          <p:cNvSpPr>
            <a:spLocks/>
          </p:cNvSpPr>
          <p:nvPr userDrawn="1"/>
        </p:nvSpPr>
        <p:spPr bwMode="auto">
          <a:xfrm>
            <a:off x="5437054" y="3193871"/>
            <a:ext cx="6700" cy="8376"/>
          </a:xfrm>
          <a:custGeom>
            <a:avLst/>
            <a:gdLst>
              <a:gd name="T0" fmla="*/ 2147483646 w 8"/>
              <a:gd name="T1" fmla="*/ 0 h 9"/>
              <a:gd name="T2" fmla="*/ 2147483646 w 8"/>
              <a:gd name="T3" fmla="*/ 2147483646 h 9"/>
              <a:gd name="T4" fmla="*/ 2147483646 w 8"/>
              <a:gd name="T5" fmla="*/ 2147483646 h 9"/>
              <a:gd name="T6" fmla="*/ 2147483646 w 8"/>
              <a:gd name="T7" fmla="*/ 2147483646 h 9"/>
              <a:gd name="T8" fmla="*/ 2147483646 w 8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9"/>
              <a:gd name="T17" fmla="*/ 8 w 8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9">
                <a:moveTo>
                  <a:pt x="5" y="0"/>
                </a:moveTo>
                <a:cubicBezTo>
                  <a:pt x="4" y="2"/>
                  <a:pt x="0" y="2"/>
                  <a:pt x="3" y="5"/>
                </a:cubicBezTo>
                <a:cubicBezTo>
                  <a:pt x="6" y="9"/>
                  <a:pt x="7" y="5"/>
                  <a:pt x="8" y="6"/>
                </a:cubicBezTo>
                <a:cubicBezTo>
                  <a:pt x="8" y="6"/>
                  <a:pt x="6" y="3"/>
                  <a:pt x="6" y="2"/>
                </a:cubicBezTo>
                <a:cubicBezTo>
                  <a:pt x="7" y="2"/>
                  <a:pt x="5" y="0"/>
                  <a:pt x="5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Freeform 448"/>
          <p:cNvSpPr>
            <a:spLocks/>
          </p:cNvSpPr>
          <p:nvPr userDrawn="1"/>
        </p:nvSpPr>
        <p:spPr bwMode="auto">
          <a:xfrm>
            <a:off x="5433703" y="3210623"/>
            <a:ext cx="6700" cy="8376"/>
          </a:xfrm>
          <a:custGeom>
            <a:avLst/>
            <a:gdLst>
              <a:gd name="T0" fmla="*/ 2147483646 w 7"/>
              <a:gd name="T1" fmla="*/ 2147483646 h 10"/>
              <a:gd name="T2" fmla="*/ 0 w 7"/>
              <a:gd name="T3" fmla="*/ 2147483646 h 10"/>
              <a:gd name="T4" fmla="*/ 2147483646 w 7"/>
              <a:gd name="T5" fmla="*/ 2147483646 h 10"/>
              <a:gd name="T6" fmla="*/ 2147483646 w 7"/>
              <a:gd name="T7" fmla="*/ 2147483646 h 10"/>
              <a:gd name="T8" fmla="*/ 2147483646 w 7"/>
              <a:gd name="T9" fmla="*/ 2147483646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10"/>
              <a:gd name="T17" fmla="*/ 7 w 7"/>
              <a:gd name="T18" fmla="*/ 10 h 1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10">
                <a:moveTo>
                  <a:pt x="4" y="3"/>
                </a:moveTo>
                <a:cubicBezTo>
                  <a:pt x="3" y="3"/>
                  <a:pt x="0" y="0"/>
                  <a:pt x="0" y="4"/>
                </a:cubicBezTo>
                <a:cubicBezTo>
                  <a:pt x="0" y="8"/>
                  <a:pt x="1" y="10"/>
                  <a:pt x="2" y="10"/>
                </a:cubicBezTo>
                <a:cubicBezTo>
                  <a:pt x="3" y="10"/>
                  <a:pt x="2" y="7"/>
                  <a:pt x="4" y="7"/>
                </a:cubicBezTo>
                <a:cubicBezTo>
                  <a:pt x="7" y="7"/>
                  <a:pt x="4" y="3"/>
                  <a:pt x="4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Freeform 449"/>
          <p:cNvSpPr>
            <a:spLocks/>
          </p:cNvSpPr>
          <p:nvPr userDrawn="1"/>
        </p:nvSpPr>
        <p:spPr bwMode="auto">
          <a:xfrm>
            <a:off x="5438730" y="3213973"/>
            <a:ext cx="8375" cy="6700"/>
          </a:xfrm>
          <a:custGeom>
            <a:avLst/>
            <a:gdLst>
              <a:gd name="T0" fmla="*/ 2147483646 w 10"/>
              <a:gd name="T1" fmla="*/ 0 h 7"/>
              <a:gd name="T2" fmla="*/ 2147483646 w 10"/>
              <a:gd name="T3" fmla="*/ 2147483646 h 7"/>
              <a:gd name="T4" fmla="*/ 2147483646 w 10"/>
              <a:gd name="T5" fmla="*/ 2147483646 h 7"/>
              <a:gd name="T6" fmla="*/ 2147483646 w 10"/>
              <a:gd name="T7" fmla="*/ 2147483646 h 7"/>
              <a:gd name="T8" fmla="*/ 2147483646 w 10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"/>
              <a:gd name="T16" fmla="*/ 0 h 7"/>
              <a:gd name="T17" fmla="*/ 10 w 10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" h="7">
                <a:moveTo>
                  <a:pt x="7" y="0"/>
                </a:moveTo>
                <a:cubicBezTo>
                  <a:pt x="4" y="3"/>
                  <a:pt x="0" y="4"/>
                  <a:pt x="4" y="5"/>
                </a:cubicBezTo>
                <a:cubicBezTo>
                  <a:pt x="8" y="7"/>
                  <a:pt x="7" y="6"/>
                  <a:pt x="8" y="5"/>
                </a:cubicBezTo>
                <a:cubicBezTo>
                  <a:pt x="10" y="4"/>
                  <a:pt x="10" y="1"/>
                  <a:pt x="10" y="1"/>
                </a:cubicBezTo>
                <a:lnTo>
                  <a:pt x="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Freeform 450"/>
          <p:cNvSpPr>
            <a:spLocks/>
          </p:cNvSpPr>
          <p:nvPr userDrawn="1"/>
        </p:nvSpPr>
        <p:spPr bwMode="auto">
          <a:xfrm>
            <a:off x="5440404" y="3200573"/>
            <a:ext cx="10051" cy="11727"/>
          </a:xfrm>
          <a:custGeom>
            <a:avLst/>
            <a:gdLst>
              <a:gd name="T0" fmla="*/ 2147483646 w 10"/>
              <a:gd name="T1" fmla="*/ 2147483646 h 12"/>
              <a:gd name="T2" fmla="*/ 2147483646 w 10"/>
              <a:gd name="T3" fmla="*/ 2147483646 h 12"/>
              <a:gd name="T4" fmla="*/ 2147483646 w 10"/>
              <a:gd name="T5" fmla="*/ 2147483646 h 12"/>
              <a:gd name="T6" fmla="*/ 2147483646 w 10"/>
              <a:gd name="T7" fmla="*/ 2147483646 h 12"/>
              <a:gd name="T8" fmla="*/ 2147483646 w 10"/>
              <a:gd name="T9" fmla="*/ 2147483646 h 12"/>
              <a:gd name="T10" fmla="*/ 2147483646 w 10"/>
              <a:gd name="T11" fmla="*/ 2147483646 h 12"/>
              <a:gd name="T12" fmla="*/ 2147483646 w 10"/>
              <a:gd name="T13" fmla="*/ 2147483646 h 12"/>
              <a:gd name="T14" fmla="*/ 2147483646 w 10"/>
              <a:gd name="T15" fmla="*/ 2147483646 h 12"/>
              <a:gd name="T16" fmla="*/ 2147483646 w 10"/>
              <a:gd name="T17" fmla="*/ 2147483646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"/>
              <a:gd name="T28" fmla="*/ 0 h 12"/>
              <a:gd name="T29" fmla="*/ 10 w 10"/>
              <a:gd name="T30" fmla="*/ 12 h 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" h="12">
                <a:moveTo>
                  <a:pt x="3" y="5"/>
                </a:moveTo>
                <a:cubicBezTo>
                  <a:pt x="2" y="7"/>
                  <a:pt x="0" y="9"/>
                  <a:pt x="3" y="11"/>
                </a:cubicBezTo>
                <a:cubicBezTo>
                  <a:pt x="5" y="12"/>
                  <a:pt x="4" y="11"/>
                  <a:pt x="6" y="11"/>
                </a:cubicBezTo>
                <a:cubicBezTo>
                  <a:pt x="8" y="11"/>
                  <a:pt x="8" y="8"/>
                  <a:pt x="8" y="8"/>
                </a:cubicBezTo>
                <a:cubicBezTo>
                  <a:pt x="10" y="5"/>
                  <a:pt x="10" y="5"/>
                  <a:pt x="10" y="5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2"/>
                  <a:pt x="9" y="0"/>
                  <a:pt x="8" y="1"/>
                </a:cubicBezTo>
                <a:cubicBezTo>
                  <a:pt x="6" y="2"/>
                  <a:pt x="5" y="1"/>
                  <a:pt x="5" y="3"/>
                </a:cubicBezTo>
                <a:cubicBezTo>
                  <a:pt x="5" y="4"/>
                  <a:pt x="3" y="5"/>
                  <a:pt x="3" y="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Freeform 451"/>
          <p:cNvSpPr>
            <a:spLocks/>
          </p:cNvSpPr>
          <p:nvPr userDrawn="1"/>
        </p:nvSpPr>
        <p:spPr bwMode="auto">
          <a:xfrm>
            <a:off x="5448781" y="3188847"/>
            <a:ext cx="8375" cy="10051"/>
          </a:xfrm>
          <a:custGeom>
            <a:avLst/>
            <a:gdLst>
              <a:gd name="T0" fmla="*/ 2147483646 w 8"/>
              <a:gd name="T1" fmla="*/ 2147483646 h 11"/>
              <a:gd name="T2" fmla="*/ 2147483646 w 8"/>
              <a:gd name="T3" fmla="*/ 2147483646 h 11"/>
              <a:gd name="T4" fmla="*/ 2147483646 w 8"/>
              <a:gd name="T5" fmla="*/ 2147483646 h 11"/>
              <a:gd name="T6" fmla="*/ 2147483646 w 8"/>
              <a:gd name="T7" fmla="*/ 2147483646 h 11"/>
              <a:gd name="T8" fmla="*/ 2147483646 w 8"/>
              <a:gd name="T9" fmla="*/ 2147483646 h 11"/>
              <a:gd name="T10" fmla="*/ 0 w 8"/>
              <a:gd name="T11" fmla="*/ 2147483646 h 11"/>
              <a:gd name="T12" fmla="*/ 2147483646 w 8"/>
              <a:gd name="T13" fmla="*/ 2147483646 h 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"/>
              <a:gd name="T22" fmla="*/ 0 h 11"/>
              <a:gd name="T23" fmla="*/ 8 w 8"/>
              <a:gd name="T24" fmla="*/ 11 h 1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" h="11">
                <a:moveTo>
                  <a:pt x="1" y="8"/>
                </a:moveTo>
                <a:cubicBezTo>
                  <a:pt x="2" y="11"/>
                  <a:pt x="3" y="11"/>
                  <a:pt x="4" y="10"/>
                </a:cubicBezTo>
                <a:cubicBezTo>
                  <a:pt x="6" y="9"/>
                  <a:pt x="6" y="8"/>
                  <a:pt x="7" y="7"/>
                </a:cubicBezTo>
                <a:cubicBezTo>
                  <a:pt x="8" y="6"/>
                  <a:pt x="8" y="3"/>
                  <a:pt x="7" y="3"/>
                </a:cubicBezTo>
                <a:cubicBezTo>
                  <a:pt x="5" y="3"/>
                  <a:pt x="3" y="0"/>
                  <a:pt x="3" y="2"/>
                </a:cubicBezTo>
                <a:cubicBezTo>
                  <a:pt x="3" y="5"/>
                  <a:pt x="0" y="7"/>
                  <a:pt x="0" y="7"/>
                </a:cubicBezTo>
                <a:lnTo>
                  <a:pt x="1" y="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Freeform 452"/>
          <p:cNvSpPr>
            <a:spLocks/>
          </p:cNvSpPr>
          <p:nvPr userDrawn="1"/>
        </p:nvSpPr>
        <p:spPr bwMode="auto">
          <a:xfrm>
            <a:off x="5445430" y="3210623"/>
            <a:ext cx="8375" cy="3351"/>
          </a:xfrm>
          <a:custGeom>
            <a:avLst/>
            <a:gdLst>
              <a:gd name="T0" fmla="*/ 2147483646 w 9"/>
              <a:gd name="T1" fmla="*/ 0 h 4"/>
              <a:gd name="T2" fmla="*/ 2147483646 w 9"/>
              <a:gd name="T3" fmla="*/ 2147483646 h 4"/>
              <a:gd name="T4" fmla="*/ 2147483646 w 9"/>
              <a:gd name="T5" fmla="*/ 2147483646 h 4"/>
              <a:gd name="T6" fmla="*/ 2147483646 w 9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4"/>
              <a:gd name="T14" fmla="*/ 9 w 9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4">
                <a:moveTo>
                  <a:pt x="6" y="0"/>
                </a:moveTo>
                <a:cubicBezTo>
                  <a:pt x="4" y="1"/>
                  <a:pt x="0" y="4"/>
                  <a:pt x="3" y="4"/>
                </a:cubicBezTo>
                <a:cubicBezTo>
                  <a:pt x="7" y="4"/>
                  <a:pt x="6" y="4"/>
                  <a:pt x="7" y="3"/>
                </a:cubicBezTo>
                <a:cubicBezTo>
                  <a:pt x="9" y="2"/>
                  <a:pt x="6" y="0"/>
                  <a:pt x="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Freeform 453"/>
          <p:cNvSpPr>
            <a:spLocks/>
          </p:cNvSpPr>
          <p:nvPr userDrawn="1"/>
        </p:nvSpPr>
        <p:spPr bwMode="auto">
          <a:xfrm>
            <a:off x="6293025" y="3738278"/>
            <a:ext cx="107205" cy="58628"/>
          </a:xfrm>
          <a:custGeom>
            <a:avLst/>
            <a:gdLst>
              <a:gd name="T0" fmla="*/ 2147483646 w 114"/>
              <a:gd name="T1" fmla="*/ 2147483646 h 62"/>
              <a:gd name="T2" fmla="*/ 2147483646 w 114"/>
              <a:gd name="T3" fmla="*/ 2147483646 h 62"/>
              <a:gd name="T4" fmla="*/ 2147483646 w 114"/>
              <a:gd name="T5" fmla="*/ 2147483646 h 62"/>
              <a:gd name="T6" fmla="*/ 2147483646 w 114"/>
              <a:gd name="T7" fmla="*/ 2147483646 h 62"/>
              <a:gd name="T8" fmla="*/ 2147483646 w 114"/>
              <a:gd name="T9" fmla="*/ 2147483646 h 62"/>
              <a:gd name="T10" fmla="*/ 2147483646 w 114"/>
              <a:gd name="T11" fmla="*/ 2147483646 h 62"/>
              <a:gd name="T12" fmla="*/ 2147483646 w 114"/>
              <a:gd name="T13" fmla="*/ 2147483646 h 62"/>
              <a:gd name="T14" fmla="*/ 2147483646 w 114"/>
              <a:gd name="T15" fmla="*/ 2147483646 h 62"/>
              <a:gd name="T16" fmla="*/ 2147483646 w 114"/>
              <a:gd name="T17" fmla="*/ 2147483646 h 62"/>
              <a:gd name="T18" fmla="*/ 2147483646 w 114"/>
              <a:gd name="T19" fmla="*/ 2147483646 h 62"/>
              <a:gd name="T20" fmla="*/ 2147483646 w 114"/>
              <a:gd name="T21" fmla="*/ 2147483646 h 62"/>
              <a:gd name="T22" fmla="*/ 2147483646 w 114"/>
              <a:gd name="T23" fmla="*/ 2147483646 h 62"/>
              <a:gd name="T24" fmla="*/ 2147483646 w 114"/>
              <a:gd name="T25" fmla="*/ 2147483646 h 62"/>
              <a:gd name="T26" fmla="*/ 2147483646 w 114"/>
              <a:gd name="T27" fmla="*/ 2147483646 h 62"/>
              <a:gd name="T28" fmla="*/ 2147483646 w 114"/>
              <a:gd name="T29" fmla="*/ 2147483646 h 62"/>
              <a:gd name="T30" fmla="*/ 2147483646 w 114"/>
              <a:gd name="T31" fmla="*/ 2147483646 h 62"/>
              <a:gd name="T32" fmla="*/ 2147483646 w 114"/>
              <a:gd name="T33" fmla="*/ 2147483646 h 62"/>
              <a:gd name="T34" fmla="*/ 2147483646 w 114"/>
              <a:gd name="T35" fmla="*/ 2147483646 h 62"/>
              <a:gd name="T36" fmla="*/ 2147483646 w 114"/>
              <a:gd name="T37" fmla="*/ 2147483646 h 62"/>
              <a:gd name="T38" fmla="*/ 2147483646 w 114"/>
              <a:gd name="T39" fmla="*/ 2147483646 h 62"/>
              <a:gd name="T40" fmla="*/ 2147483646 w 114"/>
              <a:gd name="T41" fmla="*/ 2147483646 h 62"/>
              <a:gd name="T42" fmla="*/ 2147483646 w 114"/>
              <a:gd name="T43" fmla="*/ 2147483646 h 62"/>
              <a:gd name="T44" fmla="*/ 2147483646 w 114"/>
              <a:gd name="T45" fmla="*/ 2147483646 h 62"/>
              <a:gd name="T46" fmla="*/ 2147483646 w 114"/>
              <a:gd name="T47" fmla="*/ 2147483646 h 62"/>
              <a:gd name="T48" fmla="*/ 2147483646 w 114"/>
              <a:gd name="T49" fmla="*/ 2147483646 h 62"/>
              <a:gd name="T50" fmla="*/ 2147483646 w 114"/>
              <a:gd name="T51" fmla="*/ 2147483646 h 62"/>
              <a:gd name="T52" fmla="*/ 2147483646 w 114"/>
              <a:gd name="T53" fmla="*/ 2147483646 h 62"/>
              <a:gd name="T54" fmla="*/ 2147483646 w 114"/>
              <a:gd name="T55" fmla="*/ 2147483646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14"/>
              <a:gd name="T85" fmla="*/ 0 h 62"/>
              <a:gd name="T86" fmla="*/ 114 w 114"/>
              <a:gd name="T87" fmla="*/ 62 h 62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14" h="62">
                <a:moveTo>
                  <a:pt x="111" y="20"/>
                </a:moveTo>
                <a:cubicBezTo>
                  <a:pt x="110" y="17"/>
                  <a:pt x="105" y="14"/>
                  <a:pt x="101" y="18"/>
                </a:cubicBezTo>
                <a:cubicBezTo>
                  <a:pt x="97" y="22"/>
                  <a:pt x="97" y="25"/>
                  <a:pt x="94" y="24"/>
                </a:cubicBezTo>
                <a:cubicBezTo>
                  <a:pt x="90" y="23"/>
                  <a:pt x="88" y="18"/>
                  <a:pt x="86" y="21"/>
                </a:cubicBezTo>
                <a:cubicBezTo>
                  <a:pt x="84" y="23"/>
                  <a:pt x="75" y="26"/>
                  <a:pt x="75" y="26"/>
                </a:cubicBezTo>
                <a:cubicBezTo>
                  <a:pt x="67" y="21"/>
                  <a:pt x="67" y="21"/>
                  <a:pt x="67" y="21"/>
                </a:cubicBezTo>
                <a:cubicBezTo>
                  <a:pt x="67" y="15"/>
                  <a:pt x="67" y="15"/>
                  <a:pt x="67" y="15"/>
                </a:cubicBezTo>
                <a:cubicBezTo>
                  <a:pt x="67" y="15"/>
                  <a:pt x="69" y="10"/>
                  <a:pt x="64" y="9"/>
                </a:cubicBezTo>
                <a:cubicBezTo>
                  <a:pt x="60" y="9"/>
                  <a:pt x="55" y="4"/>
                  <a:pt x="55" y="7"/>
                </a:cubicBezTo>
                <a:cubicBezTo>
                  <a:pt x="54" y="9"/>
                  <a:pt x="53" y="4"/>
                  <a:pt x="49" y="4"/>
                </a:cubicBezTo>
                <a:cubicBezTo>
                  <a:pt x="46" y="4"/>
                  <a:pt x="43" y="0"/>
                  <a:pt x="42" y="2"/>
                </a:cubicBezTo>
                <a:cubicBezTo>
                  <a:pt x="42" y="5"/>
                  <a:pt x="41" y="8"/>
                  <a:pt x="41" y="8"/>
                </a:cubicBezTo>
                <a:cubicBezTo>
                  <a:pt x="41" y="8"/>
                  <a:pt x="41" y="6"/>
                  <a:pt x="33" y="9"/>
                </a:cubicBezTo>
                <a:cubicBezTo>
                  <a:pt x="25" y="12"/>
                  <a:pt x="24" y="12"/>
                  <a:pt x="20" y="14"/>
                </a:cubicBezTo>
                <a:cubicBezTo>
                  <a:pt x="17" y="15"/>
                  <a:pt x="0" y="18"/>
                  <a:pt x="9" y="24"/>
                </a:cubicBezTo>
                <a:cubicBezTo>
                  <a:pt x="18" y="30"/>
                  <a:pt x="19" y="30"/>
                  <a:pt x="23" y="31"/>
                </a:cubicBezTo>
                <a:cubicBezTo>
                  <a:pt x="27" y="32"/>
                  <a:pt x="30" y="31"/>
                  <a:pt x="30" y="35"/>
                </a:cubicBezTo>
                <a:cubicBezTo>
                  <a:pt x="30" y="38"/>
                  <a:pt x="34" y="35"/>
                  <a:pt x="36" y="37"/>
                </a:cubicBezTo>
                <a:cubicBezTo>
                  <a:pt x="37" y="40"/>
                  <a:pt x="37" y="46"/>
                  <a:pt x="34" y="50"/>
                </a:cubicBezTo>
                <a:cubicBezTo>
                  <a:pt x="32" y="53"/>
                  <a:pt x="27" y="57"/>
                  <a:pt x="27" y="57"/>
                </a:cubicBezTo>
                <a:cubicBezTo>
                  <a:pt x="27" y="57"/>
                  <a:pt x="41" y="56"/>
                  <a:pt x="45" y="59"/>
                </a:cubicBezTo>
                <a:cubicBezTo>
                  <a:pt x="48" y="62"/>
                  <a:pt x="50" y="60"/>
                  <a:pt x="53" y="57"/>
                </a:cubicBezTo>
                <a:cubicBezTo>
                  <a:pt x="56" y="54"/>
                  <a:pt x="66" y="38"/>
                  <a:pt x="69" y="40"/>
                </a:cubicBezTo>
                <a:cubicBezTo>
                  <a:pt x="72" y="43"/>
                  <a:pt x="73" y="42"/>
                  <a:pt x="76" y="42"/>
                </a:cubicBezTo>
                <a:cubicBezTo>
                  <a:pt x="79" y="43"/>
                  <a:pt x="76" y="39"/>
                  <a:pt x="82" y="37"/>
                </a:cubicBezTo>
                <a:cubicBezTo>
                  <a:pt x="88" y="36"/>
                  <a:pt x="88" y="29"/>
                  <a:pt x="93" y="33"/>
                </a:cubicBezTo>
                <a:cubicBezTo>
                  <a:pt x="98" y="36"/>
                  <a:pt x="100" y="35"/>
                  <a:pt x="103" y="35"/>
                </a:cubicBezTo>
                <a:cubicBezTo>
                  <a:pt x="107" y="35"/>
                  <a:pt x="114" y="25"/>
                  <a:pt x="111" y="2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Freeform 454"/>
          <p:cNvSpPr>
            <a:spLocks/>
          </p:cNvSpPr>
          <p:nvPr userDrawn="1"/>
        </p:nvSpPr>
        <p:spPr bwMode="auto">
          <a:xfrm>
            <a:off x="5748620" y="3364731"/>
            <a:ext cx="28477" cy="25127"/>
          </a:xfrm>
          <a:custGeom>
            <a:avLst/>
            <a:gdLst>
              <a:gd name="T0" fmla="*/ 2147483646 w 30"/>
              <a:gd name="T1" fmla="*/ 0 h 27"/>
              <a:gd name="T2" fmla="*/ 2147483646 w 30"/>
              <a:gd name="T3" fmla="*/ 2147483646 h 27"/>
              <a:gd name="T4" fmla="*/ 2147483646 w 30"/>
              <a:gd name="T5" fmla="*/ 2147483646 h 27"/>
              <a:gd name="T6" fmla="*/ 2147483646 w 30"/>
              <a:gd name="T7" fmla="*/ 2147483646 h 27"/>
              <a:gd name="T8" fmla="*/ 2147483646 w 30"/>
              <a:gd name="T9" fmla="*/ 2147483646 h 27"/>
              <a:gd name="T10" fmla="*/ 2147483646 w 30"/>
              <a:gd name="T11" fmla="*/ 2147483646 h 27"/>
              <a:gd name="T12" fmla="*/ 2147483646 w 30"/>
              <a:gd name="T13" fmla="*/ 2147483646 h 27"/>
              <a:gd name="T14" fmla="*/ 2147483646 w 30"/>
              <a:gd name="T15" fmla="*/ 2147483646 h 27"/>
              <a:gd name="T16" fmla="*/ 2147483646 w 30"/>
              <a:gd name="T17" fmla="*/ 2147483646 h 27"/>
              <a:gd name="T18" fmla="*/ 2147483646 w 30"/>
              <a:gd name="T19" fmla="*/ 0 h 27"/>
              <a:gd name="T20" fmla="*/ 2147483646 w 30"/>
              <a:gd name="T21" fmla="*/ 0 h 2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0"/>
              <a:gd name="T34" fmla="*/ 0 h 27"/>
              <a:gd name="T35" fmla="*/ 30 w 30"/>
              <a:gd name="T36" fmla="*/ 27 h 2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0" h="27">
                <a:moveTo>
                  <a:pt x="9" y="0"/>
                </a:moveTo>
                <a:cubicBezTo>
                  <a:pt x="7" y="2"/>
                  <a:pt x="2" y="4"/>
                  <a:pt x="1" y="5"/>
                </a:cubicBezTo>
                <a:cubicBezTo>
                  <a:pt x="0" y="7"/>
                  <a:pt x="1" y="10"/>
                  <a:pt x="3" y="11"/>
                </a:cubicBezTo>
                <a:cubicBezTo>
                  <a:pt x="5" y="13"/>
                  <a:pt x="7" y="14"/>
                  <a:pt x="8" y="17"/>
                </a:cubicBezTo>
                <a:cubicBezTo>
                  <a:pt x="8" y="19"/>
                  <a:pt x="10" y="21"/>
                  <a:pt x="12" y="23"/>
                </a:cubicBezTo>
                <a:cubicBezTo>
                  <a:pt x="13" y="25"/>
                  <a:pt x="18" y="27"/>
                  <a:pt x="21" y="26"/>
                </a:cubicBezTo>
                <a:cubicBezTo>
                  <a:pt x="24" y="25"/>
                  <a:pt x="29" y="19"/>
                  <a:pt x="30" y="18"/>
                </a:cubicBezTo>
                <a:cubicBezTo>
                  <a:pt x="30" y="16"/>
                  <a:pt x="27" y="10"/>
                  <a:pt x="26" y="10"/>
                </a:cubicBezTo>
                <a:cubicBezTo>
                  <a:pt x="25" y="9"/>
                  <a:pt x="20" y="7"/>
                  <a:pt x="20" y="5"/>
                </a:cubicBezTo>
                <a:cubicBezTo>
                  <a:pt x="19" y="4"/>
                  <a:pt x="18" y="0"/>
                  <a:pt x="17" y="0"/>
                </a:cubicBezTo>
                <a:cubicBezTo>
                  <a:pt x="15" y="0"/>
                  <a:pt x="9" y="0"/>
                  <a:pt x="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Freeform 455"/>
          <p:cNvSpPr>
            <a:spLocks/>
          </p:cNvSpPr>
          <p:nvPr userDrawn="1"/>
        </p:nvSpPr>
        <p:spPr bwMode="auto">
          <a:xfrm>
            <a:off x="5710094" y="3267575"/>
            <a:ext cx="60303" cy="55279"/>
          </a:xfrm>
          <a:custGeom>
            <a:avLst/>
            <a:gdLst>
              <a:gd name="T0" fmla="*/ 2147483646 w 65"/>
              <a:gd name="T1" fmla="*/ 0 h 60"/>
              <a:gd name="T2" fmla="*/ 2147483646 w 65"/>
              <a:gd name="T3" fmla="*/ 2147483646 h 60"/>
              <a:gd name="T4" fmla="*/ 2147483646 w 65"/>
              <a:gd name="T5" fmla="*/ 2147483646 h 60"/>
              <a:gd name="T6" fmla="*/ 2147483646 w 65"/>
              <a:gd name="T7" fmla="*/ 2147483646 h 60"/>
              <a:gd name="T8" fmla="*/ 2147483646 w 65"/>
              <a:gd name="T9" fmla="*/ 2147483646 h 60"/>
              <a:gd name="T10" fmla="*/ 2147483646 w 65"/>
              <a:gd name="T11" fmla="*/ 2147483646 h 60"/>
              <a:gd name="T12" fmla="*/ 2147483646 w 65"/>
              <a:gd name="T13" fmla="*/ 2147483646 h 60"/>
              <a:gd name="T14" fmla="*/ 2147483646 w 65"/>
              <a:gd name="T15" fmla="*/ 2147483646 h 60"/>
              <a:gd name="T16" fmla="*/ 2147483646 w 65"/>
              <a:gd name="T17" fmla="*/ 2147483646 h 60"/>
              <a:gd name="T18" fmla="*/ 2147483646 w 65"/>
              <a:gd name="T19" fmla="*/ 2147483646 h 60"/>
              <a:gd name="T20" fmla="*/ 2147483646 w 65"/>
              <a:gd name="T21" fmla="*/ 2147483646 h 60"/>
              <a:gd name="T22" fmla="*/ 2147483646 w 65"/>
              <a:gd name="T23" fmla="*/ 2147483646 h 60"/>
              <a:gd name="T24" fmla="*/ 2147483646 w 65"/>
              <a:gd name="T25" fmla="*/ 2147483646 h 60"/>
              <a:gd name="T26" fmla="*/ 2147483646 w 65"/>
              <a:gd name="T27" fmla="*/ 2147483646 h 60"/>
              <a:gd name="T28" fmla="*/ 2147483646 w 65"/>
              <a:gd name="T29" fmla="*/ 2147483646 h 60"/>
              <a:gd name="T30" fmla="*/ 2147483646 w 65"/>
              <a:gd name="T31" fmla="*/ 2147483646 h 60"/>
              <a:gd name="T32" fmla="*/ 2147483646 w 65"/>
              <a:gd name="T33" fmla="*/ 2147483646 h 60"/>
              <a:gd name="T34" fmla="*/ 2147483646 w 65"/>
              <a:gd name="T35" fmla="*/ 2147483646 h 60"/>
              <a:gd name="T36" fmla="*/ 2147483646 w 65"/>
              <a:gd name="T37" fmla="*/ 2147483646 h 60"/>
              <a:gd name="T38" fmla="*/ 2147483646 w 65"/>
              <a:gd name="T39" fmla="*/ 2147483646 h 60"/>
              <a:gd name="T40" fmla="*/ 2147483646 w 65"/>
              <a:gd name="T41" fmla="*/ 2147483646 h 60"/>
              <a:gd name="T42" fmla="*/ 2147483646 w 65"/>
              <a:gd name="T43" fmla="*/ 2147483646 h 60"/>
              <a:gd name="T44" fmla="*/ 2147483646 w 65"/>
              <a:gd name="T45" fmla="*/ 2147483646 h 60"/>
              <a:gd name="T46" fmla="*/ 2147483646 w 65"/>
              <a:gd name="T47" fmla="*/ 0 h 6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5"/>
              <a:gd name="T73" fmla="*/ 0 h 60"/>
              <a:gd name="T74" fmla="*/ 65 w 65"/>
              <a:gd name="T75" fmla="*/ 60 h 6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5" h="60">
                <a:moveTo>
                  <a:pt x="60" y="0"/>
                </a:moveTo>
                <a:cubicBezTo>
                  <a:pt x="58" y="3"/>
                  <a:pt x="55" y="8"/>
                  <a:pt x="50" y="8"/>
                </a:cubicBezTo>
                <a:cubicBezTo>
                  <a:pt x="45" y="7"/>
                  <a:pt x="44" y="11"/>
                  <a:pt x="40" y="16"/>
                </a:cubicBezTo>
                <a:cubicBezTo>
                  <a:pt x="36" y="21"/>
                  <a:pt x="31" y="24"/>
                  <a:pt x="28" y="25"/>
                </a:cubicBezTo>
                <a:cubicBezTo>
                  <a:pt x="24" y="25"/>
                  <a:pt x="22" y="26"/>
                  <a:pt x="20" y="27"/>
                </a:cubicBezTo>
                <a:cubicBezTo>
                  <a:pt x="18" y="28"/>
                  <a:pt x="14" y="27"/>
                  <a:pt x="10" y="32"/>
                </a:cubicBezTo>
                <a:cubicBezTo>
                  <a:pt x="5" y="36"/>
                  <a:pt x="0" y="38"/>
                  <a:pt x="3" y="44"/>
                </a:cubicBezTo>
                <a:cubicBezTo>
                  <a:pt x="7" y="51"/>
                  <a:pt x="8" y="52"/>
                  <a:pt x="11" y="54"/>
                </a:cubicBezTo>
                <a:cubicBezTo>
                  <a:pt x="14" y="56"/>
                  <a:pt x="13" y="60"/>
                  <a:pt x="16" y="57"/>
                </a:cubicBezTo>
                <a:cubicBezTo>
                  <a:pt x="19" y="53"/>
                  <a:pt x="19" y="50"/>
                  <a:pt x="20" y="46"/>
                </a:cubicBezTo>
                <a:cubicBezTo>
                  <a:pt x="21" y="43"/>
                  <a:pt x="19" y="45"/>
                  <a:pt x="15" y="46"/>
                </a:cubicBezTo>
                <a:cubicBezTo>
                  <a:pt x="11" y="46"/>
                  <a:pt x="7" y="44"/>
                  <a:pt x="10" y="41"/>
                </a:cubicBezTo>
                <a:cubicBezTo>
                  <a:pt x="13" y="38"/>
                  <a:pt x="11" y="38"/>
                  <a:pt x="15" y="37"/>
                </a:cubicBezTo>
                <a:cubicBezTo>
                  <a:pt x="19" y="37"/>
                  <a:pt x="20" y="35"/>
                  <a:pt x="21" y="35"/>
                </a:cubicBezTo>
                <a:cubicBezTo>
                  <a:pt x="23" y="35"/>
                  <a:pt x="25" y="31"/>
                  <a:pt x="26" y="35"/>
                </a:cubicBezTo>
                <a:cubicBezTo>
                  <a:pt x="26" y="38"/>
                  <a:pt x="25" y="40"/>
                  <a:pt x="27" y="40"/>
                </a:cubicBezTo>
                <a:cubicBezTo>
                  <a:pt x="28" y="39"/>
                  <a:pt x="34" y="36"/>
                  <a:pt x="37" y="34"/>
                </a:cubicBezTo>
                <a:cubicBezTo>
                  <a:pt x="41" y="31"/>
                  <a:pt x="41" y="29"/>
                  <a:pt x="45" y="30"/>
                </a:cubicBezTo>
                <a:cubicBezTo>
                  <a:pt x="49" y="32"/>
                  <a:pt x="49" y="33"/>
                  <a:pt x="52" y="35"/>
                </a:cubicBezTo>
                <a:cubicBezTo>
                  <a:pt x="54" y="36"/>
                  <a:pt x="53" y="39"/>
                  <a:pt x="56" y="37"/>
                </a:cubicBezTo>
                <a:cubicBezTo>
                  <a:pt x="59" y="35"/>
                  <a:pt x="59" y="33"/>
                  <a:pt x="61" y="30"/>
                </a:cubicBezTo>
                <a:cubicBezTo>
                  <a:pt x="62" y="26"/>
                  <a:pt x="63" y="23"/>
                  <a:pt x="64" y="21"/>
                </a:cubicBezTo>
                <a:cubicBezTo>
                  <a:pt x="65" y="19"/>
                  <a:pt x="61" y="12"/>
                  <a:pt x="60" y="11"/>
                </a:cubicBezTo>
                <a:cubicBezTo>
                  <a:pt x="58" y="10"/>
                  <a:pt x="60" y="0"/>
                  <a:pt x="6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Freeform 456"/>
          <p:cNvSpPr>
            <a:spLocks/>
          </p:cNvSpPr>
          <p:nvPr userDrawn="1"/>
        </p:nvSpPr>
        <p:spPr bwMode="auto">
          <a:xfrm>
            <a:off x="5775421" y="3344630"/>
            <a:ext cx="38528" cy="45228"/>
          </a:xfrm>
          <a:custGeom>
            <a:avLst/>
            <a:gdLst>
              <a:gd name="T0" fmla="*/ 2147483646 w 41"/>
              <a:gd name="T1" fmla="*/ 2147483646 h 48"/>
              <a:gd name="T2" fmla="*/ 2147483646 w 41"/>
              <a:gd name="T3" fmla="*/ 2147483646 h 48"/>
              <a:gd name="T4" fmla="*/ 2147483646 w 41"/>
              <a:gd name="T5" fmla="*/ 2147483646 h 48"/>
              <a:gd name="T6" fmla="*/ 2147483646 w 41"/>
              <a:gd name="T7" fmla="*/ 2147483646 h 48"/>
              <a:gd name="T8" fmla="*/ 2147483646 w 41"/>
              <a:gd name="T9" fmla="*/ 2147483646 h 48"/>
              <a:gd name="T10" fmla="*/ 2147483646 w 41"/>
              <a:gd name="T11" fmla="*/ 2147483646 h 48"/>
              <a:gd name="T12" fmla="*/ 2147483646 w 41"/>
              <a:gd name="T13" fmla="*/ 2147483646 h 48"/>
              <a:gd name="T14" fmla="*/ 2147483646 w 41"/>
              <a:gd name="T15" fmla="*/ 2147483646 h 48"/>
              <a:gd name="T16" fmla="*/ 2147483646 w 41"/>
              <a:gd name="T17" fmla="*/ 2147483646 h 48"/>
              <a:gd name="T18" fmla="*/ 2147483646 w 41"/>
              <a:gd name="T19" fmla="*/ 2147483646 h 48"/>
              <a:gd name="T20" fmla="*/ 2147483646 w 41"/>
              <a:gd name="T21" fmla="*/ 2147483646 h 48"/>
              <a:gd name="T22" fmla="*/ 2147483646 w 41"/>
              <a:gd name="T23" fmla="*/ 2147483646 h 48"/>
              <a:gd name="T24" fmla="*/ 2147483646 w 41"/>
              <a:gd name="T25" fmla="*/ 2147483646 h 48"/>
              <a:gd name="T26" fmla="*/ 2147483646 w 41"/>
              <a:gd name="T27" fmla="*/ 2147483646 h 48"/>
              <a:gd name="T28" fmla="*/ 2147483646 w 41"/>
              <a:gd name="T29" fmla="*/ 2147483646 h 48"/>
              <a:gd name="T30" fmla="*/ 2147483646 w 41"/>
              <a:gd name="T31" fmla="*/ 2147483646 h 4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1"/>
              <a:gd name="T49" fmla="*/ 0 h 48"/>
              <a:gd name="T50" fmla="*/ 41 w 41"/>
              <a:gd name="T51" fmla="*/ 48 h 4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1" h="48">
                <a:moveTo>
                  <a:pt x="21" y="9"/>
                </a:moveTo>
                <a:cubicBezTo>
                  <a:pt x="22" y="7"/>
                  <a:pt x="25" y="6"/>
                  <a:pt x="23" y="5"/>
                </a:cubicBezTo>
                <a:cubicBezTo>
                  <a:pt x="22" y="3"/>
                  <a:pt x="15" y="0"/>
                  <a:pt x="14" y="2"/>
                </a:cubicBezTo>
                <a:cubicBezTo>
                  <a:pt x="14" y="5"/>
                  <a:pt x="11" y="3"/>
                  <a:pt x="11" y="3"/>
                </a:cubicBezTo>
                <a:cubicBezTo>
                  <a:pt x="10" y="13"/>
                  <a:pt x="10" y="13"/>
                  <a:pt x="10" y="13"/>
                </a:cubicBezTo>
                <a:cubicBezTo>
                  <a:pt x="10" y="13"/>
                  <a:pt x="4" y="11"/>
                  <a:pt x="2" y="11"/>
                </a:cubicBezTo>
                <a:cubicBezTo>
                  <a:pt x="0" y="11"/>
                  <a:pt x="0" y="15"/>
                  <a:pt x="3" y="17"/>
                </a:cubicBezTo>
                <a:cubicBezTo>
                  <a:pt x="5" y="19"/>
                  <a:pt x="9" y="25"/>
                  <a:pt x="9" y="27"/>
                </a:cubicBezTo>
                <a:cubicBezTo>
                  <a:pt x="9" y="30"/>
                  <a:pt x="8" y="39"/>
                  <a:pt x="12" y="39"/>
                </a:cubicBezTo>
                <a:cubicBezTo>
                  <a:pt x="15" y="39"/>
                  <a:pt x="22" y="34"/>
                  <a:pt x="23" y="37"/>
                </a:cubicBezTo>
                <a:cubicBezTo>
                  <a:pt x="25" y="40"/>
                  <a:pt x="22" y="43"/>
                  <a:pt x="26" y="45"/>
                </a:cubicBezTo>
                <a:cubicBezTo>
                  <a:pt x="29" y="47"/>
                  <a:pt x="33" y="48"/>
                  <a:pt x="33" y="46"/>
                </a:cubicBezTo>
                <a:cubicBezTo>
                  <a:pt x="33" y="44"/>
                  <a:pt x="30" y="39"/>
                  <a:pt x="32" y="38"/>
                </a:cubicBezTo>
                <a:cubicBezTo>
                  <a:pt x="35" y="37"/>
                  <a:pt x="41" y="26"/>
                  <a:pt x="40" y="24"/>
                </a:cubicBezTo>
                <a:cubicBezTo>
                  <a:pt x="39" y="22"/>
                  <a:pt x="41" y="20"/>
                  <a:pt x="34" y="17"/>
                </a:cubicBezTo>
                <a:cubicBezTo>
                  <a:pt x="27" y="15"/>
                  <a:pt x="21" y="9"/>
                  <a:pt x="21" y="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Freeform 457"/>
          <p:cNvSpPr>
            <a:spLocks/>
          </p:cNvSpPr>
          <p:nvPr userDrawn="1"/>
        </p:nvSpPr>
        <p:spPr bwMode="auto">
          <a:xfrm>
            <a:off x="5778772" y="3389857"/>
            <a:ext cx="23451" cy="15075"/>
          </a:xfrm>
          <a:custGeom>
            <a:avLst/>
            <a:gdLst>
              <a:gd name="T0" fmla="*/ 2147483646 w 24"/>
              <a:gd name="T1" fmla="*/ 2147483646 h 16"/>
              <a:gd name="T2" fmla="*/ 2147483646 w 24"/>
              <a:gd name="T3" fmla="*/ 2147483646 h 16"/>
              <a:gd name="T4" fmla="*/ 2147483646 w 24"/>
              <a:gd name="T5" fmla="*/ 2147483646 h 16"/>
              <a:gd name="T6" fmla="*/ 2147483646 w 24"/>
              <a:gd name="T7" fmla="*/ 2147483646 h 16"/>
              <a:gd name="T8" fmla="*/ 2147483646 w 24"/>
              <a:gd name="T9" fmla="*/ 2147483646 h 16"/>
              <a:gd name="T10" fmla="*/ 2147483646 w 24"/>
              <a:gd name="T11" fmla="*/ 2147483646 h 16"/>
              <a:gd name="T12" fmla="*/ 2147483646 w 24"/>
              <a:gd name="T13" fmla="*/ 2147483646 h 16"/>
              <a:gd name="T14" fmla="*/ 2147483646 w 24"/>
              <a:gd name="T15" fmla="*/ 2147483646 h 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4"/>
              <a:gd name="T25" fmla="*/ 0 h 16"/>
              <a:gd name="T26" fmla="*/ 24 w 24"/>
              <a:gd name="T27" fmla="*/ 16 h 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4" h="16">
                <a:moveTo>
                  <a:pt x="9" y="3"/>
                </a:moveTo>
                <a:cubicBezTo>
                  <a:pt x="8" y="3"/>
                  <a:pt x="2" y="0"/>
                  <a:pt x="1" y="2"/>
                </a:cubicBezTo>
                <a:cubicBezTo>
                  <a:pt x="0" y="3"/>
                  <a:pt x="0" y="9"/>
                  <a:pt x="3" y="10"/>
                </a:cubicBezTo>
                <a:cubicBezTo>
                  <a:pt x="7" y="11"/>
                  <a:pt x="13" y="15"/>
                  <a:pt x="15" y="16"/>
                </a:cubicBezTo>
                <a:cubicBezTo>
                  <a:pt x="17" y="16"/>
                  <a:pt x="21" y="15"/>
                  <a:pt x="22" y="13"/>
                </a:cubicBezTo>
                <a:cubicBezTo>
                  <a:pt x="22" y="12"/>
                  <a:pt x="24" y="5"/>
                  <a:pt x="23" y="4"/>
                </a:cubicBezTo>
                <a:cubicBezTo>
                  <a:pt x="22" y="3"/>
                  <a:pt x="16" y="2"/>
                  <a:pt x="16" y="2"/>
                </a:cubicBezTo>
                <a:lnTo>
                  <a:pt x="9" y="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Freeform 458"/>
          <p:cNvSpPr>
            <a:spLocks/>
          </p:cNvSpPr>
          <p:nvPr userDrawn="1"/>
        </p:nvSpPr>
        <p:spPr bwMode="auto">
          <a:xfrm>
            <a:off x="5880954" y="2612615"/>
            <a:ext cx="18425" cy="28476"/>
          </a:xfrm>
          <a:custGeom>
            <a:avLst/>
            <a:gdLst>
              <a:gd name="T0" fmla="*/ 2147483646 w 20"/>
              <a:gd name="T1" fmla="*/ 2147483646 h 31"/>
              <a:gd name="T2" fmla="*/ 2147483646 w 20"/>
              <a:gd name="T3" fmla="*/ 2147483646 h 31"/>
              <a:gd name="T4" fmla="*/ 2147483646 w 20"/>
              <a:gd name="T5" fmla="*/ 2147483646 h 31"/>
              <a:gd name="T6" fmla="*/ 0 w 20"/>
              <a:gd name="T7" fmla="*/ 2147483646 h 31"/>
              <a:gd name="T8" fmla="*/ 2147483646 w 20"/>
              <a:gd name="T9" fmla="*/ 2147483646 h 31"/>
              <a:gd name="T10" fmla="*/ 2147483646 w 20"/>
              <a:gd name="T11" fmla="*/ 2147483646 h 31"/>
              <a:gd name="T12" fmla="*/ 2147483646 w 20"/>
              <a:gd name="T13" fmla="*/ 2147483646 h 31"/>
              <a:gd name="T14" fmla="*/ 2147483646 w 20"/>
              <a:gd name="T15" fmla="*/ 2147483646 h 3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"/>
              <a:gd name="T25" fmla="*/ 0 h 31"/>
              <a:gd name="T26" fmla="*/ 20 w 20"/>
              <a:gd name="T27" fmla="*/ 31 h 3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" h="31">
                <a:moveTo>
                  <a:pt x="17" y="4"/>
                </a:moveTo>
                <a:cubicBezTo>
                  <a:pt x="13" y="2"/>
                  <a:pt x="8" y="0"/>
                  <a:pt x="10" y="5"/>
                </a:cubicBezTo>
                <a:cubicBezTo>
                  <a:pt x="11" y="10"/>
                  <a:pt x="12" y="11"/>
                  <a:pt x="8" y="16"/>
                </a:cubicBezTo>
                <a:cubicBezTo>
                  <a:pt x="5" y="22"/>
                  <a:pt x="0" y="31"/>
                  <a:pt x="0" y="31"/>
                </a:cubicBezTo>
                <a:cubicBezTo>
                  <a:pt x="0" y="31"/>
                  <a:pt x="5" y="28"/>
                  <a:pt x="9" y="27"/>
                </a:cubicBezTo>
                <a:cubicBezTo>
                  <a:pt x="13" y="26"/>
                  <a:pt x="16" y="21"/>
                  <a:pt x="18" y="20"/>
                </a:cubicBezTo>
                <a:cubicBezTo>
                  <a:pt x="20" y="19"/>
                  <a:pt x="20" y="14"/>
                  <a:pt x="20" y="11"/>
                </a:cubicBezTo>
                <a:cubicBezTo>
                  <a:pt x="20" y="9"/>
                  <a:pt x="17" y="4"/>
                  <a:pt x="17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Freeform 459"/>
          <p:cNvSpPr>
            <a:spLocks/>
          </p:cNvSpPr>
          <p:nvPr userDrawn="1"/>
        </p:nvSpPr>
        <p:spPr bwMode="auto">
          <a:xfrm>
            <a:off x="5852477" y="2641091"/>
            <a:ext cx="25127" cy="30152"/>
          </a:xfrm>
          <a:custGeom>
            <a:avLst/>
            <a:gdLst>
              <a:gd name="T0" fmla="*/ 2147483646 w 28"/>
              <a:gd name="T1" fmla="*/ 0 h 31"/>
              <a:gd name="T2" fmla="*/ 2147483646 w 28"/>
              <a:gd name="T3" fmla="*/ 2147483646 h 31"/>
              <a:gd name="T4" fmla="*/ 2147483646 w 28"/>
              <a:gd name="T5" fmla="*/ 2147483646 h 31"/>
              <a:gd name="T6" fmla="*/ 2147483646 w 28"/>
              <a:gd name="T7" fmla="*/ 2147483646 h 31"/>
              <a:gd name="T8" fmla="*/ 2147483646 w 28"/>
              <a:gd name="T9" fmla="*/ 2147483646 h 31"/>
              <a:gd name="T10" fmla="*/ 2147483646 w 28"/>
              <a:gd name="T11" fmla="*/ 2147483646 h 31"/>
              <a:gd name="T12" fmla="*/ 2147483646 w 28"/>
              <a:gd name="T13" fmla="*/ 2147483646 h 31"/>
              <a:gd name="T14" fmla="*/ 2147483646 w 28"/>
              <a:gd name="T15" fmla="*/ 2147483646 h 31"/>
              <a:gd name="T16" fmla="*/ 2147483646 w 28"/>
              <a:gd name="T17" fmla="*/ 0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"/>
              <a:gd name="T28" fmla="*/ 0 h 31"/>
              <a:gd name="T29" fmla="*/ 28 w 28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" h="31">
                <a:moveTo>
                  <a:pt x="19" y="0"/>
                </a:moveTo>
                <a:cubicBezTo>
                  <a:pt x="17" y="0"/>
                  <a:pt x="16" y="6"/>
                  <a:pt x="15" y="9"/>
                </a:cubicBezTo>
                <a:cubicBezTo>
                  <a:pt x="15" y="12"/>
                  <a:pt x="10" y="13"/>
                  <a:pt x="9" y="16"/>
                </a:cubicBezTo>
                <a:cubicBezTo>
                  <a:pt x="8" y="19"/>
                  <a:pt x="0" y="22"/>
                  <a:pt x="6" y="22"/>
                </a:cubicBezTo>
                <a:cubicBezTo>
                  <a:pt x="11" y="23"/>
                  <a:pt x="17" y="16"/>
                  <a:pt x="17" y="22"/>
                </a:cubicBezTo>
                <a:cubicBezTo>
                  <a:pt x="17" y="27"/>
                  <a:pt x="16" y="31"/>
                  <a:pt x="20" y="27"/>
                </a:cubicBezTo>
                <a:cubicBezTo>
                  <a:pt x="24" y="24"/>
                  <a:pt x="28" y="20"/>
                  <a:pt x="28" y="17"/>
                </a:cubicBezTo>
                <a:cubicBezTo>
                  <a:pt x="28" y="15"/>
                  <a:pt x="24" y="10"/>
                  <a:pt x="24" y="8"/>
                </a:cubicBezTo>
                <a:cubicBezTo>
                  <a:pt x="25" y="6"/>
                  <a:pt x="19" y="0"/>
                  <a:pt x="1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Freeform 460"/>
          <p:cNvSpPr>
            <a:spLocks/>
          </p:cNvSpPr>
          <p:nvPr userDrawn="1"/>
        </p:nvSpPr>
        <p:spPr bwMode="auto">
          <a:xfrm>
            <a:off x="5834051" y="2682968"/>
            <a:ext cx="15075" cy="15075"/>
          </a:xfrm>
          <a:custGeom>
            <a:avLst/>
            <a:gdLst>
              <a:gd name="T0" fmla="*/ 2147483646 w 16"/>
              <a:gd name="T1" fmla="*/ 2147483646 h 15"/>
              <a:gd name="T2" fmla="*/ 2147483646 w 16"/>
              <a:gd name="T3" fmla="*/ 2147483646 h 15"/>
              <a:gd name="T4" fmla="*/ 2147483646 w 16"/>
              <a:gd name="T5" fmla="*/ 2147483646 h 15"/>
              <a:gd name="T6" fmla="*/ 2147483646 w 16"/>
              <a:gd name="T7" fmla="*/ 0 h 15"/>
              <a:gd name="T8" fmla="*/ 2147483646 w 16"/>
              <a:gd name="T9" fmla="*/ 2147483646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5"/>
              <a:gd name="T17" fmla="*/ 16 w 16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5">
                <a:moveTo>
                  <a:pt x="7" y="2"/>
                </a:moveTo>
                <a:cubicBezTo>
                  <a:pt x="5" y="5"/>
                  <a:pt x="0" y="15"/>
                  <a:pt x="3" y="15"/>
                </a:cubicBezTo>
                <a:cubicBezTo>
                  <a:pt x="8" y="15"/>
                  <a:pt x="9" y="6"/>
                  <a:pt x="12" y="5"/>
                </a:cubicBezTo>
                <a:cubicBezTo>
                  <a:pt x="14" y="5"/>
                  <a:pt x="16" y="0"/>
                  <a:pt x="16" y="0"/>
                </a:cubicBezTo>
                <a:lnTo>
                  <a:pt x="7" y="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Freeform 461"/>
          <p:cNvSpPr>
            <a:spLocks/>
          </p:cNvSpPr>
          <p:nvPr userDrawn="1"/>
        </p:nvSpPr>
        <p:spPr bwMode="auto">
          <a:xfrm>
            <a:off x="5857502" y="2679619"/>
            <a:ext cx="16751" cy="16751"/>
          </a:xfrm>
          <a:custGeom>
            <a:avLst/>
            <a:gdLst>
              <a:gd name="T0" fmla="*/ 2147483646 w 18"/>
              <a:gd name="T1" fmla="*/ 0 h 18"/>
              <a:gd name="T2" fmla="*/ 2147483646 w 18"/>
              <a:gd name="T3" fmla="*/ 2147483646 h 18"/>
              <a:gd name="T4" fmla="*/ 2147483646 w 18"/>
              <a:gd name="T5" fmla="*/ 2147483646 h 18"/>
              <a:gd name="T6" fmla="*/ 2147483646 w 18"/>
              <a:gd name="T7" fmla="*/ 2147483646 h 18"/>
              <a:gd name="T8" fmla="*/ 2147483646 w 18"/>
              <a:gd name="T9" fmla="*/ 0 h 18"/>
              <a:gd name="T10" fmla="*/ 2147483646 w 18"/>
              <a:gd name="T11" fmla="*/ 0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8"/>
              <a:gd name="T20" fmla="*/ 18 w 18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8">
                <a:moveTo>
                  <a:pt x="8" y="0"/>
                </a:moveTo>
                <a:cubicBezTo>
                  <a:pt x="5" y="2"/>
                  <a:pt x="0" y="7"/>
                  <a:pt x="3" y="9"/>
                </a:cubicBezTo>
                <a:cubicBezTo>
                  <a:pt x="5" y="11"/>
                  <a:pt x="8" y="0"/>
                  <a:pt x="10" y="5"/>
                </a:cubicBezTo>
                <a:cubicBezTo>
                  <a:pt x="12" y="9"/>
                  <a:pt x="10" y="18"/>
                  <a:pt x="13" y="14"/>
                </a:cubicBezTo>
                <a:cubicBezTo>
                  <a:pt x="17" y="10"/>
                  <a:pt x="18" y="0"/>
                  <a:pt x="18" y="0"/>
                </a:cubicBezTo>
                <a:lnTo>
                  <a:pt x="8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Freeform 462"/>
          <p:cNvSpPr>
            <a:spLocks/>
          </p:cNvSpPr>
          <p:nvPr userDrawn="1"/>
        </p:nvSpPr>
        <p:spPr bwMode="auto">
          <a:xfrm>
            <a:off x="5875928" y="2641091"/>
            <a:ext cx="30152" cy="41877"/>
          </a:xfrm>
          <a:custGeom>
            <a:avLst/>
            <a:gdLst>
              <a:gd name="T0" fmla="*/ 2147483646 w 32"/>
              <a:gd name="T1" fmla="*/ 2147483646 h 44"/>
              <a:gd name="T2" fmla="*/ 2147483646 w 32"/>
              <a:gd name="T3" fmla="*/ 2147483646 h 44"/>
              <a:gd name="T4" fmla="*/ 2147483646 w 32"/>
              <a:gd name="T5" fmla="*/ 2147483646 h 44"/>
              <a:gd name="T6" fmla="*/ 2147483646 w 32"/>
              <a:gd name="T7" fmla="*/ 2147483646 h 44"/>
              <a:gd name="T8" fmla="*/ 2147483646 w 32"/>
              <a:gd name="T9" fmla="*/ 2147483646 h 44"/>
              <a:gd name="T10" fmla="*/ 2147483646 w 32"/>
              <a:gd name="T11" fmla="*/ 2147483646 h 44"/>
              <a:gd name="T12" fmla="*/ 2147483646 w 32"/>
              <a:gd name="T13" fmla="*/ 2147483646 h 44"/>
              <a:gd name="T14" fmla="*/ 2147483646 w 32"/>
              <a:gd name="T15" fmla="*/ 2147483646 h 44"/>
              <a:gd name="T16" fmla="*/ 2147483646 w 32"/>
              <a:gd name="T17" fmla="*/ 2147483646 h 44"/>
              <a:gd name="T18" fmla="*/ 2147483646 w 32"/>
              <a:gd name="T19" fmla="*/ 2147483646 h 44"/>
              <a:gd name="T20" fmla="*/ 2147483646 w 32"/>
              <a:gd name="T21" fmla="*/ 2147483646 h 44"/>
              <a:gd name="T22" fmla="*/ 2147483646 w 32"/>
              <a:gd name="T23" fmla="*/ 2147483646 h 44"/>
              <a:gd name="T24" fmla="*/ 2147483646 w 32"/>
              <a:gd name="T25" fmla="*/ 2147483646 h 44"/>
              <a:gd name="T26" fmla="*/ 2147483646 w 32"/>
              <a:gd name="T27" fmla="*/ 2147483646 h 4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2"/>
              <a:gd name="T43" fmla="*/ 0 h 44"/>
              <a:gd name="T44" fmla="*/ 32 w 32"/>
              <a:gd name="T45" fmla="*/ 44 h 4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2" h="44">
                <a:moveTo>
                  <a:pt x="9" y="12"/>
                </a:moveTo>
                <a:cubicBezTo>
                  <a:pt x="9" y="15"/>
                  <a:pt x="11" y="24"/>
                  <a:pt x="8" y="27"/>
                </a:cubicBezTo>
                <a:cubicBezTo>
                  <a:pt x="5" y="31"/>
                  <a:pt x="0" y="35"/>
                  <a:pt x="5" y="35"/>
                </a:cubicBezTo>
                <a:cubicBezTo>
                  <a:pt x="10" y="36"/>
                  <a:pt x="11" y="44"/>
                  <a:pt x="13" y="42"/>
                </a:cubicBezTo>
                <a:cubicBezTo>
                  <a:pt x="16" y="40"/>
                  <a:pt x="16" y="29"/>
                  <a:pt x="19" y="32"/>
                </a:cubicBezTo>
                <a:cubicBezTo>
                  <a:pt x="22" y="35"/>
                  <a:pt x="24" y="32"/>
                  <a:pt x="24" y="30"/>
                </a:cubicBezTo>
                <a:cubicBezTo>
                  <a:pt x="24" y="28"/>
                  <a:pt x="18" y="22"/>
                  <a:pt x="22" y="22"/>
                </a:cubicBezTo>
                <a:cubicBezTo>
                  <a:pt x="27" y="22"/>
                  <a:pt x="27" y="21"/>
                  <a:pt x="28" y="17"/>
                </a:cubicBezTo>
                <a:cubicBezTo>
                  <a:pt x="29" y="12"/>
                  <a:pt x="24" y="12"/>
                  <a:pt x="28" y="9"/>
                </a:cubicBezTo>
                <a:cubicBezTo>
                  <a:pt x="32" y="6"/>
                  <a:pt x="27" y="0"/>
                  <a:pt x="25" y="5"/>
                </a:cubicBezTo>
                <a:cubicBezTo>
                  <a:pt x="24" y="10"/>
                  <a:pt x="24" y="12"/>
                  <a:pt x="22" y="13"/>
                </a:cubicBezTo>
                <a:cubicBezTo>
                  <a:pt x="20" y="14"/>
                  <a:pt x="16" y="11"/>
                  <a:pt x="16" y="8"/>
                </a:cubicBezTo>
                <a:cubicBezTo>
                  <a:pt x="17" y="5"/>
                  <a:pt x="15" y="2"/>
                  <a:pt x="15" y="2"/>
                </a:cubicBezTo>
                <a:lnTo>
                  <a:pt x="9" y="1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Freeform 463"/>
          <p:cNvSpPr>
            <a:spLocks/>
          </p:cNvSpPr>
          <p:nvPr userDrawn="1"/>
        </p:nvSpPr>
        <p:spPr bwMode="auto">
          <a:xfrm>
            <a:off x="5914456" y="2590838"/>
            <a:ext cx="26801" cy="41877"/>
          </a:xfrm>
          <a:custGeom>
            <a:avLst/>
            <a:gdLst>
              <a:gd name="T0" fmla="*/ 2147483646 w 28"/>
              <a:gd name="T1" fmla="*/ 2147483646 h 44"/>
              <a:gd name="T2" fmla="*/ 2147483646 w 28"/>
              <a:gd name="T3" fmla="*/ 2147483646 h 44"/>
              <a:gd name="T4" fmla="*/ 2147483646 w 28"/>
              <a:gd name="T5" fmla="*/ 2147483646 h 44"/>
              <a:gd name="T6" fmla="*/ 2147483646 w 28"/>
              <a:gd name="T7" fmla="*/ 2147483646 h 44"/>
              <a:gd name="T8" fmla="*/ 2147483646 w 28"/>
              <a:gd name="T9" fmla="*/ 2147483646 h 44"/>
              <a:gd name="T10" fmla="*/ 2147483646 w 28"/>
              <a:gd name="T11" fmla="*/ 2147483646 h 44"/>
              <a:gd name="T12" fmla="*/ 2147483646 w 28"/>
              <a:gd name="T13" fmla="*/ 2147483646 h 44"/>
              <a:gd name="T14" fmla="*/ 2147483646 w 28"/>
              <a:gd name="T15" fmla="*/ 2147483646 h 44"/>
              <a:gd name="T16" fmla="*/ 2147483646 w 28"/>
              <a:gd name="T17" fmla="*/ 2147483646 h 44"/>
              <a:gd name="T18" fmla="*/ 2147483646 w 28"/>
              <a:gd name="T19" fmla="*/ 2147483646 h 44"/>
              <a:gd name="T20" fmla="*/ 2147483646 w 28"/>
              <a:gd name="T21" fmla="*/ 2147483646 h 44"/>
              <a:gd name="T22" fmla="*/ 2147483646 w 28"/>
              <a:gd name="T23" fmla="*/ 2147483646 h 4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8"/>
              <a:gd name="T37" fmla="*/ 0 h 44"/>
              <a:gd name="T38" fmla="*/ 28 w 28"/>
              <a:gd name="T39" fmla="*/ 44 h 4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8" h="44">
                <a:moveTo>
                  <a:pt x="4" y="20"/>
                </a:moveTo>
                <a:cubicBezTo>
                  <a:pt x="2" y="22"/>
                  <a:pt x="0" y="28"/>
                  <a:pt x="2" y="29"/>
                </a:cubicBezTo>
                <a:cubicBezTo>
                  <a:pt x="4" y="31"/>
                  <a:pt x="6" y="36"/>
                  <a:pt x="6" y="36"/>
                </a:cubicBezTo>
                <a:cubicBezTo>
                  <a:pt x="6" y="36"/>
                  <a:pt x="2" y="44"/>
                  <a:pt x="7" y="41"/>
                </a:cubicBezTo>
                <a:cubicBezTo>
                  <a:pt x="12" y="37"/>
                  <a:pt x="13" y="35"/>
                  <a:pt x="15" y="34"/>
                </a:cubicBezTo>
                <a:cubicBezTo>
                  <a:pt x="17" y="32"/>
                  <a:pt x="17" y="28"/>
                  <a:pt x="22" y="29"/>
                </a:cubicBezTo>
                <a:cubicBezTo>
                  <a:pt x="26" y="31"/>
                  <a:pt x="22" y="27"/>
                  <a:pt x="25" y="22"/>
                </a:cubicBezTo>
                <a:cubicBezTo>
                  <a:pt x="28" y="16"/>
                  <a:pt x="27" y="12"/>
                  <a:pt x="23" y="9"/>
                </a:cubicBezTo>
                <a:cubicBezTo>
                  <a:pt x="19" y="7"/>
                  <a:pt x="19" y="0"/>
                  <a:pt x="17" y="4"/>
                </a:cubicBezTo>
                <a:cubicBezTo>
                  <a:pt x="15" y="9"/>
                  <a:pt x="11" y="12"/>
                  <a:pt x="11" y="14"/>
                </a:cubicBezTo>
                <a:cubicBezTo>
                  <a:pt x="11" y="17"/>
                  <a:pt x="7" y="17"/>
                  <a:pt x="7" y="17"/>
                </a:cubicBezTo>
                <a:lnTo>
                  <a:pt x="4" y="2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Freeform 464"/>
          <p:cNvSpPr>
            <a:spLocks/>
          </p:cNvSpPr>
          <p:nvPr userDrawn="1"/>
        </p:nvSpPr>
        <p:spPr bwMode="auto">
          <a:xfrm>
            <a:off x="5947958" y="2574087"/>
            <a:ext cx="18425" cy="18427"/>
          </a:xfrm>
          <a:custGeom>
            <a:avLst/>
            <a:gdLst>
              <a:gd name="T0" fmla="*/ 2147483646 w 20"/>
              <a:gd name="T1" fmla="*/ 2147483646 h 21"/>
              <a:gd name="T2" fmla="*/ 2147483646 w 20"/>
              <a:gd name="T3" fmla="*/ 2147483646 h 21"/>
              <a:gd name="T4" fmla="*/ 2147483646 w 20"/>
              <a:gd name="T5" fmla="*/ 2147483646 h 21"/>
              <a:gd name="T6" fmla="*/ 2147483646 w 20"/>
              <a:gd name="T7" fmla="*/ 2147483646 h 21"/>
              <a:gd name="T8" fmla="*/ 2147483646 w 20"/>
              <a:gd name="T9" fmla="*/ 2147483646 h 21"/>
              <a:gd name="T10" fmla="*/ 2147483646 w 20"/>
              <a:gd name="T11" fmla="*/ 2147483646 h 21"/>
              <a:gd name="T12" fmla="*/ 2147483646 w 20"/>
              <a:gd name="T13" fmla="*/ 2147483646 h 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21"/>
              <a:gd name="T23" fmla="*/ 20 w 20"/>
              <a:gd name="T24" fmla="*/ 21 h 2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21">
                <a:moveTo>
                  <a:pt x="9" y="8"/>
                </a:moveTo>
                <a:cubicBezTo>
                  <a:pt x="6" y="9"/>
                  <a:pt x="0" y="6"/>
                  <a:pt x="4" y="13"/>
                </a:cubicBezTo>
                <a:cubicBezTo>
                  <a:pt x="7" y="21"/>
                  <a:pt x="7" y="19"/>
                  <a:pt x="10" y="16"/>
                </a:cubicBezTo>
                <a:cubicBezTo>
                  <a:pt x="13" y="13"/>
                  <a:pt x="13" y="12"/>
                  <a:pt x="16" y="11"/>
                </a:cubicBezTo>
                <a:cubicBezTo>
                  <a:pt x="18" y="11"/>
                  <a:pt x="20" y="7"/>
                  <a:pt x="20" y="7"/>
                </a:cubicBezTo>
                <a:cubicBezTo>
                  <a:pt x="20" y="7"/>
                  <a:pt x="20" y="0"/>
                  <a:pt x="18" y="1"/>
                </a:cubicBezTo>
                <a:cubicBezTo>
                  <a:pt x="16" y="3"/>
                  <a:pt x="9" y="8"/>
                  <a:pt x="9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Freeform 465"/>
          <p:cNvSpPr>
            <a:spLocks/>
          </p:cNvSpPr>
          <p:nvPr userDrawn="1"/>
        </p:nvSpPr>
        <p:spPr bwMode="auto">
          <a:xfrm>
            <a:off x="5968059" y="2555662"/>
            <a:ext cx="16751" cy="16751"/>
          </a:xfrm>
          <a:custGeom>
            <a:avLst/>
            <a:gdLst>
              <a:gd name="T0" fmla="*/ 2147483646 w 18"/>
              <a:gd name="T1" fmla="*/ 0 h 18"/>
              <a:gd name="T2" fmla="*/ 2147483646 w 18"/>
              <a:gd name="T3" fmla="*/ 2147483646 h 18"/>
              <a:gd name="T4" fmla="*/ 2147483646 w 18"/>
              <a:gd name="T5" fmla="*/ 2147483646 h 18"/>
              <a:gd name="T6" fmla="*/ 2147483646 w 18"/>
              <a:gd name="T7" fmla="*/ 2147483646 h 18"/>
              <a:gd name="T8" fmla="*/ 2147483646 w 18"/>
              <a:gd name="T9" fmla="*/ 2147483646 h 18"/>
              <a:gd name="T10" fmla="*/ 2147483646 w 18"/>
              <a:gd name="T11" fmla="*/ 2147483646 h 18"/>
              <a:gd name="T12" fmla="*/ 2147483646 w 18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8"/>
              <a:gd name="T22" fmla="*/ 0 h 18"/>
              <a:gd name="T23" fmla="*/ 18 w 18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8" h="18">
                <a:moveTo>
                  <a:pt x="2" y="0"/>
                </a:moveTo>
                <a:cubicBezTo>
                  <a:pt x="0" y="5"/>
                  <a:pt x="3" y="15"/>
                  <a:pt x="5" y="15"/>
                </a:cubicBezTo>
                <a:cubicBezTo>
                  <a:pt x="7" y="15"/>
                  <a:pt x="6" y="18"/>
                  <a:pt x="9" y="18"/>
                </a:cubicBezTo>
                <a:cubicBezTo>
                  <a:pt x="11" y="18"/>
                  <a:pt x="13" y="17"/>
                  <a:pt x="14" y="12"/>
                </a:cubicBezTo>
                <a:cubicBezTo>
                  <a:pt x="16" y="7"/>
                  <a:pt x="18" y="0"/>
                  <a:pt x="16" y="1"/>
                </a:cubicBezTo>
                <a:cubicBezTo>
                  <a:pt x="13" y="2"/>
                  <a:pt x="9" y="7"/>
                  <a:pt x="9" y="7"/>
                </a:cubicBezTo>
                <a:lnTo>
                  <a:pt x="2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2" name="Freeform 466"/>
          <p:cNvSpPr>
            <a:spLocks/>
          </p:cNvSpPr>
          <p:nvPr userDrawn="1"/>
        </p:nvSpPr>
        <p:spPr bwMode="auto">
          <a:xfrm>
            <a:off x="5998209" y="2550637"/>
            <a:ext cx="15075" cy="15076"/>
          </a:xfrm>
          <a:custGeom>
            <a:avLst/>
            <a:gdLst>
              <a:gd name="T0" fmla="*/ 2147483646 w 16"/>
              <a:gd name="T1" fmla="*/ 0 h 16"/>
              <a:gd name="T2" fmla="*/ 2147483646 w 16"/>
              <a:gd name="T3" fmla="*/ 2147483646 h 16"/>
              <a:gd name="T4" fmla="*/ 2147483646 w 16"/>
              <a:gd name="T5" fmla="*/ 2147483646 h 16"/>
              <a:gd name="T6" fmla="*/ 2147483646 w 16"/>
              <a:gd name="T7" fmla="*/ 2147483646 h 16"/>
              <a:gd name="T8" fmla="*/ 2147483646 w 16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6"/>
              <a:gd name="T17" fmla="*/ 16 w 16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6">
                <a:moveTo>
                  <a:pt x="8" y="0"/>
                </a:moveTo>
                <a:cubicBezTo>
                  <a:pt x="6" y="2"/>
                  <a:pt x="0" y="8"/>
                  <a:pt x="5" y="12"/>
                </a:cubicBezTo>
                <a:cubicBezTo>
                  <a:pt x="10" y="16"/>
                  <a:pt x="12" y="13"/>
                  <a:pt x="13" y="11"/>
                </a:cubicBezTo>
                <a:cubicBezTo>
                  <a:pt x="14" y="8"/>
                  <a:pt x="12" y="3"/>
                  <a:pt x="14" y="1"/>
                </a:cubicBezTo>
                <a:cubicBezTo>
                  <a:pt x="16" y="0"/>
                  <a:pt x="8" y="0"/>
                  <a:pt x="8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Freeform 467"/>
          <p:cNvSpPr>
            <a:spLocks/>
          </p:cNvSpPr>
          <p:nvPr userDrawn="1"/>
        </p:nvSpPr>
        <p:spPr bwMode="auto">
          <a:xfrm>
            <a:off x="6041763" y="2508759"/>
            <a:ext cx="31827" cy="23451"/>
          </a:xfrm>
          <a:custGeom>
            <a:avLst/>
            <a:gdLst>
              <a:gd name="T0" fmla="*/ 2147483646 w 34"/>
              <a:gd name="T1" fmla="*/ 2147483646 h 26"/>
              <a:gd name="T2" fmla="*/ 2147483646 w 34"/>
              <a:gd name="T3" fmla="*/ 2147483646 h 26"/>
              <a:gd name="T4" fmla="*/ 2147483646 w 34"/>
              <a:gd name="T5" fmla="*/ 2147483646 h 26"/>
              <a:gd name="T6" fmla="*/ 2147483646 w 34"/>
              <a:gd name="T7" fmla="*/ 2147483646 h 26"/>
              <a:gd name="T8" fmla="*/ 2147483646 w 34"/>
              <a:gd name="T9" fmla="*/ 2147483646 h 26"/>
              <a:gd name="T10" fmla="*/ 2147483646 w 34"/>
              <a:gd name="T11" fmla="*/ 0 h 26"/>
              <a:gd name="T12" fmla="*/ 2147483646 w 34"/>
              <a:gd name="T13" fmla="*/ 2147483646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26"/>
              <a:gd name="T23" fmla="*/ 34 w 34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26">
                <a:moveTo>
                  <a:pt x="6" y="11"/>
                </a:moveTo>
                <a:cubicBezTo>
                  <a:pt x="2" y="12"/>
                  <a:pt x="0" y="13"/>
                  <a:pt x="1" y="17"/>
                </a:cubicBezTo>
                <a:cubicBezTo>
                  <a:pt x="2" y="21"/>
                  <a:pt x="6" y="26"/>
                  <a:pt x="8" y="26"/>
                </a:cubicBezTo>
                <a:cubicBezTo>
                  <a:pt x="10" y="26"/>
                  <a:pt x="12" y="21"/>
                  <a:pt x="16" y="22"/>
                </a:cubicBezTo>
                <a:cubicBezTo>
                  <a:pt x="20" y="23"/>
                  <a:pt x="26" y="13"/>
                  <a:pt x="28" y="10"/>
                </a:cubicBezTo>
                <a:cubicBezTo>
                  <a:pt x="31" y="7"/>
                  <a:pt x="28" y="0"/>
                  <a:pt x="31" y="0"/>
                </a:cubicBezTo>
                <a:cubicBezTo>
                  <a:pt x="34" y="0"/>
                  <a:pt x="6" y="11"/>
                  <a:pt x="6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Freeform 468"/>
          <p:cNvSpPr>
            <a:spLocks/>
          </p:cNvSpPr>
          <p:nvPr userDrawn="1"/>
        </p:nvSpPr>
        <p:spPr bwMode="auto">
          <a:xfrm>
            <a:off x="5817301" y="2698044"/>
            <a:ext cx="16751" cy="18427"/>
          </a:xfrm>
          <a:custGeom>
            <a:avLst/>
            <a:gdLst>
              <a:gd name="T0" fmla="*/ 2147483646 w 18"/>
              <a:gd name="T1" fmla="*/ 0 h 20"/>
              <a:gd name="T2" fmla="*/ 2147483646 w 18"/>
              <a:gd name="T3" fmla="*/ 2147483646 h 20"/>
              <a:gd name="T4" fmla="*/ 2147483646 w 18"/>
              <a:gd name="T5" fmla="*/ 2147483646 h 20"/>
              <a:gd name="T6" fmla="*/ 2147483646 w 18"/>
              <a:gd name="T7" fmla="*/ 2147483646 h 20"/>
              <a:gd name="T8" fmla="*/ 2147483646 w 18"/>
              <a:gd name="T9" fmla="*/ 2147483646 h 20"/>
              <a:gd name="T10" fmla="*/ 2147483646 w 18"/>
              <a:gd name="T11" fmla="*/ 0 h 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20"/>
              <a:gd name="T20" fmla="*/ 18 w 18"/>
              <a:gd name="T21" fmla="*/ 20 h 2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20">
                <a:moveTo>
                  <a:pt x="17" y="0"/>
                </a:moveTo>
                <a:cubicBezTo>
                  <a:pt x="10" y="5"/>
                  <a:pt x="10" y="5"/>
                  <a:pt x="10" y="5"/>
                </a:cubicBezTo>
                <a:cubicBezTo>
                  <a:pt x="10" y="5"/>
                  <a:pt x="0" y="14"/>
                  <a:pt x="5" y="17"/>
                </a:cubicBezTo>
                <a:cubicBezTo>
                  <a:pt x="10" y="20"/>
                  <a:pt x="15" y="15"/>
                  <a:pt x="16" y="12"/>
                </a:cubicBezTo>
                <a:cubicBezTo>
                  <a:pt x="17" y="10"/>
                  <a:pt x="18" y="5"/>
                  <a:pt x="18" y="5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5" name="Freeform 469"/>
          <p:cNvSpPr>
            <a:spLocks/>
          </p:cNvSpPr>
          <p:nvPr userDrawn="1"/>
        </p:nvSpPr>
        <p:spPr bwMode="auto">
          <a:xfrm>
            <a:off x="5720144" y="2962708"/>
            <a:ext cx="10051" cy="10051"/>
          </a:xfrm>
          <a:custGeom>
            <a:avLst/>
            <a:gdLst>
              <a:gd name="T0" fmla="*/ 2147483646 w 12"/>
              <a:gd name="T1" fmla="*/ 0 h 11"/>
              <a:gd name="T2" fmla="*/ 0 w 12"/>
              <a:gd name="T3" fmla="*/ 2147483646 h 11"/>
              <a:gd name="T4" fmla="*/ 2147483646 w 12"/>
              <a:gd name="T5" fmla="*/ 2147483646 h 11"/>
              <a:gd name="T6" fmla="*/ 2147483646 w 12"/>
              <a:gd name="T7" fmla="*/ 2147483646 h 11"/>
              <a:gd name="T8" fmla="*/ 2147483646 w 12"/>
              <a:gd name="T9" fmla="*/ 2147483646 h 11"/>
              <a:gd name="T10" fmla="*/ 2147483646 w 12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11"/>
              <a:gd name="T20" fmla="*/ 12 w 12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11">
                <a:moveTo>
                  <a:pt x="3" y="0"/>
                </a:move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3" y="11"/>
                  <a:pt x="5" y="11"/>
                </a:cubicBezTo>
                <a:cubicBezTo>
                  <a:pt x="7" y="11"/>
                  <a:pt x="12" y="10"/>
                  <a:pt x="12" y="10"/>
                </a:cubicBezTo>
                <a:cubicBezTo>
                  <a:pt x="12" y="4"/>
                  <a:pt x="12" y="4"/>
                  <a:pt x="12" y="4"/>
                </a:cubicBezTo>
                <a:cubicBezTo>
                  <a:pt x="7" y="1"/>
                  <a:pt x="3" y="0"/>
                  <a:pt x="3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Freeform 470"/>
          <p:cNvSpPr>
            <a:spLocks/>
          </p:cNvSpPr>
          <p:nvPr userDrawn="1"/>
        </p:nvSpPr>
        <p:spPr bwMode="auto">
          <a:xfrm>
            <a:off x="5622990" y="3103416"/>
            <a:ext cx="8375" cy="8376"/>
          </a:xfrm>
          <a:custGeom>
            <a:avLst/>
            <a:gdLst>
              <a:gd name="T0" fmla="*/ 2147483646 w 9"/>
              <a:gd name="T1" fmla="*/ 0 h 10"/>
              <a:gd name="T2" fmla="*/ 2147483646 w 9"/>
              <a:gd name="T3" fmla="*/ 2147483646 h 10"/>
              <a:gd name="T4" fmla="*/ 2147483646 w 9"/>
              <a:gd name="T5" fmla="*/ 2147483646 h 10"/>
              <a:gd name="T6" fmla="*/ 2147483646 w 9"/>
              <a:gd name="T7" fmla="*/ 0 h 10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10"/>
              <a:gd name="T14" fmla="*/ 9 w 9"/>
              <a:gd name="T15" fmla="*/ 10 h 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10">
                <a:moveTo>
                  <a:pt x="7" y="0"/>
                </a:moveTo>
                <a:cubicBezTo>
                  <a:pt x="5" y="0"/>
                  <a:pt x="0" y="6"/>
                  <a:pt x="3" y="8"/>
                </a:cubicBezTo>
                <a:cubicBezTo>
                  <a:pt x="6" y="10"/>
                  <a:pt x="9" y="6"/>
                  <a:pt x="9" y="6"/>
                </a:cubicBezTo>
                <a:lnTo>
                  <a:pt x="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Freeform 471"/>
          <p:cNvSpPr>
            <a:spLocks/>
          </p:cNvSpPr>
          <p:nvPr userDrawn="1"/>
        </p:nvSpPr>
        <p:spPr bwMode="auto">
          <a:xfrm>
            <a:off x="5626339" y="3123517"/>
            <a:ext cx="8375" cy="8376"/>
          </a:xfrm>
          <a:custGeom>
            <a:avLst/>
            <a:gdLst>
              <a:gd name="T0" fmla="*/ 2147483646 w 9"/>
              <a:gd name="T1" fmla="*/ 0 h 8"/>
              <a:gd name="T2" fmla="*/ 2147483646 w 9"/>
              <a:gd name="T3" fmla="*/ 2147483646 h 8"/>
              <a:gd name="T4" fmla="*/ 2147483646 w 9"/>
              <a:gd name="T5" fmla="*/ 2147483646 h 8"/>
              <a:gd name="T6" fmla="*/ 2147483646 w 9"/>
              <a:gd name="T7" fmla="*/ 0 h 8"/>
              <a:gd name="T8" fmla="*/ 2147483646 w 9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8"/>
              <a:gd name="T17" fmla="*/ 9 w 9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8">
                <a:moveTo>
                  <a:pt x="3" y="0"/>
                </a:moveTo>
                <a:cubicBezTo>
                  <a:pt x="3" y="0"/>
                  <a:pt x="0" y="7"/>
                  <a:pt x="2" y="8"/>
                </a:cubicBezTo>
                <a:cubicBezTo>
                  <a:pt x="4" y="8"/>
                  <a:pt x="7" y="7"/>
                  <a:pt x="7" y="7"/>
                </a:cubicBezTo>
                <a:cubicBezTo>
                  <a:pt x="9" y="0"/>
                  <a:pt x="9" y="0"/>
                  <a:pt x="9" y="0"/>
                </a:cubicBezTo>
                <a:lnTo>
                  <a:pt x="3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Freeform 472"/>
          <p:cNvSpPr>
            <a:spLocks/>
          </p:cNvSpPr>
          <p:nvPr userDrawn="1"/>
        </p:nvSpPr>
        <p:spPr bwMode="auto">
          <a:xfrm>
            <a:off x="5629690" y="3146969"/>
            <a:ext cx="3351" cy="6700"/>
          </a:xfrm>
          <a:custGeom>
            <a:avLst/>
            <a:gdLst>
              <a:gd name="T0" fmla="*/ 0 w 2"/>
              <a:gd name="T1" fmla="*/ 0 h 4"/>
              <a:gd name="T2" fmla="*/ 2147483646 w 2"/>
              <a:gd name="T3" fmla="*/ 2147483646 h 4"/>
              <a:gd name="T4" fmla="*/ 2147483646 w 2"/>
              <a:gd name="T5" fmla="*/ 0 h 4"/>
              <a:gd name="T6" fmla="*/ 0 w 2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4"/>
              <a:gd name="T14" fmla="*/ 2 w 2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4">
                <a:moveTo>
                  <a:pt x="0" y="0"/>
                </a:moveTo>
                <a:lnTo>
                  <a:pt x="1" y="4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Freeform 473"/>
          <p:cNvSpPr>
            <a:spLocks/>
          </p:cNvSpPr>
          <p:nvPr userDrawn="1"/>
        </p:nvSpPr>
        <p:spPr bwMode="auto">
          <a:xfrm>
            <a:off x="5639741" y="3157019"/>
            <a:ext cx="6700" cy="10051"/>
          </a:xfrm>
          <a:custGeom>
            <a:avLst/>
            <a:gdLst>
              <a:gd name="T0" fmla="*/ 0 w 4"/>
              <a:gd name="T1" fmla="*/ 2147483646 h 6"/>
              <a:gd name="T2" fmla="*/ 2147483646 w 4"/>
              <a:gd name="T3" fmla="*/ 2147483646 h 6"/>
              <a:gd name="T4" fmla="*/ 2147483646 w 4"/>
              <a:gd name="T5" fmla="*/ 2147483646 h 6"/>
              <a:gd name="T6" fmla="*/ 0 w 4"/>
              <a:gd name="T7" fmla="*/ 0 h 6"/>
              <a:gd name="T8" fmla="*/ 0 w 4"/>
              <a:gd name="T9" fmla="*/ 2147483646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"/>
              <a:gd name="T16" fmla="*/ 0 h 6"/>
              <a:gd name="T17" fmla="*/ 4 w 4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" h="6">
                <a:moveTo>
                  <a:pt x="0" y="4"/>
                </a:moveTo>
                <a:lnTo>
                  <a:pt x="2" y="6"/>
                </a:lnTo>
                <a:lnTo>
                  <a:pt x="4" y="1"/>
                </a:lnTo>
                <a:lnTo>
                  <a:pt x="0" y="0"/>
                </a:lnTo>
                <a:lnTo>
                  <a:pt x="0" y="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Freeform 474"/>
          <p:cNvSpPr>
            <a:spLocks/>
          </p:cNvSpPr>
          <p:nvPr userDrawn="1"/>
        </p:nvSpPr>
        <p:spPr bwMode="auto">
          <a:xfrm>
            <a:off x="5644765" y="3162046"/>
            <a:ext cx="8376" cy="6700"/>
          </a:xfrm>
          <a:custGeom>
            <a:avLst/>
            <a:gdLst>
              <a:gd name="T0" fmla="*/ 2147483646 w 9"/>
              <a:gd name="T1" fmla="*/ 0 h 7"/>
              <a:gd name="T2" fmla="*/ 2147483646 w 9"/>
              <a:gd name="T3" fmla="*/ 2147483646 h 7"/>
              <a:gd name="T4" fmla="*/ 2147483646 w 9"/>
              <a:gd name="T5" fmla="*/ 0 h 7"/>
              <a:gd name="T6" fmla="*/ 2147483646 w 9"/>
              <a:gd name="T7" fmla="*/ 0 h 7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7"/>
              <a:gd name="T14" fmla="*/ 9 w 9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7">
                <a:moveTo>
                  <a:pt x="6" y="0"/>
                </a:moveTo>
                <a:cubicBezTo>
                  <a:pt x="4" y="2"/>
                  <a:pt x="0" y="5"/>
                  <a:pt x="4" y="6"/>
                </a:cubicBezTo>
                <a:cubicBezTo>
                  <a:pt x="7" y="7"/>
                  <a:pt x="9" y="0"/>
                  <a:pt x="9" y="0"/>
                </a:cubicBezTo>
                <a:lnTo>
                  <a:pt x="6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Freeform 475"/>
          <p:cNvSpPr>
            <a:spLocks/>
          </p:cNvSpPr>
          <p:nvPr userDrawn="1"/>
        </p:nvSpPr>
        <p:spPr bwMode="auto">
          <a:xfrm>
            <a:off x="5947958" y="3254175"/>
            <a:ext cx="28476" cy="48579"/>
          </a:xfrm>
          <a:custGeom>
            <a:avLst/>
            <a:gdLst>
              <a:gd name="T0" fmla="*/ 2147483646 w 31"/>
              <a:gd name="T1" fmla="*/ 0 h 53"/>
              <a:gd name="T2" fmla="*/ 2147483646 w 31"/>
              <a:gd name="T3" fmla="*/ 2147483646 h 53"/>
              <a:gd name="T4" fmla="*/ 2147483646 w 31"/>
              <a:gd name="T5" fmla="*/ 2147483646 h 53"/>
              <a:gd name="T6" fmla="*/ 2147483646 w 31"/>
              <a:gd name="T7" fmla="*/ 2147483646 h 53"/>
              <a:gd name="T8" fmla="*/ 2147483646 w 31"/>
              <a:gd name="T9" fmla="*/ 2147483646 h 53"/>
              <a:gd name="T10" fmla="*/ 2147483646 w 31"/>
              <a:gd name="T11" fmla="*/ 2147483646 h 53"/>
              <a:gd name="T12" fmla="*/ 2147483646 w 31"/>
              <a:gd name="T13" fmla="*/ 2147483646 h 53"/>
              <a:gd name="T14" fmla="*/ 2147483646 w 31"/>
              <a:gd name="T15" fmla="*/ 2147483646 h 53"/>
              <a:gd name="T16" fmla="*/ 2147483646 w 31"/>
              <a:gd name="T17" fmla="*/ 0 h 5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1"/>
              <a:gd name="T28" fmla="*/ 0 h 53"/>
              <a:gd name="T29" fmla="*/ 31 w 31"/>
              <a:gd name="T30" fmla="*/ 53 h 5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1" h="53">
                <a:moveTo>
                  <a:pt x="21" y="0"/>
                </a:moveTo>
                <a:cubicBezTo>
                  <a:pt x="12" y="3"/>
                  <a:pt x="8" y="5"/>
                  <a:pt x="6" y="14"/>
                </a:cubicBezTo>
                <a:cubicBezTo>
                  <a:pt x="4" y="23"/>
                  <a:pt x="0" y="23"/>
                  <a:pt x="3" y="31"/>
                </a:cubicBezTo>
                <a:cubicBezTo>
                  <a:pt x="7" y="39"/>
                  <a:pt x="5" y="36"/>
                  <a:pt x="3" y="44"/>
                </a:cubicBezTo>
                <a:cubicBezTo>
                  <a:pt x="2" y="53"/>
                  <a:pt x="14" y="53"/>
                  <a:pt x="16" y="44"/>
                </a:cubicBezTo>
                <a:cubicBezTo>
                  <a:pt x="19" y="36"/>
                  <a:pt x="16" y="28"/>
                  <a:pt x="19" y="23"/>
                </a:cubicBezTo>
                <a:cubicBezTo>
                  <a:pt x="21" y="18"/>
                  <a:pt x="22" y="11"/>
                  <a:pt x="25" y="11"/>
                </a:cubicBezTo>
                <a:cubicBezTo>
                  <a:pt x="28" y="11"/>
                  <a:pt x="31" y="2"/>
                  <a:pt x="31" y="2"/>
                </a:cubicBezTo>
                <a:lnTo>
                  <a:pt x="21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Freeform 476"/>
          <p:cNvSpPr>
            <a:spLocks/>
          </p:cNvSpPr>
          <p:nvPr userDrawn="1"/>
        </p:nvSpPr>
        <p:spPr bwMode="auto">
          <a:xfrm>
            <a:off x="5907755" y="3291027"/>
            <a:ext cx="11725" cy="43552"/>
          </a:xfrm>
          <a:custGeom>
            <a:avLst/>
            <a:gdLst>
              <a:gd name="T0" fmla="*/ 2147483646 w 13"/>
              <a:gd name="T1" fmla="*/ 0 h 48"/>
              <a:gd name="T2" fmla="*/ 2147483646 w 13"/>
              <a:gd name="T3" fmla="*/ 2147483646 h 48"/>
              <a:gd name="T4" fmla="*/ 2147483646 w 13"/>
              <a:gd name="T5" fmla="*/ 2147483646 h 48"/>
              <a:gd name="T6" fmla="*/ 2147483646 w 13"/>
              <a:gd name="T7" fmla="*/ 2147483646 h 48"/>
              <a:gd name="T8" fmla="*/ 2147483646 w 13"/>
              <a:gd name="T9" fmla="*/ 0 h 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48"/>
              <a:gd name="T17" fmla="*/ 13 w 13"/>
              <a:gd name="T18" fmla="*/ 48 h 4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48">
                <a:moveTo>
                  <a:pt x="12" y="0"/>
                </a:moveTo>
                <a:cubicBezTo>
                  <a:pt x="12" y="5"/>
                  <a:pt x="12" y="17"/>
                  <a:pt x="8" y="21"/>
                </a:cubicBezTo>
                <a:cubicBezTo>
                  <a:pt x="4" y="25"/>
                  <a:pt x="0" y="41"/>
                  <a:pt x="2" y="45"/>
                </a:cubicBezTo>
                <a:cubicBezTo>
                  <a:pt x="3" y="48"/>
                  <a:pt x="10" y="35"/>
                  <a:pt x="12" y="27"/>
                </a:cubicBezTo>
                <a:cubicBezTo>
                  <a:pt x="13" y="20"/>
                  <a:pt x="12" y="0"/>
                  <a:pt x="12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Freeform 477"/>
          <p:cNvSpPr>
            <a:spLocks/>
          </p:cNvSpPr>
          <p:nvPr userDrawn="1"/>
        </p:nvSpPr>
        <p:spPr bwMode="auto">
          <a:xfrm>
            <a:off x="6026686" y="3218999"/>
            <a:ext cx="45228" cy="35176"/>
          </a:xfrm>
          <a:custGeom>
            <a:avLst/>
            <a:gdLst>
              <a:gd name="T0" fmla="*/ 2147483646 w 49"/>
              <a:gd name="T1" fmla="*/ 2147483646 h 37"/>
              <a:gd name="T2" fmla="*/ 2147483646 w 49"/>
              <a:gd name="T3" fmla="*/ 2147483646 h 37"/>
              <a:gd name="T4" fmla="*/ 2147483646 w 49"/>
              <a:gd name="T5" fmla="*/ 2147483646 h 37"/>
              <a:gd name="T6" fmla="*/ 2147483646 w 49"/>
              <a:gd name="T7" fmla="*/ 2147483646 h 37"/>
              <a:gd name="T8" fmla="*/ 2147483646 w 49"/>
              <a:gd name="T9" fmla="*/ 2147483646 h 37"/>
              <a:gd name="T10" fmla="*/ 2147483646 w 49"/>
              <a:gd name="T11" fmla="*/ 2147483646 h 37"/>
              <a:gd name="T12" fmla="*/ 2147483646 w 49"/>
              <a:gd name="T13" fmla="*/ 2147483646 h 37"/>
              <a:gd name="T14" fmla="*/ 2147483646 w 49"/>
              <a:gd name="T15" fmla="*/ 2147483646 h 37"/>
              <a:gd name="T16" fmla="*/ 2147483646 w 49"/>
              <a:gd name="T17" fmla="*/ 2147483646 h 3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9"/>
              <a:gd name="T28" fmla="*/ 0 h 37"/>
              <a:gd name="T29" fmla="*/ 49 w 49"/>
              <a:gd name="T30" fmla="*/ 37 h 3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9" h="37">
                <a:moveTo>
                  <a:pt x="35" y="3"/>
                </a:moveTo>
                <a:cubicBezTo>
                  <a:pt x="28" y="1"/>
                  <a:pt x="26" y="0"/>
                  <a:pt x="23" y="10"/>
                </a:cubicBezTo>
                <a:cubicBezTo>
                  <a:pt x="19" y="19"/>
                  <a:pt x="20" y="15"/>
                  <a:pt x="15" y="19"/>
                </a:cubicBezTo>
                <a:cubicBezTo>
                  <a:pt x="10" y="22"/>
                  <a:pt x="0" y="19"/>
                  <a:pt x="7" y="26"/>
                </a:cubicBezTo>
                <a:cubicBezTo>
                  <a:pt x="14" y="33"/>
                  <a:pt x="15" y="37"/>
                  <a:pt x="21" y="35"/>
                </a:cubicBezTo>
                <a:cubicBezTo>
                  <a:pt x="26" y="34"/>
                  <a:pt x="24" y="27"/>
                  <a:pt x="28" y="31"/>
                </a:cubicBezTo>
                <a:cubicBezTo>
                  <a:pt x="32" y="35"/>
                  <a:pt x="32" y="28"/>
                  <a:pt x="36" y="24"/>
                </a:cubicBezTo>
                <a:cubicBezTo>
                  <a:pt x="39" y="20"/>
                  <a:pt x="41" y="15"/>
                  <a:pt x="45" y="14"/>
                </a:cubicBezTo>
                <a:cubicBezTo>
                  <a:pt x="49" y="13"/>
                  <a:pt x="38" y="4"/>
                  <a:pt x="35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Freeform 478"/>
          <p:cNvSpPr>
            <a:spLocks/>
          </p:cNvSpPr>
          <p:nvPr userDrawn="1"/>
        </p:nvSpPr>
        <p:spPr bwMode="auto">
          <a:xfrm>
            <a:off x="6046787" y="3198897"/>
            <a:ext cx="20101" cy="15075"/>
          </a:xfrm>
          <a:custGeom>
            <a:avLst/>
            <a:gdLst>
              <a:gd name="T0" fmla="*/ 2147483646 w 22"/>
              <a:gd name="T1" fmla="*/ 2147483646 h 17"/>
              <a:gd name="T2" fmla="*/ 2147483646 w 22"/>
              <a:gd name="T3" fmla="*/ 2147483646 h 17"/>
              <a:gd name="T4" fmla="*/ 2147483646 w 22"/>
              <a:gd name="T5" fmla="*/ 2147483646 h 17"/>
              <a:gd name="T6" fmla="*/ 2147483646 w 22"/>
              <a:gd name="T7" fmla="*/ 2147483646 h 17"/>
              <a:gd name="T8" fmla="*/ 2147483646 w 22"/>
              <a:gd name="T9" fmla="*/ 2147483646 h 17"/>
              <a:gd name="T10" fmla="*/ 2147483646 w 22"/>
              <a:gd name="T11" fmla="*/ 0 h 17"/>
              <a:gd name="T12" fmla="*/ 2147483646 w 22"/>
              <a:gd name="T13" fmla="*/ 2147483646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2"/>
              <a:gd name="T22" fmla="*/ 0 h 17"/>
              <a:gd name="T23" fmla="*/ 22 w 22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2" h="17">
                <a:moveTo>
                  <a:pt x="7" y="2"/>
                </a:moveTo>
                <a:cubicBezTo>
                  <a:pt x="4" y="5"/>
                  <a:pt x="0" y="7"/>
                  <a:pt x="2" y="11"/>
                </a:cubicBezTo>
                <a:cubicBezTo>
                  <a:pt x="5" y="16"/>
                  <a:pt x="9" y="16"/>
                  <a:pt x="11" y="16"/>
                </a:cubicBezTo>
                <a:cubicBezTo>
                  <a:pt x="14" y="17"/>
                  <a:pt x="15" y="16"/>
                  <a:pt x="18" y="14"/>
                </a:cubicBezTo>
                <a:cubicBezTo>
                  <a:pt x="20" y="13"/>
                  <a:pt x="22" y="6"/>
                  <a:pt x="22" y="6"/>
                </a:cubicBezTo>
                <a:cubicBezTo>
                  <a:pt x="22" y="6"/>
                  <a:pt x="19" y="0"/>
                  <a:pt x="15" y="0"/>
                </a:cubicBezTo>
                <a:cubicBezTo>
                  <a:pt x="11" y="0"/>
                  <a:pt x="7" y="2"/>
                  <a:pt x="7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Freeform 479"/>
          <p:cNvSpPr>
            <a:spLocks/>
          </p:cNvSpPr>
          <p:nvPr userDrawn="1"/>
        </p:nvSpPr>
        <p:spPr bwMode="auto">
          <a:xfrm>
            <a:off x="5979784" y="3136920"/>
            <a:ext cx="26801" cy="26801"/>
          </a:xfrm>
          <a:custGeom>
            <a:avLst/>
            <a:gdLst>
              <a:gd name="T0" fmla="*/ 2147483646 w 30"/>
              <a:gd name="T1" fmla="*/ 2147483646 h 29"/>
              <a:gd name="T2" fmla="*/ 2147483646 w 30"/>
              <a:gd name="T3" fmla="*/ 2147483646 h 29"/>
              <a:gd name="T4" fmla="*/ 2147483646 w 30"/>
              <a:gd name="T5" fmla="*/ 2147483646 h 29"/>
              <a:gd name="T6" fmla="*/ 2147483646 w 30"/>
              <a:gd name="T7" fmla="*/ 2147483646 h 29"/>
              <a:gd name="T8" fmla="*/ 2147483646 w 30"/>
              <a:gd name="T9" fmla="*/ 2147483646 h 29"/>
              <a:gd name="T10" fmla="*/ 2147483646 w 30"/>
              <a:gd name="T11" fmla="*/ 2147483646 h 2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"/>
              <a:gd name="T19" fmla="*/ 0 h 29"/>
              <a:gd name="T20" fmla="*/ 30 w 30"/>
              <a:gd name="T21" fmla="*/ 29 h 2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" h="29">
                <a:moveTo>
                  <a:pt x="14" y="1"/>
                </a:moveTo>
                <a:cubicBezTo>
                  <a:pt x="10" y="1"/>
                  <a:pt x="9" y="0"/>
                  <a:pt x="6" y="6"/>
                </a:cubicBezTo>
                <a:cubicBezTo>
                  <a:pt x="2" y="13"/>
                  <a:pt x="0" y="14"/>
                  <a:pt x="5" y="20"/>
                </a:cubicBezTo>
                <a:cubicBezTo>
                  <a:pt x="10" y="26"/>
                  <a:pt x="17" y="29"/>
                  <a:pt x="19" y="22"/>
                </a:cubicBezTo>
                <a:cubicBezTo>
                  <a:pt x="21" y="16"/>
                  <a:pt x="19" y="11"/>
                  <a:pt x="24" y="13"/>
                </a:cubicBezTo>
                <a:cubicBezTo>
                  <a:pt x="30" y="14"/>
                  <a:pt x="14" y="1"/>
                  <a:pt x="14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Freeform 480"/>
          <p:cNvSpPr>
            <a:spLocks/>
          </p:cNvSpPr>
          <p:nvPr userDrawn="1"/>
        </p:nvSpPr>
        <p:spPr bwMode="auto">
          <a:xfrm>
            <a:off x="5395176" y="3552342"/>
            <a:ext cx="314917" cy="311567"/>
          </a:xfrm>
          <a:custGeom>
            <a:avLst/>
            <a:gdLst>
              <a:gd name="T0" fmla="*/ 2147483646 w 336"/>
              <a:gd name="T1" fmla="*/ 2147483646 h 335"/>
              <a:gd name="T2" fmla="*/ 2147483646 w 336"/>
              <a:gd name="T3" fmla="*/ 2147483646 h 335"/>
              <a:gd name="T4" fmla="*/ 2147483646 w 336"/>
              <a:gd name="T5" fmla="*/ 2147483646 h 335"/>
              <a:gd name="T6" fmla="*/ 2147483646 w 336"/>
              <a:gd name="T7" fmla="*/ 2147483646 h 335"/>
              <a:gd name="T8" fmla="*/ 2147483646 w 336"/>
              <a:gd name="T9" fmla="*/ 2147483646 h 335"/>
              <a:gd name="T10" fmla="*/ 2147483646 w 336"/>
              <a:gd name="T11" fmla="*/ 2147483646 h 335"/>
              <a:gd name="T12" fmla="*/ 2147483646 w 336"/>
              <a:gd name="T13" fmla="*/ 2147483646 h 335"/>
              <a:gd name="T14" fmla="*/ 2147483646 w 336"/>
              <a:gd name="T15" fmla="*/ 2147483646 h 335"/>
              <a:gd name="T16" fmla="*/ 2147483646 w 336"/>
              <a:gd name="T17" fmla="*/ 2147483646 h 335"/>
              <a:gd name="T18" fmla="*/ 2147483646 w 336"/>
              <a:gd name="T19" fmla="*/ 2147483646 h 335"/>
              <a:gd name="T20" fmla="*/ 2147483646 w 336"/>
              <a:gd name="T21" fmla="*/ 2147483646 h 335"/>
              <a:gd name="T22" fmla="*/ 2147483646 w 336"/>
              <a:gd name="T23" fmla="*/ 2147483646 h 335"/>
              <a:gd name="T24" fmla="*/ 2147483646 w 336"/>
              <a:gd name="T25" fmla="*/ 2147483646 h 335"/>
              <a:gd name="T26" fmla="*/ 2147483646 w 336"/>
              <a:gd name="T27" fmla="*/ 2147483646 h 335"/>
              <a:gd name="T28" fmla="*/ 2147483646 w 336"/>
              <a:gd name="T29" fmla="*/ 2147483646 h 335"/>
              <a:gd name="T30" fmla="*/ 2147483646 w 336"/>
              <a:gd name="T31" fmla="*/ 2147483646 h 335"/>
              <a:gd name="T32" fmla="*/ 2147483646 w 336"/>
              <a:gd name="T33" fmla="*/ 0 h 335"/>
              <a:gd name="T34" fmla="*/ 2147483646 w 336"/>
              <a:gd name="T35" fmla="*/ 2147483646 h 335"/>
              <a:gd name="T36" fmla="*/ 2147483646 w 336"/>
              <a:gd name="T37" fmla="*/ 2147483646 h 335"/>
              <a:gd name="T38" fmla="*/ 2147483646 w 336"/>
              <a:gd name="T39" fmla="*/ 2147483646 h 335"/>
              <a:gd name="T40" fmla="*/ 2147483646 w 336"/>
              <a:gd name="T41" fmla="*/ 2147483646 h 335"/>
              <a:gd name="T42" fmla="*/ 2147483646 w 336"/>
              <a:gd name="T43" fmla="*/ 2147483646 h 335"/>
              <a:gd name="T44" fmla="*/ 2147483646 w 336"/>
              <a:gd name="T45" fmla="*/ 2147483646 h 335"/>
              <a:gd name="T46" fmla="*/ 2147483646 w 336"/>
              <a:gd name="T47" fmla="*/ 2147483646 h 335"/>
              <a:gd name="T48" fmla="*/ 2147483646 w 336"/>
              <a:gd name="T49" fmla="*/ 2147483646 h 335"/>
              <a:gd name="T50" fmla="*/ 2147483646 w 336"/>
              <a:gd name="T51" fmla="*/ 2147483646 h 335"/>
              <a:gd name="T52" fmla="*/ 2147483646 w 336"/>
              <a:gd name="T53" fmla="*/ 2147483646 h 335"/>
              <a:gd name="T54" fmla="*/ 2147483646 w 336"/>
              <a:gd name="T55" fmla="*/ 2147483646 h 335"/>
              <a:gd name="T56" fmla="*/ 2147483646 w 336"/>
              <a:gd name="T57" fmla="*/ 2147483646 h 335"/>
              <a:gd name="T58" fmla="*/ 2147483646 w 336"/>
              <a:gd name="T59" fmla="*/ 2147483646 h 335"/>
              <a:gd name="T60" fmla="*/ 2147483646 w 336"/>
              <a:gd name="T61" fmla="*/ 2147483646 h 335"/>
              <a:gd name="T62" fmla="*/ 2147483646 w 336"/>
              <a:gd name="T63" fmla="*/ 2147483646 h 335"/>
              <a:gd name="T64" fmla="*/ 2147483646 w 336"/>
              <a:gd name="T65" fmla="*/ 2147483646 h 335"/>
              <a:gd name="T66" fmla="*/ 2147483646 w 336"/>
              <a:gd name="T67" fmla="*/ 2147483646 h 335"/>
              <a:gd name="T68" fmla="*/ 2147483646 w 336"/>
              <a:gd name="T69" fmla="*/ 2147483646 h 335"/>
              <a:gd name="T70" fmla="*/ 2147483646 w 336"/>
              <a:gd name="T71" fmla="*/ 2147483646 h 335"/>
              <a:gd name="T72" fmla="*/ 2147483646 w 336"/>
              <a:gd name="T73" fmla="*/ 2147483646 h 335"/>
              <a:gd name="T74" fmla="*/ 2147483646 w 336"/>
              <a:gd name="T75" fmla="*/ 2147483646 h 335"/>
              <a:gd name="T76" fmla="*/ 2147483646 w 336"/>
              <a:gd name="T77" fmla="*/ 2147483646 h 335"/>
              <a:gd name="T78" fmla="*/ 2147483646 w 336"/>
              <a:gd name="T79" fmla="*/ 2147483646 h 335"/>
              <a:gd name="T80" fmla="*/ 2147483646 w 336"/>
              <a:gd name="T81" fmla="*/ 2147483646 h 335"/>
              <a:gd name="T82" fmla="*/ 2147483646 w 336"/>
              <a:gd name="T83" fmla="*/ 2147483646 h 335"/>
              <a:gd name="T84" fmla="*/ 2147483646 w 336"/>
              <a:gd name="T85" fmla="*/ 2147483646 h 335"/>
              <a:gd name="T86" fmla="*/ 2147483646 w 336"/>
              <a:gd name="T87" fmla="*/ 2147483646 h 335"/>
              <a:gd name="T88" fmla="*/ 2147483646 w 336"/>
              <a:gd name="T89" fmla="*/ 2147483646 h 335"/>
              <a:gd name="T90" fmla="*/ 2147483646 w 336"/>
              <a:gd name="T91" fmla="*/ 2147483646 h 335"/>
              <a:gd name="T92" fmla="*/ 2147483646 w 336"/>
              <a:gd name="T93" fmla="*/ 2147483646 h 335"/>
              <a:gd name="T94" fmla="*/ 2147483646 w 336"/>
              <a:gd name="T95" fmla="*/ 2147483646 h 335"/>
              <a:gd name="T96" fmla="*/ 2147483646 w 336"/>
              <a:gd name="T97" fmla="*/ 2147483646 h 335"/>
              <a:gd name="T98" fmla="*/ 2147483646 w 336"/>
              <a:gd name="T99" fmla="*/ 2147483646 h 335"/>
              <a:gd name="T100" fmla="*/ 2147483646 w 336"/>
              <a:gd name="T101" fmla="*/ 2147483646 h 335"/>
              <a:gd name="T102" fmla="*/ 2147483646 w 336"/>
              <a:gd name="T103" fmla="*/ 2147483646 h 33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336"/>
              <a:gd name="T157" fmla="*/ 0 h 335"/>
              <a:gd name="T158" fmla="*/ 336 w 336"/>
              <a:gd name="T159" fmla="*/ 335 h 33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336" h="335">
                <a:moveTo>
                  <a:pt x="327" y="286"/>
                </a:moveTo>
                <a:cubicBezTo>
                  <a:pt x="330" y="280"/>
                  <a:pt x="332" y="271"/>
                  <a:pt x="325" y="267"/>
                </a:cubicBezTo>
                <a:cubicBezTo>
                  <a:pt x="322" y="265"/>
                  <a:pt x="316" y="267"/>
                  <a:pt x="314" y="264"/>
                </a:cubicBezTo>
                <a:cubicBezTo>
                  <a:pt x="313" y="263"/>
                  <a:pt x="316" y="260"/>
                  <a:pt x="315" y="258"/>
                </a:cubicBezTo>
                <a:cubicBezTo>
                  <a:pt x="314" y="255"/>
                  <a:pt x="312" y="255"/>
                  <a:pt x="311" y="254"/>
                </a:cubicBezTo>
                <a:cubicBezTo>
                  <a:pt x="304" y="244"/>
                  <a:pt x="310" y="237"/>
                  <a:pt x="313" y="227"/>
                </a:cubicBezTo>
                <a:cubicBezTo>
                  <a:pt x="316" y="220"/>
                  <a:pt x="316" y="217"/>
                  <a:pt x="314" y="210"/>
                </a:cubicBezTo>
                <a:cubicBezTo>
                  <a:pt x="312" y="205"/>
                  <a:pt x="314" y="195"/>
                  <a:pt x="311" y="191"/>
                </a:cubicBezTo>
                <a:cubicBezTo>
                  <a:pt x="306" y="184"/>
                  <a:pt x="297" y="195"/>
                  <a:pt x="291" y="194"/>
                </a:cubicBezTo>
                <a:cubicBezTo>
                  <a:pt x="282" y="192"/>
                  <a:pt x="286" y="185"/>
                  <a:pt x="290" y="180"/>
                </a:cubicBezTo>
                <a:cubicBezTo>
                  <a:pt x="294" y="174"/>
                  <a:pt x="299" y="167"/>
                  <a:pt x="302" y="160"/>
                </a:cubicBezTo>
                <a:cubicBezTo>
                  <a:pt x="304" y="156"/>
                  <a:pt x="303" y="150"/>
                  <a:pt x="306" y="147"/>
                </a:cubicBezTo>
                <a:cubicBezTo>
                  <a:pt x="309" y="144"/>
                  <a:pt x="313" y="145"/>
                  <a:pt x="315" y="143"/>
                </a:cubicBezTo>
                <a:cubicBezTo>
                  <a:pt x="323" y="139"/>
                  <a:pt x="321" y="132"/>
                  <a:pt x="321" y="123"/>
                </a:cubicBezTo>
                <a:cubicBezTo>
                  <a:pt x="321" y="118"/>
                  <a:pt x="321" y="112"/>
                  <a:pt x="323" y="107"/>
                </a:cubicBezTo>
                <a:cubicBezTo>
                  <a:pt x="325" y="100"/>
                  <a:pt x="329" y="96"/>
                  <a:pt x="332" y="91"/>
                </a:cubicBezTo>
                <a:cubicBezTo>
                  <a:pt x="334" y="87"/>
                  <a:pt x="336" y="81"/>
                  <a:pt x="334" y="79"/>
                </a:cubicBezTo>
                <a:cubicBezTo>
                  <a:pt x="334" y="79"/>
                  <a:pt x="327" y="79"/>
                  <a:pt x="326" y="78"/>
                </a:cubicBezTo>
                <a:cubicBezTo>
                  <a:pt x="320" y="77"/>
                  <a:pt x="315" y="74"/>
                  <a:pt x="309" y="73"/>
                </a:cubicBezTo>
                <a:cubicBezTo>
                  <a:pt x="305" y="73"/>
                  <a:pt x="302" y="73"/>
                  <a:pt x="299" y="71"/>
                </a:cubicBezTo>
                <a:cubicBezTo>
                  <a:pt x="296" y="69"/>
                  <a:pt x="296" y="66"/>
                  <a:pt x="292" y="65"/>
                </a:cubicBezTo>
                <a:cubicBezTo>
                  <a:pt x="285" y="64"/>
                  <a:pt x="279" y="68"/>
                  <a:pt x="271" y="65"/>
                </a:cubicBezTo>
                <a:cubicBezTo>
                  <a:pt x="267" y="62"/>
                  <a:pt x="263" y="59"/>
                  <a:pt x="261" y="55"/>
                </a:cubicBezTo>
                <a:cubicBezTo>
                  <a:pt x="259" y="52"/>
                  <a:pt x="258" y="46"/>
                  <a:pt x="257" y="45"/>
                </a:cubicBezTo>
                <a:cubicBezTo>
                  <a:pt x="252" y="41"/>
                  <a:pt x="247" y="51"/>
                  <a:pt x="242" y="44"/>
                </a:cubicBezTo>
                <a:cubicBezTo>
                  <a:pt x="237" y="38"/>
                  <a:pt x="237" y="33"/>
                  <a:pt x="230" y="30"/>
                </a:cubicBezTo>
                <a:cubicBezTo>
                  <a:pt x="227" y="28"/>
                  <a:pt x="226" y="29"/>
                  <a:pt x="223" y="28"/>
                </a:cubicBezTo>
                <a:cubicBezTo>
                  <a:pt x="220" y="27"/>
                  <a:pt x="220" y="28"/>
                  <a:pt x="217" y="25"/>
                </a:cubicBezTo>
                <a:cubicBezTo>
                  <a:pt x="212" y="19"/>
                  <a:pt x="215" y="15"/>
                  <a:pt x="206" y="14"/>
                </a:cubicBezTo>
                <a:cubicBezTo>
                  <a:pt x="201" y="14"/>
                  <a:pt x="203" y="17"/>
                  <a:pt x="199" y="12"/>
                </a:cubicBezTo>
                <a:cubicBezTo>
                  <a:pt x="197" y="9"/>
                  <a:pt x="196" y="5"/>
                  <a:pt x="195" y="2"/>
                </a:cubicBezTo>
                <a:cubicBezTo>
                  <a:pt x="195" y="2"/>
                  <a:pt x="195" y="2"/>
                  <a:pt x="195" y="2"/>
                </a:cubicBezTo>
                <a:cubicBezTo>
                  <a:pt x="194" y="1"/>
                  <a:pt x="194" y="1"/>
                  <a:pt x="194" y="1"/>
                </a:cubicBezTo>
                <a:cubicBezTo>
                  <a:pt x="193" y="1"/>
                  <a:pt x="193" y="0"/>
                  <a:pt x="193" y="0"/>
                </a:cubicBezTo>
                <a:cubicBezTo>
                  <a:pt x="190" y="0"/>
                  <a:pt x="183" y="5"/>
                  <a:pt x="178" y="5"/>
                </a:cubicBezTo>
                <a:cubicBezTo>
                  <a:pt x="173" y="6"/>
                  <a:pt x="169" y="8"/>
                  <a:pt x="170" y="16"/>
                </a:cubicBezTo>
                <a:cubicBezTo>
                  <a:pt x="171" y="24"/>
                  <a:pt x="180" y="28"/>
                  <a:pt x="171" y="34"/>
                </a:cubicBezTo>
                <a:cubicBezTo>
                  <a:pt x="161" y="39"/>
                  <a:pt x="164" y="44"/>
                  <a:pt x="156" y="47"/>
                </a:cubicBezTo>
                <a:cubicBezTo>
                  <a:pt x="148" y="50"/>
                  <a:pt x="135" y="49"/>
                  <a:pt x="135" y="57"/>
                </a:cubicBezTo>
                <a:cubicBezTo>
                  <a:pt x="136" y="66"/>
                  <a:pt x="137" y="65"/>
                  <a:pt x="139" y="68"/>
                </a:cubicBezTo>
                <a:cubicBezTo>
                  <a:pt x="142" y="70"/>
                  <a:pt x="139" y="68"/>
                  <a:pt x="131" y="70"/>
                </a:cubicBezTo>
                <a:cubicBezTo>
                  <a:pt x="123" y="72"/>
                  <a:pt x="113" y="74"/>
                  <a:pt x="108" y="72"/>
                </a:cubicBezTo>
                <a:cubicBezTo>
                  <a:pt x="103" y="71"/>
                  <a:pt x="97" y="76"/>
                  <a:pt x="97" y="69"/>
                </a:cubicBezTo>
                <a:cubicBezTo>
                  <a:pt x="98" y="62"/>
                  <a:pt x="102" y="54"/>
                  <a:pt x="95" y="59"/>
                </a:cubicBezTo>
                <a:cubicBezTo>
                  <a:pt x="88" y="64"/>
                  <a:pt x="87" y="69"/>
                  <a:pt x="84" y="64"/>
                </a:cubicBezTo>
                <a:cubicBezTo>
                  <a:pt x="82" y="58"/>
                  <a:pt x="81" y="49"/>
                  <a:pt x="78" y="54"/>
                </a:cubicBezTo>
                <a:cubicBezTo>
                  <a:pt x="76" y="60"/>
                  <a:pt x="74" y="61"/>
                  <a:pt x="80" y="68"/>
                </a:cubicBezTo>
                <a:cubicBezTo>
                  <a:pt x="86" y="75"/>
                  <a:pt x="89" y="76"/>
                  <a:pt x="90" y="83"/>
                </a:cubicBezTo>
                <a:cubicBezTo>
                  <a:pt x="91" y="90"/>
                  <a:pt x="92" y="99"/>
                  <a:pt x="94" y="101"/>
                </a:cubicBezTo>
                <a:cubicBezTo>
                  <a:pt x="97" y="102"/>
                  <a:pt x="90" y="107"/>
                  <a:pt x="85" y="103"/>
                </a:cubicBezTo>
                <a:cubicBezTo>
                  <a:pt x="81" y="99"/>
                  <a:pt x="81" y="91"/>
                  <a:pt x="75" y="98"/>
                </a:cubicBezTo>
                <a:cubicBezTo>
                  <a:pt x="70" y="105"/>
                  <a:pt x="68" y="98"/>
                  <a:pt x="64" y="102"/>
                </a:cubicBezTo>
                <a:cubicBezTo>
                  <a:pt x="59" y="106"/>
                  <a:pt x="60" y="97"/>
                  <a:pt x="56" y="101"/>
                </a:cubicBezTo>
                <a:cubicBezTo>
                  <a:pt x="52" y="105"/>
                  <a:pt x="52" y="99"/>
                  <a:pt x="48" y="97"/>
                </a:cubicBezTo>
                <a:cubicBezTo>
                  <a:pt x="44" y="94"/>
                  <a:pt x="43" y="90"/>
                  <a:pt x="39" y="94"/>
                </a:cubicBezTo>
                <a:cubicBezTo>
                  <a:pt x="36" y="99"/>
                  <a:pt x="34" y="98"/>
                  <a:pt x="30" y="101"/>
                </a:cubicBezTo>
                <a:cubicBezTo>
                  <a:pt x="27" y="104"/>
                  <a:pt x="34" y="104"/>
                  <a:pt x="21" y="104"/>
                </a:cubicBezTo>
                <a:cubicBezTo>
                  <a:pt x="8" y="104"/>
                  <a:pt x="0" y="104"/>
                  <a:pt x="7" y="108"/>
                </a:cubicBezTo>
                <a:cubicBezTo>
                  <a:pt x="14" y="112"/>
                  <a:pt x="22" y="112"/>
                  <a:pt x="20" y="113"/>
                </a:cubicBezTo>
                <a:cubicBezTo>
                  <a:pt x="14" y="118"/>
                  <a:pt x="11" y="112"/>
                  <a:pt x="11" y="117"/>
                </a:cubicBezTo>
                <a:cubicBezTo>
                  <a:pt x="11" y="122"/>
                  <a:pt x="17" y="123"/>
                  <a:pt x="17" y="123"/>
                </a:cubicBezTo>
                <a:cubicBezTo>
                  <a:pt x="17" y="123"/>
                  <a:pt x="7" y="120"/>
                  <a:pt x="10" y="126"/>
                </a:cubicBezTo>
                <a:cubicBezTo>
                  <a:pt x="12" y="131"/>
                  <a:pt x="14" y="130"/>
                  <a:pt x="21" y="132"/>
                </a:cubicBezTo>
                <a:cubicBezTo>
                  <a:pt x="29" y="135"/>
                  <a:pt x="29" y="132"/>
                  <a:pt x="33" y="132"/>
                </a:cubicBezTo>
                <a:cubicBezTo>
                  <a:pt x="36" y="132"/>
                  <a:pt x="38" y="127"/>
                  <a:pt x="41" y="135"/>
                </a:cubicBezTo>
                <a:cubicBezTo>
                  <a:pt x="44" y="142"/>
                  <a:pt x="49" y="147"/>
                  <a:pt x="53" y="143"/>
                </a:cubicBezTo>
                <a:cubicBezTo>
                  <a:pt x="58" y="139"/>
                  <a:pt x="62" y="129"/>
                  <a:pt x="64" y="138"/>
                </a:cubicBezTo>
                <a:cubicBezTo>
                  <a:pt x="66" y="148"/>
                  <a:pt x="62" y="153"/>
                  <a:pt x="67" y="151"/>
                </a:cubicBezTo>
                <a:cubicBezTo>
                  <a:pt x="72" y="149"/>
                  <a:pt x="68" y="147"/>
                  <a:pt x="71" y="157"/>
                </a:cubicBezTo>
                <a:cubicBezTo>
                  <a:pt x="75" y="168"/>
                  <a:pt x="67" y="160"/>
                  <a:pt x="75" y="168"/>
                </a:cubicBezTo>
                <a:cubicBezTo>
                  <a:pt x="82" y="175"/>
                  <a:pt x="78" y="174"/>
                  <a:pt x="86" y="179"/>
                </a:cubicBezTo>
                <a:cubicBezTo>
                  <a:pt x="94" y="185"/>
                  <a:pt x="104" y="200"/>
                  <a:pt x="106" y="205"/>
                </a:cubicBezTo>
                <a:cubicBezTo>
                  <a:pt x="107" y="209"/>
                  <a:pt x="97" y="208"/>
                  <a:pt x="105" y="216"/>
                </a:cubicBezTo>
                <a:cubicBezTo>
                  <a:pt x="113" y="224"/>
                  <a:pt x="113" y="231"/>
                  <a:pt x="116" y="242"/>
                </a:cubicBezTo>
                <a:cubicBezTo>
                  <a:pt x="118" y="252"/>
                  <a:pt x="104" y="216"/>
                  <a:pt x="103" y="224"/>
                </a:cubicBezTo>
                <a:cubicBezTo>
                  <a:pt x="101" y="232"/>
                  <a:pt x="97" y="241"/>
                  <a:pt x="100" y="250"/>
                </a:cubicBezTo>
                <a:cubicBezTo>
                  <a:pt x="103" y="260"/>
                  <a:pt x="100" y="260"/>
                  <a:pt x="98" y="266"/>
                </a:cubicBezTo>
                <a:cubicBezTo>
                  <a:pt x="96" y="272"/>
                  <a:pt x="100" y="297"/>
                  <a:pt x="87" y="298"/>
                </a:cubicBezTo>
                <a:cubicBezTo>
                  <a:pt x="87" y="298"/>
                  <a:pt x="86" y="298"/>
                  <a:pt x="85" y="299"/>
                </a:cubicBezTo>
                <a:cubicBezTo>
                  <a:pt x="86" y="299"/>
                  <a:pt x="86" y="299"/>
                  <a:pt x="86" y="299"/>
                </a:cubicBezTo>
                <a:cubicBezTo>
                  <a:pt x="88" y="301"/>
                  <a:pt x="90" y="301"/>
                  <a:pt x="92" y="303"/>
                </a:cubicBezTo>
                <a:cubicBezTo>
                  <a:pt x="94" y="305"/>
                  <a:pt x="95" y="307"/>
                  <a:pt x="98" y="309"/>
                </a:cubicBezTo>
                <a:cubicBezTo>
                  <a:pt x="101" y="312"/>
                  <a:pt x="105" y="312"/>
                  <a:pt x="109" y="314"/>
                </a:cubicBezTo>
                <a:cubicBezTo>
                  <a:pt x="113" y="316"/>
                  <a:pt x="115" y="319"/>
                  <a:pt x="120" y="320"/>
                </a:cubicBezTo>
                <a:cubicBezTo>
                  <a:pt x="123" y="320"/>
                  <a:pt x="127" y="320"/>
                  <a:pt x="130" y="321"/>
                </a:cubicBezTo>
                <a:cubicBezTo>
                  <a:pt x="132" y="321"/>
                  <a:pt x="133" y="323"/>
                  <a:pt x="135" y="323"/>
                </a:cubicBezTo>
                <a:cubicBezTo>
                  <a:pt x="137" y="324"/>
                  <a:pt x="139" y="324"/>
                  <a:pt x="142" y="324"/>
                </a:cubicBezTo>
                <a:cubicBezTo>
                  <a:pt x="143" y="324"/>
                  <a:pt x="146" y="325"/>
                  <a:pt x="148" y="324"/>
                </a:cubicBezTo>
                <a:cubicBezTo>
                  <a:pt x="149" y="324"/>
                  <a:pt x="151" y="322"/>
                  <a:pt x="153" y="321"/>
                </a:cubicBezTo>
                <a:cubicBezTo>
                  <a:pt x="162" y="317"/>
                  <a:pt x="164" y="327"/>
                  <a:pt x="171" y="330"/>
                </a:cubicBezTo>
                <a:cubicBezTo>
                  <a:pt x="175" y="331"/>
                  <a:pt x="179" y="330"/>
                  <a:pt x="182" y="331"/>
                </a:cubicBezTo>
                <a:cubicBezTo>
                  <a:pt x="186" y="332"/>
                  <a:pt x="190" y="335"/>
                  <a:pt x="194" y="335"/>
                </a:cubicBezTo>
                <a:cubicBezTo>
                  <a:pt x="196" y="334"/>
                  <a:pt x="197" y="332"/>
                  <a:pt x="200" y="332"/>
                </a:cubicBezTo>
                <a:cubicBezTo>
                  <a:pt x="201" y="331"/>
                  <a:pt x="203" y="332"/>
                  <a:pt x="205" y="332"/>
                </a:cubicBezTo>
                <a:cubicBezTo>
                  <a:pt x="207" y="332"/>
                  <a:pt x="211" y="330"/>
                  <a:pt x="212" y="331"/>
                </a:cubicBezTo>
                <a:cubicBezTo>
                  <a:pt x="213" y="331"/>
                  <a:pt x="213" y="331"/>
                  <a:pt x="213" y="331"/>
                </a:cubicBezTo>
                <a:cubicBezTo>
                  <a:pt x="210" y="326"/>
                  <a:pt x="207" y="319"/>
                  <a:pt x="208" y="315"/>
                </a:cubicBezTo>
                <a:cubicBezTo>
                  <a:pt x="210" y="310"/>
                  <a:pt x="206" y="305"/>
                  <a:pt x="214" y="304"/>
                </a:cubicBezTo>
                <a:cubicBezTo>
                  <a:pt x="222" y="303"/>
                  <a:pt x="227" y="288"/>
                  <a:pt x="237" y="294"/>
                </a:cubicBezTo>
                <a:cubicBezTo>
                  <a:pt x="247" y="300"/>
                  <a:pt x="250" y="307"/>
                  <a:pt x="254" y="301"/>
                </a:cubicBezTo>
                <a:cubicBezTo>
                  <a:pt x="258" y="295"/>
                  <a:pt x="261" y="297"/>
                  <a:pt x="267" y="303"/>
                </a:cubicBezTo>
                <a:cubicBezTo>
                  <a:pt x="274" y="309"/>
                  <a:pt x="281" y="313"/>
                  <a:pt x="289" y="311"/>
                </a:cubicBezTo>
                <a:cubicBezTo>
                  <a:pt x="296" y="309"/>
                  <a:pt x="305" y="303"/>
                  <a:pt x="309" y="297"/>
                </a:cubicBezTo>
                <a:cubicBezTo>
                  <a:pt x="312" y="293"/>
                  <a:pt x="320" y="288"/>
                  <a:pt x="326" y="286"/>
                </a:cubicBezTo>
                <a:cubicBezTo>
                  <a:pt x="327" y="286"/>
                  <a:pt x="327" y="286"/>
                  <a:pt x="327" y="28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7" name="Freeform 481"/>
          <p:cNvSpPr>
            <a:spLocks/>
          </p:cNvSpPr>
          <p:nvPr userDrawn="1"/>
        </p:nvSpPr>
        <p:spPr bwMode="auto">
          <a:xfrm>
            <a:off x="5282945" y="3872284"/>
            <a:ext cx="83755" cy="169184"/>
          </a:xfrm>
          <a:custGeom>
            <a:avLst/>
            <a:gdLst>
              <a:gd name="T0" fmla="*/ 2147483646 w 90"/>
              <a:gd name="T1" fmla="*/ 2147483646 h 181"/>
              <a:gd name="T2" fmla="*/ 2147483646 w 90"/>
              <a:gd name="T3" fmla="*/ 2147483646 h 181"/>
              <a:gd name="T4" fmla="*/ 2147483646 w 90"/>
              <a:gd name="T5" fmla="*/ 2147483646 h 181"/>
              <a:gd name="T6" fmla="*/ 2147483646 w 90"/>
              <a:gd name="T7" fmla="*/ 2147483646 h 181"/>
              <a:gd name="T8" fmla="*/ 2147483646 w 90"/>
              <a:gd name="T9" fmla="*/ 2147483646 h 181"/>
              <a:gd name="T10" fmla="*/ 2147483646 w 90"/>
              <a:gd name="T11" fmla="*/ 2147483646 h 181"/>
              <a:gd name="T12" fmla="*/ 2147483646 w 90"/>
              <a:gd name="T13" fmla="*/ 2147483646 h 181"/>
              <a:gd name="T14" fmla="*/ 2147483646 w 90"/>
              <a:gd name="T15" fmla="*/ 2147483646 h 181"/>
              <a:gd name="T16" fmla="*/ 2147483646 w 90"/>
              <a:gd name="T17" fmla="*/ 2147483646 h 181"/>
              <a:gd name="T18" fmla="*/ 2147483646 w 90"/>
              <a:gd name="T19" fmla="*/ 2147483646 h 181"/>
              <a:gd name="T20" fmla="*/ 2147483646 w 90"/>
              <a:gd name="T21" fmla="*/ 2147483646 h 181"/>
              <a:gd name="T22" fmla="*/ 2147483646 w 90"/>
              <a:gd name="T23" fmla="*/ 2147483646 h 181"/>
              <a:gd name="T24" fmla="*/ 2147483646 w 90"/>
              <a:gd name="T25" fmla="*/ 2147483646 h 181"/>
              <a:gd name="T26" fmla="*/ 2147483646 w 90"/>
              <a:gd name="T27" fmla="*/ 2147483646 h 181"/>
              <a:gd name="T28" fmla="*/ 2147483646 w 90"/>
              <a:gd name="T29" fmla="*/ 2147483646 h 181"/>
              <a:gd name="T30" fmla="*/ 2147483646 w 90"/>
              <a:gd name="T31" fmla="*/ 2147483646 h 181"/>
              <a:gd name="T32" fmla="*/ 2147483646 w 90"/>
              <a:gd name="T33" fmla="*/ 2147483646 h 181"/>
              <a:gd name="T34" fmla="*/ 2147483646 w 90"/>
              <a:gd name="T35" fmla="*/ 2147483646 h 181"/>
              <a:gd name="T36" fmla="*/ 2147483646 w 90"/>
              <a:gd name="T37" fmla="*/ 2147483646 h 181"/>
              <a:gd name="T38" fmla="*/ 2147483646 w 90"/>
              <a:gd name="T39" fmla="*/ 2147483646 h 181"/>
              <a:gd name="T40" fmla="*/ 2147483646 w 90"/>
              <a:gd name="T41" fmla="*/ 2147483646 h 181"/>
              <a:gd name="T42" fmla="*/ 2147483646 w 90"/>
              <a:gd name="T43" fmla="*/ 2147483646 h 181"/>
              <a:gd name="T44" fmla="*/ 2147483646 w 90"/>
              <a:gd name="T45" fmla="*/ 2147483646 h 181"/>
              <a:gd name="T46" fmla="*/ 2147483646 w 90"/>
              <a:gd name="T47" fmla="*/ 2147483646 h 181"/>
              <a:gd name="T48" fmla="*/ 2147483646 w 90"/>
              <a:gd name="T49" fmla="*/ 2147483646 h 181"/>
              <a:gd name="T50" fmla="*/ 2147483646 w 90"/>
              <a:gd name="T51" fmla="*/ 2147483646 h 181"/>
              <a:gd name="T52" fmla="*/ 2147483646 w 90"/>
              <a:gd name="T53" fmla="*/ 2147483646 h 181"/>
              <a:gd name="T54" fmla="*/ 2147483646 w 90"/>
              <a:gd name="T55" fmla="*/ 2147483646 h 181"/>
              <a:gd name="T56" fmla="*/ 2147483646 w 90"/>
              <a:gd name="T57" fmla="*/ 2147483646 h 181"/>
              <a:gd name="T58" fmla="*/ 2147483646 w 90"/>
              <a:gd name="T59" fmla="*/ 2147483646 h 181"/>
              <a:gd name="T60" fmla="*/ 2147483646 w 90"/>
              <a:gd name="T61" fmla="*/ 2147483646 h 181"/>
              <a:gd name="T62" fmla="*/ 2147483646 w 90"/>
              <a:gd name="T63" fmla="*/ 2147483646 h 181"/>
              <a:gd name="T64" fmla="*/ 2147483646 w 90"/>
              <a:gd name="T65" fmla="*/ 2147483646 h 181"/>
              <a:gd name="T66" fmla="*/ 2147483646 w 90"/>
              <a:gd name="T67" fmla="*/ 2147483646 h 181"/>
              <a:gd name="T68" fmla="*/ 2147483646 w 90"/>
              <a:gd name="T69" fmla="*/ 2147483646 h 181"/>
              <a:gd name="T70" fmla="*/ 2147483646 w 90"/>
              <a:gd name="T71" fmla="*/ 2147483646 h 181"/>
              <a:gd name="T72" fmla="*/ 2147483646 w 90"/>
              <a:gd name="T73" fmla="*/ 2147483646 h 18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90"/>
              <a:gd name="T112" fmla="*/ 0 h 181"/>
              <a:gd name="T113" fmla="*/ 90 w 90"/>
              <a:gd name="T114" fmla="*/ 181 h 181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90" h="181">
                <a:moveTo>
                  <a:pt x="62" y="172"/>
                </a:moveTo>
                <a:cubicBezTo>
                  <a:pt x="62" y="173"/>
                  <a:pt x="61" y="174"/>
                  <a:pt x="60" y="175"/>
                </a:cubicBezTo>
                <a:cubicBezTo>
                  <a:pt x="55" y="180"/>
                  <a:pt x="57" y="179"/>
                  <a:pt x="48" y="174"/>
                </a:cubicBezTo>
                <a:cubicBezTo>
                  <a:pt x="40" y="168"/>
                  <a:pt x="40" y="170"/>
                  <a:pt x="27" y="175"/>
                </a:cubicBezTo>
                <a:cubicBezTo>
                  <a:pt x="14" y="181"/>
                  <a:pt x="24" y="164"/>
                  <a:pt x="24" y="164"/>
                </a:cubicBezTo>
                <a:cubicBezTo>
                  <a:pt x="24" y="164"/>
                  <a:pt x="26" y="155"/>
                  <a:pt x="26" y="150"/>
                </a:cubicBezTo>
                <a:cubicBezTo>
                  <a:pt x="26" y="144"/>
                  <a:pt x="26" y="143"/>
                  <a:pt x="24" y="139"/>
                </a:cubicBezTo>
                <a:cubicBezTo>
                  <a:pt x="22" y="135"/>
                  <a:pt x="25" y="132"/>
                  <a:pt x="23" y="124"/>
                </a:cubicBezTo>
                <a:cubicBezTo>
                  <a:pt x="20" y="115"/>
                  <a:pt x="19" y="130"/>
                  <a:pt x="17" y="119"/>
                </a:cubicBezTo>
                <a:cubicBezTo>
                  <a:pt x="16" y="108"/>
                  <a:pt x="14" y="120"/>
                  <a:pt x="7" y="119"/>
                </a:cubicBezTo>
                <a:cubicBezTo>
                  <a:pt x="0" y="117"/>
                  <a:pt x="7" y="113"/>
                  <a:pt x="12" y="104"/>
                </a:cubicBezTo>
                <a:cubicBezTo>
                  <a:pt x="16" y="94"/>
                  <a:pt x="20" y="79"/>
                  <a:pt x="24" y="64"/>
                </a:cubicBezTo>
                <a:cubicBezTo>
                  <a:pt x="28" y="48"/>
                  <a:pt x="31" y="39"/>
                  <a:pt x="28" y="24"/>
                </a:cubicBezTo>
                <a:cubicBezTo>
                  <a:pt x="25" y="8"/>
                  <a:pt x="27" y="13"/>
                  <a:pt x="29" y="8"/>
                </a:cubicBezTo>
                <a:cubicBezTo>
                  <a:pt x="29" y="7"/>
                  <a:pt x="29" y="6"/>
                  <a:pt x="29" y="6"/>
                </a:cubicBezTo>
                <a:cubicBezTo>
                  <a:pt x="30" y="5"/>
                  <a:pt x="30" y="5"/>
                  <a:pt x="30" y="5"/>
                </a:cubicBezTo>
                <a:cubicBezTo>
                  <a:pt x="33" y="4"/>
                  <a:pt x="35" y="0"/>
                  <a:pt x="37" y="1"/>
                </a:cubicBezTo>
                <a:cubicBezTo>
                  <a:pt x="39" y="1"/>
                  <a:pt x="39" y="3"/>
                  <a:pt x="40" y="4"/>
                </a:cubicBezTo>
                <a:cubicBezTo>
                  <a:pt x="41" y="5"/>
                  <a:pt x="42" y="6"/>
                  <a:pt x="43" y="7"/>
                </a:cubicBezTo>
                <a:cubicBezTo>
                  <a:pt x="44" y="9"/>
                  <a:pt x="43" y="13"/>
                  <a:pt x="43" y="15"/>
                </a:cubicBezTo>
                <a:cubicBezTo>
                  <a:pt x="45" y="15"/>
                  <a:pt x="46" y="14"/>
                  <a:pt x="48" y="14"/>
                </a:cubicBezTo>
                <a:cubicBezTo>
                  <a:pt x="51" y="13"/>
                  <a:pt x="52" y="15"/>
                  <a:pt x="55" y="15"/>
                </a:cubicBezTo>
                <a:cubicBezTo>
                  <a:pt x="60" y="16"/>
                  <a:pt x="63" y="10"/>
                  <a:pt x="69" y="10"/>
                </a:cubicBezTo>
                <a:cubicBezTo>
                  <a:pt x="71" y="10"/>
                  <a:pt x="72" y="11"/>
                  <a:pt x="74" y="10"/>
                </a:cubicBezTo>
                <a:cubicBezTo>
                  <a:pt x="77" y="10"/>
                  <a:pt x="79" y="8"/>
                  <a:pt x="81" y="9"/>
                </a:cubicBezTo>
                <a:cubicBezTo>
                  <a:pt x="83" y="10"/>
                  <a:pt x="90" y="18"/>
                  <a:pt x="90" y="21"/>
                </a:cubicBezTo>
                <a:cubicBezTo>
                  <a:pt x="90" y="24"/>
                  <a:pt x="83" y="28"/>
                  <a:pt x="81" y="31"/>
                </a:cubicBezTo>
                <a:cubicBezTo>
                  <a:pt x="79" y="34"/>
                  <a:pt x="77" y="37"/>
                  <a:pt x="75" y="41"/>
                </a:cubicBezTo>
                <a:cubicBezTo>
                  <a:pt x="74" y="44"/>
                  <a:pt x="72" y="48"/>
                  <a:pt x="73" y="51"/>
                </a:cubicBezTo>
                <a:cubicBezTo>
                  <a:pt x="73" y="54"/>
                  <a:pt x="74" y="54"/>
                  <a:pt x="75" y="56"/>
                </a:cubicBezTo>
                <a:cubicBezTo>
                  <a:pt x="76" y="59"/>
                  <a:pt x="71" y="65"/>
                  <a:pt x="75" y="66"/>
                </a:cubicBezTo>
                <a:cubicBezTo>
                  <a:pt x="76" y="72"/>
                  <a:pt x="69" y="78"/>
                  <a:pt x="72" y="83"/>
                </a:cubicBezTo>
                <a:cubicBezTo>
                  <a:pt x="68" y="85"/>
                  <a:pt x="64" y="91"/>
                  <a:pt x="63" y="95"/>
                </a:cubicBezTo>
                <a:cubicBezTo>
                  <a:pt x="63" y="100"/>
                  <a:pt x="69" y="104"/>
                  <a:pt x="71" y="110"/>
                </a:cubicBezTo>
                <a:cubicBezTo>
                  <a:pt x="72" y="114"/>
                  <a:pt x="67" y="119"/>
                  <a:pt x="68" y="125"/>
                </a:cubicBezTo>
                <a:cubicBezTo>
                  <a:pt x="68" y="129"/>
                  <a:pt x="71" y="131"/>
                  <a:pt x="71" y="135"/>
                </a:cubicBezTo>
                <a:cubicBezTo>
                  <a:pt x="70" y="146"/>
                  <a:pt x="52" y="161"/>
                  <a:pt x="62" y="17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8" name="Freeform 482"/>
          <p:cNvSpPr>
            <a:spLocks/>
          </p:cNvSpPr>
          <p:nvPr userDrawn="1"/>
        </p:nvSpPr>
        <p:spPr bwMode="auto">
          <a:xfrm>
            <a:off x="6199221" y="2582463"/>
            <a:ext cx="53603" cy="51928"/>
          </a:xfrm>
          <a:custGeom>
            <a:avLst/>
            <a:gdLst>
              <a:gd name="T0" fmla="*/ 2147483646 w 57"/>
              <a:gd name="T1" fmla="*/ 0 h 55"/>
              <a:gd name="T2" fmla="*/ 2147483646 w 57"/>
              <a:gd name="T3" fmla="*/ 2147483646 h 55"/>
              <a:gd name="T4" fmla="*/ 2147483646 w 57"/>
              <a:gd name="T5" fmla="*/ 2147483646 h 55"/>
              <a:gd name="T6" fmla="*/ 2147483646 w 57"/>
              <a:gd name="T7" fmla="*/ 2147483646 h 55"/>
              <a:gd name="T8" fmla="*/ 2147483646 w 57"/>
              <a:gd name="T9" fmla="*/ 2147483646 h 55"/>
              <a:gd name="T10" fmla="*/ 0 w 57"/>
              <a:gd name="T11" fmla="*/ 2147483646 h 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7"/>
              <a:gd name="T19" fmla="*/ 0 h 55"/>
              <a:gd name="T20" fmla="*/ 57 w 57"/>
              <a:gd name="T21" fmla="*/ 55 h 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7" h="55">
                <a:moveTo>
                  <a:pt x="57" y="0"/>
                </a:moveTo>
                <a:cubicBezTo>
                  <a:pt x="54" y="14"/>
                  <a:pt x="54" y="19"/>
                  <a:pt x="41" y="26"/>
                </a:cubicBezTo>
                <a:cubicBezTo>
                  <a:pt x="36" y="29"/>
                  <a:pt x="30" y="30"/>
                  <a:pt x="24" y="33"/>
                </a:cubicBezTo>
                <a:cubicBezTo>
                  <a:pt x="15" y="37"/>
                  <a:pt x="15" y="40"/>
                  <a:pt x="11" y="44"/>
                </a:cubicBezTo>
                <a:cubicBezTo>
                  <a:pt x="8" y="48"/>
                  <a:pt x="6" y="50"/>
                  <a:pt x="2" y="53"/>
                </a:cubicBezTo>
                <a:cubicBezTo>
                  <a:pt x="1" y="54"/>
                  <a:pt x="1" y="55"/>
                  <a:pt x="0" y="55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Freeform 483"/>
          <p:cNvSpPr>
            <a:spLocks/>
          </p:cNvSpPr>
          <p:nvPr userDrawn="1"/>
        </p:nvSpPr>
        <p:spPr bwMode="auto">
          <a:xfrm>
            <a:off x="6199221" y="2582463"/>
            <a:ext cx="53603" cy="51928"/>
          </a:xfrm>
          <a:custGeom>
            <a:avLst/>
            <a:gdLst>
              <a:gd name="T0" fmla="*/ 2147483646 w 57"/>
              <a:gd name="T1" fmla="*/ 0 h 55"/>
              <a:gd name="T2" fmla="*/ 2147483646 w 57"/>
              <a:gd name="T3" fmla="*/ 2147483646 h 55"/>
              <a:gd name="T4" fmla="*/ 2147483646 w 57"/>
              <a:gd name="T5" fmla="*/ 2147483646 h 55"/>
              <a:gd name="T6" fmla="*/ 2147483646 w 57"/>
              <a:gd name="T7" fmla="*/ 2147483646 h 55"/>
              <a:gd name="T8" fmla="*/ 2147483646 w 57"/>
              <a:gd name="T9" fmla="*/ 2147483646 h 55"/>
              <a:gd name="T10" fmla="*/ 0 w 57"/>
              <a:gd name="T11" fmla="*/ 2147483646 h 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7"/>
              <a:gd name="T19" fmla="*/ 0 h 55"/>
              <a:gd name="T20" fmla="*/ 57 w 57"/>
              <a:gd name="T21" fmla="*/ 55 h 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7" h="55">
                <a:moveTo>
                  <a:pt x="57" y="0"/>
                </a:moveTo>
                <a:cubicBezTo>
                  <a:pt x="54" y="14"/>
                  <a:pt x="54" y="19"/>
                  <a:pt x="41" y="26"/>
                </a:cubicBezTo>
                <a:cubicBezTo>
                  <a:pt x="36" y="29"/>
                  <a:pt x="30" y="30"/>
                  <a:pt x="24" y="33"/>
                </a:cubicBezTo>
                <a:cubicBezTo>
                  <a:pt x="15" y="37"/>
                  <a:pt x="15" y="40"/>
                  <a:pt x="11" y="44"/>
                </a:cubicBezTo>
                <a:cubicBezTo>
                  <a:pt x="8" y="48"/>
                  <a:pt x="6" y="50"/>
                  <a:pt x="2" y="53"/>
                </a:cubicBezTo>
                <a:cubicBezTo>
                  <a:pt x="1" y="54"/>
                  <a:pt x="1" y="55"/>
                  <a:pt x="0" y="55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0" name="Freeform 484"/>
          <p:cNvSpPr>
            <a:spLocks/>
          </p:cNvSpPr>
          <p:nvPr userDrawn="1"/>
        </p:nvSpPr>
        <p:spPr bwMode="auto">
          <a:xfrm>
            <a:off x="5633041" y="2480281"/>
            <a:ext cx="626484" cy="777243"/>
          </a:xfrm>
          <a:custGeom>
            <a:avLst/>
            <a:gdLst>
              <a:gd name="T0" fmla="*/ 2147483646 w 671"/>
              <a:gd name="T1" fmla="*/ 2147483646 h 832"/>
              <a:gd name="T2" fmla="*/ 2147483646 w 671"/>
              <a:gd name="T3" fmla="*/ 2147483646 h 832"/>
              <a:gd name="T4" fmla="*/ 2147483646 w 671"/>
              <a:gd name="T5" fmla="*/ 2147483646 h 832"/>
              <a:gd name="T6" fmla="*/ 2147483646 w 671"/>
              <a:gd name="T7" fmla="*/ 2147483646 h 832"/>
              <a:gd name="T8" fmla="*/ 2147483646 w 671"/>
              <a:gd name="T9" fmla="*/ 2147483646 h 832"/>
              <a:gd name="T10" fmla="*/ 2147483646 w 671"/>
              <a:gd name="T11" fmla="*/ 2147483646 h 832"/>
              <a:gd name="T12" fmla="*/ 2147483646 w 671"/>
              <a:gd name="T13" fmla="*/ 2147483646 h 832"/>
              <a:gd name="T14" fmla="*/ 2147483646 w 671"/>
              <a:gd name="T15" fmla="*/ 2147483646 h 832"/>
              <a:gd name="T16" fmla="*/ 2147483646 w 671"/>
              <a:gd name="T17" fmla="*/ 2147483646 h 832"/>
              <a:gd name="T18" fmla="*/ 2147483646 w 671"/>
              <a:gd name="T19" fmla="*/ 2147483646 h 832"/>
              <a:gd name="T20" fmla="*/ 2147483646 w 671"/>
              <a:gd name="T21" fmla="*/ 2147483646 h 832"/>
              <a:gd name="T22" fmla="*/ 2147483646 w 671"/>
              <a:gd name="T23" fmla="*/ 2147483646 h 832"/>
              <a:gd name="T24" fmla="*/ 2147483646 w 671"/>
              <a:gd name="T25" fmla="*/ 2147483646 h 832"/>
              <a:gd name="T26" fmla="*/ 2147483646 w 671"/>
              <a:gd name="T27" fmla="*/ 2147483646 h 832"/>
              <a:gd name="T28" fmla="*/ 2147483646 w 671"/>
              <a:gd name="T29" fmla="*/ 2147483646 h 832"/>
              <a:gd name="T30" fmla="*/ 2147483646 w 671"/>
              <a:gd name="T31" fmla="*/ 2147483646 h 832"/>
              <a:gd name="T32" fmla="*/ 2147483646 w 671"/>
              <a:gd name="T33" fmla="*/ 2147483646 h 832"/>
              <a:gd name="T34" fmla="*/ 2147483646 w 671"/>
              <a:gd name="T35" fmla="*/ 2147483646 h 832"/>
              <a:gd name="T36" fmla="*/ 2147483646 w 671"/>
              <a:gd name="T37" fmla="*/ 2147483646 h 832"/>
              <a:gd name="T38" fmla="*/ 2147483646 w 671"/>
              <a:gd name="T39" fmla="*/ 2147483646 h 832"/>
              <a:gd name="T40" fmla="*/ 2147483646 w 671"/>
              <a:gd name="T41" fmla="*/ 2147483646 h 832"/>
              <a:gd name="T42" fmla="*/ 2147483646 w 671"/>
              <a:gd name="T43" fmla="*/ 2147483646 h 832"/>
              <a:gd name="T44" fmla="*/ 2147483646 w 671"/>
              <a:gd name="T45" fmla="*/ 2147483646 h 832"/>
              <a:gd name="T46" fmla="*/ 2147483646 w 671"/>
              <a:gd name="T47" fmla="*/ 2147483646 h 832"/>
              <a:gd name="T48" fmla="*/ 2147483646 w 671"/>
              <a:gd name="T49" fmla="*/ 2147483646 h 832"/>
              <a:gd name="T50" fmla="*/ 2147483646 w 671"/>
              <a:gd name="T51" fmla="*/ 2147483646 h 832"/>
              <a:gd name="T52" fmla="*/ 2147483646 w 671"/>
              <a:gd name="T53" fmla="*/ 2147483646 h 832"/>
              <a:gd name="T54" fmla="*/ 2147483646 w 671"/>
              <a:gd name="T55" fmla="*/ 2147483646 h 832"/>
              <a:gd name="T56" fmla="*/ 2147483646 w 671"/>
              <a:gd name="T57" fmla="*/ 2147483646 h 832"/>
              <a:gd name="T58" fmla="*/ 2147483646 w 671"/>
              <a:gd name="T59" fmla="*/ 2147483646 h 832"/>
              <a:gd name="T60" fmla="*/ 2147483646 w 671"/>
              <a:gd name="T61" fmla="*/ 2147483646 h 832"/>
              <a:gd name="T62" fmla="*/ 2147483646 w 671"/>
              <a:gd name="T63" fmla="*/ 2147483646 h 832"/>
              <a:gd name="T64" fmla="*/ 2147483646 w 671"/>
              <a:gd name="T65" fmla="*/ 2147483646 h 832"/>
              <a:gd name="T66" fmla="*/ 2147483646 w 671"/>
              <a:gd name="T67" fmla="*/ 2147483646 h 832"/>
              <a:gd name="T68" fmla="*/ 2147483646 w 671"/>
              <a:gd name="T69" fmla="*/ 2147483646 h 832"/>
              <a:gd name="T70" fmla="*/ 2147483646 w 671"/>
              <a:gd name="T71" fmla="*/ 2147483646 h 832"/>
              <a:gd name="T72" fmla="*/ 2147483646 w 671"/>
              <a:gd name="T73" fmla="*/ 2147483646 h 832"/>
              <a:gd name="T74" fmla="*/ 2147483646 w 671"/>
              <a:gd name="T75" fmla="*/ 2147483646 h 832"/>
              <a:gd name="T76" fmla="*/ 2147483646 w 671"/>
              <a:gd name="T77" fmla="*/ 2147483646 h 832"/>
              <a:gd name="T78" fmla="*/ 2147483646 w 671"/>
              <a:gd name="T79" fmla="*/ 2147483646 h 832"/>
              <a:gd name="T80" fmla="*/ 2147483646 w 671"/>
              <a:gd name="T81" fmla="*/ 2147483646 h 832"/>
              <a:gd name="T82" fmla="*/ 2147483646 w 671"/>
              <a:gd name="T83" fmla="*/ 2147483646 h 832"/>
              <a:gd name="T84" fmla="*/ 2147483646 w 671"/>
              <a:gd name="T85" fmla="*/ 2147483646 h 832"/>
              <a:gd name="T86" fmla="*/ 2147483646 w 671"/>
              <a:gd name="T87" fmla="*/ 2147483646 h 832"/>
              <a:gd name="T88" fmla="*/ 2147483646 w 671"/>
              <a:gd name="T89" fmla="*/ 2147483646 h 832"/>
              <a:gd name="T90" fmla="*/ 2147483646 w 671"/>
              <a:gd name="T91" fmla="*/ 2147483646 h 832"/>
              <a:gd name="T92" fmla="*/ 2147483646 w 671"/>
              <a:gd name="T93" fmla="*/ 2147483646 h 832"/>
              <a:gd name="T94" fmla="*/ 2147483646 w 671"/>
              <a:gd name="T95" fmla="*/ 2147483646 h 832"/>
              <a:gd name="T96" fmla="*/ 2147483646 w 671"/>
              <a:gd name="T97" fmla="*/ 2147483646 h 832"/>
              <a:gd name="T98" fmla="*/ 2147483646 w 671"/>
              <a:gd name="T99" fmla="*/ 2147483646 h 832"/>
              <a:gd name="T100" fmla="*/ 2147483646 w 671"/>
              <a:gd name="T101" fmla="*/ 2147483646 h 832"/>
              <a:gd name="T102" fmla="*/ 2147483646 w 671"/>
              <a:gd name="T103" fmla="*/ 2147483646 h 832"/>
              <a:gd name="T104" fmla="*/ 2147483646 w 671"/>
              <a:gd name="T105" fmla="*/ 2147483646 h 832"/>
              <a:gd name="T106" fmla="*/ 2147483646 w 671"/>
              <a:gd name="T107" fmla="*/ 2147483646 h 832"/>
              <a:gd name="T108" fmla="*/ 2147483646 w 671"/>
              <a:gd name="T109" fmla="*/ 2147483646 h 832"/>
              <a:gd name="T110" fmla="*/ 2147483646 w 671"/>
              <a:gd name="T111" fmla="*/ 2147483646 h 832"/>
              <a:gd name="T112" fmla="*/ 2147483646 w 671"/>
              <a:gd name="T113" fmla="*/ 2147483646 h 832"/>
              <a:gd name="T114" fmla="*/ 2147483646 w 671"/>
              <a:gd name="T115" fmla="*/ 2147483646 h 832"/>
              <a:gd name="T116" fmla="*/ 2147483646 w 671"/>
              <a:gd name="T117" fmla="*/ 2147483646 h 832"/>
              <a:gd name="T118" fmla="*/ 2147483646 w 671"/>
              <a:gd name="T119" fmla="*/ 2147483646 h 832"/>
              <a:gd name="T120" fmla="*/ 2147483646 w 671"/>
              <a:gd name="T121" fmla="*/ 2147483646 h 832"/>
              <a:gd name="T122" fmla="*/ 2147483646 w 671"/>
              <a:gd name="T123" fmla="*/ 2147483646 h 83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71"/>
              <a:gd name="T187" fmla="*/ 0 h 832"/>
              <a:gd name="T188" fmla="*/ 671 w 671"/>
              <a:gd name="T189" fmla="*/ 832 h 83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71" h="832">
                <a:moveTo>
                  <a:pt x="663" y="109"/>
                </a:moveTo>
                <a:cubicBezTo>
                  <a:pt x="660" y="123"/>
                  <a:pt x="661" y="129"/>
                  <a:pt x="648" y="135"/>
                </a:cubicBezTo>
                <a:cubicBezTo>
                  <a:pt x="642" y="138"/>
                  <a:pt x="637" y="140"/>
                  <a:pt x="631" y="143"/>
                </a:cubicBezTo>
                <a:cubicBezTo>
                  <a:pt x="621" y="146"/>
                  <a:pt x="622" y="149"/>
                  <a:pt x="617" y="154"/>
                </a:cubicBezTo>
                <a:cubicBezTo>
                  <a:pt x="614" y="157"/>
                  <a:pt x="612" y="159"/>
                  <a:pt x="610" y="162"/>
                </a:cubicBezTo>
                <a:cubicBezTo>
                  <a:pt x="608" y="164"/>
                  <a:pt x="608" y="164"/>
                  <a:pt x="608" y="164"/>
                </a:cubicBezTo>
                <a:cubicBezTo>
                  <a:pt x="607" y="161"/>
                  <a:pt x="607" y="161"/>
                  <a:pt x="607" y="161"/>
                </a:cubicBezTo>
                <a:cubicBezTo>
                  <a:pt x="604" y="152"/>
                  <a:pt x="608" y="145"/>
                  <a:pt x="611" y="136"/>
                </a:cubicBezTo>
                <a:cubicBezTo>
                  <a:pt x="614" y="123"/>
                  <a:pt x="615" y="121"/>
                  <a:pt x="608" y="109"/>
                </a:cubicBezTo>
                <a:cubicBezTo>
                  <a:pt x="589" y="114"/>
                  <a:pt x="591" y="104"/>
                  <a:pt x="578" y="97"/>
                </a:cubicBezTo>
                <a:cubicBezTo>
                  <a:pt x="570" y="93"/>
                  <a:pt x="564" y="98"/>
                  <a:pt x="555" y="100"/>
                </a:cubicBezTo>
                <a:cubicBezTo>
                  <a:pt x="543" y="103"/>
                  <a:pt x="540" y="106"/>
                  <a:pt x="535" y="119"/>
                </a:cubicBezTo>
                <a:cubicBezTo>
                  <a:pt x="533" y="127"/>
                  <a:pt x="531" y="125"/>
                  <a:pt x="532" y="133"/>
                </a:cubicBezTo>
                <a:cubicBezTo>
                  <a:pt x="532" y="137"/>
                  <a:pt x="536" y="143"/>
                  <a:pt x="537" y="146"/>
                </a:cubicBezTo>
                <a:cubicBezTo>
                  <a:pt x="532" y="151"/>
                  <a:pt x="527" y="156"/>
                  <a:pt x="525" y="162"/>
                </a:cubicBezTo>
                <a:cubicBezTo>
                  <a:pt x="524" y="167"/>
                  <a:pt x="529" y="170"/>
                  <a:pt x="526" y="176"/>
                </a:cubicBezTo>
                <a:cubicBezTo>
                  <a:pt x="526" y="178"/>
                  <a:pt x="517" y="184"/>
                  <a:pt x="514" y="188"/>
                </a:cubicBezTo>
                <a:cubicBezTo>
                  <a:pt x="510" y="194"/>
                  <a:pt x="508" y="203"/>
                  <a:pt x="505" y="210"/>
                </a:cubicBezTo>
                <a:cubicBezTo>
                  <a:pt x="500" y="204"/>
                  <a:pt x="497" y="196"/>
                  <a:pt x="492" y="191"/>
                </a:cubicBezTo>
                <a:cubicBezTo>
                  <a:pt x="489" y="195"/>
                  <a:pt x="485" y="196"/>
                  <a:pt x="481" y="196"/>
                </a:cubicBezTo>
                <a:cubicBezTo>
                  <a:pt x="478" y="184"/>
                  <a:pt x="456" y="202"/>
                  <a:pt x="443" y="194"/>
                </a:cubicBezTo>
                <a:cubicBezTo>
                  <a:pt x="429" y="185"/>
                  <a:pt x="429" y="157"/>
                  <a:pt x="410" y="154"/>
                </a:cubicBezTo>
                <a:cubicBezTo>
                  <a:pt x="407" y="160"/>
                  <a:pt x="409" y="166"/>
                  <a:pt x="407" y="172"/>
                </a:cubicBezTo>
                <a:cubicBezTo>
                  <a:pt x="402" y="157"/>
                  <a:pt x="384" y="164"/>
                  <a:pt x="378" y="173"/>
                </a:cubicBezTo>
                <a:cubicBezTo>
                  <a:pt x="403" y="186"/>
                  <a:pt x="365" y="200"/>
                  <a:pt x="380" y="212"/>
                </a:cubicBezTo>
                <a:cubicBezTo>
                  <a:pt x="372" y="213"/>
                  <a:pt x="366" y="212"/>
                  <a:pt x="359" y="210"/>
                </a:cubicBezTo>
                <a:cubicBezTo>
                  <a:pt x="352" y="207"/>
                  <a:pt x="348" y="202"/>
                  <a:pt x="340" y="206"/>
                </a:cubicBezTo>
                <a:cubicBezTo>
                  <a:pt x="326" y="212"/>
                  <a:pt x="332" y="232"/>
                  <a:pt x="324" y="244"/>
                </a:cubicBezTo>
                <a:cubicBezTo>
                  <a:pt x="313" y="232"/>
                  <a:pt x="299" y="250"/>
                  <a:pt x="293" y="260"/>
                </a:cubicBezTo>
                <a:cubicBezTo>
                  <a:pt x="290" y="265"/>
                  <a:pt x="291" y="271"/>
                  <a:pt x="289" y="278"/>
                </a:cubicBezTo>
                <a:cubicBezTo>
                  <a:pt x="286" y="285"/>
                  <a:pt x="279" y="291"/>
                  <a:pt x="275" y="297"/>
                </a:cubicBezTo>
                <a:cubicBezTo>
                  <a:pt x="279" y="298"/>
                  <a:pt x="282" y="301"/>
                  <a:pt x="285" y="302"/>
                </a:cubicBezTo>
                <a:cubicBezTo>
                  <a:pt x="272" y="318"/>
                  <a:pt x="260" y="347"/>
                  <a:pt x="260" y="368"/>
                </a:cubicBezTo>
                <a:cubicBezTo>
                  <a:pt x="249" y="366"/>
                  <a:pt x="233" y="354"/>
                  <a:pt x="234" y="377"/>
                </a:cubicBezTo>
                <a:cubicBezTo>
                  <a:pt x="234" y="382"/>
                  <a:pt x="240" y="386"/>
                  <a:pt x="240" y="393"/>
                </a:cubicBezTo>
                <a:cubicBezTo>
                  <a:pt x="240" y="402"/>
                  <a:pt x="234" y="414"/>
                  <a:pt x="232" y="423"/>
                </a:cubicBezTo>
                <a:cubicBezTo>
                  <a:pt x="228" y="436"/>
                  <a:pt x="220" y="456"/>
                  <a:pt x="221" y="469"/>
                </a:cubicBezTo>
                <a:cubicBezTo>
                  <a:pt x="222" y="480"/>
                  <a:pt x="236" y="489"/>
                  <a:pt x="226" y="501"/>
                </a:cubicBezTo>
                <a:cubicBezTo>
                  <a:pt x="220" y="498"/>
                  <a:pt x="207" y="493"/>
                  <a:pt x="200" y="494"/>
                </a:cubicBezTo>
                <a:cubicBezTo>
                  <a:pt x="187" y="496"/>
                  <a:pt x="187" y="513"/>
                  <a:pt x="185" y="524"/>
                </a:cubicBezTo>
                <a:cubicBezTo>
                  <a:pt x="183" y="536"/>
                  <a:pt x="178" y="551"/>
                  <a:pt x="177" y="562"/>
                </a:cubicBezTo>
                <a:cubicBezTo>
                  <a:pt x="177" y="575"/>
                  <a:pt x="182" y="572"/>
                  <a:pt x="186" y="583"/>
                </a:cubicBezTo>
                <a:cubicBezTo>
                  <a:pt x="192" y="600"/>
                  <a:pt x="180" y="621"/>
                  <a:pt x="187" y="637"/>
                </a:cubicBezTo>
                <a:cubicBezTo>
                  <a:pt x="191" y="646"/>
                  <a:pt x="201" y="650"/>
                  <a:pt x="201" y="661"/>
                </a:cubicBezTo>
                <a:cubicBezTo>
                  <a:pt x="201" y="668"/>
                  <a:pt x="195" y="678"/>
                  <a:pt x="189" y="676"/>
                </a:cubicBezTo>
                <a:cubicBezTo>
                  <a:pt x="194" y="696"/>
                  <a:pt x="207" y="725"/>
                  <a:pt x="189" y="739"/>
                </a:cubicBezTo>
                <a:cubicBezTo>
                  <a:pt x="181" y="745"/>
                  <a:pt x="176" y="744"/>
                  <a:pt x="173" y="758"/>
                </a:cubicBezTo>
                <a:cubicBezTo>
                  <a:pt x="171" y="768"/>
                  <a:pt x="173" y="780"/>
                  <a:pt x="164" y="785"/>
                </a:cubicBezTo>
                <a:cubicBezTo>
                  <a:pt x="163" y="782"/>
                  <a:pt x="161" y="779"/>
                  <a:pt x="159" y="777"/>
                </a:cubicBezTo>
                <a:cubicBezTo>
                  <a:pt x="157" y="775"/>
                  <a:pt x="157" y="775"/>
                  <a:pt x="157" y="775"/>
                </a:cubicBezTo>
                <a:cubicBezTo>
                  <a:pt x="157" y="775"/>
                  <a:pt x="158" y="769"/>
                  <a:pt x="153" y="770"/>
                </a:cubicBezTo>
                <a:cubicBezTo>
                  <a:pt x="149" y="771"/>
                  <a:pt x="146" y="774"/>
                  <a:pt x="145" y="766"/>
                </a:cubicBezTo>
                <a:cubicBezTo>
                  <a:pt x="144" y="758"/>
                  <a:pt x="145" y="751"/>
                  <a:pt x="145" y="751"/>
                </a:cubicBezTo>
                <a:cubicBezTo>
                  <a:pt x="145" y="751"/>
                  <a:pt x="148" y="731"/>
                  <a:pt x="143" y="733"/>
                </a:cubicBezTo>
                <a:cubicBezTo>
                  <a:pt x="138" y="735"/>
                  <a:pt x="135" y="737"/>
                  <a:pt x="137" y="742"/>
                </a:cubicBezTo>
                <a:cubicBezTo>
                  <a:pt x="140" y="746"/>
                  <a:pt x="137" y="751"/>
                  <a:pt x="137" y="751"/>
                </a:cubicBezTo>
                <a:cubicBezTo>
                  <a:pt x="140" y="758"/>
                  <a:pt x="140" y="758"/>
                  <a:pt x="140" y="758"/>
                </a:cubicBezTo>
                <a:cubicBezTo>
                  <a:pt x="139" y="762"/>
                  <a:pt x="139" y="762"/>
                  <a:pt x="139" y="762"/>
                </a:cubicBezTo>
                <a:cubicBezTo>
                  <a:pt x="139" y="762"/>
                  <a:pt x="147" y="766"/>
                  <a:pt x="137" y="772"/>
                </a:cubicBezTo>
                <a:cubicBezTo>
                  <a:pt x="128" y="779"/>
                  <a:pt x="122" y="782"/>
                  <a:pt x="119" y="781"/>
                </a:cubicBezTo>
                <a:cubicBezTo>
                  <a:pt x="117" y="779"/>
                  <a:pt x="114" y="786"/>
                  <a:pt x="114" y="786"/>
                </a:cubicBezTo>
                <a:cubicBezTo>
                  <a:pt x="112" y="795"/>
                  <a:pt x="112" y="795"/>
                  <a:pt x="112" y="795"/>
                </a:cubicBezTo>
                <a:cubicBezTo>
                  <a:pt x="112" y="795"/>
                  <a:pt x="99" y="814"/>
                  <a:pt x="97" y="813"/>
                </a:cubicBezTo>
                <a:cubicBezTo>
                  <a:pt x="94" y="812"/>
                  <a:pt x="90" y="811"/>
                  <a:pt x="90" y="811"/>
                </a:cubicBezTo>
                <a:cubicBezTo>
                  <a:pt x="80" y="821"/>
                  <a:pt x="80" y="821"/>
                  <a:pt x="80" y="821"/>
                </a:cubicBezTo>
                <a:cubicBezTo>
                  <a:pt x="69" y="824"/>
                  <a:pt x="69" y="824"/>
                  <a:pt x="69" y="824"/>
                </a:cubicBezTo>
                <a:cubicBezTo>
                  <a:pt x="57" y="828"/>
                  <a:pt x="57" y="828"/>
                  <a:pt x="57" y="828"/>
                </a:cubicBezTo>
                <a:cubicBezTo>
                  <a:pt x="57" y="828"/>
                  <a:pt x="52" y="832"/>
                  <a:pt x="48" y="829"/>
                </a:cubicBezTo>
                <a:cubicBezTo>
                  <a:pt x="44" y="825"/>
                  <a:pt x="43" y="816"/>
                  <a:pt x="43" y="816"/>
                </a:cubicBezTo>
                <a:cubicBezTo>
                  <a:pt x="43" y="816"/>
                  <a:pt x="38" y="811"/>
                  <a:pt x="31" y="810"/>
                </a:cubicBezTo>
                <a:cubicBezTo>
                  <a:pt x="23" y="808"/>
                  <a:pt x="19" y="807"/>
                  <a:pt x="17" y="805"/>
                </a:cubicBezTo>
                <a:cubicBezTo>
                  <a:pt x="15" y="802"/>
                  <a:pt x="12" y="799"/>
                  <a:pt x="12" y="795"/>
                </a:cubicBezTo>
                <a:cubicBezTo>
                  <a:pt x="13" y="791"/>
                  <a:pt x="12" y="784"/>
                  <a:pt x="17" y="782"/>
                </a:cubicBezTo>
                <a:cubicBezTo>
                  <a:pt x="23" y="781"/>
                  <a:pt x="29" y="786"/>
                  <a:pt x="29" y="786"/>
                </a:cubicBezTo>
                <a:cubicBezTo>
                  <a:pt x="31" y="779"/>
                  <a:pt x="31" y="779"/>
                  <a:pt x="31" y="779"/>
                </a:cubicBezTo>
                <a:cubicBezTo>
                  <a:pt x="31" y="779"/>
                  <a:pt x="29" y="777"/>
                  <a:pt x="27" y="775"/>
                </a:cubicBezTo>
                <a:cubicBezTo>
                  <a:pt x="26" y="772"/>
                  <a:pt x="32" y="761"/>
                  <a:pt x="33" y="757"/>
                </a:cubicBezTo>
                <a:cubicBezTo>
                  <a:pt x="33" y="753"/>
                  <a:pt x="33" y="751"/>
                  <a:pt x="33" y="751"/>
                </a:cubicBezTo>
                <a:cubicBezTo>
                  <a:pt x="33" y="751"/>
                  <a:pt x="28" y="755"/>
                  <a:pt x="25" y="758"/>
                </a:cubicBezTo>
                <a:cubicBezTo>
                  <a:pt x="23" y="762"/>
                  <a:pt x="18" y="759"/>
                  <a:pt x="15" y="763"/>
                </a:cubicBezTo>
                <a:cubicBezTo>
                  <a:pt x="12" y="767"/>
                  <a:pt x="8" y="772"/>
                  <a:pt x="6" y="766"/>
                </a:cubicBezTo>
                <a:cubicBezTo>
                  <a:pt x="4" y="759"/>
                  <a:pt x="6" y="748"/>
                  <a:pt x="9" y="748"/>
                </a:cubicBezTo>
                <a:cubicBezTo>
                  <a:pt x="11" y="748"/>
                  <a:pt x="13" y="743"/>
                  <a:pt x="15" y="747"/>
                </a:cubicBezTo>
                <a:cubicBezTo>
                  <a:pt x="17" y="752"/>
                  <a:pt x="16" y="748"/>
                  <a:pt x="20" y="747"/>
                </a:cubicBezTo>
                <a:cubicBezTo>
                  <a:pt x="23" y="746"/>
                  <a:pt x="36" y="738"/>
                  <a:pt x="31" y="737"/>
                </a:cubicBezTo>
                <a:cubicBezTo>
                  <a:pt x="26" y="737"/>
                  <a:pt x="22" y="738"/>
                  <a:pt x="24" y="735"/>
                </a:cubicBezTo>
                <a:cubicBezTo>
                  <a:pt x="27" y="731"/>
                  <a:pt x="28" y="730"/>
                  <a:pt x="30" y="726"/>
                </a:cubicBezTo>
                <a:cubicBezTo>
                  <a:pt x="32" y="723"/>
                  <a:pt x="27" y="724"/>
                  <a:pt x="32" y="718"/>
                </a:cubicBezTo>
                <a:cubicBezTo>
                  <a:pt x="37" y="712"/>
                  <a:pt x="41" y="698"/>
                  <a:pt x="43" y="702"/>
                </a:cubicBezTo>
                <a:cubicBezTo>
                  <a:pt x="45" y="705"/>
                  <a:pt x="49" y="697"/>
                  <a:pt x="49" y="697"/>
                </a:cubicBezTo>
                <a:cubicBezTo>
                  <a:pt x="49" y="697"/>
                  <a:pt x="41" y="692"/>
                  <a:pt x="39" y="695"/>
                </a:cubicBezTo>
                <a:cubicBezTo>
                  <a:pt x="36" y="698"/>
                  <a:pt x="33" y="699"/>
                  <a:pt x="33" y="702"/>
                </a:cubicBezTo>
                <a:cubicBezTo>
                  <a:pt x="32" y="705"/>
                  <a:pt x="32" y="707"/>
                  <a:pt x="31" y="710"/>
                </a:cubicBezTo>
                <a:cubicBezTo>
                  <a:pt x="30" y="713"/>
                  <a:pt x="34" y="712"/>
                  <a:pt x="26" y="718"/>
                </a:cubicBezTo>
                <a:cubicBezTo>
                  <a:pt x="19" y="723"/>
                  <a:pt x="11" y="722"/>
                  <a:pt x="10" y="719"/>
                </a:cubicBezTo>
                <a:cubicBezTo>
                  <a:pt x="10" y="717"/>
                  <a:pt x="14" y="715"/>
                  <a:pt x="9" y="716"/>
                </a:cubicBezTo>
                <a:cubicBezTo>
                  <a:pt x="4" y="716"/>
                  <a:pt x="3" y="723"/>
                  <a:pt x="2" y="716"/>
                </a:cubicBezTo>
                <a:cubicBezTo>
                  <a:pt x="2" y="708"/>
                  <a:pt x="7" y="703"/>
                  <a:pt x="10" y="705"/>
                </a:cubicBezTo>
                <a:cubicBezTo>
                  <a:pt x="14" y="708"/>
                  <a:pt x="14" y="705"/>
                  <a:pt x="16" y="705"/>
                </a:cubicBezTo>
                <a:cubicBezTo>
                  <a:pt x="19" y="705"/>
                  <a:pt x="21" y="703"/>
                  <a:pt x="21" y="703"/>
                </a:cubicBezTo>
                <a:cubicBezTo>
                  <a:pt x="21" y="703"/>
                  <a:pt x="18" y="698"/>
                  <a:pt x="17" y="696"/>
                </a:cubicBezTo>
                <a:cubicBezTo>
                  <a:pt x="17" y="694"/>
                  <a:pt x="15" y="693"/>
                  <a:pt x="13" y="695"/>
                </a:cubicBezTo>
                <a:cubicBezTo>
                  <a:pt x="11" y="697"/>
                  <a:pt x="6" y="696"/>
                  <a:pt x="6" y="694"/>
                </a:cubicBezTo>
                <a:cubicBezTo>
                  <a:pt x="6" y="693"/>
                  <a:pt x="10" y="681"/>
                  <a:pt x="7" y="680"/>
                </a:cubicBezTo>
                <a:cubicBezTo>
                  <a:pt x="4" y="680"/>
                  <a:pt x="0" y="680"/>
                  <a:pt x="2" y="676"/>
                </a:cubicBezTo>
                <a:cubicBezTo>
                  <a:pt x="3" y="672"/>
                  <a:pt x="4" y="671"/>
                  <a:pt x="4" y="671"/>
                </a:cubicBezTo>
                <a:cubicBezTo>
                  <a:pt x="14" y="673"/>
                  <a:pt x="14" y="673"/>
                  <a:pt x="14" y="673"/>
                </a:cubicBezTo>
                <a:cubicBezTo>
                  <a:pt x="14" y="673"/>
                  <a:pt x="21" y="672"/>
                  <a:pt x="23" y="672"/>
                </a:cubicBezTo>
                <a:cubicBezTo>
                  <a:pt x="25" y="672"/>
                  <a:pt x="35" y="672"/>
                  <a:pt x="39" y="671"/>
                </a:cubicBezTo>
                <a:cubicBezTo>
                  <a:pt x="42" y="669"/>
                  <a:pt x="44" y="668"/>
                  <a:pt x="48" y="674"/>
                </a:cubicBezTo>
                <a:cubicBezTo>
                  <a:pt x="52" y="680"/>
                  <a:pt x="58" y="680"/>
                  <a:pt x="58" y="677"/>
                </a:cubicBezTo>
                <a:cubicBezTo>
                  <a:pt x="58" y="673"/>
                  <a:pt x="50" y="668"/>
                  <a:pt x="56" y="667"/>
                </a:cubicBezTo>
                <a:cubicBezTo>
                  <a:pt x="61" y="666"/>
                  <a:pt x="62" y="668"/>
                  <a:pt x="65" y="665"/>
                </a:cubicBezTo>
                <a:cubicBezTo>
                  <a:pt x="68" y="662"/>
                  <a:pt x="59" y="655"/>
                  <a:pt x="63" y="649"/>
                </a:cubicBezTo>
                <a:cubicBezTo>
                  <a:pt x="63" y="649"/>
                  <a:pt x="56" y="652"/>
                  <a:pt x="57" y="656"/>
                </a:cubicBezTo>
                <a:cubicBezTo>
                  <a:pt x="58" y="660"/>
                  <a:pt x="53" y="661"/>
                  <a:pt x="49" y="662"/>
                </a:cubicBezTo>
                <a:cubicBezTo>
                  <a:pt x="45" y="662"/>
                  <a:pt x="42" y="665"/>
                  <a:pt x="41" y="665"/>
                </a:cubicBezTo>
                <a:cubicBezTo>
                  <a:pt x="39" y="665"/>
                  <a:pt x="40" y="657"/>
                  <a:pt x="38" y="657"/>
                </a:cubicBezTo>
                <a:cubicBezTo>
                  <a:pt x="36" y="657"/>
                  <a:pt x="31" y="663"/>
                  <a:pt x="25" y="665"/>
                </a:cubicBezTo>
                <a:cubicBezTo>
                  <a:pt x="19" y="666"/>
                  <a:pt x="20" y="666"/>
                  <a:pt x="16" y="666"/>
                </a:cubicBezTo>
                <a:cubicBezTo>
                  <a:pt x="12" y="667"/>
                  <a:pt x="9" y="667"/>
                  <a:pt x="9" y="667"/>
                </a:cubicBezTo>
                <a:cubicBezTo>
                  <a:pt x="9" y="667"/>
                  <a:pt x="5" y="666"/>
                  <a:pt x="5" y="662"/>
                </a:cubicBezTo>
                <a:cubicBezTo>
                  <a:pt x="6" y="657"/>
                  <a:pt x="10" y="655"/>
                  <a:pt x="12" y="653"/>
                </a:cubicBezTo>
                <a:cubicBezTo>
                  <a:pt x="14" y="651"/>
                  <a:pt x="10" y="645"/>
                  <a:pt x="10" y="645"/>
                </a:cubicBezTo>
                <a:cubicBezTo>
                  <a:pt x="3" y="634"/>
                  <a:pt x="3" y="634"/>
                  <a:pt x="3" y="634"/>
                </a:cubicBezTo>
                <a:cubicBezTo>
                  <a:pt x="12" y="627"/>
                  <a:pt x="12" y="627"/>
                  <a:pt x="12" y="627"/>
                </a:cubicBezTo>
                <a:cubicBezTo>
                  <a:pt x="12" y="627"/>
                  <a:pt x="12" y="628"/>
                  <a:pt x="15" y="630"/>
                </a:cubicBezTo>
                <a:cubicBezTo>
                  <a:pt x="19" y="632"/>
                  <a:pt x="22" y="630"/>
                  <a:pt x="25" y="629"/>
                </a:cubicBezTo>
                <a:cubicBezTo>
                  <a:pt x="28" y="629"/>
                  <a:pt x="34" y="630"/>
                  <a:pt x="34" y="630"/>
                </a:cubicBezTo>
                <a:cubicBezTo>
                  <a:pt x="32" y="619"/>
                  <a:pt x="32" y="619"/>
                  <a:pt x="32" y="619"/>
                </a:cubicBezTo>
                <a:cubicBezTo>
                  <a:pt x="28" y="611"/>
                  <a:pt x="28" y="611"/>
                  <a:pt x="28" y="611"/>
                </a:cubicBezTo>
                <a:cubicBezTo>
                  <a:pt x="32" y="604"/>
                  <a:pt x="32" y="604"/>
                  <a:pt x="32" y="604"/>
                </a:cubicBezTo>
                <a:cubicBezTo>
                  <a:pt x="32" y="604"/>
                  <a:pt x="36" y="611"/>
                  <a:pt x="38" y="611"/>
                </a:cubicBezTo>
                <a:cubicBezTo>
                  <a:pt x="41" y="611"/>
                  <a:pt x="38" y="601"/>
                  <a:pt x="42" y="599"/>
                </a:cubicBezTo>
                <a:cubicBezTo>
                  <a:pt x="45" y="597"/>
                  <a:pt x="42" y="593"/>
                  <a:pt x="46" y="598"/>
                </a:cubicBezTo>
                <a:cubicBezTo>
                  <a:pt x="50" y="603"/>
                  <a:pt x="44" y="607"/>
                  <a:pt x="47" y="610"/>
                </a:cubicBezTo>
                <a:cubicBezTo>
                  <a:pt x="50" y="614"/>
                  <a:pt x="46" y="614"/>
                  <a:pt x="54" y="609"/>
                </a:cubicBezTo>
                <a:cubicBezTo>
                  <a:pt x="62" y="604"/>
                  <a:pt x="61" y="598"/>
                  <a:pt x="61" y="598"/>
                </a:cubicBezTo>
                <a:cubicBezTo>
                  <a:pt x="61" y="598"/>
                  <a:pt x="52" y="586"/>
                  <a:pt x="49" y="586"/>
                </a:cubicBezTo>
                <a:cubicBezTo>
                  <a:pt x="47" y="587"/>
                  <a:pt x="47" y="587"/>
                  <a:pt x="47" y="587"/>
                </a:cubicBezTo>
                <a:cubicBezTo>
                  <a:pt x="47" y="587"/>
                  <a:pt x="55" y="579"/>
                  <a:pt x="58" y="584"/>
                </a:cubicBezTo>
                <a:cubicBezTo>
                  <a:pt x="61" y="589"/>
                  <a:pt x="65" y="587"/>
                  <a:pt x="68" y="585"/>
                </a:cubicBezTo>
                <a:cubicBezTo>
                  <a:pt x="70" y="584"/>
                  <a:pt x="70" y="580"/>
                  <a:pt x="70" y="580"/>
                </a:cubicBezTo>
                <a:cubicBezTo>
                  <a:pt x="70" y="580"/>
                  <a:pt x="68" y="577"/>
                  <a:pt x="64" y="578"/>
                </a:cubicBezTo>
                <a:cubicBezTo>
                  <a:pt x="61" y="578"/>
                  <a:pt x="59" y="574"/>
                  <a:pt x="58" y="574"/>
                </a:cubicBezTo>
                <a:cubicBezTo>
                  <a:pt x="56" y="575"/>
                  <a:pt x="53" y="573"/>
                  <a:pt x="53" y="573"/>
                </a:cubicBezTo>
                <a:cubicBezTo>
                  <a:pt x="53" y="573"/>
                  <a:pt x="49" y="567"/>
                  <a:pt x="52" y="566"/>
                </a:cubicBezTo>
                <a:cubicBezTo>
                  <a:pt x="56" y="565"/>
                  <a:pt x="58" y="560"/>
                  <a:pt x="60" y="562"/>
                </a:cubicBezTo>
                <a:cubicBezTo>
                  <a:pt x="61" y="565"/>
                  <a:pt x="62" y="564"/>
                  <a:pt x="65" y="566"/>
                </a:cubicBezTo>
                <a:cubicBezTo>
                  <a:pt x="68" y="568"/>
                  <a:pt x="71" y="565"/>
                  <a:pt x="71" y="565"/>
                </a:cubicBezTo>
                <a:cubicBezTo>
                  <a:pt x="71" y="565"/>
                  <a:pt x="79" y="567"/>
                  <a:pt x="79" y="565"/>
                </a:cubicBezTo>
                <a:cubicBezTo>
                  <a:pt x="80" y="564"/>
                  <a:pt x="76" y="555"/>
                  <a:pt x="73" y="557"/>
                </a:cubicBezTo>
                <a:cubicBezTo>
                  <a:pt x="71" y="559"/>
                  <a:pt x="65" y="556"/>
                  <a:pt x="65" y="556"/>
                </a:cubicBezTo>
                <a:cubicBezTo>
                  <a:pt x="77" y="550"/>
                  <a:pt x="77" y="550"/>
                  <a:pt x="77" y="550"/>
                </a:cubicBezTo>
                <a:cubicBezTo>
                  <a:pt x="77" y="550"/>
                  <a:pt x="79" y="544"/>
                  <a:pt x="81" y="547"/>
                </a:cubicBezTo>
                <a:cubicBezTo>
                  <a:pt x="83" y="550"/>
                  <a:pt x="81" y="550"/>
                  <a:pt x="85" y="549"/>
                </a:cubicBezTo>
                <a:cubicBezTo>
                  <a:pt x="89" y="548"/>
                  <a:pt x="89" y="548"/>
                  <a:pt x="90" y="545"/>
                </a:cubicBezTo>
                <a:cubicBezTo>
                  <a:pt x="90" y="542"/>
                  <a:pt x="88" y="536"/>
                  <a:pt x="93" y="539"/>
                </a:cubicBezTo>
                <a:cubicBezTo>
                  <a:pt x="98" y="541"/>
                  <a:pt x="96" y="537"/>
                  <a:pt x="99" y="536"/>
                </a:cubicBezTo>
                <a:cubicBezTo>
                  <a:pt x="103" y="534"/>
                  <a:pt x="106" y="533"/>
                  <a:pt x="106" y="533"/>
                </a:cubicBezTo>
                <a:cubicBezTo>
                  <a:pt x="106" y="533"/>
                  <a:pt x="110" y="541"/>
                  <a:pt x="111" y="541"/>
                </a:cubicBezTo>
                <a:cubicBezTo>
                  <a:pt x="113" y="540"/>
                  <a:pt x="113" y="534"/>
                  <a:pt x="113" y="534"/>
                </a:cubicBezTo>
                <a:cubicBezTo>
                  <a:pt x="115" y="525"/>
                  <a:pt x="115" y="525"/>
                  <a:pt x="115" y="525"/>
                </a:cubicBezTo>
                <a:cubicBezTo>
                  <a:pt x="115" y="525"/>
                  <a:pt x="113" y="518"/>
                  <a:pt x="121" y="521"/>
                </a:cubicBezTo>
                <a:cubicBezTo>
                  <a:pt x="129" y="524"/>
                  <a:pt x="129" y="526"/>
                  <a:pt x="129" y="526"/>
                </a:cubicBezTo>
                <a:cubicBezTo>
                  <a:pt x="129" y="526"/>
                  <a:pt x="128" y="535"/>
                  <a:pt x="129" y="537"/>
                </a:cubicBezTo>
                <a:cubicBezTo>
                  <a:pt x="131" y="540"/>
                  <a:pt x="137" y="534"/>
                  <a:pt x="137" y="534"/>
                </a:cubicBezTo>
                <a:cubicBezTo>
                  <a:pt x="137" y="534"/>
                  <a:pt x="142" y="531"/>
                  <a:pt x="144" y="528"/>
                </a:cubicBezTo>
                <a:cubicBezTo>
                  <a:pt x="146" y="524"/>
                  <a:pt x="154" y="515"/>
                  <a:pt x="158" y="515"/>
                </a:cubicBezTo>
                <a:cubicBezTo>
                  <a:pt x="162" y="514"/>
                  <a:pt x="163" y="511"/>
                  <a:pt x="165" y="514"/>
                </a:cubicBezTo>
                <a:cubicBezTo>
                  <a:pt x="167" y="517"/>
                  <a:pt x="171" y="517"/>
                  <a:pt x="170" y="512"/>
                </a:cubicBezTo>
                <a:cubicBezTo>
                  <a:pt x="169" y="507"/>
                  <a:pt x="164" y="508"/>
                  <a:pt x="164" y="504"/>
                </a:cubicBezTo>
                <a:cubicBezTo>
                  <a:pt x="164" y="500"/>
                  <a:pt x="168" y="497"/>
                  <a:pt x="165" y="498"/>
                </a:cubicBezTo>
                <a:cubicBezTo>
                  <a:pt x="163" y="498"/>
                  <a:pt x="154" y="501"/>
                  <a:pt x="155" y="504"/>
                </a:cubicBezTo>
                <a:cubicBezTo>
                  <a:pt x="156" y="508"/>
                  <a:pt x="129" y="519"/>
                  <a:pt x="130" y="517"/>
                </a:cubicBezTo>
                <a:cubicBezTo>
                  <a:pt x="130" y="514"/>
                  <a:pt x="134" y="510"/>
                  <a:pt x="130" y="511"/>
                </a:cubicBezTo>
                <a:cubicBezTo>
                  <a:pt x="126" y="513"/>
                  <a:pt x="119" y="514"/>
                  <a:pt x="121" y="509"/>
                </a:cubicBezTo>
                <a:cubicBezTo>
                  <a:pt x="123" y="504"/>
                  <a:pt x="130" y="501"/>
                  <a:pt x="130" y="501"/>
                </a:cubicBezTo>
                <a:cubicBezTo>
                  <a:pt x="134" y="498"/>
                  <a:pt x="134" y="498"/>
                  <a:pt x="134" y="498"/>
                </a:cubicBezTo>
                <a:cubicBezTo>
                  <a:pt x="127" y="495"/>
                  <a:pt x="127" y="495"/>
                  <a:pt x="127" y="495"/>
                </a:cubicBezTo>
                <a:cubicBezTo>
                  <a:pt x="127" y="495"/>
                  <a:pt x="134" y="489"/>
                  <a:pt x="136" y="487"/>
                </a:cubicBezTo>
                <a:cubicBezTo>
                  <a:pt x="137" y="484"/>
                  <a:pt x="144" y="477"/>
                  <a:pt x="146" y="476"/>
                </a:cubicBezTo>
                <a:cubicBezTo>
                  <a:pt x="148" y="474"/>
                  <a:pt x="146" y="471"/>
                  <a:pt x="148" y="468"/>
                </a:cubicBezTo>
                <a:cubicBezTo>
                  <a:pt x="150" y="466"/>
                  <a:pt x="150" y="459"/>
                  <a:pt x="154" y="461"/>
                </a:cubicBezTo>
                <a:cubicBezTo>
                  <a:pt x="158" y="463"/>
                  <a:pt x="158" y="470"/>
                  <a:pt x="162" y="468"/>
                </a:cubicBezTo>
                <a:cubicBezTo>
                  <a:pt x="165" y="466"/>
                  <a:pt x="164" y="459"/>
                  <a:pt x="166" y="457"/>
                </a:cubicBezTo>
                <a:cubicBezTo>
                  <a:pt x="168" y="456"/>
                  <a:pt x="169" y="447"/>
                  <a:pt x="166" y="447"/>
                </a:cubicBezTo>
                <a:cubicBezTo>
                  <a:pt x="164" y="447"/>
                  <a:pt x="162" y="443"/>
                  <a:pt x="165" y="441"/>
                </a:cubicBezTo>
                <a:cubicBezTo>
                  <a:pt x="168" y="438"/>
                  <a:pt x="169" y="423"/>
                  <a:pt x="173" y="431"/>
                </a:cubicBezTo>
                <a:cubicBezTo>
                  <a:pt x="177" y="439"/>
                  <a:pt x="174" y="432"/>
                  <a:pt x="178" y="429"/>
                </a:cubicBezTo>
                <a:cubicBezTo>
                  <a:pt x="182" y="427"/>
                  <a:pt x="182" y="429"/>
                  <a:pt x="185" y="430"/>
                </a:cubicBezTo>
                <a:cubicBezTo>
                  <a:pt x="188" y="432"/>
                  <a:pt x="187" y="429"/>
                  <a:pt x="190" y="426"/>
                </a:cubicBezTo>
                <a:cubicBezTo>
                  <a:pt x="192" y="423"/>
                  <a:pt x="192" y="419"/>
                  <a:pt x="192" y="419"/>
                </a:cubicBezTo>
                <a:cubicBezTo>
                  <a:pt x="186" y="416"/>
                  <a:pt x="186" y="416"/>
                  <a:pt x="186" y="416"/>
                </a:cubicBezTo>
                <a:cubicBezTo>
                  <a:pt x="186" y="416"/>
                  <a:pt x="183" y="403"/>
                  <a:pt x="189" y="406"/>
                </a:cubicBezTo>
                <a:cubicBezTo>
                  <a:pt x="195" y="409"/>
                  <a:pt x="196" y="410"/>
                  <a:pt x="196" y="405"/>
                </a:cubicBezTo>
                <a:cubicBezTo>
                  <a:pt x="196" y="401"/>
                  <a:pt x="194" y="399"/>
                  <a:pt x="193" y="396"/>
                </a:cubicBezTo>
                <a:cubicBezTo>
                  <a:pt x="193" y="394"/>
                  <a:pt x="189" y="391"/>
                  <a:pt x="195" y="389"/>
                </a:cubicBezTo>
                <a:cubicBezTo>
                  <a:pt x="200" y="387"/>
                  <a:pt x="189" y="388"/>
                  <a:pt x="197" y="383"/>
                </a:cubicBezTo>
                <a:cubicBezTo>
                  <a:pt x="204" y="379"/>
                  <a:pt x="195" y="376"/>
                  <a:pt x="201" y="372"/>
                </a:cubicBezTo>
                <a:cubicBezTo>
                  <a:pt x="207" y="369"/>
                  <a:pt x="191" y="367"/>
                  <a:pt x="202" y="364"/>
                </a:cubicBezTo>
                <a:cubicBezTo>
                  <a:pt x="213" y="361"/>
                  <a:pt x="210" y="353"/>
                  <a:pt x="214" y="358"/>
                </a:cubicBezTo>
                <a:cubicBezTo>
                  <a:pt x="219" y="364"/>
                  <a:pt x="232" y="361"/>
                  <a:pt x="228" y="357"/>
                </a:cubicBezTo>
                <a:cubicBezTo>
                  <a:pt x="224" y="354"/>
                  <a:pt x="218" y="354"/>
                  <a:pt x="216" y="350"/>
                </a:cubicBezTo>
                <a:cubicBezTo>
                  <a:pt x="213" y="347"/>
                  <a:pt x="209" y="340"/>
                  <a:pt x="214" y="336"/>
                </a:cubicBezTo>
                <a:cubicBezTo>
                  <a:pt x="220" y="332"/>
                  <a:pt x="217" y="329"/>
                  <a:pt x="221" y="326"/>
                </a:cubicBezTo>
                <a:cubicBezTo>
                  <a:pt x="226" y="322"/>
                  <a:pt x="218" y="320"/>
                  <a:pt x="224" y="316"/>
                </a:cubicBezTo>
                <a:cubicBezTo>
                  <a:pt x="230" y="311"/>
                  <a:pt x="228" y="306"/>
                  <a:pt x="232" y="306"/>
                </a:cubicBezTo>
                <a:cubicBezTo>
                  <a:pt x="237" y="306"/>
                  <a:pt x="241" y="304"/>
                  <a:pt x="244" y="301"/>
                </a:cubicBezTo>
                <a:cubicBezTo>
                  <a:pt x="246" y="298"/>
                  <a:pt x="241" y="296"/>
                  <a:pt x="247" y="294"/>
                </a:cubicBezTo>
                <a:cubicBezTo>
                  <a:pt x="254" y="293"/>
                  <a:pt x="255" y="293"/>
                  <a:pt x="257" y="296"/>
                </a:cubicBezTo>
                <a:cubicBezTo>
                  <a:pt x="258" y="299"/>
                  <a:pt x="258" y="297"/>
                  <a:pt x="261" y="296"/>
                </a:cubicBezTo>
                <a:cubicBezTo>
                  <a:pt x="265" y="295"/>
                  <a:pt x="264" y="290"/>
                  <a:pt x="264" y="290"/>
                </a:cubicBezTo>
                <a:cubicBezTo>
                  <a:pt x="253" y="285"/>
                  <a:pt x="253" y="285"/>
                  <a:pt x="253" y="285"/>
                </a:cubicBezTo>
                <a:cubicBezTo>
                  <a:pt x="248" y="279"/>
                  <a:pt x="248" y="279"/>
                  <a:pt x="248" y="279"/>
                </a:cubicBezTo>
                <a:cubicBezTo>
                  <a:pt x="248" y="279"/>
                  <a:pt x="249" y="270"/>
                  <a:pt x="254" y="271"/>
                </a:cubicBezTo>
                <a:cubicBezTo>
                  <a:pt x="260" y="272"/>
                  <a:pt x="261" y="272"/>
                  <a:pt x="261" y="272"/>
                </a:cubicBezTo>
                <a:cubicBezTo>
                  <a:pt x="269" y="273"/>
                  <a:pt x="269" y="273"/>
                  <a:pt x="269" y="273"/>
                </a:cubicBezTo>
                <a:cubicBezTo>
                  <a:pt x="269" y="273"/>
                  <a:pt x="277" y="266"/>
                  <a:pt x="274" y="266"/>
                </a:cubicBezTo>
                <a:cubicBezTo>
                  <a:pt x="271" y="266"/>
                  <a:pt x="265" y="267"/>
                  <a:pt x="266" y="263"/>
                </a:cubicBezTo>
                <a:cubicBezTo>
                  <a:pt x="268" y="258"/>
                  <a:pt x="270" y="253"/>
                  <a:pt x="272" y="251"/>
                </a:cubicBezTo>
                <a:cubicBezTo>
                  <a:pt x="274" y="249"/>
                  <a:pt x="262" y="249"/>
                  <a:pt x="271" y="243"/>
                </a:cubicBezTo>
                <a:cubicBezTo>
                  <a:pt x="279" y="238"/>
                  <a:pt x="272" y="229"/>
                  <a:pt x="279" y="232"/>
                </a:cubicBezTo>
                <a:cubicBezTo>
                  <a:pt x="285" y="234"/>
                  <a:pt x="283" y="234"/>
                  <a:pt x="286" y="239"/>
                </a:cubicBezTo>
                <a:cubicBezTo>
                  <a:pt x="289" y="243"/>
                  <a:pt x="289" y="243"/>
                  <a:pt x="293" y="241"/>
                </a:cubicBezTo>
                <a:cubicBezTo>
                  <a:pt x="296" y="239"/>
                  <a:pt x="295" y="232"/>
                  <a:pt x="295" y="232"/>
                </a:cubicBezTo>
                <a:cubicBezTo>
                  <a:pt x="295" y="232"/>
                  <a:pt x="293" y="222"/>
                  <a:pt x="291" y="222"/>
                </a:cubicBezTo>
                <a:cubicBezTo>
                  <a:pt x="289" y="222"/>
                  <a:pt x="283" y="216"/>
                  <a:pt x="287" y="216"/>
                </a:cubicBezTo>
                <a:cubicBezTo>
                  <a:pt x="292" y="215"/>
                  <a:pt x="297" y="206"/>
                  <a:pt x="300" y="210"/>
                </a:cubicBezTo>
                <a:cubicBezTo>
                  <a:pt x="304" y="215"/>
                  <a:pt x="299" y="207"/>
                  <a:pt x="304" y="213"/>
                </a:cubicBezTo>
                <a:cubicBezTo>
                  <a:pt x="309" y="218"/>
                  <a:pt x="307" y="216"/>
                  <a:pt x="312" y="215"/>
                </a:cubicBezTo>
                <a:cubicBezTo>
                  <a:pt x="316" y="213"/>
                  <a:pt x="318" y="209"/>
                  <a:pt x="318" y="205"/>
                </a:cubicBezTo>
                <a:cubicBezTo>
                  <a:pt x="319" y="201"/>
                  <a:pt x="318" y="192"/>
                  <a:pt x="314" y="198"/>
                </a:cubicBezTo>
                <a:cubicBezTo>
                  <a:pt x="309" y="204"/>
                  <a:pt x="307" y="202"/>
                  <a:pt x="304" y="202"/>
                </a:cubicBezTo>
                <a:cubicBezTo>
                  <a:pt x="300" y="203"/>
                  <a:pt x="300" y="195"/>
                  <a:pt x="297" y="197"/>
                </a:cubicBezTo>
                <a:cubicBezTo>
                  <a:pt x="295" y="199"/>
                  <a:pt x="292" y="192"/>
                  <a:pt x="300" y="190"/>
                </a:cubicBezTo>
                <a:cubicBezTo>
                  <a:pt x="307" y="187"/>
                  <a:pt x="293" y="191"/>
                  <a:pt x="308" y="178"/>
                </a:cubicBezTo>
                <a:cubicBezTo>
                  <a:pt x="323" y="165"/>
                  <a:pt x="320" y="163"/>
                  <a:pt x="323" y="164"/>
                </a:cubicBezTo>
                <a:cubicBezTo>
                  <a:pt x="325" y="164"/>
                  <a:pt x="325" y="161"/>
                  <a:pt x="329" y="159"/>
                </a:cubicBezTo>
                <a:cubicBezTo>
                  <a:pt x="333" y="157"/>
                  <a:pt x="332" y="153"/>
                  <a:pt x="333" y="152"/>
                </a:cubicBezTo>
                <a:cubicBezTo>
                  <a:pt x="334" y="150"/>
                  <a:pt x="334" y="147"/>
                  <a:pt x="334" y="144"/>
                </a:cubicBezTo>
                <a:cubicBezTo>
                  <a:pt x="334" y="140"/>
                  <a:pt x="335" y="136"/>
                  <a:pt x="336" y="134"/>
                </a:cubicBezTo>
                <a:cubicBezTo>
                  <a:pt x="337" y="132"/>
                  <a:pt x="338" y="127"/>
                  <a:pt x="338" y="127"/>
                </a:cubicBezTo>
                <a:cubicBezTo>
                  <a:pt x="338" y="127"/>
                  <a:pt x="340" y="135"/>
                  <a:pt x="342" y="138"/>
                </a:cubicBezTo>
                <a:cubicBezTo>
                  <a:pt x="344" y="140"/>
                  <a:pt x="345" y="133"/>
                  <a:pt x="347" y="139"/>
                </a:cubicBezTo>
                <a:cubicBezTo>
                  <a:pt x="348" y="144"/>
                  <a:pt x="348" y="143"/>
                  <a:pt x="351" y="142"/>
                </a:cubicBezTo>
                <a:cubicBezTo>
                  <a:pt x="354" y="141"/>
                  <a:pt x="355" y="138"/>
                  <a:pt x="355" y="138"/>
                </a:cubicBezTo>
                <a:cubicBezTo>
                  <a:pt x="355" y="138"/>
                  <a:pt x="349" y="126"/>
                  <a:pt x="353" y="128"/>
                </a:cubicBezTo>
                <a:cubicBezTo>
                  <a:pt x="357" y="129"/>
                  <a:pt x="360" y="128"/>
                  <a:pt x="360" y="134"/>
                </a:cubicBezTo>
                <a:cubicBezTo>
                  <a:pt x="360" y="140"/>
                  <a:pt x="362" y="134"/>
                  <a:pt x="364" y="142"/>
                </a:cubicBezTo>
                <a:cubicBezTo>
                  <a:pt x="365" y="150"/>
                  <a:pt x="368" y="148"/>
                  <a:pt x="370" y="151"/>
                </a:cubicBezTo>
                <a:cubicBezTo>
                  <a:pt x="371" y="153"/>
                  <a:pt x="375" y="151"/>
                  <a:pt x="375" y="148"/>
                </a:cubicBezTo>
                <a:cubicBezTo>
                  <a:pt x="375" y="145"/>
                  <a:pt x="372" y="137"/>
                  <a:pt x="369" y="134"/>
                </a:cubicBezTo>
                <a:cubicBezTo>
                  <a:pt x="367" y="131"/>
                  <a:pt x="364" y="125"/>
                  <a:pt x="365" y="122"/>
                </a:cubicBezTo>
                <a:cubicBezTo>
                  <a:pt x="366" y="120"/>
                  <a:pt x="361" y="114"/>
                  <a:pt x="367" y="113"/>
                </a:cubicBezTo>
                <a:cubicBezTo>
                  <a:pt x="372" y="113"/>
                  <a:pt x="374" y="111"/>
                  <a:pt x="374" y="111"/>
                </a:cubicBezTo>
                <a:cubicBezTo>
                  <a:pt x="374" y="111"/>
                  <a:pt x="376" y="122"/>
                  <a:pt x="377" y="127"/>
                </a:cubicBezTo>
                <a:cubicBezTo>
                  <a:pt x="378" y="131"/>
                  <a:pt x="383" y="121"/>
                  <a:pt x="383" y="119"/>
                </a:cubicBezTo>
                <a:cubicBezTo>
                  <a:pt x="383" y="116"/>
                  <a:pt x="381" y="110"/>
                  <a:pt x="383" y="110"/>
                </a:cubicBezTo>
                <a:cubicBezTo>
                  <a:pt x="385" y="110"/>
                  <a:pt x="383" y="105"/>
                  <a:pt x="385" y="104"/>
                </a:cubicBezTo>
                <a:cubicBezTo>
                  <a:pt x="387" y="103"/>
                  <a:pt x="392" y="96"/>
                  <a:pt x="393" y="100"/>
                </a:cubicBezTo>
                <a:cubicBezTo>
                  <a:pt x="395" y="103"/>
                  <a:pt x="392" y="113"/>
                  <a:pt x="391" y="115"/>
                </a:cubicBezTo>
                <a:cubicBezTo>
                  <a:pt x="390" y="116"/>
                  <a:pt x="389" y="119"/>
                  <a:pt x="389" y="119"/>
                </a:cubicBezTo>
                <a:cubicBezTo>
                  <a:pt x="389" y="119"/>
                  <a:pt x="388" y="138"/>
                  <a:pt x="392" y="136"/>
                </a:cubicBezTo>
                <a:cubicBezTo>
                  <a:pt x="396" y="134"/>
                  <a:pt x="394" y="129"/>
                  <a:pt x="397" y="128"/>
                </a:cubicBezTo>
                <a:cubicBezTo>
                  <a:pt x="401" y="127"/>
                  <a:pt x="391" y="126"/>
                  <a:pt x="398" y="120"/>
                </a:cubicBezTo>
                <a:cubicBezTo>
                  <a:pt x="405" y="114"/>
                  <a:pt x="403" y="111"/>
                  <a:pt x="405" y="108"/>
                </a:cubicBezTo>
                <a:cubicBezTo>
                  <a:pt x="408" y="105"/>
                  <a:pt x="401" y="102"/>
                  <a:pt x="407" y="100"/>
                </a:cubicBezTo>
                <a:cubicBezTo>
                  <a:pt x="412" y="99"/>
                  <a:pt x="407" y="107"/>
                  <a:pt x="413" y="103"/>
                </a:cubicBezTo>
                <a:cubicBezTo>
                  <a:pt x="420" y="99"/>
                  <a:pt x="415" y="94"/>
                  <a:pt x="416" y="92"/>
                </a:cubicBezTo>
                <a:cubicBezTo>
                  <a:pt x="417" y="90"/>
                  <a:pt x="425" y="100"/>
                  <a:pt x="426" y="102"/>
                </a:cubicBezTo>
                <a:cubicBezTo>
                  <a:pt x="427" y="103"/>
                  <a:pt x="428" y="99"/>
                  <a:pt x="431" y="103"/>
                </a:cubicBezTo>
                <a:cubicBezTo>
                  <a:pt x="434" y="106"/>
                  <a:pt x="434" y="111"/>
                  <a:pt x="436" y="113"/>
                </a:cubicBezTo>
                <a:cubicBezTo>
                  <a:pt x="438" y="114"/>
                  <a:pt x="441" y="105"/>
                  <a:pt x="439" y="101"/>
                </a:cubicBezTo>
                <a:cubicBezTo>
                  <a:pt x="436" y="96"/>
                  <a:pt x="439" y="91"/>
                  <a:pt x="439" y="91"/>
                </a:cubicBezTo>
                <a:cubicBezTo>
                  <a:pt x="439" y="91"/>
                  <a:pt x="436" y="86"/>
                  <a:pt x="435" y="86"/>
                </a:cubicBezTo>
                <a:cubicBezTo>
                  <a:pt x="433" y="85"/>
                  <a:pt x="431" y="77"/>
                  <a:pt x="431" y="77"/>
                </a:cubicBezTo>
                <a:cubicBezTo>
                  <a:pt x="437" y="68"/>
                  <a:pt x="437" y="68"/>
                  <a:pt x="437" y="68"/>
                </a:cubicBezTo>
                <a:cubicBezTo>
                  <a:pt x="442" y="75"/>
                  <a:pt x="442" y="75"/>
                  <a:pt x="442" y="75"/>
                </a:cubicBezTo>
                <a:cubicBezTo>
                  <a:pt x="442" y="75"/>
                  <a:pt x="441" y="87"/>
                  <a:pt x="445" y="85"/>
                </a:cubicBezTo>
                <a:cubicBezTo>
                  <a:pt x="449" y="83"/>
                  <a:pt x="450" y="83"/>
                  <a:pt x="451" y="78"/>
                </a:cubicBezTo>
                <a:cubicBezTo>
                  <a:pt x="452" y="74"/>
                  <a:pt x="456" y="74"/>
                  <a:pt x="456" y="74"/>
                </a:cubicBezTo>
                <a:cubicBezTo>
                  <a:pt x="456" y="74"/>
                  <a:pt x="452" y="78"/>
                  <a:pt x="458" y="78"/>
                </a:cubicBezTo>
                <a:cubicBezTo>
                  <a:pt x="464" y="77"/>
                  <a:pt x="466" y="75"/>
                  <a:pt x="464" y="80"/>
                </a:cubicBezTo>
                <a:cubicBezTo>
                  <a:pt x="463" y="85"/>
                  <a:pt x="460" y="84"/>
                  <a:pt x="462" y="89"/>
                </a:cubicBezTo>
                <a:cubicBezTo>
                  <a:pt x="463" y="94"/>
                  <a:pt x="463" y="96"/>
                  <a:pt x="467" y="94"/>
                </a:cubicBezTo>
                <a:cubicBezTo>
                  <a:pt x="471" y="92"/>
                  <a:pt x="473" y="83"/>
                  <a:pt x="472" y="77"/>
                </a:cubicBezTo>
                <a:cubicBezTo>
                  <a:pt x="471" y="72"/>
                  <a:pt x="469" y="74"/>
                  <a:pt x="474" y="71"/>
                </a:cubicBezTo>
                <a:cubicBezTo>
                  <a:pt x="478" y="67"/>
                  <a:pt x="479" y="66"/>
                  <a:pt x="482" y="62"/>
                </a:cubicBezTo>
                <a:cubicBezTo>
                  <a:pt x="484" y="58"/>
                  <a:pt x="483" y="58"/>
                  <a:pt x="485" y="54"/>
                </a:cubicBezTo>
                <a:cubicBezTo>
                  <a:pt x="487" y="51"/>
                  <a:pt x="492" y="53"/>
                  <a:pt x="492" y="53"/>
                </a:cubicBezTo>
                <a:cubicBezTo>
                  <a:pt x="492" y="53"/>
                  <a:pt x="494" y="54"/>
                  <a:pt x="497" y="55"/>
                </a:cubicBezTo>
                <a:cubicBezTo>
                  <a:pt x="501" y="56"/>
                  <a:pt x="503" y="49"/>
                  <a:pt x="501" y="44"/>
                </a:cubicBezTo>
                <a:cubicBezTo>
                  <a:pt x="498" y="39"/>
                  <a:pt x="508" y="28"/>
                  <a:pt x="503" y="27"/>
                </a:cubicBezTo>
                <a:cubicBezTo>
                  <a:pt x="497" y="26"/>
                  <a:pt x="498" y="21"/>
                  <a:pt x="501" y="19"/>
                </a:cubicBezTo>
                <a:cubicBezTo>
                  <a:pt x="503" y="17"/>
                  <a:pt x="503" y="11"/>
                  <a:pt x="503" y="11"/>
                </a:cubicBezTo>
                <a:cubicBezTo>
                  <a:pt x="511" y="14"/>
                  <a:pt x="511" y="14"/>
                  <a:pt x="511" y="14"/>
                </a:cubicBezTo>
                <a:cubicBezTo>
                  <a:pt x="516" y="18"/>
                  <a:pt x="516" y="18"/>
                  <a:pt x="516" y="18"/>
                </a:cubicBezTo>
                <a:cubicBezTo>
                  <a:pt x="516" y="18"/>
                  <a:pt x="517" y="17"/>
                  <a:pt x="517" y="23"/>
                </a:cubicBezTo>
                <a:cubicBezTo>
                  <a:pt x="517" y="29"/>
                  <a:pt x="520" y="24"/>
                  <a:pt x="521" y="25"/>
                </a:cubicBezTo>
                <a:cubicBezTo>
                  <a:pt x="523" y="25"/>
                  <a:pt x="518" y="20"/>
                  <a:pt x="525" y="22"/>
                </a:cubicBezTo>
                <a:cubicBezTo>
                  <a:pt x="532" y="25"/>
                  <a:pt x="532" y="28"/>
                  <a:pt x="529" y="31"/>
                </a:cubicBezTo>
                <a:cubicBezTo>
                  <a:pt x="525" y="35"/>
                  <a:pt x="519" y="43"/>
                  <a:pt x="519" y="47"/>
                </a:cubicBezTo>
                <a:cubicBezTo>
                  <a:pt x="520" y="51"/>
                  <a:pt x="520" y="55"/>
                  <a:pt x="518" y="60"/>
                </a:cubicBezTo>
                <a:cubicBezTo>
                  <a:pt x="516" y="65"/>
                  <a:pt x="515" y="66"/>
                  <a:pt x="516" y="69"/>
                </a:cubicBezTo>
                <a:cubicBezTo>
                  <a:pt x="517" y="73"/>
                  <a:pt x="512" y="74"/>
                  <a:pt x="512" y="77"/>
                </a:cubicBezTo>
                <a:cubicBezTo>
                  <a:pt x="512" y="80"/>
                  <a:pt x="519" y="80"/>
                  <a:pt x="519" y="80"/>
                </a:cubicBezTo>
                <a:cubicBezTo>
                  <a:pt x="524" y="69"/>
                  <a:pt x="524" y="69"/>
                  <a:pt x="524" y="69"/>
                </a:cubicBezTo>
                <a:cubicBezTo>
                  <a:pt x="524" y="69"/>
                  <a:pt x="524" y="68"/>
                  <a:pt x="524" y="63"/>
                </a:cubicBezTo>
                <a:cubicBezTo>
                  <a:pt x="525" y="58"/>
                  <a:pt x="532" y="54"/>
                  <a:pt x="532" y="54"/>
                </a:cubicBezTo>
                <a:cubicBezTo>
                  <a:pt x="532" y="54"/>
                  <a:pt x="534" y="51"/>
                  <a:pt x="536" y="46"/>
                </a:cubicBezTo>
                <a:cubicBezTo>
                  <a:pt x="538" y="41"/>
                  <a:pt x="538" y="45"/>
                  <a:pt x="540" y="39"/>
                </a:cubicBezTo>
                <a:cubicBezTo>
                  <a:pt x="542" y="32"/>
                  <a:pt x="550" y="30"/>
                  <a:pt x="550" y="26"/>
                </a:cubicBezTo>
                <a:cubicBezTo>
                  <a:pt x="550" y="22"/>
                  <a:pt x="551" y="19"/>
                  <a:pt x="553" y="18"/>
                </a:cubicBezTo>
                <a:cubicBezTo>
                  <a:pt x="555" y="17"/>
                  <a:pt x="557" y="12"/>
                  <a:pt x="558" y="21"/>
                </a:cubicBezTo>
                <a:cubicBezTo>
                  <a:pt x="558" y="31"/>
                  <a:pt x="560" y="29"/>
                  <a:pt x="556" y="35"/>
                </a:cubicBezTo>
                <a:cubicBezTo>
                  <a:pt x="551" y="41"/>
                  <a:pt x="544" y="41"/>
                  <a:pt x="550" y="42"/>
                </a:cubicBezTo>
                <a:cubicBezTo>
                  <a:pt x="556" y="43"/>
                  <a:pt x="560" y="41"/>
                  <a:pt x="559" y="45"/>
                </a:cubicBezTo>
                <a:cubicBezTo>
                  <a:pt x="557" y="48"/>
                  <a:pt x="549" y="51"/>
                  <a:pt x="554" y="54"/>
                </a:cubicBezTo>
                <a:cubicBezTo>
                  <a:pt x="559" y="58"/>
                  <a:pt x="560" y="53"/>
                  <a:pt x="563" y="53"/>
                </a:cubicBezTo>
                <a:cubicBezTo>
                  <a:pt x="565" y="52"/>
                  <a:pt x="568" y="48"/>
                  <a:pt x="568" y="48"/>
                </a:cubicBezTo>
                <a:cubicBezTo>
                  <a:pt x="568" y="40"/>
                  <a:pt x="568" y="40"/>
                  <a:pt x="568" y="40"/>
                </a:cubicBezTo>
                <a:cubicBezTo>
                  <a:pt x="568" y="40"/>
                  <a:pt x="569" y="30"/>
                  <a:pt x="571" y="31"/>
                </a:cubicBezTo>
                <a:cubicBezTo>
                  <a:pt x="573" y="32"/>
                  <a:pt x="572" y="30"/>
                  <a:pt x="573" y="28"/>
                </a:cubicBezTo>
                <a:cubicBezTo>
                  <a:pt x="575" y="27"/>
                  <a:pt x="580" y="22"/>
                  <a:pt x="579" y="19"/>
                </a:cubicBezTo>
                <a:cubicBezTo>
                  <a:pt x="578" y="17"/>
                  <a:pt x="572" y="15"/>
                  <a:pt x="577" y="12"/>
                </a:cubicBezTo>
                <a:cubicBezTo>
                  <a:pt x="581" y="9"/>
                  <a:pt x="581" y="6"/>
                  <a:pt x="584" y="6"/>
                </a:cubicBezTo>
                <a:cubicBezTo>
                  <a:pt x="586" y="6"/>
                  <a:pt x="578" y="0"/>
                  <a:pt x="585" y="1"/>
                </a:cubicBezTo>
                <a:cubicBezTo>
                  <a:pt x="591" y="2"/>
                  <a:pt x="586" y="5"/>
                  <a:pt x="590" y="5"/>
                </a:cubicBezTo>
                <a:cubicBezTo>
                  <a:pt x="594" y="5"/>
                  <a:pt x="591" y="1"/>
                  <a:pt x="595" y="3"/>
                </a:cubicBezTo>
                <a:cubicBezTo>
                  <a:pt x="599" y="5"/>
                  <a:pt x="598" y="10"/>
                  <a:pt x="598" y="13"/>
                </a:cubicBezTo>
                <a:cubicBezTo>
                  <a:pt x="598" y="15"/>
                  <a:pt x="601" y="14"/>
                  <a:pt x="601" y="14"/>
                </a:cubicBezTo>
                <a:cubicBezTo>
                  <a:pt x="605" y="17"/>
                  <a:pt x="605" y="17"/>
                  <a:pt x="605" y="17"/>
                </a:cubicBezTo>
                <a:cubicBezTo>
                  <a:pt x="602" y="24"/>
                  <a:pt x="602" y="24"/>
                  <a:pt x="602" y="24"/>
                </a:cubicBezTo>
                <a:cubicBezTo>
                  <a:pt x="602" y="24"/>
                  <a:pt x="592" y="25"/>
                  <a:pt x="590" y="26"/>
                </a:cubicBezTo>
                <a:cubicBezTo>
                  <a:pt x="588" y="27"/>
                  <a:pt x="579" y="33"/>
                  <a:pt x="585" y="34"/>
                </a:cubicBezTo>
                <a:cubicBezTo>
                  <a:pt x="591" y="34"/>
                  <a:pt x="595" y="34"/>
                  <a:pt x="595" y="34"/>
                </a:cubicBezTo>
                <a:cubicBezTo>
                  <a:pt x="585" y="43"/>
                  <a:pt x="585" y="43"/>
                  <a:pt x="585" y="43"/>
                </a:cubicBezTo>
                <a:cubicBezTo>
                  <a:pt x="585" y="43"/>
                  <a:pt x="589" y="53"/>
                  <a:pt x="591" y="53"/>
                </a:cubicBezTo>
                <a:cubicBezTo>
                  <a:pt x="594" y="53"/>
                  <a:pt x="595" y="67"/>
                  <a:pt x="596" y="68"/>
                </a:cubicBezTo>
                <a:cubicBezTo>
                  <a:pt x="597" y="69"/>
                  <a:pt x="603" y="55"/>
                  <a:pt x="605" y="52"/>
                </a:cubicBezTo>
                <a:cubicBezTo>
                  <a:pt x="606" y="50"/>
                  <a:pt x="599" y="52"/>
                  <a:pt x="601" y="46"/>
                </a:cubicBezTo>
                <a:cubicBezTo>
                  <a:pt x="602" y="41"/>
                  <a:pt x="605" y="36"/>
                  <a:pt x="609" y="37"/>
                </a:cubicBezTo>
                <a:cubicBezTo>
                  <a:pt x="613" y="38"/>
                  <a:pt x="605" y="32"/>
                  <a:pt x="612" y="29"/>
                </a:cubicBezTo>
                <a:cubicBezTo>
                  <a:pt x="618" y="26"/>
                  <a:pt x="608" y="15"/>
                  <a:pt x="616" y="22"/>
                </a:cubicBezTo>
                <a:cubicBezTo>
                  <a:pt x="623" y="28"/>
                  <a:pt x="618" y="22"/>
                  <a:pt x="624" y="33"/>
                </a:cubicBezTo>
                <a:cubicBezTo>
                  <a:pt x="630" y="44"/>
                  <a:pt x="636" y="40"/>
                  <a:pt x="638" y="40"/>
                </a:cubicBezTo>
                <a:cubicBezTo>
                  <a:pt x="640" y="39"/>
                  <a:pt x="641" y="31"/>
                  <a:pt x="644" y="34"/>
                </a:cubicBezTo>
                <a:cubicBezTo>
                  <a:pt x="647" y="36"/>
                  <a:pt x="648" y="34"/>
                  <a:pt x="648" y="34"/>
                </a:cubicBezTo>
                <a:cubicBezTo>
                  <a:pt x="648" y="34"/>
                  <a:pt x="643" y="48"/>
                  <a:pt x="646" y="50"/>
                </a:cubicBezTo>
                <a:cubicBezTo>
                  <a:pt x="648" y="52"/>
                  <a:pt x="649" y="50"/>
                  <a:pt x="654" y="48"/>
                </a:cubicBezTo>
                <a:cubicBezTo>
                  <a:pt x="659" y="46"/>
                  <a:pt x="661" y="49"/>
                  <a:pt x="662" y="53"/>
                </a:cubicBezTo>
                <a:cubicBezTo>
                  <a:pt x="663" y="57"/>
                  <a:pt x="671" y="55"/>
                  <a:pt x="668" y="61"/>
                </a:cubicBezTo>
                <a:cubicBezTo>
                  <a:pt x="666" y="66"/>
                  <a:pt x="663" y="71"/>
                  <a:pt x="663" y="71"/>
                </a:cubicBezTo>
                <a:cubicBezTo>
                  <a:pt x="663" y="71"/>
                  <a:pt x="658" y="64"/>
                  <a:pt x="653" y="72"/>
                </a:cubicBezTo>
                <a:cubicBezTo>
                  <a:pt x="648" y="80"/>
                  <a:pt x="642" y="78"/>
                  <a:pt x="642" y="78"/>
                </a:cubicBezTo>
                <a:cubicBezTo>
                  <a:pt x="642" y="78"/>
                  <a:pt x="638" y="67"/>
                  <a:pt x="633" y="73"/>
                </a:cubicBezTo>
                <a:cubicBezTo>
                  <a:pt x="629" y="78"/>
                  <a:pt x="630" y="78"/>
                  <a:pt x="625" y="75"/>
                </a:cubicBezTo>
                <a:cubicBezTo>
                  <a:pt x="620" y="72"/>
                  <a:pt x="624" y="64"/>
                  <a:pt x="620" y="70"/>
                </a:cubicBezTo>
                <a:cubicBezTo>
                  <a:pt x="616" y="77"/>
                  <a:pt x="615" y="72"/>
                  <a:pt x="612" y="74"/>
                </a:cubicBezTo>
                <a:cubicBezTo>
                  <a:pt x="609" y="76"/>
                  <a:pt x="603" y="72"/>
                  <a:pt x="613" y="80"/>
                </a:cubicBezTo>
                <a:cubicBezTo>
                  <a:pt x="624" y="88"/>
                  <a:pt x="625" y="90"/>
                  <a:pt x="625" y="90"/>
                </a:cubicBezTo>
                <a:cubicBezTo>
                  <a:pt x="630" y="94"/>
                  <a:pt x="630" y="94"/>
                  <a:pt x="630" y="94"/>
                </a:cubicBezTo>
                <a:cubicBezTo>
                  <a:pt x="630" y="94"/>
                  <a:pt x="640" y="96"/>
                  <a:pt x="637" y="99"/>
                </a:cubicBezTo>
                <a:cubicBezTo>
                  <a:pt x="634" y="102"/>
                  <a:pt x="645" y="106"/>
                  <a:pt x="645" y="106"/>
                </a:cubicBezTo>
                <a:cubicBezTo>
                  <a:pt x="645" y="106"/>
                  <a:pt x="632" y="112"/>
                  <a:pt x="638" y="114"/>
                </a:cubicBezTo>
                <a:cubicBezTo>
                  <a:pt x="643" y="116"/>
                  <a:pt x="639" y="126"/>
                  <a:pt x="643" y="127"/>
                </a:cubicBezTo>
                <a:cubicBezTo>
                  <a:pt x="647" y="128"/>
                  <a:pt x="649" y="121"/>
                  <a:pt x="649" y="121"/>
                </a:cubicBezTo>
                <a:cubicBezTo>
                  <a:pt x="649" y="121"/>
                  <a:pt x="639" y="106"/>
                  <a:pt x="648" y="108"/>
                </a:cubicBezTo>
                <a:cubicBezTo>
                  <a:pt x="658" y="110"/>
                  <a:pt x="651" y="105"/>
                  <a:pt x="655" y="104"/>
                </a:cubicBezTo>
                <a:cubicBezTo>
                  <a:pt x="659" y="104"/>
                  <a:pt x="659" y="106"/>
                  <a:pt x="662" y="108"/>
                </a:cubicBezTo>
                <a:cubicBezTo>
                  <a:pt x="663" y="109"/>
                  <a:pt x="663" y="109"/>
                  <a:pt x="663" y="10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1" name="Freeform 485"/>
          <p:cNvSpPr>
            <a:spLocks/>
          </p:cNvSpPr>
          <p:nvPr userDrawn="1"/>
        </p:nvSpPr>
        <p:spPr bwMode="auto">
          <a:xfrm>
            <a:off x="5999884" y="3991215"/>
            <a:ext cx="18427" cy="16751"/>
          </a:xfrm>
          <a:custGeom>
            <a:avLst/>
            <a:gdLst>
              <a:gd name="T0" fmla="*/ 2147483646 w 19"/>
              <a:gd name="T1" fmla="*/ 0 h 18"/>
              <a:gd name="T2" fmla="*/ 2147483646 w 19"/>
              <a:gd name="T3" fmla="*/ 2147483646 h 18"/>
              <a:gd name="T4" fmla="*/ 2147483646 w 19"/>
              <a:gd name="T5" fmla="*/ 2147483646 h 18"/>
              <a:gd name="T6" fmla="*/ 2147483646 w 19"/>
              <a:gd name="T7" fmla="*/ 2147483646 h 18"/>
              <a:gd name="T8" fmla="*/ 2147483646 w 19"/>
              <a:gd name="T9" fmla="*/ 2147483646 h 18"/>
              <a:gd name="T10" fmla="*/ 2147483646 w 19"/>
              <a:gd name="T11" fmla="*/ 2147483646 h 18"/>
              <a:gd name="T12" fmla="*/ 2147483646 w 19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9"/>
              <a:gd name="T22" fmla="*/ 0 h 18"/>
              <a:gd name="T23" fmla="*/ 19 w 19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9" h="18">
                <a:moveTo>
                  <a:pt x="10" y="0"/>
                </a:moveTo>
                <a:cubicBezTo>
                  <a:pt x="8" y="4"/>
                  <a:pt x="11" y="6"/>
                  <a:pt x="7" y="8"/>
                </a:cubicBezTo>
                <a:cubicBezTo>
                  <a:pt x="4" y="10"/>
                  <a:pt x="0" y="6"/>
                  <a:pt x="4" y="10"/>
                </a:cubicBezTo>
                <a:cubicBezTo>
                  <a:pt x="8" y="15"/>
                  <a:pt x="14" y="18"/>
                  <a:pt x="16" y="16"/>
                </a:cubicBezTo>
                <a:cubicBezTo>
                  <a:pt x="18" y="15"/>
                  <a:pt x="19" y="14"/>
                  <a:pt x="19" y="11"/>
                </a:cubicBezTo>
                <a:cubicBezTo>
                  <a:pt x="19" y="9"/>
                  <a:pt x="17" y="5"/>
                  <a:pt x="15" y="5"/>
                </a:cubicBezTo>
                <a:cubicBezTo>
                  <a:pt x="14" y="5"/>
                  <a:pt x="10" y="0"/>
                  <a:pt x="1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2" name="Freeform 486"/>
          <p:cNvSpPr>
            <a:spLocks/>
          </p:cNvSpPr>
          <p:nvPr userDrawn="1"/>
        </p:nvSpPr>
        <p:spPr bwMode="auto">
          <a:xfrm>
            <a:off x="6008261" y="3979491"/>
            <a:ext cx="8375" cy="11725"/>
          </a:xfrm>
          <a:custGeom>
            <a:avLst/>
            <a:gdLst>
              <a:gd name="T0" fmla="*/ 2147483646 w 10"/>
              <a:gd name="T1" fmla="*/ 0 h 11"/>
              <a:gd name="T2" fmla="*/ 2147483646 w 10"/>
              <a:gd name="T3" fmla="*/ 2147483646 h 11"/>
              <a:gd name="T4" fmla="*/ 2147483646 w 10"/>
              <a:gd name="T5" fmla="*/ 2147483646 h 11"/>
              <a:gd name="T6" fmla="*/ 2147483646 w 10"/>
              <a:gd name="T7" fmla="*/ 2147483646 h 11"/>
              <a:gd name="T8" fmla="*/ 2147483646 w 10"/>
              <a:gd name="T9" fmla="*/ 0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"/>
              <a:gd name="T16" fmla="*/ 0 h 11"/>
              <a:gd name="T17" fmla="*/ 10 w 10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" h="11">
                <a:moveTo>
                  <a:pt x="3" y="0"/>
                </a:moveTo>
                <a:cubicBezTo>
                  <a:pt x="3" y="2"/>
                  <a:pt x="0" y="4"/>
                  <a:pt x="4" y="7"/>
                </a:cubicBezTo>
                <a:cubicBezTo>
                  <a:pt x="8" y="9"/>
                  <a:pt x="9" y="11"/>
                  <a:pt x="9" y="9"/>
                </a:cubicBezTo>
                <a:cubicBezTo>
                  <a:pt x="10" y="7"/>
                  <a:pt x="9" y="4"/>
                  <a:pt x="9" y="3"/>
                </a:cubicBezTo>
                <a:cubicBezTo>
                  <a:pt x="9" y="2"/>
                  <a:pt x="3" y="0"/>
                  <a:pt x="3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3" name="Freeform 487"/>
          <p:cNvSpPr>
            <a:spLocks/>
          </p:cNvSpPr>
          <p:nvPr userDrawn="1"/>
        </p:nvSpPr>
        <p:spPr bwMode="auto">
          <a:xfrm>
            <a:off x="5812274" y="3996241"/>
            <a:ext cx="78729" cy="51928"/>
          </a:xfrm>
          <a:custGeom>
            <a:avLst/>
            <a:gdLst>
              <a:gd name="T0" fmla="*/ 2147483646 w 84"/>
              <a:gd name="T1" fmla="*/ 2147483646 h 55"/>
              <a:gd name="T2" fmla="*/ 2147483646 w 84"/>
              <a:gd name="T3" fmla="*/ 2147483646 h 55"/>
              <a:gd name="T4" fmla="*/ 2147483646 w 84"/>
              <a:gd name="T5" fmla="*/ 2147483646 h 55"/>
              <a:gd name="T6" fmla="*/ 2147483646 w 84"/>
              <a:gd name="T7" fmla="*/ 2147483646 h 55"/>
              <a:gd name="T8" fmla="*/ 2147483646 w 84"/>
              <a:gd name="T9" fmla="*/ 2147483646 h 55"/>
              <a:gd name="T10" fmla="*/ 2147483646 w 84"/>
              <a:gd name="T11" fmla="*/ 2147483646 h 55"/>
              <a:gd name="T12" fmla="*/ 2147483646 w 84"/>
              <a:gd name="T13" fmla="*/ 2147483646 h 55"/>
              <a:gd name="T14" fmla="*/ 2147483646 w 84"/>
              <a:gd name="T15" fmla="*/ 2147483646 h 55"/>
              <a:gd name="T16" fmla="*/ 2147483646 w 84"/>
              <a:gd name="T17" fmla="*/ 2147483646 h 55"/>
              <a:gd name="T18" fmla="*/ 2147483646 w 84"/>
              <a:gd name="T19" fmla="*/ 2147483646 h 55"/>
              <a:gd name="T20" fmla="*/ 2147483646 w 84"/>
              <a:gd name="T21" fmla="*/ 2147483646 h 55"/>
              <a:gd name="T22" fmla="*/ 2147483646 w 84"/>
              <a:gd name="T23" fmla="*/ 2147483646 h 55"/>
              <a:gd name="T24" fmla="*/ 2147483646 w 84"/>
              <a:gd name="T25" fmla="*/ 2147483646 h 55"/>
              <a:gd name="T26" fmla="*/ 2147483646 w 84"/>
              <a:gd name="T27" fmla="*/ 2147483646 h 55"/>
              <a:gd name="T28" fmla="*/ 2147483646 w 84"/>
              <a:gd name="T29" fmla="*/ 2147483646 h 55"/>
              <a:gd name="T30" fmla="*/ 2147483646 w 84"/>
              <a:gd name="T31" fmla="*/ 2147483646 h 55"/>
              <a:gd name="T32" fmla="*/ 2147483646 w 84"/>
              <a:gd name="T33" fmla="*/ 2147483646 h 55"/>
              <a:gd name="T34" fmla="*/ 2147483646 w 84"/>
              <a:gd name="T35" fmla="*/ 2147483646 h 5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84"/>
              <a:gd name="T55" fmla="*/ 0 h 55"/>
              <a:gd name="T56" fmla="*/ 84 w 84"/>
              <a:gd name="T57" fmla="*/ 55 h 5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84" h="55">
                <a:moveTo>
                  <a:pt x="82" y="4"/>
                </a:moveTo>
                <a:cubicBezTo>
                  <a:pt x="80" y="1"/>
                  <a:pt x="78" y="2"/>
                  <a:pt x="73" y="5"/>
                </a:cubicBezTo>
                <a:cubicBezTo>
                  <a:pt x="69" y="8"/>
                  <a:pt x="62" y="7"/>
                  <a:pt x="59" y="8"/>
                </a:cubicBezTo>
                <a:cubicBezTo>
                  <a:pt x="55" y="9"/>
                  <a:pt x="48" y="12"/>
                  <a:pt x="44" y="11"/>
                </a:cubicBezTo>
                <a:cubicBezTo>
                  <a:pt x="41" y="11"/>
                  <a:pt x="37" y="11"/>
                  <a:pt x="33" y="8"/>
                </a:cubicBezTo>
                <a:cubicBezTo>
                  <a:pt x="28" y="5"/>
                  <a:pt x="24" y="0"/>
                  <a:pt x="21" y="4"/>
                </a:cubicBezTo>
                <a:cubicBezTo>
                  <a:pt x="19" y="8"/>
                  <a:pt x="13" y="10"/>
                  <a:pt x="13" y="10"/>
                </a:cubicBezTo>
                <a:cubicBezTo>
                  <a:pt x="13" y="10"/>
                  <a:pt x="0" y="13"/>
                  <a:pt x="3" y="17"/>
                </a:cubicBezTo>
                <a:cubicBezTo>
                  <a:pt x="7" y="21"/>
                  <a:pt x="7" y="19"/>
                  <a:pt x="15" y="22"/>
                </a:cubicBezTo>
                <a:cubicBezTo>
                  <a:pt x="23" y="26"/>
                  <a:pt x="23" y="25"/>
                  <a:pt x="28" y="31"/>
                </a:cubicBezTo>
                <a:cubicBezTo>
                  <a:pt x="33" y="37"/>
                  <a:pt x="35" y="41"/>
                  <a:pt x="40" y="43"/>
                </a:cubicBezTo>
                <a:cubicBezTo>
                  <a:pt x="46" y="45"/>
                  <a:pt x="47" y="38"/>
                  <a:pt x="50" y="41"/>
                </a:cubicBezTo>
                <a:cubicBezTo>
                  <a:pt x="54" y="44"/>
                  <a:pt x="52" y="46"/>
                  <a:pt x="58" y="49"/>
                </a:cubicBezTo>
                <a:cubicBezTo>
                  <a:pt x="64" y="53"/>
                  <a:pt x="63" y="54"/>
                  <a:pt x="68" y="54"/>
                </a:cubicBezTo>
                <a:cubicBezTo>
                  <a:pt x="74" y="55"/>
                  <a:pt x="76" y="52"/>
                  <a:pt x="76" y="47"/>
                </a:cubicBezTo>
                <a:cubicBezTo>
                  <a:pt x="76" y="43"/>
                  <a:pt x="79" y="38"/>
                  <a:pt x="77" y="35"/>
                </a:cubicBezTo>
                <a:cubicBezTo>
                  <a:pt x="75" y="33"/>
                  <a:pt x="70" y="32"/>
                  <a:pt x="73" y="27"/>
                </a:cubicBezTo>
                <a:cubicBezTo>
                  <a:pt x="75" y="23"/>
                  <a:pt x="84" y="8"/>
                  <a:pt x="82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4" name="Freeform 488"/>
          <p:cNvSpPr>
            <a:spLocks/>
          </p:cNvSpPr>
          <p:nvPr userDrawn="1"/>
        </p:nvSpPr>
        <p:spPr bwMode="auto">
          <a:xfrm>
            <a:off x="5721819" y="3843807"/>
            <a:ext cx="25127" cy="55279"/>
          </a:xfrm>
          <a:custGeom>
            <a:avLst/>
            <a:gdLst>
              <a:gd name="T0" fmla="*/ 2147483646 w 27"/>
              <a:gd name="T1" fmla="*/ 0 h 60"/>
              <a:gd name="T2" fmla="*/ 2147483646 w 27"/>
              <a:gd name="T3" fmla="*/ 2147483646 h 60"/>
              <a:gd name="T4" fmla="*/ 2147483646 w 27"/>
              <a:gd name="T5" fmla="*/ 2147483646 h 60"/>
              <a:gd name="T6" fmla="*/ 2147483646 w 27"/>
              <a:gd name="T7" fmla="*/ 2147483646 h 60"/>
              <a:gd name="T8" fmla="*/ 2147483646 w 27"/>
              <a:gd name="T9" fmla="*/ 2147483646 h 60"/>
              <a:gd name="T10" fmla="*/ 2147483646 w 27"/>
              <a:gd name="T11" fmla="*/ 2147483646 h 60"/>
              <a:gd name="T12" fmla="*/ 2147483646 w 27"/>
              <a:gd name="T13" fmla="*/ 2147483646 h 60"/>
              <a:gd name="T14" fmla="*/ 2147483646 w 27"/>
              <a:gd name="T15" fmla="*/ 2147483646 h 60"/>
              <a:gd name="T16" fmla="*/ 2147483646 w 27"/>
              <a:gd name="T17" fmla="*/ 2147483646 h 60"/>
              <a:gd name="T18" fmla="*/ 2147483646 w 27"/>
              <a:gd name="T19" fmla="*/ 2147483646 h 60"/>
              <a:gd name="T20" fmla="*/ 2147483646 w 27"/>
              <a:gd name="T21" fmla="*/ 2147483646 h 60"/>
              <a:gd name="T22" fmla="*/ 2147483646 w 27"/>
              <a:gd name="T23" fmla="*/ 2147483646 h 60"/>
              <a:gd name="T24" fmla="*/ 2147483646 w 27"/>
              <a:gd name="T25" fmla="*/ 2147483646 h 60"/>
              <a:gd name="T26" fmla="*/ 2147483646 w 27"/>
              <a:gd name="T27" fmla="*/ 2147483646 h 60"/>
              <a:gd name="T28" fmla="*/ 2147483646 w 27"/>
              <a:gd name="T29" fmla="*/ 0 h 6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7"/>
              <a:gd name="T46" fmla="*/ 0 h 60"/>
              <a:gd name="T47" fmla="*/ 27 w 27"/>
              <a:gd name="T48" fmla="*/ 60 h 6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7" h="60">
                <a:moveTo>
                  <a:pt x="22" y="0"/>
                </a:moveTo>
                <a:cubicBezTo>
                  <a:pt x="19" y="0"/>
                  <a:pt x="18" y="3"/>
                  <a:pt x="19" y="5"/>
                </a:cubicBezTo>
                <a:cubicBezTo>
                  <a:pt x="19" y="8"/>
                  <a:pt x="21" y="13"/>
                  <a:pt x="18" y="13"/>
                </a:cubicBezTo>
                <a:cubicBezTo>
                  <a:pt x="16" y="12"/>
                  <a:pt x="14" y="8"/>
                  <a:pt x="12" y="13"/>
                </a:cubicBezTo>
                <a:cubicBezTo>
                  <a:pt x="10" y="17"/>
                  <a:pt x="7" y="19"/>
                  <a:pt x="5" y="21"/>
                </a:cubicBezTo>
                <a:cubicBezTo>
                  <a:pt x="3" y="22"/>
                  <a:pt x="0" y="20"/>
                  <a:pt x="1" y="24"/>
                </a:cubicBezTo>
                <a:cubicBezTo>
                  <a:pt x="1" y="28"/>
                  <a:pt x="2" y="32"/>
                  <a:pt x="3" y="33"/>
                </a:cubicBezTo>
                <a:cubicBezTo>
                  <a:pt x="5" y="34"/>
                  <a:pt x="6" y="36"/>
                  <a:pt x="5" y="40"/>
                </a:cubicBezTo>
                <a:cubicBezTo>
                  <a:pt x="4" y="44"/>
                  <a:pt x="3" y="48"/>
                  <a:pt x="6" y="50"/>
                </a:cubicBezTo>
                <a:cubicBezTo>
                  <a:pt x="9" y="51"/>
                  <a:pt x="9" y="47"/>
                  <a:pt x="9" y="51"/>
                </a:cubicBezTo>
                <a:cubicBezTo>
                  <a:pt x="9" y="55"/>
                  <a:pt x="9" y="57"/>
                  <a:pt x="11" y="59"/>
                </a:cubicBezTo>
                <a:cubicBezTo>
                  <a:pt x="14" y="60"/>
                  <a:pt x="16" y="60"/>
                  <a:pt x="17" y="59"/>
                </a:cubicBezTo>
                <a:cubicBezTo>
                  <a:pt x="19" y="57"/>
                  <a:pt x="25" y="39"/>
                  <a:pt x="26" y="33"/>
                </a:cubicBezTo>
                <a:cubicBezTo>
                  <a:pt x="27" y="27"/>
                  <a:pt x="26" y="20"/>
                  <a:pt x="24" y="17"/>
                </a:cubicBezTo>
                <a:cubicBezTo>
                  <a:pt x="22" y="14"/>
                  <a:pt x="22" y="0"/>
                  <a:pt x="22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5" name="Freeform 489"/>
          <p:cNvSpPr>
            <a:spLocks/>
          </p:cNvSpPr>
          <p:nvPr userDrawn="1"/>
        </p:nvSpPr>
        <p:spPr bwMode="auto">
          <a:xfrm>
            <a:off x="5708419" y="3907460"/>
            <a:ext cx="45228" cy="73704"/>
          </a:xfrm>
          <a:custGeom>
            <a:avLst/>
            <a:gdLst>
              <a:gd name="T0" fmla="*/ 2147483646 w 48"/>
              <a:gd name="T1" fmla="*/ 2147483646 h 79"/>
              <a:gd name="T2" fmla="*/ 2147483646 w 48"/>
              <a:gd name="T3" fmla="*/ 2147483646 h 79"/>
              <a:gd name="T4" fmla="*/ 2147483646 w 48"/>
              <a:gd name="T5" fmla="*/ 2147483646 h 79"/>
              <a:gd name="T6" fmla="*/ 2147483646 w 48"/>
              <a:gd name="T7" fmla="*/ 2147483646 h 79"/>
              <a:gd name="T8" fmla="*/ 2147483646 w 48"/>
              <a:gd name="T9" fmla="*/ 2147483646 h 79"/>
              <a:gd name="T10" fmla="*/ 2147483646 w 48"/>
              <a:gd name="T11" fmla="*/ 2147483646 h 79"/>
              <a:gd name="T12" fmla="*/ 2147483646 w 48"/>
              <a:gd name="T13" fmla="*/ 2147483646 h 79"/>
              <a:gd name="T14" fmla="*/ 2147483646 w 48"/>
              <a:gd name="T15" fmla="*/ 2147483646 h 79"/>
              <a:gd name="T16" fmla="*/ 2147483646 w 48"/>
              <a:gd name="T17" fmla="*/ 2147483646 h 79"/>
              <a:gd name="T18" fmla="*/ 2147483646 w 48"/>
              <a:gd name="T19" fmla="*/ 2147483646 h 79"/>
              <a:gd name="T20" fmla="*/ 2147483646 w 48"/>
              <a:gd name="T21" fmla="*/ 2147483646 h 79"/>
              <a:gd name="T22" fmla="*/ 2147483646 w 48"/>
              <a:gd name="T23" fmla="*/ 2147483646 h 79"/>
              <a:gd name="T24" fmla="*/ 2147483646 w 48"/>
              <a:gd name="T25" fmla="*/ 2147483646 h 79"/>
              <a:gd name="T26" fmla="*/ 2147483646 w 48"/>
              <a:gd name="T27" fmla="*/ 2147483646 h 79"/>
              <a:gd name="T28" fmla="*/ 2147483646 w 48"/>
              <a:gd name="T29" fmla="*/ 2147483646 h 79"/>
              <a:gd name="T30" fmla="*/ 2147483646 w 48"/>
              <a:gd name="T31" fmla="*/ 2147483646 h 79"/>
              <a:gd name="T32" fmla="*/ 2147483646 w 48"/>
              <a:gd name="T33" fmla="*/ 2147483646 h 79"/>
              <a:gd name="T34" fmla="*/ 2147483646 w 48"/>
              <a:gd name="T35" fmla="*/ 2147483646 h 79"/>
              <a:gd name="T36" fmla="*/ 2147483646 w 48"/>
              <a:gd name="T37" fmla="*/ 2147483646 h 79"/>
              <a:gd name="T38" fmla="*/ 2147483646 w 48"/>
              <a:gd name="T39" fmla="*/ 2147483646 h 79"/>
              <a:gd name="T40" fmla="*/ 2147483646 w 48"/>
              <a:gd name="T41" fmla="*/ 2147483646 h 7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8"/>
              <a:gd name="T64" fmla="*/ 0 h 79"/>
              <a:gd name="T65" fmla="*/ 48 w 48"/>
              <a:gd name="T66" fmla="*/ 79 h 79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8" h="79">
                <a:moveTo>
                  <a:pt x="31" y="1"/>
                </a:moveTo>
                <a:cubicBezTo>
                  <a:pt x="29" y="0"/>
                  <a:pt x="28" y="3"/>
                  <a:pt x="26" y="5"/>
                </a:cubicBezTo>
                <a:cubicBezTo>
                  <a:pt x="23" y="7"/>
                  <a:pt x="18" y="11"/>
                  <a:pt x="15" y="10"/>
                </a:cubicBezTo>
                <a:cubicBezTo>
                  <a:pt x="12" y="9"/>
                  <a:pt x="9" y="10"/>
                  <a:pt x="9" y="7"/>
                </a:cubicBezTo>
                <a:cubicBezTo>
                  <a:pt x="9" y="5"/>
                  <a:pt x="9" y="1"/>
                  <a:pt x="7" y="2"/>
                </a:cubicBezTo>
                <a:cubicBezTo>
                  <a:pt x="6" y="3"/>
                  <a:pt x="0" y="10"/>
                  <a:pt x="4" y="14"/>
                </a:cubicBezTo>
                <a:cubicBezTo>
                  <a:pt x="8" y="17"/>
                  <a:pt x="7" y="19"/>
                  <a:pt x="9" y="22"/>
                </a:cubicBezTo>
                <a:cubicBezTo>
                  <a:pt x="10" y="25"/>
                  <a:pt x="13" y="31"/>
                  <a:pt x="14" y="36"/>
                </a:cubicBezTo>
                <a:cubicBezTo>
                  <a:pt x="15" y="40"/>
                  <a:pt x="11" y="54"/>
                  <a:pt x="10" y="57"/>
                </a:cubicBezTo>
                <a:cubicBezTo>
                  <a:pt x="9" y="60"/>
                  <a:pt x="4" y="59"/>
                  <a:pt x="9" y="62"/>
                </a:cubicBezTo>
                <a:cubicBezTo>
                  <a:pt x="13" y="65"/>
                  <a:pt x="12" y="70"/>
                  <a:pt x="14" y="74"/>
                </a:cubicBezTo>
                <a:cubicBezTo>
                  <a:pt x="16" y="79"/>
                  <a:pt x="18" y="74"/>
                  <a:pt x="22" y="75"/>
                </a:cubicBezTo>
                <a:cubicBezTo>
                  <a:pt x="26" y="76"/>
                  <a:pt x="36" y="63"/>
                  <a:pt x="37" y="65"/>
                </a:cubicBezTo>
                <a:cubicBezTo>
                  <a:pt x="38" y="67"/>
                  <a:pt x="37" y="73"/>
                  <a:pt x="40" y="70"/>
                </a:cubicBezTo>
                <a:cubicBezTo>
                  <a:pt x="43" y="68"/>
                  <a:pt x="45" y="66"/>
                  <a:pt x="44" y="60"/>
                </a:cubicBezTo>
                <a:cubicBezTo>
                  <a:pt x="43" y="54"/>
                  <a:pt x="43" y="47"/>
                  <a:pt x="44" y="43"/>
                </a:cubicBezTo>
                <a:cubicBezTo>
                  <a:pt x="46" y="39"/>
                  <a:pt x="48" y="35"/>
                  <a:pt x="46" y="33"/>
                </a:cubicBezTo>
                <a:cubicBezTo>
                  <a:pt x="44" y="30"/>
                  <a:pt x="47" y="24"/>
                  <a:pt x="47" y="22"/>
                </a:cubicBezTo>
                <a:cubicBezTo>
                  <a:pt x="47" y="20"/>
                  <a:pt x="47" y="16"/>
                  <a:pt x="45" y="12"/>
                </a:cubicBezTo>
                <a:cubicBezTo>
                  <a:pt x="43" y="8"/>
                  <a:pt x="41" y="5"/>
                  <a:pt x="41" y="3"/>
                </a:cubicBezTo>
                <a:cubicBezTo>
                  <a:pt x="41" y="1"/>
                  <a:pt x="31" y="1"/>
                  <a:pt x="31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6" name="Freeform 490"/>
          <p:cNvSpPr>
            <a:spLocks/>
          </p:cNvSpPr>
          <p:nvPr userDrawn="1"/>
        </p:nvSpPr>
        <p:spPr bwMode="auto">
          <a:xfrm>
            <a:off x="5572736" y="3942639"/>
            <a:ext cx="30152" cy="25125"/>
          </a:xfrm>
          <a:custGeom>
            <a:avLst/>
            <a:gdLst>
              <a:gd name="T0" fmla="*/ 2147483646 w 32"/>
              <a:gd name="T1" fmla="*/ 2147483646 h 27"/>
              <a:gd name="T2" fmla="*/ 2147483646 w 32"/>
              <a:gd name="T3" fmla="*/ 2147483646 h 27"/>
              <a:gd name="T4" fmla="*/ 2147483646 w 32"/>
              <a:gd name="T5" fmla="*/ 2147483646 h 27"/>
              <a:gd name="T6" fmla="*/ 2147483646 w 32"/>
              <a:gd name="T7" fmla="*/ 2147483646 h 27"/>
              <a:gd name="T8" fmla="*/ 2147483646 w 32"/>
              <a:gd name="T9" fmla="*/ 2147483646 h 27"/>
              <a:gd name="T10" fmla="*/ 2147483646 w 32"/>
              <a:gd name="T11" fmla="*/ 2147483646 h 27"/>
              <a:gd name="T12" fmla="*/ 2147483646 w 32"/>
              <a:gd name="T13" fmla="*/ 2147483646 h 27"/>
              <a:gd name="T14" fmla="*/ 2147483646 w 32"/>
              <a:gd name="T15" fmla="*/ 2147483646 h 2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2"/>
              <a:gd name="T25" fmla="*/ 0 h 27"/>
              <a:gd name="T26" fmla="*/ 32 w 32"/>
              <a:gd name="T27" fmla="*/ 27 h 2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2" h="27">
                <a:moveTo>
                  <a:pt x="18" y="2"/>
                </a:moveTo>
                <a:cubicBezTo>
                  <a:pt x="14" y="4"/>
                  <a:pt x="7" y="5"/>
                  <a:pt x="6" y="8"/>
                </a:cubicBezTo>
                <a:cubicBezTo>
                  <a:pt x="5" y="10"/>
                  <a:pt x="0" y="16"/>
                  <a:pt x="5" y="18"/>
                </a:cubicBezTo>
                <a:cubicBezTo>
                  <a:pt x="11" y="20"/>
                  <a:pt x="10" y="13"/>
                  <a:pt x="17" y="20"/>
                </a:cubicBezTo>
                <a:cubicBezTo>
                  <a:pt x="23" y="27"/>
                  <a:pt x="28" y="20"/>
                  <a:pt x="30" y="16"/>
                </a:cubicBezTo>
                <a:cubicBezTo>
                  <a:pt x="32" y="12"/>
                  <a:pt x="27" y="9"/>
                  <a:pt x="26" y="7"/>
                </a:cubicBezTo>
                <a:cubicBezTo>
                  <a:pt x="24" y="5"/>
                  <a:pt x="27" y="1"/>
                  <a:pt x="25" y="1"/>
                </a:cubicBezTo>
                <a:cubicBezTo>
                  <a:pt x="24" y="0"/>
                  <a:pt x="18" y="2"/>
                  <a:pt x="18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7" name="Freeform 491"/>
          <p:cNvSpPr>
            <a:spLocks/>
          </p:cNvSpPr>
          <p:nvPr userDrawn="1"/>
        </p:nvSpPr>
        <p:spPr bwMode="auto">
          <a:xfrm>
            <a:off x="5604563" y="3937612"/>
            <a:ext cx="20101" cy="10051"/>
          </a:xfrm>
          <a:custGeom>
            <a:avLst/>
            <a:gdLst>
              <a:gd name="T0" fmla="*/ 2147483646 w 22"/>
              <a:gd name="T1" fmla="*/ 2147483646 h 10"/>
              <a:gd name="T2" fmla="*/ 2147483646 w 22"/>
              <a:gd name="T3" fmla="*/ 2147483646 h 10"/>
              <a:gd name="T4" fmla="*/ 2147483646 w 22"/>
              <a:gd name="T5" fmla="*/ 2147483646 h 10"/>
              <a:gd name="T6" fmla="*/ 2147483646 w 22"/>
              <a:gd name="T7" fmla="*/ 2147483646 h 10"/>
              <a:gd name="T8" fmla="*/ 2147483646 w 22"/>
              <a:gd name="T9" fmla="*/ 0 h 10"/>
              <a:gd name="T10" fmla="*/ 2147483646 w 22"/>
              <a:gd name="T11" fmla="*/ 2147483646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2"/>
              <a:gd name="T19" fmla="*/ 0 h 10"/>
              <a:gd name="T20" fmla="*/ 22 w 22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2" h="10">
                <a:moveTo>
                  <a:pt x="8" y="1"/>
                </a:moveTo>
                <a:cubicBezTo>
                  <a:pt x="6" y="2"/>
                  <a:pt x="0" y="6"/>
                  <a:pt x="9" y="8"/>
                </a:cubicBezTo>
                <a:cubicBezTo>
                  <a:pt x="17" y="9"/>
                  <a:pt x="15" y="10"/>
                  <a:pt x="18" y="8"/>
                </a:cubicBezTo>
                <a:cubicBezTo>
                  <a:pt x="22" y="7"/>
                  <a:pt x="20" y="1"/>
                  <a:pt x="18" y="1"/>
                </a:cubicBezTo>
                <a:cubicBezTo>
                  <a:pt x="17" y="1"/>
                  <a:pt x="13" y="0"/>
                  <a:pt x="13" y="0"/>
                </a:cubicBezTo>
                <a:lnTo>
                  <a:pt x="8" y="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8" name="Freeform 492"/>
          <p:cNvSpPr>
            <a:spLocks/>
          </p:cNvSpPr>
          <p:nvPr userDrawn="1"/>
        </p:nvSpPr>
        <p:spPr bwMode="auto">
          <a:xfrm>
            <a:off x="5555986" y="3961065"/>
            <a:ext cx="13401" cy="16751"/>
          </a:xfrm>
          <a:custGeom>
            <a:avLst/>
            <a:gdLst>
              <a:gd name="T0" fmla="*/ 2147483646 w 14"/>
              <a:gd name="T1" fmla="*/ 2147483646 h 19"/>
              <a:gd name="T2" fmla="*/ 2147483646 w 14"/>
              <a:gd name="T3" fmla="*/ 2147483646 h 19"/>
              <a:gd name="T4" fmla="*/ 2147483646 w 14"/>
              <a:gd name="T5" fmla="*/ 2147483646 h 19"/>
              <a:gd name="T6" fmla="*/ 2147483646 w 14"/>
              <a:gd name="T7" fmla="*/ 2147483646 h 19"/>
              <a:gd name="T8" fmla="*/ 2147483646 w 14"/>
              <a:gd name="T9" fmla="*/ 2147483646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19"/>
              <a:gd name="T17" fmla="*/ 14 w 14"/>
              <a:gd name="T18" fmla="*/ 19 h 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19">
                <a:moveTo>
                  <a:pt x="2" y="9"/>
                </a:moveTo>
                <a:cubicBezTo>
                  <a:pt x="0" y="12"/>
                  <a:pt x="1" y="19"/>
                  <a:pt x="5" y="19"/>
                </a:cubicBezTo>
                <a:cubicBezTo>
                  <a:pt x="8" y="19"/>
                  <a:pt x="5" y="13"/>
                  <a:pt x="10" y="13"/>
                </a:cubicBezTo>
                <a:cubicBezTo>
                  <a:pt x="14" y="13"/>
                  <a:pt x="13" y="0"/>
                  <a:pt x="11" y="2"/>
                </a:cubicBezTo>
                <a:cubicBezTo>
                  <a:pt x="8" y="4"/>
                  <a:pt x="2" y="9"/>
                  <a:pt x="2" y="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9" name="Freeform 493"/>
          <p:cNvSpPr>
            <a:spLocks/>
          </p:cNvSpPr>
          <p:nvPr userDrawn="1"/>
        </p:nvSpPr>
        <p:spPr bwMode="auto">
          <a:xfrm>
            <a:off x="6293026" y="4068270"/>
            <a:ext cx="60303" cy="46903"/>
          </a:xfrm>
          <a:custGeom>
            <a:avLst/>
            <a:gdLst>
              <a:gd name="T0" fmla="*/ 2147483646 w 66"/>
              <a:gd name="T1" fmla="*/ 2147483646 h 49"/>
              <a:gd name="T2" fmla="*/ 2147483646 w 66"/>
              <a:gd name="T3" fmla="*/ 2147483646 h 49"/>
              <a:gd name="T4" fmla="*/ 2147483646 w 66"/>
              <a:gd name="T5" fmla="*/ 2147483646 h 49"/>
              <a:gd name="T6" fmla="*/ 2147483646 w 66"/>
              <a:gd name="T7" fmla="*/ 2147483646 h 49"/>
              <a:gd name="T8" fmla="*/ 2147483646 w 66"/>
              <a:gd name="T9" fmla="*/ 2147483646 h 49"/>
              <a:gd name="T10" fmla="*/ 2147483646 w 66"/>
              <a:gd name="T11" fmla="*/ 2147483646 h 49"/>
              <a:gd name="T12" fmla="*/ 2147483646 w 66"/>
              <a:gd name="T13" fmla="*/ 2147483646 h 49"/>
              <a:gd name="T14" fmla="*/ 2147483646 w 66"/>
              <a:gd name="T15" fmla="*/ 2147483646 h 49"/>
              <a:gd name="T16" fmla="*/ 2147483646 w 66"/>
              <a:gd name="T17" fmla="*/ 2147483646 h 49"/>
              <a:gd name="T18" fmla="*/ 2147483646 w 66"/>
              <a:gd name="T19" fmla="*/ 2147483646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6"/>
              <a:gd name="T31" fmla="*/ 0 h 49"/>
              <a:gd name="T32" fmla="*/ 66 w 66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6" h="49">
                <a:moveTo>
                  <a:pt x="25" y="21"/>
                </a:moveTo>
                <a:cubicBezTo>
                  <a:pt x="21" y="21"/>
                  <a:pt x="20" y="24"/>
                  <a:pt x="15" y="24"/>
                </a:cubicBezTo>
                <a:cubicBezTo>
                  <a:pt x="11" y="24"/>
                  <a:pt x="7" y="20"/>
                  <a:pt x="5" y="26"/>
                </a:cubicBezTo>
                <a:cubicBezTo>
                  <a:pt x="3" y="33"/>
                  <a:pt x="0" y="34"/>
                  <a:pt x="5" y="37"/>
                </a:cubicBezTo>
                <a:cubicBezTo>
                  <a:pt x="11" y="40"/>
                  <a:pt x="13" y="49"/>
                  <a:pt x="20" y="44"/>
                </a:cubicBezTo>
                <a:cubicBezTo>
                  <a:pt x="27" y="38"/>
                  <a:pt x="41" y="30"/>
                  <a:pt x="44" y="31"/>
                </a:cubicBezTo>
                <a:cubicBezTo>
                  <a:pt x="53" y="34"/>
                  <a:pt x="48" y="21"/>
                  <a:pt x="48" y="21"/>
                </a:cubicBezTo>
                <a:cubicBezTo>
                  <a:pt x="48" y="21"/>
                  <a:pt x="66" y="10"/>
                  <a:pt x="64" y="5"/>
                </a:cubicBezTo>
                <a:cubicBezTo>
                  <a:pt x="62" y="0"/>
                  <a:pt x="52" y="14"/>
                  <a:pt x="43" y="15"/>
                </a:cubicBezTo>
                <a:cubicBezTo>
                  <a:pt x="35" y="16"/>
                  <a:pt x="25" y="21"/>
                  <a:pt x="25" y="2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0" name="Freeform 494"/>
          <p:cNvSpPr>
            <a:spLocks/>
          </p:cNvSpPr>
          <p:nvPr userDrawn="1"/>
        </p:nvSpPr>
        <p:spPr bwMode="auto">
          <a:xfrm>
            <a:off x="6076939" y="4076646"/>
            <a:ext cx="75380" cy="26801"/>
          </a:xfrm>
          <a:custGeom>
            <a:avLst/>
            <a:gdLst>
              <a:gd name="T0" fmla="*/ 2147483646 w 80"/>
              <a:gd name="T1" fmla="*/ 2147483646 h 29"/>
              <a:gd name="T2" fmla="*/ 2147483646 w 80"/>
              <a:gd name="T3" fmla="*/ 2147483646 h 29"/>
              <a:gd name="T4" fmla="*/ 2147483646 w 80"/>
              <a:gd name="T5" fmla="*/ 2147483646 h 29"/>
              <a:gd name="T6" fmla="*/ 2147483646 w 80"/>
              <a:gd name="T7" fmla="*/ 2147483646 h 29"/>
              <a:gd name="T8" fmla="*/ 2147483646 w 80"/>
              <a:gd name="T9" fmla="*/ 2147483646 h 29"/>
              <a:gd name="T10" fmla="*/ 2147483646 w 80"/>
              <a:gd name="T11" fmla="*/ 2147483646 h 29"/>
              <a:gd name="T12" fmla="*/ 2147483646 w 80"/>
              <a:gd name="T13" fmla="*/ 2147483646 h 29"/>
              <a:gd name="T14" fmla="*/ 2147483646 w 80"/>
              <a:gd name="T15" fmla="*/ 2147483646 h 29"/>
              <a:gd name="T16" fmla="*/ 2147483646 w 80"/>
              <a:gd name="T17" fmla="*/ 2147483646 h 29"/>
              <a:gd name="T18" fmla="*/ 2147483646 w 80"/>
              <a:gd name="T19" fmla="*/ 2147483646 h 29"/>
              <a:gd name="T20" fmla="*/ 2147483646 w 80"/>
              <a:gd name="T21" fmla="*/ 2147483646 h 29"/>
              <a:gd name="T22" fmla="*/ 2147483646 w 80"/>
              <a:gd name="T23" fmla="*/ 2147483646 h 2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0"/>
              <a:gd name="T37" fmla="*/ 0 h 29"/>
              <a:gd name="T38" fmla="*/ 80 w 80"/>
              <a:gd name="T39" fmla="*/ 29 h 2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0" h="29">
                <a:moveTo>
                  <a:pt x="36" y="6"/>
                </a:moveTo>
                <a:cubicBezTo>
                  <a:pt x="30" y="8"/>
                  <a:pt x="21" y="3"/>
                  <a:pt x="21" y="3"/>
                </a:cubicBezTo>
                <a:cubicBezTo>
                  <a:pt x="21" y="3"/>
                  <a:pt x="14" y="0"/>
                  <a:pt x="12" y="2"/>
                </a:cubicBezTo>
                <a:cubicBezTo>
                  <a:pt x="9" y="4"/>
                  <a:pt x="0" y="9"/>
                  <a:pt x="6" y="12"/>
                </a:cubicBezTo>
                <a:cubicBezTo>
                  <a:pt x="13" y="15"/>
                  <a:pt x="22" y="13"/>
                  <a:pt x="28" y="16"/>
                </a:cubicBezTo>
                <a:cubicBezTo>
                  <a:pt x="35" y="19"/>
                  <a:pt x="35" y="19"/>
                  <a:pt x="41" y="24"/>
                </a:cubicBezTo>
                <a:cubicBezTo>
                  <a:pt x="48" y="29"/>
                  <a:pt x="48" y="21"/>
                  <a:pt x="58" y="22"/>
                </a:cubicBezTo>
                <a:cubicBezTo>
                  <a:pt x="68" y="23"/>
                  <a:pt x="71" y="22"/>
                  <a:pt x="74" y="19"/>
                </a:cubicBezTo>
                <a:cubicBezTo>
                  <a:pt x="77" y="16"/>
                  <a:pt x="80" y="12"/>
                  <a:pt x="76" y="12"/>
                </a:cubicBezTo>
                <a:cubicBezTo>
                  <a:pt x="72" y="12"/>
                  <a:pt x="59" y="12"/>
                  <a:pt x="56" y="12"/>
                </a:cubicBezTo>
                <a:cubicBezTo>
                  <a:pt x="54" y="12"/>
                  <a:pt x="41" y="12"/>
                  <a:pt x="41" y="12"/>
                </a:cubicBezTo>
                <a:lnTo>
                  <a:pt x="36" y="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1" name="Freeform 495"/>
          <p:cNvSpPr>
            <a:spLocks/>
          </p:cNvSpPr>
          <p:nvPr userDrawn="1"/>
        </p:nvSpPr>
        <p:spPr bwMode="auto">
          <a:xfrm>
            <a:off x="6108766" y="4006293"/>
            <a:ext cx="16751" cy="18425"/>
          </a:xfrm>
          <a:custGeom>
            <a:avLst/>
            <a:gdLst>
              <a:gd name="T0" fmla="*/ 2147483646 w 17"/>
              <a:gd name="T1" fmla="*/ 0 h 20"/>
              <a:gd name="T2" fmla="*/ 2147483646 w 17"/>
              <a:gd name="T3" fmla="*/ 2147483646 h 20"/>
              <a:gd name="T4" fmla="*/ 2147483646 w 17"/>
              <a:gd name="T5" fmla="*/ 2147483646 h 20"/>
              <a:gd name="T6" fmla="*/ 2147483646 w 17"/>
              <a:gd name="T7" fmla="*/ 2147483646 h 20"/>
              <a:gd name="T8" fmla="*/ 2147483646 w 17"/>
              <a:gd name="T9" fmla="*/ 2147483646 h 20"/>
              <a:gd name="T10" fmla="*/ 2147483646 w 17"/>
              <a:gd name="T11" fmla="*/ 2147483646 h 20"/>
              <a:gd name="T12" fmla="*/ 2147483646 w 17"/>
              <a:gd name="T13" fmla="*/ 2147483646 h 20"/>
              <a:gd name="T14" fmla="*/ 2147483646 w 17"/>
              <a:gd name="T15" fmla="*/ 0 h 2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7"/>
              <a:gd name="T25" fmla="*/ 0 h 20"/>
              <a:gd name="T26" fmla="*/ 17 w 17"/>
              <a:gd name="T27" fmla="*/ 20 h 2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7" h="20">
                <a:moveTo>
                  <a:pt x="4" y="0"/>
                </a:moveTo>
                <a:cubicBezTo>
                  <a:pt x="2" y="1"/>
                  <a:pt x="0" y="4"/>
                  <a:pt x="3" y="6"/>
                </a:cubicBezTo>
                <a:cubicBezTo>
                  <a:pt x="7" y="8"/>
                  <a:pt x="9" y="6"/>
                  <a:pt x="9" y="11"/>
                </a:cubicBezTo>
                <a:cubicBezTo>
                  <a:pt x="10" y="15"/>
                  <a:pt x="11" y="17"/>
                  <a:pt x="14" y="18"/>
                </a:cubicBezTo>
                <a:cubicBezTo>
                  <a:pt x="16" y="20"/>
                  <a:pt x="17" y="19"/>
                  <a:pt x="17" y="18"/>
                </a:cubicBezTo>
                <a:cubicBezTo>
                  <a:pt x="17" y="17"/>
                  <a:pt x="16" y="12"/>
                  <a:pt x="15" y="12"/>
                </a:cubicBezTo>
                <a:cubicBezTo>
                  <a:pt x="14" y="12"/>
                  <a:pt x="13" y="8"/>
                  <a:pt x="12" y="7"/>
                </a:cubicBezTo>
                <a:cubicBezTo>
                  <a:pt x="11" y="6"/>
                  <a:pt x="4" y="0"/>
                  <a:pt x="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Freeform 496"/>
          <p:cNvSpPr>
            <a:spLocks/>
          </p:cNvSpPr>
          <p:nvPr userDrawn="1"/>
        </p:nvSpPr>
        <p:spPr bwMode="auto">
          <a:xfrm>
            <a:off x="6127191" y="4021368"/>
            <a:ext cx="3351" cy="5025"/>
          </a:xfrm>
          <a:custGeom>
            <a:avLst/>
            <a:gdLst>
              <a:gd name="T0" fmla="*/ 2147483646 w 4"/>
              <a:gd name="T1" fmla="*/ 0 h 4"/>
              <a:gd name="T2" fmla="*/ 2147483646 w 4"/>
              <a:gd name="T3" fmla="*/ 2147483646 h 4"/>
              <a:gd name="T4" fmla="*/ 2147483646 w 4"/>
              <a:gd name="T5" fmla="*/ 2147483646 h 4"/>
              <a:gd name="T6" fmla="*/ 2147483646 w 4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4"/>
              <a:gd name="T14" fmla="*/ 4 w 4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4">
                <a:moveTo>
                  <a:pt x="2" y="0"/>
                </a:moveTo>
                <a:cubicBezTo>
                  <a:pt x="1" y="1"/>
                  <a:pt x="0" y="4"/>
                  <a:pt x="1" y="4"/>
                </a:cubicBezTo>
                <a:cubicBezTo>
                  <a:pt x="3" y="4"/>
                  <a:pt x="4" y="3"/>
                  <a:pt x="4" y="2"/>
                </a:cubicBezTo>
                <a:cubicBezTo>
                  <a:pt x="4" y="1"/>
                  <a:pt x="2" y="0"/>
                  <a:pt x="2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3" name="Freeform 497"/>
          <p:cNvSpPr>
            <a:spLocks/>
          </p:cNvSpPr>
          <p:nvPr userDrawn="1"/>
        </p:nvSpPr>
        <p:spPr bwMode="auto">
          <a:xfrm>
            <a:off x="6128868" y="4031418"/>
            <a:ext cx="5025" cy="6700"/>
          </a:xfrm>
          <a:custGeom>
            <a:avLst/>
            <a:gdLst>
              <a:gd name="T0" fmla="*/ 2147483646 w 5"/>
              <a:gd name="T1" fmla="*/ 0 h 7"/>
              <a:gd name="T2" fmla="*/ 2147483646 w 5"/>
              <a:gd name="T3" fmla="*/ 2147483646 h 7"/>
              <a:gd name="T4" fmla="*/ 2147483646 w 5"/>
              <a:gd name="T5" fmla="*/ 2147483646 h 7"/>
              <a:gd name="T6" fmla="*/ 2147483646 w 5"/>
              <a:gd name="T7" fmla="*/ 0 h 7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7"/>
              <a:gd name="T14" fmla="*/ 5 w 5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7">
                <a:moveTo>
                  <a:pt x="1" y="0"/>
                </a:moveTo>
                <a:cubicBezTo>
                  <a:pt x="1" y="1"/>
                  <a:pt x="0" y="7"/>
                  <a:pt x="2" y="7"/>
                </a:cubicBezTo>
                <a:cubicBezTo>
                  <a:pt x="3" y="7"/>
                  <a:pt x="5" y="4"/>
                  <a:pt x="5" y="4"/>
                </a:cubicBezTo>
                <a:lnTo>
                  <a:pt x="1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4" name="Freeform 498"/>
          <p:cNvSpPr>
            <a:spLocks/>
          </p:cNvSpPr>
          <p:nvPr userDrawn="1"/>
        </p:nvSpPr>
        <p:spPr bwMode="auto">
          <a:xfrm>
            <a:off x="6117141" y="4029743"/>
            <a:ext cx="10051" cy="8375"/>
          </a:xfrm>
          <a:custGeom>
            <a:avLst/>
            <a:gdLst>
              <a:gd name="T0" fmla="*/ 2147483646 w 10"/>
              <a:gd name="T1" fmla="*/ 2147483646 h 10"/>
              <a:gd name="T2" fmla="*/ 2147483646 w 10"/>
              <a:gd name="T3" fmla="*/ 2147483646 h 10"/>
              <a:gd name="T4" fmla="*/ 2147483646 w 10"/>
              <a:gd name="T5" fmla="*/ 2147483646 h 10"/>
              <a:gd name="T6" fmla="*/ 0 60000 65536"/>
              <a:gd name="T7" fmla="*/ 0 60000 65536"/>
              <a:gd name="T8" fmla="*/ 0 60000 65536"/>
              <a:gd name="T9" fmla="*/ 0 w 10"/>
              <a:gd name="T10" fmla="*/ 0 h 10"/>
              <a:gd name="T11" fmla="*/ 10 w 10"/>
              <a:gd name="T12" fmla="*/ 10 h 1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10">
                <a:moveTo>
                  <a:pt x="5" y="3"/>
                </a:moveTo>
                <a:cubicBezTo>
                  <a:pt x="0" y="5"/>
                  <a:pt x="7" y="10"/>
                  <a:pt x="7" y="10"/>
                </a:cubicBezTo>
                <a:cubicBezTo>
                  <a:pt x="7" y="10"/>
                  <a:pt x="10" y="0"/>
                  <a:pt x="5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5" name="Freeform 499"/>
          <p:cNvSpPr>
            <a:spLocks/>
          </p:cNvSpPr>
          <p:nvPr userDrawn="1"/>
        </p:nvSpPr>
        <p:spPr bwMode="auto">
          <a:xfrm>
            <a:off x="6123842" y="4041469"/>
            <a:ext cx="5025" cy="5025"/>
          </a:xfrm>
          <a:custGeom>
            <a:avLst/>
            <a:gdLst>
              <a:gd name="T0" fmla="*/ 2147483646 w 6"/>
              <a:gd name="T1" fmla="*/ 2147483646 h 6"/>
              <a:gd name="T2" fmla="*/ 2147483646 w 6"/>
              <a:gd name="T3" fmla="*/ 2147483646 h 6"/>
              <a:gd name="T4" fmla="*/ 2147483646 w 6"/>
              <a:gd name="T5" fmla="*/ 2147483646 h 6"/>
              <a:gd name="T6" fmla="*/ 2147483646 w 6"/>
              <a:gd name="T7" fmla="*/ 2147483646 h 6"/>
              <a:gd name="T8" fmla="*/ 2147483646 w 6"/>
              <a:gd name="T9" fmla="*/ 2147483646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3" y="2"/>
                </a:moveTo>
                <a:cubicBezTo>
                  <a:pt x="2" y="2"/>
                  <a:pt x="0" y="6"/>
                  <a:pt x="3" y="6"/>
                </a:cubicBezTo>
                <a:cubicBezTo>
                  <a:pt x="5" y="6"/>
                  <a:pt x="6" y="5"/>
                  <a:pt x="6" y="4"/>
                </a:cubicBezTo>
                <a:cubicBezTo>
                  <a:pt x="6" y="2"/>
                  <a:pt x="5" y="0"/>
                  <a:pt x="3" y="1"/>
                </a:cubicBezTo>
                <a:cubicBezTo>
                  <a:pt x="1" y="2"/>
                  <a:pt x="3" y="2"/>
                  <a:pt x="3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Freeform 500"/>
          <p:cNvSpPr>
            <a:spLocks/>
          </p:cNvSpPr>
          <p:nvPr userDrawn="1"/>
        </p:nvSpPr>
        <p:spPr bwMode="auto">
          <a:xfrm>
            <a:off x="6105417" y="4024718"/>
            <a:ext cx="3351" cy="5025"/>
          </a:xfrm>
          <a:custGeom>
            <a:avLst/>
            <a:gdLst>
              <a:gd name="T0" fmla="*/ 2147483646 w 5"/>
              <a:gd name="T1" fmla="*/ 2147483646 h 5"/>
              <a:gd name="T2" fmla="*/ 2147483646 w 5"/>
              <a:gd name="T3" fmla="*/ 2147483646 h 5"/>
              <a:gd name="T4" fmla="*/ 2147483646 w 5"/>
              <a:gd name="T5" fmla="*/ 0 h 5"/>
              <a:gd name="T6" fmla="*/ 0 60000 65536"/>
              <a:gd name="T7" fmla="*/ 0 60000 65536"/>
              <a:gd name="T8" fmla="*/ 0 60000 65536"/>
              <a:gd name="T9" fmla="*/ 0 w 5"/>
              <a:gd name="T10" fmla="*/ 0 h 5"/>
              <a:gd name="T11" fmla="*/ 5 w 5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5">
                <a:moveTo>
                  <a:pt x="4" y="1"/>
                </a:moveTo>
                <a:cubicBezTo>
                  <a:pt x="0" y="0"/>
                  <a:pt x="0" y="5"/>
                  <a:pt x="2" y="5"/>
                </a:cubicBezTo>
                <a:cubicBezTo>
                  <a:pt x="4" y="5"/>
                  <a:pt x="5" y="0"/>
                  <a:pt x="3" y="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7" name="Freeform 501"/>
          <p:cNvSpPr>
            <a:spLocks/>
          </p:cNvSpPr>
          <p:nvPr userDrawn="1"/>
        </p:nvSpPr>
        <p:spPr bwMode="auto">
          <a:xfrm>
            <a:off x="6105417" y="4024718"/>
            <a:ext cx="3351" cy="5025"/>
          </a:xfrm>
          <a:custGeom>
            <a:avLst/>
            <a:gdLst>
              <a:gd name="T0" fmla="*/ 2147483646 w 5"/>
              <a:gd name="T1" fmla="*/ 2147483646 h 5"/>
              <a:gd name="T2" fmla="*/ 2147483646 w 5"/>
              <a:gd name="T3" fmla="*/ 2147483646 h 5"/>
              <a:gd name="T4" fmla="*/ 2147483646 w 5"/>
              <a:gd name="T5" fmla="*/ 0 h 5"/>
              <a:gd name="T6" fmla="*/ 0 60000 65536"/>
              <a:gd name="T7" fmla="*/ 0 60000 65536"/>
              <a:gd name="T8" fmla="*/ 0 60000 65536"/>
              <a:gd name="T9" fmla="*/ 0 w 5"/>
              <a:gd name="T10" fmla="*/ 0 h 5"/>
              <a:gd name="T11" fmla="*/ 5 w 5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5">
                <a:moveTo>
                  <a:pt x="4" y="1"/>
                </a:moveTo>
                <a:cubicBezTo>
                  <a:pt x="0" y="0"/>
                  <a:pt x="0" y="5"/>
                  <a:pt x="2" y="5"/>
                </a:cubicBezTo>
                <a:cubicBezTo>
                  <a:pt x="4" y="5"/>
                  <a:pt x="5" y="0"/>
                  <a:pt x="3" y="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8" name="Freeform 502"/>
          <p:cNvSpPr>
            <a:spLocks/>
          </p:cNvSpPr>
          <p:nvPr userDrawn="1"/>
        </p:nvSpPr>
        <p:spPr bwMode="auto">
          <a:xfrm>
            <a:off x="6107091" y="4034769"/>
            <a:ext cx="6700" cy="5025"/>
          </a:xfrm>
          <a:custGeom>
            <a:avLst/>
            <a:gdLst>
              <a:gd name="T0" fmla="*/ 2147483646 w 6"/>
              <a:gd name="T1" fmla="*/ 2147483646 h 5"/>
              <a:gd name="T2" fmla="*/ 2147483646 w 6"/>
              <a:gd name="T3" fmla="*/ 2147483646 h 5"/>
              <a:gd name="T4" fmla="*/ 2147483646 w 6"/>
              <a:gd name="T5" fmla="*/ 2147483646 h 5"/>
              <a:gd name="T6" fmla="*/ 0 60000 65536"/>
              <a:gd name="T7" fmla="*/ 0 60000 65536"/>
              <a:gd name="T8" fmla="*/ 0 60000 65536"/>
              <a:gd name="T9" fmla="*/ 0 w 6"/>
              <a:gd name="T10" fmla="*/ 0 h 5"/>
              <a:gd name="T11" fmla="*/ 6 w 6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5">
                <a:moveTo>
                  <a:pt x="3" y="1"/>
                </a:moveTo>
                <a:cubicBezTo>
                  <a:pt x="0" y="0"/>
                  <a:pt x="0" y="4"/>
                  <a:pt x="2" y="4"/>
                </a:cubicBezTo>
                <a:cubicBezTo>
                  <a:pt x="4" y="5"/>
                  <a:pt x="6" y="1"/>
                  <a:pt x="3" y="1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9" name="Freeform 503"/>
          <p:cNvSpPr>
            <a:spLocks/>
          </p:cNvSpPr>
          <p:nvPr userDrawn="1"/>
        </p:nvSpPr>
        <p:spPr bwMode="auto">
          <a:xfrm>
            <a:off x="6107091" y="4034769"/>
            <a:ext cx="6700" cy="5025"/>
          </a:xfrm>
          <a:custGeom>
            <a:avLst/>
            <a:gdLst>
              <a:gd name="T0" fmla="*/ 2147483646 w 6"/>
              <a:gd name="T1" fmla="*/ 2147483646 h 5"/>
              <a:gd name="T2" fmla="*/ 2147483646 w 6"/>
              <a:gd name="T3" fmla="*/ 2147483646 h 5"/>
              <a:gd name="T4" fmla="*/ 2147483646 w 6"/>
              <a:gd name="T5" fmla="*/ 2147483646 h 5"/>
              <a:gd name="T6" fmla="*/ 0 60000 65536"/>
              <a:gd name="T7" fmla="*/ 0 60000 65536"/>
              <a:gd name="T8" fmla="*/ 0 60000 65536"/>
              <a:gd name="T9" fmla="*/ 0 w 6"/>
              <a:gd name="T10" fmla="*/ 0 h 5"/>
              <a:gd name="T11" fmla="*/ 6 w 6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5">
                <a:moveTo>
                  <a:pt x="3" y="1"/>
                </a:moveTo>
                <a:cubicBezTo>
                  <a:pt x="0" y="0"/>
                  <a:pt x="0" y="4"/>
                  <a:pt x="2" y="4"/>
                </a:cubicBezTo>
                <a:cubicBezTo>
                  <a:pt x="4" y="5"/>
                  <a:pt x="6" y="1"/>
                  <a:pt x="3" y="1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0" name="Freeform 504"/>
          <p:cNvSpPr>
            <a:spLocks/>
          </p:cNvSpPr>
          <p:nvPr userDrawn="1"/>
        </p:nvSpPr>
        <p:spPr bwMode="auto">
          <a:xfrm>
            <a:off x="6113791" y="3935938"/>
            <a:ext cx="25127" cy="18425"/>
          </a:xfrm>
          <a:custGeom>
            <a:avLst/>
            <a:gdLst>
              <a:gd name="T0" fmla="*/ 2147483646 w 26"/>
              <a:gd name="T1" fmla="*/ 2147483646 h 20"/>
              <a:gd name="T2" fmla="*/ 2147483646 w 26"/>
              <a:gd name="T3" fmla="*/ 2147483646 h 20"/>
              <a:gd name="T4" fmla="*/ 2147483646 w 26"/>
              <a:gd name="T5" fmla="*/ 2147483646 h 20"/>
              <a:gd name="T6" fmla="*/ 2147483646 w 26"/>
              <a:gd name="T7" fmla="*/ 2147483646 h 20"/>
              <a:gd name="T8" fmla="*/ 2147483646 w 26"/>
              <a:gd name="T9" fmla="*/ 2147483646 h 20"/>
              <a:gd name="T10" fmla="*/ 2147483646 w 26"/>
              <a:gd name="T11" fmla="*/ 2147483646 h 20"/>
              <a:gd name="T12" fmla="*/ 2147483646 w 26"/>
              <a:gd name="T13" fmla="*/ 2147483646 h 20"/>
              <a:gd name="T14" fmla="*/ 2147483646 w 26"/>
              <a:gd name="T15" fmla="*/ 2147483646 h 20"/>
              <a:gd name="T16" fmla="*/ 2147483646 w 26"/>
              <a:gd name="T17" fmla="*/ 2147483646 h 20"/>
              <a:gd name="T18" fmla="*/ 2147483646 w 26"/>
              <a:gd name="T19" fmla="*/ 0 h 2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20"/>
              <a:gd name="T32" fmla="*/ 26 w 26"/>
              <a:gd name="T33" fmla="*/ 20 h 2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20">
                <a:moveTo>
                  <a:pt x="23" y="1"/>
                </a:moveTo>
                <a:cubicBezTo>
                  <a:pt x="21" y="3"/>
                  <a:pt x="19" y="4"/>
                  <a:pt x="17" y="6"/>
                </a:cubicBezTo>
                <a:cubicBezTo>
                  <a:pt x="13" y="3"/>
                  <a:pt x="11" y="7"/>
                  <a:pt x="11" y="11"/>
                </a:cubicBezTo>
                <a:cubicBezTo>
                  <a:pt x="7" y="12"/>
                  <a:pt x="0" y="8"/>
                  <a:pt x="4" y="16"/>
                </a:cubicBezTo>
                <a:cubicBezTo>
                  <a:pt x="6" y="18"/>
                  <a:pt x="8" y="20"/>
                  <a:pt x="10" y="17"/>
                </a:cubicBezTo>
                <a:cubicBezTo>
                  <a:pt x="11" y="15"/>
                  <a:pt x="10" y="10"/>
                  <a:pt x="14" y="13"/>
                </a:cubicBezTo>
                <a:cubicBezTo>
                  <a:pt x="14" y="11"/>
                  <a:pt x="18" y="6"/>
                  <a:pt x="21" y="8"/>
                </a:cubicBezTo>
                <a:cubicBezTo>
                  <a:pt x="22" y="7"/>
                  <a:pt x="22" y="5"/>
                  <a:pt x="22" y="4"/>
                </a:cubicBezTo>
                <a:cubicBezTo>
                  <a:pt x="24" y="4"/>
                  <a:pt x="26" y="3"/>
                  <a:pt x="26" y="1"/>
                </a:cubicBezTo>
                <a:cubicBezTo>
                  <a:pt x="26" y="1"/>
                  <a:pt x="25" y="1"/>
                  <a:pt x="25" y="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1" name="Freeform 505"/>
          <p:cNvSpPr>
            <a:spLocks/>
          </p:cNvSpPr>
          <p:nvPr userDrawn="1"/>
        </p:nvSpPr>
        <p:spPr bwMode="auto">
          <a:xfrm>
            <a:off x="6113791" y="3935938"/>
            <a:ext cx="25127" cy="18425"/>
          </a:xfrm>
          <a:custGeom>
            <a:avLst/>
            <a:gdLst>
              <a:gd name="T0" fmla="*/ 2147483646 w 26"/>
              <a:gd name="T1" fmla="*/ 2147483646 h 20"/>
              <a:gd name="T2" fmla="*/ 2147483646 w 26"/>
              <a:gd name="T3" fmla="*/ 2147483646 h 20"/>
              <a:gd name="T4" fmla="*/ 2147483646 w 26"/>
              <a:gd name="T5" fmla="*/ 2147483646 h 20"/>
              <a:gd name="T6" fmla="*/ 2147483646 w 26"/>
              <a:gd name="T7" fmla="*/ 2147483646 h 20"/>
              <a:gd name="T8" fmla="*/ 2147483646 w 26"/>
              <a:gd name="T9" fmla="*/ 2147483646 h 20"/>
              <a:gd name="T10" fmla="*/ 2147483646 w 26"/>
              <a:gd name="T11" fmla="*/ 2147483646 h 20"/>
              <a:gd name="T12" fmla="*/ 2147483646 w 26"/>
              <a:gd name="T13" fmla="*/ 2147483646 h 20"/>
              <a:gd name="T14" fmla="*/ 2147483646 w 26"/>
              <a:gd name="T15" fmla="*/ 2147483646 h 20"/>
              <a:gd name="T16" fmla="*/ 2147483646 w 26"/>
              <a:gd name="T17" fmla="*/ 2147483646 h 20"/>
              <a:gd name="T18" fmla="*/ 2147483646 w 26"/>
              <a:gd name="T19" fmla="*/ 0 h 2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20"/>
              <a:gd name="T32" fmla="*/ 26 w 26"/>
              <a:gd name="T33" fmla="*/ 20 h 2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20">
                <a:moveTo>
                  <a:pt x="23" y="1"/>
                </a:moveTo>
                <a:cubicBezTo>
                  <a:pt x="21" y="3"/>
                  <a:pt x="19" y="4"/>
                  <a:pt x="17" y="6"/>
                </a:cubicBezTo>
                <a:cubicBezTo>
                  <a:pt x="13" y="3"/>
                  <a:pt x="11" y="7"/>
                  <a:pt x="11" y="11"/>
                </a:cubicBezTo>
                <a:cubicBezTo>
                  <a:pt x="7" y="12"/>
                  <a:pt x="0" y="8"/>
                  <a:pt x="4" y="16"/>
                </a:cubicBezTo>
                <a:cubicBezTo>
                  <a:pt x="6" y="18"/>
                  <a:pt x="8" y="20"/>
                  <a:pt x="10" y="17"/>
                </a:cubicBezTo>
                <a:cubicBezTo>
                  <a:pt x="11" y="15"/>
                  <a:pt x="10" y="10"/>
                  <a:pt x="14" y="13"/>
                </a:cubicBezTo>
                <a:cubicBezTo>
                  <a:pt x="14" y="11"/>
                  <a:pt x="18" y="6"/>
                  <a:pt x="21" y="8"/>
                </a:cubicBezTo>
                <a:cubicBezTo>
                  <a:pt x="22" y="7"/>
                  <a:pt x="22" y="5"/>
                  <a:pt x="22" y="4"/>
                </a:cubicBezTo>
                <a:cubicBezTo>
                  <a:pt x="24" y="4"/>
                  <a:pt x="26" y="3"/>
                  <a:pt x="26" y="1"/>
                </a:cubicBezTo>
                <a:cubicBezTo>
                  <a:pt x="26" y="1"/>
                  <a:pt x="25" y="1"/>
                  <a:pt x="25" y="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2" name="Freeform 506"/>
          <p:cNvSpPr>
            <a:spLocks/>
          </p:cNvSpPr>
          <p:nvPr userDrawn="1"/>
        </p:nvSpPr>
        <p:spPr bwMode="auto">
          <a:xfrm>
            <a:off x="6127192" y="3925888"/>
            <a:ext cx="5025" cy="5025"/>
          </a:xfrm>
          <a:custGeom>
            <a:avLst/>
            <a:gdLst>
              <a:gd name="T0" fmla="*/ 2147483646 w 7"/>
              <a:gd name="T1" fmla="*/ 2147483646 h 6"/>
              <a:gd name="T2" fmla="*/ 2147483646 w 7"/>
              <a:gd name="T3" fmla="*/ 2147483646 h 6"/>
              <a:gd name="T4" fmla="*/ 2147483646 w 7"/>
              <a:gd name="T5" fmla="*/ 2147483646 h 6"/>
              <a:gd name="T6" fmla="*/ 2147483646 w 7"/>
              <a:gd name="T7" fmla="*/ 2147483646 h 6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6"/>
              <a:gd name="T14" fmla="*/ 7 w 7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6">
                <a:moveTo>
                  <a:pt x="5" y="1"/>
                </a:moveTo>
                <a:cubicBezTo>
                  <a:pt x="3" y="0"/>
                  <a:pt x="0" y="1"/>
                  <a:pt x="1" y="3"/>
                </a:cubicBezTo>
                <a:cubicBezTo>
                  <a:pt x="2" y="6"/>
                  <a:pt x="5" y="5"/>
                  <a:pt x="7" y="5"/>
                </a:cubicBezTo>
                <a:cubicBezTo>
                  <a:pt x="7" y="3"/>
                  <a:pt x="6" y="2"/>
                  <a:pt x="4" y="2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3" name="Freeform 507"/>
          <p:cNvSpPr>
            <a:spLocks/>
          </p:cNvSpPr>
          <p:nvPr userDrawn="1"/>
        </p:nvSpPr>
        <p:spPr bwMode="auto">
          <a:xfrm>
            <a:off x="6127192" y="3925888"/>
            <a:ext cx="5025" cy="5025"/>
          </a:xfrm>
          <a:custGeom>
            <a:avLst/>
            <a:gdLst>
              <a:gd name="T0" fmla="*/ 2147483646 w 7"/>
              <a:gd name="T1" fmla="*/ 2147483646 h 6"/>
              <a:gd name="T2" fmla="*/ 2147483646 w 7"/>
              <a:gd name="T3" fmla="*/ 2147483646 h 6"/>
              <a:gd name="T4" fmla="*/ 2147483646 w 7"/>
              <a:gd name="T5" fmla="*/ 2147483646 h 6"/>
              <a:gd name="T6" fmla="*/ 2147483646 w 7"/>
              <a:gd name="T7" fmla="*/ 2147483646 h 6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6"/>
              <a:gd name="T14" fmla="*/ 7 w 7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6">
                <a:moveTo>
                  <a:pt x="5" y="1"/>
                </a:moveTo>
                <a:cubicBezTo>
                  <a:pt x="3" y="0"/>
                  <a:pt x="0" y="1"/>
                  <a:pt x="1" y="3"/>
                </a:cubicBezTo>
                <a:cubicBezTo>
                  <a:pt x="2" y="6"/>
                  <a:pt x="5" y="5"/>
                  <a:pt x="7" y="5"/>
                </a:cubicBezTo>
                <a:cubicBezTo>
                  <a:pt x="7" y="3"/>
                  <a:pt x="6" y="2"/>
                  <a:pt x="4" y="2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Freeform 508"/>
          <p:cNvSpPr>
            <a:spLocks/>
          </p:cNvSpPr>
          <p:nvPr userDrawn="1"/>
        </p:nvSpPr>
        <p:spPr bwMode="auto">
          <a:xfrm>
            <a:off x="6138918" y="3984515"/>
            <a:ext cx="6700" cy="15076"/>
          </a:xfrm>
          <a:custGeom>
            <a:avLst/>
            <a:gdLst>
              <a:gd name="T0" fmla="*/ 2147483646 w 7"/>
              <a:gd name="T1" fmla="*/ 2147483646 h 16"/>
              <a:gd name="T2" fmla="*/ 0 w 7"/>
              <a:gd name="T3" fmla="*/ 2147483646 h 16"/>
              <a:gd name="T4" fmla="*/ 2147483646 w 7"/>
              <a:gd name="T5" fmla="*/ 2147483646 h 16"/>
              <a:gd name="T6" fmla="*/ 2147483646 w 7"/>
              <a:gd name="T7" fmla="*/ 2147483646 h 16"/>
              <a:gd name="T8" fmla="*/ 2147483646 w 7"/>
              <a:gd name="T9" fmla="*/ 2147483646 h 16"/>
              <a:gd name="T10" fmla="*/ 2147483646 w 7"/>
              <a:gd name="T11" fmla="*/ 2147483646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"/>
              <a:gd name="T19" fmla="*/ 0 h 16"/>
              <a:gd name="T20" fmla="*/ 7 w 7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" h="16">
                <a:moveTo>
                  <a:pt x="7" y="6"/>
                </a:moveTo>
                <a:cubicBezTo>
                  <a:pt x="5" y="5"/>
                  <a:pt x="1" y="0"/>
                  <a:pt x="0" y="5"/>
                </a:cubicBezTo>
                <a:cubicBezTo>
                  <a:pt x="0" y="8"/>
                  <a:pt x="4" y="7"/>
                  <a:pt x="4" y="10"/>
                </a:cubicBezTo>
                <a:cubicBezTo>
                  <a:pt x="4" y="11"/>
                  <a:pt x="2" y="13"/>
                  <a:pt x="2" y="14"/>
                </a:cubicBezTo>
                <a:cubicBezTo>
                  <a:pt x="3" y="16"/>
                  <a:pt x="5" y="14"/>
                  <a:pt x="6" y="13"/>
                </a:cubicBezTo>
                <a:cubicBezTo>
                  <a:pt x="7" y="12"/>
                  <a:pt x="7" y="7"/>
                  <a:pt x="6" y="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5" name="Freeform 509"/>
          <p:cNvSpPr>
            <a:spLocks/>
          </p:cNvSpPr>
          <p:nvPr userDrawn="1"/>
        </p:nvSpPr>
        <p:spPr bwMode="auto">
          <a:xfrm>
            <a:off x="6138918" y="3984515"/>
            <a:ext cx="6700" cy="15076"/>
          </a:xfrm>
          <a:custGeom>
            <a:avLst/>
            <a:gdLst>
              <a:gd name="T0" fmla="*/ 2147483646 w 7"/>
              <a:gd name="T1" fmla="*/ 2147483646 h 16"/>
              <a:gd name="T2" fmla="*/ 0 w 7"/>
              <a:gd name="T3" fmla="*/ 2147483646 h 16"/>
              <a:gd name="T4" fmla="*/ 2147483646 w 7"/>
              <a:gd name="T5" fmla="*/ 2147483646 h 16"/>
              <a:gd name="T6" fmla="*/ 2147483646 w 7"/>
              <a:gd name="T7" fmla="*/ 2147483646 h 16"/>
              <a:gd name="T8" fmla="*/ 2147483646 w 7"/>
              <a:gd name="T9" fmla="*/ 2147483646 h 16"/>
              <a:gd name="T10" fmla="*/ 2147483646 w 7"/>
              <a:gd name="T11" fmla="*/ 2147483646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"/>
              <a:gd name="T19" fmla="*/ 0 h 16"/>
              <a:gd name="T20" fmla="*/ 7 w 7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" h="16">
                <a:moveTo>
                  <a:pt x="7" y="6"/>
                </a:moveTo>
                <a:cubicBezTo>
                  <a:pt x="5" y="5"/>
                  <a:pt x="1" y="0"/>
                  <a:pt x="0" y="5"/>
                </a:cubicBezTo>
                <a:cubicBezTo>
                  <a:pt x="0" y="8"/>
                  <a:pt x="4" y="7"/>
                  <a:pt x="4" y="10"/>
                </a:cubicBezTo>
                <a:cubicBezTo>
                  <a:pt x="4" y="11"/>
                  <a:pt x="2" y="13"/>
                  <a:pt x="2" y="14"/>
                </a:cubicBezTo>
                <a:cubicBezTo>
                  <a:pt x="3" y="16"/>
                  <a:pt x="5" y="14"/>
                  <a:pt x="6" y="13"/>
                </a:cubicBezTo>
                <a:cubicBezTo>
                  <a:pt x="7" y="12"/>
                  <a:pt x="7" y="7"/>
                  <a:pt x="6" y="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6" name="Freeform 510"/>
          <p:cNvSpPr>
            <a:spLocks/>
          </p:cNvSpPr>
          <p:nvPr userDrawn="1"/>
        </p:nvSpPr>
        <p:spPr bwMode="auto">
          <a:xfrm>
            <a:off x="6175769" y="4046494"/>
            <a:ext cx="23451" cy="28476"/>
          </a:xfrm>
          <a:custGeom>
            <a:avLst/>
            <a:gdLst>
              <a:gd name="T0" fmla="*/ 2147483646 w 25"/>
              <a:gd name="T1" fmla="*/ 2147483646 h 30"/>
              <a:gd name="T2" fmla="*/ 2147483646 w 25"/>
              <a:gd name="T3" fmla="*/ 2147483646 h 30"/>
              <a:gd name="T4" fmla="*/ 2147483646 w 25"/>
              <a:gd name="T5" fmla="*/ 2147483646 h 30"/>
              <a:gd name="T6" fmla="*/ 2147483646 w 25"/>
              <a:gd name="T7" fmla="*/ 2147483646 h 30"/>
              <a:gd name="T8" fmla="*/ 2147483646 w 25"/>
              <a:gd name="T9" fmla="*/ 2147483646 h 30"/>
              <a:gd name="T10" fmla="*/ 2147483646 w 25"/>
              <a:gd name="T11" fmla="*/ 2147483646 h 30"/>
              <a:gd name="T12" fmla="*/ 2147483646 w 25"/>
              <a:gd name="T13" fmla="*/ 2147483646 h 30"/>
              <a:gd name="T14" fmla="*/ 2147483646 w 25"/>
              <a:gd name="T15" fmla="*/ 2147483646 h 30"/>
              <a:gd name="T16" fmla="*/ 2147483646 w 25"/>
              <a:gd name="T17" fmla="*/ 2147483646 h 30"/>
              <a:gd name="T18" fmla="*/ 2147483646 w 25"/>
              <a:gd name="T19" fmla="*/ 2147483646 h 3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5"/>
              <a:gd name="T31" fmla="*/ 0 h 30"/>
              <a:gd name="T32" fmla="*/ 25 w 25"/>
              <a:gd name="T33" fmla="*/ 30 h 3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5" h="30">
                <a:moveTo>
                  <a:pt x="20" y="19"/>
                </a:moveTo>
                <a:cubicBezTo>
                  <a:pt x="21" y="15"/>
                  <a:pt x="25" y="12"/>
                  <a:pt x="23" y="8"/>
                </a:cubicBezTo>
                <a:cubicBezTo>
                  <a:pt x="21" y="5"/>
                  <a:pt x="14" y="4"/>
                  <a:pt x="14" y="9"/>
                </a:cubicBezTo>
                <a:cubicBezTo>
                  <a:pt x="12" y="6"/>
                  <a:pt x="14" y="3"/>
                  <a:pt x="10" y="2"/>
                </a:cubicBezTo>
                <a:cubicBezTo>
                  <a:pt x="8" y="1"/>
                  <a:pt x="4" y="0"/>
                  <a:pt x="2" y="1"/>
                </a:cubicBezTo>
                <a:cubicBezTo>
                  <a:pt x="0" y="9"/>
                  <a:pt x="10" y="5"/>
                  <a:pt x="13" y="8"/>
                </a:cubicBezTo>
                <a:cubicBezTo>
                  <a:pt x="16" y="10"/>
                  <a:pt x="11" y="14"/>
                  <a:pt x="15" y="15"/>
                </a:cubicBezTo>
                <a:cubicBezTo>
                  <a:pt x="13" y="16"/>
                  <a:pt x="3" y="27"/>
                  <a:pt x="10" y="29"/>
                </a:cubicBezTo>
                <a:cubicBezTo>
                  <a:pt x="14" y="30"/>
                  <a:pt x="16" y="13"/>
                  <a:pt x="19" y="22"/>
                </a:cubicBezTo>
                <a:cubicBezTo>
                  <a:pt x="19" y="20"/>
                  <a:pt x="20" y="18"/>
                  <a:pt x="21" y="15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7" name="Freeform 511"/>
          <p:cNvSpPr>
            <a:spLocks/>
          </p:cNvSpPr>
          <p:nvPr userDrawn="1"/>
        </p:nvSpPr>
        <p:spPr bwMode="auto">
          <a:xfrm>
            <a:off x="6175769" y="4046494"/>
            <a:ext cx="23451" cy="28476"/>
          </a:xfrm>
          <a:custGeom>
            <a:avLst/>
            <a:gdLst>
              <a:gd name="T0" fmla="*/ 2147483646 w 25"/>
              <a:gd name="T1" fmla="*/ 2147483646 h 30"/>
              <a:gd name="T2" fmla="*/ 2147483646 w 25"/>
              <a:gd name="T3" fmla="*/ 2147483646 h 30"/>
              <a:gd name="T4" fmla="*/ 2147483646 w 25"/>
              <a:gd name="T5" fmla="*/ 2147483646 h 30"/>
              <a:gd name="T6" fmla="*/ 2147483646 w 25"/>
              <a:gd name="T7" fmla="*/ 2147483646 h 30"/>
              <a:gd name="T8" fmla="*/ 2147483646 w 25"/>
              <a:gd name="T9" fmla="*/ 2147483646 h 30"/>
              <a:gd name="T10" fmla="*/ 2147483646 w 25"/>
              <a:gd name="T11" fmla="*/ 2147483646 h 30"/>
              <a:gd name="T12" fmla="*/ 2147483646 w 25"/>
              <a:gd name="T13" fmla="*/ 2147483646 h 30"/>
              <a:gd name="T14" fmla="*/ 2147483646 w 25"/>
              <a:gd name="T15" fmla="*/ 2147483646 h 30"/>
              <a:gd name="T16" fmla="*/ 2147483646 w 25"/>
              <a:gd name="T17" fmla="*/ 2147483646 h 30"/>
              <a:gd name="T18" fmla="*/ 2147483646 w 25"/>
              <a:gd name="T19" fmla="*/ 2147483646 h 3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5"/>
              <a:gd name="T31" fmla="*/ 0 h 30"/>
              <a:gd name="T32" fmla="*/ 25 w 25"/>
              <a:gd name="T33" fmla="*/ 30 h 3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5" h="30">
                <a:moveTo>
                  <a:pt x="20" y="19"/>
                </a:moveTo>
                <a:cubicBezTo>
                  <a:pt x="21" y="15"/>
                  <a:pt x="25" y="12"/>
                  <a:pt x="23" y="8"/>
                </a:cubicBezTo>
                <a:cubicBezTo>
                  <a:pt x="21" y="5"/>
                  <a:pt x="14" y="4"/>
                  <a:pt x="14" y="9"/>
                </a:cubicBezTo>
                <a:cubicBezTo>
                  <a:pt x="12" y="6"/>
                  <a:pt x="14" y="3"/>
                  <a:pt x="10" y="2"/>
                </a:cubicBezTo>
                <a:cubicBezTo>
                  <a:pt x="8" y="1"/>
                  <a:pt x="4" y="0"/>
                  <a:pt x="2" y="1"/>
                </a:cubicBezTo>
                <a:cubicBezTo>
                  <a:pt x="0" y="9"/>
                  <a:pt x="10" y="5"/>
                  <a:pt x="13" y="8"/>
                </a:cubicBezTo>
                <a:cubicBezTo>
                  <a:pt x="16" y="10"/>
                  <a:pt x="11" y="14"/>
                  <a:pt x="15" y="15"/>
                </a:cubicBezTo>
                <a:cubicBezTo>
                  <a:pt x="13" y="16"/>
                  <a:pt x="3" y="27"/>
                  <a:pt x="10" y="29"/>
                </a:cubicBezTo>
                <a:cubicBezTo>
                  <a:pt x="14" y="30"/>
                  <a:pt x="16" y="13"/>
                  <a:pt x="19" y="22"/>
                </a:cubicBezTo>
                <a:cubicBezTo>
                  <a:pt x="19" y="20"/>
                  <a:pt x="20" y="18"/>
                  <a:pt x="21" y="15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Freeform 512"/>
          <p:cNvSpPr>
            <a:spLocks/>
          </p:cNvSpPr>
          <p:nvPr userDrawn="1"/>
        </p:nvSpPr>
        <p:spPr bwMode="auto">
          <a:xfrm>
            <a:off x="6100390" y="3976140"/>
            <a:ext cx="11727" cy="10051"/>
          </a:xfrm>
          <a:custGeom>
            <a:avLst/>
            <a:gdLst>
              <a:gd name="T0" fmla="*/ 2147483646 w 11"/>
              <a:gd name="T1" fmla="*/ 2147483646 h 12"/>
              <a:gd name="T2" fmla="*/ 2147483646 w 11"/>
              <a:gd name="T3" fmla="*/ 2147483646 h 12"/>
              <a:gd name="T4" fmla="*/ 2147483646 w 11"/>
              <a:gd name="T5" fmla="*/ 2147483646 h 12"/>
              <a:gd name="T6" fmla="*/ 2147483646 w 11"/>
              <a:gd name="T7" fmla="*/ 2147483646 h 12"/>
              <a:gd name="T8" fmla="*/ 2147483646 w 11"/>
              <a:gd name="T9" fmla="*/ 2147483646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12"/>
              <a:gd name="T17" fmla="*/ 11 w 11"/>
              <a:gd name="T18" fmla="*/ 12 h 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12">
                <a:moveTo>
                  <a:pt x="6" y="2"/>
                </a:moveTo>
                <a:cubicBezTo>
                  <a:pt x="5" y="0"/>
                  <a:pt x="1" y="0"/>
                  <a:pt x="1" y="3"/>
                </a:cubicBezTo>
                <a:cubicBezTo>
                  <a:pt x="0" y="6"/>
                  <a:pt x="4" y="6"/>
                  <a:pt x="5" y="7"/>
                </a:cubicBezTo>
                <a:cubicBezTo>
                  <a:pt x="7" y="9"/>
                  <a:pt x="9" y="12"/>
                  <a:pt x="10" y="8"/>
                </a:cubicBezTo>
                <a:cubicBezTo>
                  <a:pt x="11" y="5"/>
                  <a:pt x="7" y="3"/>
                  <a:pt x="5" y="2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9" name="Freeform 513"/>
          <p:cNvSpPr>
            <a:spLocks/>
          </p:cNvSpPr>
          <p:nvPr userDrawn="1"/>
        </p:nvSpPr>
        <p:spPr bwMode="auto">
          <a:xfrm>
            <a:off x="6100390" y="3976140"/>
            <a:ext cx="11727" cy="10051"/>
          </a:xfrm>
          <a:custGeom>
            <a:avLst/>
            <a:gdLst>
              <a:gd name="T0" fmla="*/ 2147483646 w 11"/>
              <a:gd name="T1" fmla="*/ 2147483646 h 12"/>
              <a:gd name="T2" fmla="*/ 2147483646 w 11"/>
              <a:gd name="T3" fmla="*/ 2147483646 h 12"/>
              <a:gd name="T4" fmla="*/ 2147483646 w 11"/>
              <a:gd name="T5" fmla="*/ 2147483646 h 12"/>
              <a:gd name="T6" fmla="*/ 2147483646 w 11"/>
              <a:gd name="T7" fmla="*/ 2147483646 h 12"/>
              <a:gd name="T8" fmla="*/ 2147483646 w 11"/>
              <a:gd name="T9" fmla="*/ 2147483646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12"/>
              <a:gd name="T17" fmla="*/ 11 w 11"/>
              <a:gd name="T18" fmla="*/ 12 h 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12">
                <a:moveTo>
                  <a:pt x="6" y="2"/>
                </a:moveTo>
                <a:cubicBezTo>
                  <a:pt x="5" y="0"/>
                  <a:pt x="1" y="0"/>
                  <a:pt x="1" y="3"/>
                </a:cubicBezTo>
                <a:cubicBezTo>
                  <a:pt x="0" y="6"/>
                  <a:pt x="4" y="6"/>
                  <a:pt x="5" y="7"/>
                </a:cubicBezTo>
                <a:cubicBezTo>
                  <a:pt x="7" y="9"/>
                  <a:pt x="9" y="12"/>
                  <a:pt x="10" y="8"/>
                </a:cubicBezTo>
                <a:cubicBezTo>
                  <a:pt x="11" y="5"/>
                  <a:pt x="7" y="3"/>
                  <a:pt x="5" y="2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0" name="Freeform 514"/>
          <p:cNvSpPr>
            <a:spLocks/>
          </p:cNvSpPr>
          <p:nvPr userDrawn="1"/>
        </p:nvSpPr>
        <p:spPr bwMode="auto">
          <a:xfrm>
            <a:off x="5862527" y="3773454"/>
            <a:ext cx="11727" cy="16751"/>
          </a:xfrm>
          <a:custGeom>
            <a:avLst/>
            <a:gdLst>
              <a:gd name="T0" fmla="*/ 2147483646 w 11"/>
              <a:gd name="T1" fmla="*/ 0 h 18"/>
              <a:gd name="T2" fmla="*/ 2147483646 w 11"/>
              <a:gd name="T3" fmla="*/ 2147483646 h 18"/>
              <a:gd name="T4" fmla="*/ 2147483646 w 11"/>
              <a:gd name="T5" fmla="*/ 2147483646 h 18"/>
              <a:gd name="T6" fmla="*/ 2147483646 w 11"/>
              <a:gd name="T7" fmla="*/ 2147483646 h 18"/>
              <a:gd name="T8" fmla="*/ 2147483646 w 11"/>
              <a:gd name="T9" fmla="*/ 2147483646 h 18"/>
              <a:gd name="T10" fmla="*/ 2147483646 w 11"/>
              <a:gd name="T11" fmla="*/ 2147483646 h 18"/>
              <a:gd name="T12" fmla="*/ 2147483646 w 11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"/>
              <a:gd name="T22" fmla="*/ 0 h 18"/>
              <a:gd name="T23" fmla="*/ 11 w 11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" h="18">
                <a:moveTo>
                  <a:pt x="3" y="0"/>
                </a:moveTo>
                <a:cubicBezTo>
                  <a:pt x="2" y="0"/>
                  <a:pt x="0" y="3"/>
                  <a:pt x="3" y="5"/>
                </a:cubicBezTo>
                <a:cubicBezTo>
                  <a:pt x="5" y="8"/>
                  <a:pt x="5" y="14"/>
                  <a:pt x="7" y="15"/>
                </a:cubicBezTo>
                <a:cubicBezTo>
                  <a:pt x="9" y="17"/>
                  <a:pt x="11" y="18"/>
                  <a:pt x="11" y="15"/>
                </a:cubicBezTo>
                <a:cubicBezTo>
                  <a:pt x="11" y="13"/>
                  <a:pt x="9" y="9"/>
                  <a:pt x="9" y="7"/>
                </a:cubicBezTo>
                <a:cubicBezTo>
                  <a:pt x="8" y="5"/>
                  <a:pt x="6" y="1"/>
                  <a:pt x="6" y="1"/>
                </a:cubicBezTo>
                <a:lnTo>
                  <a:pt x="3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Freeform 515"/>
          <p:cNvSpPr>
            <a:spLocks/>
          </p:cNvSpPr>
          <p:nvPr userDrawn="1"/>
        </p:nvSpPr>
        <p:spPr bwMode="auto">
          <a:xfrm>
            <a:off x="5867553" y="3790205"/>
            <a:ext cx="6700" cy="11727"/>
          </a:xfrm>
          <a:custGeom>
            <a:avLst/>
            <a:gdLst>
              <a:gd name="T0" fmla="*/ 0 w 8"/>
              <a:gd name="T1" fmla="*/ 0 h 13"/>
              <a:gd name="T2" fmla="*/ 2147483646 w 8"/>
              <a:gd name="T3" fmla="*/ 2147483646 h 13"/>
              <a:gd name="T4" fmla="*/ 2147483646 w 8"/>
              <a:gd name="T5" fmla="*/ 2147483646 h 13"/>
              <a:gd name="T6" fmla="*/ 2147483646 w 8"/>
              <a:gd name="T7" fmla="*/ 2147483646 h 13"/>
              <a:gd name="T8" fmla="*/ 0 w 8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13"/>
              <a:gd name="T17" fmla="*/ 8 w 8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13">
                <a:moveTo>
                  <a:pt x="0" y="0"/>
                </a:moveTo>
                <a:cubicBezTo>
                  <a:pt x="3" y="1"/>
                  <a:pt x="8" y="3"/>
                  <a:pt x="8" y="5"/>
                </a:cubicBezTo>
                <a:cubicBezTo>
                  <a:pt x="8" y="7"/>
                  <a:pt x="8" y="11"/>
                  <a:pt x="8" y="12"/>
                </a:cubicBezTo>
                <a:cubicBezTo>
                  <a:pt x="8" y="13"/>
                  <a:pt x="3" y="7"/>
                  <a:pt x="2" y="6"/>
                </a:cubicBezTo>
                <a:cubicBezTo>
                  <a:pt x="2" y="5"/>
                  <a:pt x="0" y="0"/>
                  <a:pt x="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2" name="Freeform 516"/>
          <p:cNvSpPr>
            <a:spLocks/>
          </p:cNvSpPr>
          <p:nvPr userDrawn="1"/>
        </p:nvSpPr>
        <p:spPr bwMode="auto">
          <a:xfrm>
            <a:off x="5877604" y="3805280"/>
            <a:ext cx="13401" cy="15075"/>
          </a:xfrm>
          <a:custGeom>
            <a:avLst/>
            <a:gdLst>
              <a:gd name="T0" fmla="*/ 0 w 13"/>
              <a:gd name="T1" fmla="*/ 0 h 16"/>
              <a:gd name="T2" fmla="*/ 2147483646 w 13"/>
              <a:gd name="T3" fmla="*/ 2147483646 h 16"/>
              <a:gd name="T4" fmla="*/ 0 w 13"/>
              <a:gd name="T5" fmla="*/ 0 h 16"/>
              <a:gd name="T6" fmla="*/ 0 60000 65536"/>
              <a:gd name="T7" fmla="*/ 0 60000 65536"/>
              <a:gd name="T8" fmla="*/ 0 60000 65536"/>
              <a:gd name="T9" fmla="*/ 0 w 13"/>
              <a:gd name="T10" fmla="*/ 0 h 16"/>
              <a:gd name="T11" fmla="*/ 13 w 13"/>
              <a:gd name="T12" fmla="*/ 16 h 1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" h="16">
                <a:moveTo>
                  <a:pt x="0" y="0"/>
                </a:moveTo>
                <a:cubicBezTo>
                  <a:pt x="0" y="0"/>
                  <a:pt x="7" y="6"/>
                  <a:pt x="10" y="11"/>
                </a:cubicBezTo>
                <a:cubicBezTo>
                  <a:pt x="13" y="16"/>
                  <a:pt x="1" y="4"/>
                  <a:pt x="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Freeform 517"/>
          <p:cNvSpPr>
            <a:spLocks/>
          </p:cNvSpPr>
          <p:nvPr userDrawn="1"/>
        </p:nvSpPr>
        <p:spPr bwMode="auto">
          <a:xfrm>
            <a:off x="5894353" y="3820357"/>
            <a:ext cx="15075" cy="11727"/>
          </a:xfrm>
          <a:custGeom>
            <a:avLst/>
            <a:gdLst>
              <a:gd name="T0" fmla="*/ 0 w 16"/>
              <a:gd name="T1" fmla="*/ 2147483646 h 14"/>
              <a:gd name="T2" fmla="*/ 2147483646 w 16"/>
              <a:gd name="T3" fmla="*/ 2147483646 h 14"/>
              <a:gd name="T4" fmla="*/ 2147483646 w 16"/>
              <a:gd name="T5" fmla="*/ 2147483646 h 14"/>
              <a:gd name="T6" fmla="*/ 2147483646 w 16"/>
              <a:gd name="T7" fmla="*/ 2147483646 h 14"/>
              <a:gd name="T8" fmla="*/ 0 w 16"/>
              <a:gd name="T9" fmla="*/ 2147483646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4"/>
              <a:gd name="T17" fmla="*/ 16 w 16"/>
              <a:gd name="T18" fmla="*/ 14 h 1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4">
                <a:moveTo>
                  <a:pt x="0" y="1"/>
                </a:moveTo>
                <a:cubicBezTo>
                  <a:pt x="0" y="0"/>
                  <a:pt x="5" y="7"/>
                  <a:pt x="6" y="8"/>
                </a:cubicBezTo>
                <a:cubicBezTo>
                  <a:pt x="8" y="9"/>
                  <a:pt x="14" y="10"/>
                  <a:pt x="14" y="10"/>
                </a:cubicBezTo>
                <a:cubicBezTo>
                  <a:pt x="14" y="10"/>
                  <a:pt x="16" y="14"/>
                  <a:pt x="14" y="14"/>
                </a:cubicBezTo>
                <a:cubicBezTo>
                  <a:pt x="13" y="14"/>
                  <a:pt x="2" y="6"/>
                  <a:pt x="0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Freeform 518"/>
          <p:cNvSpPr>
            <a:spLocks/>
          </p:cNvSpPr>
          <p:nvPr userDrawn="1"/>
        </p:nvSpPr>
        <p:spPr bwMode="auto">
          <a:xfrm>
            <a:off x="5294671" y="3806955"/>
            <a:ext cx="303191" cy="262991"/>
          </a:xfrm>
          <a:custGeom>
            <a:avLst/>
            <a:gdLst>
              <a:gd name="T0" fmla="*/ 2147483646 w 325"/>
              <a:gd name="T1" fmla="*/ 2147483646 h 281"/>
              <a:gd name="T2" fmla="*/ 2147483646 w 325"/>
              <a:gd name="T3" fmla="*/ 2147483646 h 281"/>
              <a:gd name="T4" fmla="*/ 2147483646 w 325"/>
              <a:gd name="T5" fmla="*/ 2147483646 h 281"/>
              <a:gd name="T6" fmla="*/ 2147483646 w 325"/>
              <a:gd name="T7" fmla="*/ 2147483646 h 281"/>
              <a:gd name="T8" fmla="*/ 2147483646 w 325"/>
              <a:gd name="T9" fmla="*/ 2147483646 h 281"/>
              <a:gd name="T10" fmla="*/ 2147483646 w 325"/>
              <a:gd name="T11" fmla="*/ 2147483646 h 281"/>
              <a:gd name="T12" fmla="*/ 2147483646 w 325"/>
              <a:gd name="T13" fmla="*/ 2147483646 h 281"/>
              <a:gd name="T14" fmla="*/ 2147483646 w 325"/>
              <a:gd name="T15" fmla="*/ 2147483646 h 281"/>
              <a:gd name="T16" fmla="*/ 2147483646 w 325"/>
              <a:gd name="T17" fmla="*/ 2147483646 h 281"/>
              <a:gd name="T18" fmla="*/ 2147483646 w 325"/>
              <a:gd name="T19" fmla="*/ 2147483646 h 281"/>
              <a:gd name="T20" fmla="*/ 2147483646 w 325"/>
              <a:gd name="T21" fmla="*/ 2147483646 h 281"/>
              <a:gd name="T22" fmla="*/ 2147483646 w 325"/>
              <a:gd name="T23" fmla="*/ 2147483646 h 281"/>
              <a:gd name="T24" fmla="*/ 2147483646 w 325"/>
              <a:gd name="T25" fmla="*/ 2147483646 h 281"/>
              <a:gd name="T26" fmla="*/ 2147483646 w 325"/>
              <a:gd name="T27" fmla="*/ 2147483646 h 281"/>
              <a:gd name="T28" fmla="*/ 2147483646 w 325"/>
              <a:gd name="T29" fmla="*/ 2147483646 h 281"/>
              <a:gd name="T30" fmla="*/ 2147483646 w 325"/>
              <a:gd name="T31" fmla="*/ 2147483646 h 281"/>
              <a:gd name="T32" fmla="*/ 2147483646 w 325"/>
              <a:gd name="T33" fmla="*/ 2147483646 h 281"/>
              <a:gd name="T34" fmla="*/ 2147483646 w 325"/>
              <a:gd name="T35" fmla="*/ 2147483646 h 281"/>
              <a:gd name="T36" fmla="*/ 2147483646 w 325"/>
              <a:gd name="T37" fmla="*/ 2147483646 h 281"/>
              <a:gd name="T38" fmla="*/ 2147483646 w 325"/>
              <a:gd name="T39" fmla="*/ 2147483646 h 281"/>
              <a:gd name="T40" fmla="*/ 2147483646 w 325"/>
              <a:gd name="T41" fmla="*/ 2147483646 h 281"/>
              <a:gd name="T42" fmla="*/ 2147483646 w 325"/>
              <a:gd name="T43" fmla="*/ 2147483646 h 281"/>
              <a:gd name="T44" fmla="*/ 2147483646 w 325"/>
              <a:gd name="T45" fmla="*/ 2147483646 h 281"/>
              <a:gd name="T46" fmla="*/ 2147483646 w 325"/>
              <a:gd name="T47" fmla="*/ 2147483646 h 281"/>
              <a:gd name="T48" fmla="*/ 2147483646 w 325"/>
              <a:gd name="T49" fmla="*/ 2147483646 h 281"/>
              <a:gd name="T50" fmla="*/ 2147483646 w 325"/>
              <a:gd name="T51" fmla="*/ 2147483646 h 281"/>
              <a:gd name="T52" fmla="*/ 2147483646 w 325"/>
              <a:gd name="T53" fmla="*/ 2147483646 h 281"/>
              <a:gd name="T54" fmla="*/ 2147483646 w 325"/>
              <a:gd name="T55" fmla="*/ 2147483646 h 281"/>
              <a:gd name="T56" fmla="*/ 2147483646 w 325"/>
              <a:gd name="T57" fmla="*/ 2147483646 h 281"/>
              <a:gd name="T58" fmla="*/ 2147483646 w 325"/>
              <a:gd name="T59" fmla="*/ 2147483646 h 281"/>
              <a:gd name="T60" fmla="*/ 2147483646 w 325"/>
              <a:gd name="T61" fmla="*/ 2147483646 h 281"/>
              <a:gd name="T62" fmla="*/ 2147483646 w 325"/>
              <a:gd name="T63" fmla="*/ 2147483646 h 281"/>
              <a:gd name="T64" fmla="*/ 2147483646 w 325"/>
              <a:gd name="T65" fmla="*/ 2147483646 h 281"/>
              <a:gd name="T66" fmla="*/ 2147483646 w 325"/>
              <a:gd name="T67" fmla="*/ 2147483646 h 281"/>
              <a:gd name="T68" fmla="*/ 2147483646 w 325"/>
              <a:gd name="T69" fmla="*/ 2147483646 h 281"/>
              <a:gd name="T70" fmla="*/ 2147483646 w 325"/>
              <a:gd name="T71" fmla="*/ 2147483646 h 281"/>
              <a:gd name="T72" fmla="*/ 2147483646 w 325"/>
              <a:gd name="T73" fmla="*/ 2147483646 h 281"/>
              <a:gd name="T74" fmla="*/ 2147483646 w 325"/>
              <a:gd name="T75" fmla="*/ 2147483646 h 281"/>
              <a:gd name="T76" fmla="*/ 2147483646 w 325"/>
              <a:gd name="T77" fmla="*/ 2147483646 h 281"/>
              <a:gd name="T78" fmla="*/ 2147483646 w 325"/>
              <a:gd name="T79" fmla="*/ 2147483646 h 281"/>
              <a:gd name="T80" fmla="*/ 2147483646 w 325"/>
              <a:gd name="T81" fmla="*/ 2147483646 h 281"/>
              <a:gd name="T82" fmla="*/ 2147483646 w 325"/>
              <a:gd name="T83" fmla="*/ 2147483646 h 281"/>
              <a:gd name="T84" fmla="*/ 2147483646 w 325"/>
              <a:gd name="T85" fmla="*/ 2147483646 h 281"/>
              <a:gd name="T86" fmla="*/ 2147483646 w 325"/>
              <a:gd name="T87" fmla="*/ 2147483646 h 281"/>
              <a:gd name="T88" fmla="*/ 2147483646 w 325"/>
              <a:gd name="T89" fmla="*/ 2147483646 h 281"/>
              <a:gd name="T90" fmla="*/ 2147483646 w 325"/>
              <a:gd name="T91" fmla="*/ 2147483646 h 281"/>
              <a:gd name="T92" fmla="*/ 2147483646 w 325"/>
              <a:gd name="T93" fmla="*/ 2147483646 h 281"/>
              <a:gd name="T94" fmla="*/ 2147483646 w 325"/>
              <a:gd name="T95" fmla="*/ 2147483646 h 281"/>
              <a:gd name="T96" fmla="*/ 2147483646 w 325"/>
              <a:gd name="T97" fmla="*/ 2147483646 h 28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25"/>
              <a:gd name="T148" fmla="*/ 0 h 281"/>
              <a:gd name="T149" fmla="*/ 325 w 325"/>
              <a:gd name="T150" fmla="*/ 281 h 28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25" h="281">
                <a:moveTo>
                  <a:pt x="17" y="74"/>
                </a:moveTo>
                <a:cubicBezTo>
                  <a:pt x="20" y="73"/>
                  <a:pt x="22" y="69"/>
                  <a:pt x="24" y="70"/>
                </a:cubicBezTo>
                <a:cubicBezTo>
                  <a:pt x="26" y="70"/>
                  <a:pt x="26" y="72"/>
                  <a:pt x="27" y="73"/>
                </a:cubicBezTo>
                <a:cubicBezTo>
                  <a:pt x="28" y="74"/>
                  <a:pt x="29" y="75"/>
                  <a:pt x="30" y="76"/>
                </a:cubicBezTo>
                <a:cubicBezTo>
                  <a:pt x="31" y="78"/>
                  <a:pt x="30" y="82"/>
                  <a:pt x="30" y="84"/>
                </a:cubicBezTo>
                <a:cubicBezTo>
                  <a:pt x="32" y="84"/>
                  <a:pt x="33" y="83"/>
                  <a:pt x="35" y="83"/>
                </a:cubicBezTo>
                <a:cubicBezTo>
                  <a:pt x="38" y="82"/>
                  <a:pt x="39" y="84"/>
                  <a:pt x="42" y="84"/>
                </a:cubicBezTo>
                <a:cubicBezTo>
                  <a:pt x="47" y="85"/>
                  <a:pt x="50" y="79"/>
                  <a:pt x="56" y="79"/>
                </a:cubicBezTo>
                <a:cubicBezTo>
                  <a:pt x="58" y="79"/>
                  <a:pt x="59" y="80"/>
                  <a:pt x="61" y="79"/>
                </a:cubicBezTo>
                <a:cubicBezTo>
                  <a:pt x="64" y="79"/>
                  <a:pt x="66" y="77"/>
                  <a:pt x="68" y="78"/>
                </a:cubicBezTo>
                <a:cubicBezTo>
                  <a:pt x="70" y="79"/>
                  <a:pt x="77" y="87"/>
                  <a:pt x="77" y="90"/>
                </a:cubicBezTo>
                <a:cubicBezTo>
                  <a:pt x="77" y="93"/>
                  <a:pt x="70" y="97"/>
                  <a:pt x="68" y="100"/>
                </a:cubicBezTo>
                <a:cubicBezTo>
                  <a:pt x="66" y="103"/>
                  <a:pt x="64" y="106"/>
                  <a:pt x="62" y="110"/>
                </a:cubicBezTo>
                <a:cubicBezTo>
                  <a:pt x="61" y="113"/>
                  <a:pt x="59" y="117"/>
                  <a:pt x="60" y="120"/>
                </a:cubicBezTo>
                <a:cubicBezTo>
                  <a:pt x="60" y="123"/>
                  <a:pt x="61" y="123"/>
                  <a:pt x="62" y="125"/>
                </a:cubicBezTo>
                <a:cubicBezTo>
                  <a:pt x="63" y="128"/>
                  <a:pt x="58" y="134"/>
                  <a:pt x="62" y="135"/>
                </a:cubicBezTo>
                <a:cubicBezTo>
                  <a:pt x="63" y="141"/>
                  <a:pt x="56" y="147"/>
                  <a:pt x="59" y="152"/>
                </a:cubicBezTo>
                <a:cubicBezTo>
                  <a:pt x="55" y="154"/>
                  <a:pt x="51" y="160"/>
                  <a:pt x="50" y="164"/>
                </a:cubicBezTo>
                <a:cubicBezTo>
                  <a:pt x="50" y="169"/>
                  <a:pt x="56" y="173"/>
                  <a:pt x="58" y="179"/>
                </a:cubicBezTo>
                <a:cubicBezTo>
                  <a:pt x="59" y="183"/>
                  <a:pt x="54" y="188"/>
                  <a:pt x="55" y="194"/>
                </a:cubicBezTo>
                <a:cubicBezTo>
                  <a:pt x="55" y="198"/>
                  <a:pt x="58" y="200"/>
                  <a:pt x="58" y="204"/>
                </a:cubicBezTo>
                <a:cubicBezTo>
                  <a:pt x="57" y="215"/>
                  <a:pt x="39" y="230"/>
                  <a:pt x="49" y="241"/>
                </a:cubicBezTo>
                <a:cubicBezTo>
                  <a:pt x="50" y="241"/>
                  <a:pt x="50" y="241"/>
                  <a:pt x="50" y="241"/>
                </a:cubicBezTo>
                <a:cubicBezTo>
                  <a:pt x="54" y="237"/>
                  <a:pt x="56" y="235"/>
                  <a:pt x="60" y="239"/>
                </a:cubicBezTo>
                <a:cubicBezTo>
                  <a:pt x="64" y="244"/>
                  <a:pt x="52" y="242"/>
                  <a:pt x="64" y="244"/>
                </a:cubicBezTo>
                <a:cubicBezTo>
                  <a:pt x="77" y="245"/>
                  <a:pt x="78" y="240"/>
                  <a:pt x="79" y="245"/>
                </a:cubicBezTo>
                <a:cubicBezTo>
                  <a:pt x="80" y="251"/>
                  <a:pt x="72" y="252"/>
                  <a:pt x="75" y="258"/>
                </a:cubicBezTo>
                <a:cubicBezTo>
                  <a:pt x="78" y="263"/>
                  <a:pt x="78" y="267"/>
                  <a:pt x="80" y="270"/>
                </a:cubicBezTo>
                <a:cubicBezTo>
                  <a:pt x="83" y="273"/>
                  <a:pt x="89" y="271"/>
                  <a:pt x="94" y="276"/>
                </a:cubicBezTo>
                <a:cubicBezTo>
                  <a:pt x="99" y="281"/>
                  <a:pt x="101" y="276"/>
                  <a:pt x="104" y="271"/>
                </a:cubicBezTo>
                <a:cubicBezTo>
                  <a:pt x="108" y="265"/>
                  <a:pt x="111" y="260"/>
                  <a:pt x="117" y="261"/>
                </a:cubicBezTo>
                <a:cubicBezTo>
                  <a:pt x="123" y="262"/>
                  <a:pt x="123" y="263"/>
                  <a:pt x="127" y="258"/>
                </a:cubicBezTo>
                <a:cubicBezTo>
                  <a:pt x="130" y="254"/>
                  <a:pt x="126" y="251"/>
                  <a:pt x="134" y="254"/>
                </a:cubicBezTo>
                <a:cubicBezTo>
                  <a:pt x="142" y="257"/>
                  <a:pt x="145" y="258"/>
                  <a:pt x="150" y="257"/>
                </a:cubicBezTo>
                <a:cubicBezTo>
                  <a:pt x="155" y="256"/>
                  <a:pt x="156" y="255"/>
                  <a:pt x="161" y="255"/>
                </a:cubicBezTo>
                <a:cubicBezTo>
                  <a:pt x="166" y="255"/>
                  <a:pt x="167" y="259"/>
                  <a:pt x="170" y="258"/>
                </a:cubicBezTo>
                <a:cubicBezTo>
                  <a:pt x="174" y="257"/>
                  <a:pt x="178" y="254"/>
                  <a:pt x="180" y="253"/>
                </a:cubicBezTo>
                <a:cubicBezTo>
                  <a:pt x="181" y="252"/>
                  <a:pt x="188" y="254"/>
                  <a:pt x="190" y="250"/>
                </a:cubicBezTo>
                <a:cubicBezTo>
                  <a:pt x="192" y="247"/>
                  <a:pt x="195" y="242"/>
                  <a:pt x="196" y="241"/>
                </a:cubicBezTo>
                <a:cubicBezTo>
                  <a:pt x="197" y="240"/>
                  <a:pt x="197" y="238"/>
                  <a:pt x="198" y="236"/>
                </a:cubicBezTo>
                <a:cubicBezTo>
                  <a:pt x="200" y="235"/>
                  <a:pt x="196" y="231"/>
                  <a:pt x="199" y="229"/>
                </a:cubicBezTo>
                <a:cubicBezTo>
                  <a:pt x="202" y="227"/>
                  <a:pt x="205" y="225"/>
                  <a:pt x="212" y="227"/>
                </a:cubicBezTo>
                <a:cubicBezTo>
                  <a:pt x="218" y="229"/>
                  <a:pt x="222" y="227"/>
                  <a:pt x="223" y="226"/>
                </a:cubicBezTo>
                <a:cubicBezTo>
                  <a:pt x="224" y="224"/>
                  <a:pt x="223" y="219"/>
                  <a:pt x="222" y="216"/>
                </a:cubicBezTo>
                <a:cubicBezTo>
                  <a:pt x="222" y="212"/>
                  <a:pt x="224" y="209"/>
                  <a:pt x="224" y="209"/>
                </a:cubicBezTo>
                <a:cubicBezTo>
                  <a:pt x="225" y="208"/>
                  <a:pt x="230" y="203"/>
                  <a:pt x="231" y="199"/>
                </a:cubicBezTo>
                <a:cubicBezTo>
                  <a:pt x="233" y="196"/>
                  <a:pt x="239" y="192"/>
                  <a:pt x="240" y="192"/>
                </a:cubicBezTo>
                <a:cubicBezTo>
                  <a:pt x="242" y="191"/>
                  <a:pt x="243" y="187"/>
                  <a:pt x="244" y="185"/>
                </a:cubicBezTo>
                <a:cubicBezTo>
                  <a:pt x="245" y="184"/>
                  <a:pt x="240" y="181"/>
                  <a:pt x="235" y="174"/>
                </a:cubicBezTo>
                <a:cubicBezTo>
                  <a:pt x="230" y="168"/>
                  <a:pt x="231" y="163"/>
                  <a:pt x="231" y="161"/>
                </a:cubicBezTo>
                <a:cubicBezTo>
                  <a:pt x="232" y="158"/>
                  <a:pt x="234" y="156"/>
                  <a:pt x="234" y="154"/>
                </a:cubicBezTo>
                <a:cubicBezTo>
                  <a:pt x="234" y="153"/>
                  <a:pt x="239" y="148"/>
                  <a:pt x="243" y="141"/>
                </a:cubicBezTo>
                <a:cubicBezTo>
                  <a:pt x="246" y="134"/>
                  <a:pt x="249" y="128"/>
                  <a:pt x="253" y="125"/>
                </a:cubicBezTo>
                <a:cubicBezTo>
                  <a:pt x="256" y="121"/>
                  <a:pt x="259" y="118"/>
                  <a:pt x="259" y="114"/>
                </a:cubicBezTo>
                <a:cubicBezTo>
                  <a:pt x="260" y="111"/>
                  <a:pt x="263" y="107"/>
                  <a:pt x="271" y="106"/>
                </a:cubicBezTo>
                <a:cubicBezTo>
                  <a:pt x="279" y="106"/>
                  <a:pt x="287" y="99"/>
                  <a:pt x="288" y="100"/>
                </a:cubicBezTo>
                <a:cubicBezTo>
                  <a:pt x="289" y="101"/>
                  <a:pt x="300" y="91"/>
                  <a:pt x="304" y="89"/>
                </a:cubicBezTo>
                <a:cubicBezTo>
                  <a:pt x="307" y="87"/>
                  <a:pt x="325" y="80"/>
                  <a:pt x="320" y="72"/>
                </a:cubicBezTo>
                <a:cubicBezTo>
                  <a:pt x="315" y="63"/>
                  <a:pt x="324" y="65"/>
                  <a:pt x="322" y="60"/>
                </a:cubicBezTo>
                <a:cubicBezTo>
                  <a:pt x="322" y="60"/>
                  <a:pt x="322" y="59"/>
                  <a:pt x="321" y="58"/>
                </a:cubicBezTo>
                <a:cubicBezTo>
                  <a:pt x="320" y="57"/>
                  <a:pt x="320" y="57"/>
                  <a:pt x="320" y="57"/>
                </a:cubicBezTo>
                <a:cubicBezTo>
                  <a:pt x="319" y="56"/>
                  <a:pt x="315" y="58"/>
                  <a:pt x="313" y="58"/>
                </a:cubicBezTo>
                <a:cubicBezTo>
                  <a:pt x="311" y="57"/>
                  <a:pt x="309" y="57"/>
                  <a:pt x="307" y="58"/>
                </a:cubicBezTo>
                <a:cubicBezTo>
                  <a:pt x="305" y="58"/>
                  <a:pt x="303" y="60"/>
                  <a:pt x="301" y="61"/>
                </a:cubicBezTo>
                <a:cubicBezTo>
                  <a:pt x="298" y="61"/>
                  <a:pt x="294" y="58"/>
                  <a:pt x="290" y="57"/>
                </a:cubicBezTo>
                <a:cubicBezTo>
                  <a:pt x="286" y="56"/>
                  <a:pt x="282" y="57"/>
                  <a:pt x="279" y="56"/>
                </a:cubicBezTo>
                <a:cubicBezTo>
                  <a:pt x="271" y="53"/>
                  <a:pt x="270" y="43"/>
                  <a:pt x="260" y="47"/>
                </a:cubicBezTo>
                <a:cubicBezTo>
                  <a:pt x="259" y="48"/>
                  <a:pt x="257" y="50"/>
                  <a:pt x="256" y="50"/>
                </a:cubicBezTo>
                <a:cubicBezTo>
                  <a:pt x="254" y="51"/>
                  <a:pt x="251" y="50"/>
                  <a:pt x="249" y="50"/>
                </a:cubicBezTo>
                <a:cubicBezTo>
                  <a:pt x="247" y="50"/>
                  <a:pt x="245" y="50"/>
                  <a:pt x="243" y="49"/>
                </a:cubicBezTo>
                <a:cubicBezTo>
                  <a:pt x="241" y="49"/>
                  <a:pt x="240" y="47"/>
                  <a:pt x="238" y="47"/>
                </a:cubicBezTo>
                <a:cubicBezTo>
                  <a:pt x="235" y="46"/>
                  <a:pt x="231" y="46"/>
                  <a:pt x="228" y="46"/>
                </a:cubicBezTo>
                <a:cubicBezTo>
                  <a:pt x="223" y="45"/>
                  <a:pt x="221" y="42"/>
                  <a:pt x="217" y="40"/>
                </a:cubicBezTo>
                <a:cubicBezTo>
                  <a:pt x="213" y="38"/>
                  <a:pt x="209" y="38"/>
                  <a:pt x="206" y="35"/>
                </a:cubicBezTo>
                <a:cubicBezTo>
                  <a:pt x="203" y="33"/>
                  <a:pt x="202" y="31"/>
                  <a:pt x="200" y="29"/>
                </a:cubicBezTo>
                <a:cubicBezTo>
                  <a:pt x="197" y="27"/>
                  <a:pt x="196" y="27"/>
                  <a:pt x="194" y="25"/>
                </a:cubicBezTo>
                <a:cubicBezTo>
                  <a:pt x="193" y="25"/>
                  <a:pt x="193" y="25"/>
                  <a:pt x="193" y="25"/>
                </a:cubicBezTo>
                <a:cubicBezTo>
                  <a:pt x="192" y="25"/>
                  <a:pt x="192" y="25"/>
                  <a:pt x="192" y="25"/>
                </a:cubicBezTo>
                <a:cubicBezTo>
                  <a:pt x="182" y="27"/>
                  <a:pt x="180" y="31"/>
                  <a:pt x="173" y="26"/>
                </a:cubicBezTo>
                <a:cubicBezTo>
                  <a:pt x="164" y="20"/>
                  <a:pt x="164" y="23"/>
                  <a:pt x="156" y="26"/>
                </a:cubicBezTo>
                <a:cubicBezTo>
                  <a:pt x="147" y="28"/>
                  <a:pt x="148" y="22"/>
                  <a:pt x="143" y="22"/>
                </a:cubicBezTo>
                <a:cubicBezTo>
                  <a:pt x="138" y="22"/>
                  <a:pt x="138" y="20"/>
                  <a:pt x="132" y="23"/>
                </a:cubicBezTo>
                <a:cubicBezTo>
                  <a:pt x="126" y="25"/>
                  <a:pt x="128" y="24"/>
                  <a:pt x="113" y="23"/>
                </a:cubicBezTo>
                <a:cubicBezTo>
                  <a:pt x="98" y="23"/>
                  <a:pt x="96" y="19"/>
                  <a:pt x="92" y="21"/>
                </a:cubicBezTo>
                <a:cubicBezTo>
                  <a:pt x="87" y="23"/>
                  <a:pt x="87" y="12"/>
                  <a:pt x="82" y="16"/>
                </a:cubicBezTo>
                <a:cubicBezTo>
                  <a:pt x="77" y="19"/>
                  <a:pt x="81" y="19"/>
                  <a:pt x="71" y="20"/>
                </a:cubicBezTo>
                <a:cubicBezTo>
                  <a:pt x="61" y="21"/>
                  <a:pt x="63" y="23"/>
                  <a:pt x="58" y="21"/>
                </a:cubicBezTo>
                <a:cubicBezTo>
                  <a:pt x="52" y="19"/>
                  <a:pt x="47" y="18"/>
                  <a:pt x="42" y="16"/>
                </a:cubicBezTo>
                <a:cubicBezTo>
                  <a:pt x="36" y="13"/>
                  <a:pt x="38" y="0"/>
                  <a:pt x="30" y="12"/>
                </a:cubicBezTo>
                <a:cubicBezTo>
                  <a:pt x="23" y="23"/>
                  <a:pt x="20" y="17"/>
                  <a:pt x="23" y="23"/>
                </a:cubicBezTo>
                <a:cubicBezTo>
                  <a:pt x="25" y="30"/>
                  <a:pt x="32" y="27"/>
                  <a:pt x="19" y="34"/>
                </a:cubicBezTo>
                <a:cubicBezTo>
                  <a:pt x="6" y="40"/>
                  <a:pt x="4" y="41"/>
                  <a:pt x="4" y="45"/>
                </a:cubicBezTo>
                <a:cubicBezTo>
                  <a:pt x="4" y="48"/>
                  <a:pt x="0" y="46"/>
                  <a:pt x="5" y="50"/>
                </a:cubicBezTo>
                <a:cubicBezTo>
                  <a:pt x="10" y="54"/>
                  <a:pt x="16" y="50"/>
                  <a:pt x="13" y="58"/>
                </a:cubicBezTo>
                <a:cubicBezTo>
                  <a:pt x="11" y="66"/>
                  <a:pt x="7" y="63"/>
                  <a:pt x="11" y="66"/>
                </a:cubicBezTo>
                <a:cubicBezTo>
                  <a:pt x="14" y="68"/>
                  <a:pt x="16" y="70"/>
                  <a:pt x="16" y="73"/>
                </a:cubicBezTo>
                <a:cubicBezTo>
                  <a:pt x="16" y="75"/>
                  <a:pt x="16" y="75"/>
                  <a:pt x="16" y="75"/>
                </a:cubicBezTo>
                <a:lnTo>
                  <a:pt x="17" y="7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Freeform 519"/>
          <p:cNvSpPr>
            <a:spLocks/>
          </p:cNvSpPr>
          <p:nvPr userDrawn="1"/>
        </p:nvSpPr>
        <p:spPr bwMode="auto">
          <a:xfrm>
            <a:off x="5577761" y="3538940"/>
            <a:ext cx="92131" cy="73704"/>
          </a:xfrm>
          <a:custGeom>
            <a:avLst/>
            <a:gdLst>
              <a:gd name="T0" fmla="*/ 0 w 99"/>
              <a:gd name="T1" fmla="*/ 2147483646 h 79"/>
              <a:gd name="T2" fmla="*/ 2147483646 w 99"/>
              <a:gd name="T3" fmla="*/ 2147483646 h 79"/>
              <a:gd name="T4" fmla="*/ 2147483646 w 99"/>
              <a:gd name="T5" fmla="*/ 2147483646 h 79"/>
              <a:gd name="T6" fmla="*/ 2147483646 w 99"/>
              <a:gd name="T7" fmla="*/ 2147483646 h 79"/>
              <a:gd name="T8" fmla="*/ 2147483646 w 99"/>
              <a:gd name="T9" fmla="*/ 2147483646 h 79"/>
              <a:gd name="T10" fmla="*/ 2147483646 w 99"/>
              <a:gd name="T11" fmla="*/ 2147483646 h 79"/>
              <a:gd name="T12" fmla="*/ 2147483646 w 99"/>
              <a:gd name="T13" fmla="*/ 2147483646 h 79"/>
              <a:gd name="T14" fmla="*/ 2147483646 w 99"/>
              <a:gd name="T15" fmla="*/ 2147483646 h 79"/>
              <a:gd name="T16" fmla="*/ 2147483646 w 99"/>
              <a:gd name="T17" fmla="*/ 2147483646 h 79"/>
              <a:gd name="T18" fmla="*/ 2147483646 w 99"/>
              <a:gd name="T19" fmla="*/ 2147483646 h 79"/>
              <a:gd name="T20" fmla="*/ 2147483646 w 99"/>
              <a:gd name="T21" fmla="*/ 2147483646 h 79"/>
              <a:gd name="T22" fmla="*/ 2147483646 w 99"/>
              <a:gd name="T23" fmla="*/ 2147483646 h 79"/>
              <a:gd name="T24" fmla="*/ 2147483646 w 99"/>
              <a:gd name="T25" fmla="*/ 2147483646 h 79"/>
              <a:gd name="T26" fmla="*/ 2147483646 w 99"/>
              <a:gd name="T27" fmla="*/ 2147483646 h 79"/>
              <a:gd name="T28" fmla="*/ 2147483646 w 99"/>
              <a:gd name="T29" fmla="*/ 2147483646 h 79"/>
              <a:gd name="T30" fmla="*/ 2147483646 w 99"/>
              <a:gd name="T31" fmla="*/ 2147483646 h 79"/>
              <a:gd name="T32" fmla="*/ 2147483646 w 99"/>
              <a:gd name="T33" fmla="*/ 2147483646 h 79"/>
              <a:gd name="T34" fmla="*/ 2147483646 w 99"/>
              <a:gd name="T35" fmla="*/ 2147483646 h 79"/>
              <a:gd name="T36" fmla="*/ 2147483646 w 99"/>
              <a:gd name="T37" fmla="*/ 2147483646 h 79"/>
              <a:gd name="T38" fmla="*/ 2147483646 w 99"/>
              <a:gd name="T39" fmla="*/ 2147483646 h 79"/>
              <a:gd name="T40" fmla="*/ 2147483646 w 99"/>
              <a:gd name="T41" fmla="*/ 2147483646 h 79"/>
              <a:gd name="T42" fmla="*/ 2147483646 w 99"/>
              <a:gd name="T43" fmla="*/ 0 h 79"/>
              <a:gd name="T44" fmla="*/ 2147483646 w 99"/>
              <a:gd name="T45" fmla="*/ 2147483646 h 79"/>
              <a:gd name="T46" fmla="*/ 2147483646 w 99"/>
              <a:gd name="T47" fmla="*/ 2147483646 h 79"/>
              <a:gd name="T48" fmla="*/ 2147483646 w 99"/>
              <a:gd name="T49" fmla="*/ 2147483646 h 79"/>
              <a:gd name="T50" fmla="*/ 2147483646 w 99"/>
              <a:gd name="T51" fmla="*/ 2147483646 h 79"/>
              <a:gd name="T52" fmla="*/ 2147483646 w 99"/>
              <a:gd name="T53" fmla="*/ 2147483646 h 79"/>
              <a:gd name="T54" fmla="*/ 2147483646 w 99"/>
              <a:gd name="T55" fmla="*/ 2147483646 h 79"/>
              <a:gd name="T56" fmla="*/ 2147483646 w 99"/>
              <a:gd name="T57" fmla="*/ 2147483646 h 79"/>
              <a:gd name="T58" fmla="*/ 2147483646 w 99"/>
              <a:gd name="T59" fmla="*/ 2147483646 h 79"/>
              <a:gd name="T60" fmla="*/ 2147483646 w 99"/>
              <a:gd name="T61" fmla="*/ 2147483646 h 79"/>
              <a:gd name="T62" fmla="*/ 0 w 99"/>
              <a:gd name="T63" fmla="*/ 2147483646 h 79"/>
              <a:gd name="T64" fmla="*/ 0 w 99"/>
              <a:gd name="T65" fmla="*/ 2147483646 h 79"/>
              <a:gd name="T66" fmla="*/ 0 w 99"/>
              <a:gd name="T67" fmla="*/ 2147483646 h 7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9"/>
              <a:gd name="T103" fmla="*/ 0 h 79"/>
              <a:gd name="T104" fmla="*/ 99 w 99"/>
              <a:gd name="T105" fmla="*/ 79 h 7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9" h="79">
                <a:moveTo>
                  <a:pt x="0" y="15"/>
                </a:moveTo>
                <a:cubicBezTo>
                  <a:pt x="1" y="18"/>
                  <a:pt x="2" y="22"/>
                  <a:pt x="4" y="25"/>
                </a:cubicBezTo>
                <a:cubicBezTo>
                  <a:pt x="8" y="30"/>
                  <a:pt x="6" y="27"/>
                  <a:pt x="11" y="27"/>
                </a:cubicBezTo>
                <a:cubicBezTo>
                  <a:pt x="20" y="28"/>
                  <a:pt x="17" y="32"/>
                  <a:pt x="22" y="38"/>
                </a:cubicBezTo>
                <a:cubicBezTo>
                  <a:pt x="25" y="41"/>
                  <a:pt x="25" y="40"/>
                  <a:pt x="28" y="41"/>
                </a:cubicBezTo>
                <a:cubicBezTo>
                  <a:pt x="31" y="42"/>
                  <a:pt x="32" y="41"/>
                  <a:pt x="35" y="43"/>
                </a:cubicBezTo>
                <a:cubicBezTo>
                  <a:pt x="42" y="46"/>
                  <a:pt x="42" y="51"/>
                  <a:pt x="47" y="57"/>
                </a:cubicBezTo>
                <a:cubicBezTo>
                  <a:pt x="52" y="64"/>
                  <a:pt x="57" y="54"/>
                  <a:pt x="62" y="58"/>
                </a:cubicBezTo>
                <a:cubicBezTo>
                  <a:pt x="63" y="59"/>
                  <a:pt x="64" y="65"/>
                  <a:pt x="66" y="68"/>
                </a:cubicBezTo>
                <a:cubicBezTo>
                  <a:pt x="68" y="72"/>
                  <a:pt x="72" y="75"/>
                  <a:pt x="76" y="78"/>
                </a:cubicBezTo>
                <a:cubicBezTo>
                  <a:pt x="78" y="78"/>
                  <a:pt x="79" y="79"/>
                  <a:pt x="80" y="79"/>
                </a:cubicBezTo>
                <a:cubicBezTo>
                  <a:pt x="81" y="79"/>
                  <a:pt x="81" y="79"/>
                  <a:pt x="81" y="79"/>
                </a:cubicBezTo>
                <a:cubicBezTo>
                  <a:pt x="84" y="74"/>
                  <a:pt x="82" y="73"/>
                  <a:pt x="82" y="68"/>
                </a:cubicBezTo>
                <a:cubicBezTo>
                  <a:pt x="82" y="62"/>
                  <a:pt x="94" y="51"/>
                  <a:pt x="94" y="51"/>
                </a:cubicBezTo>
                <a:cubicBezTo>
                  <a:pt x="93" y="45"/>
                  <a:pt x="94" y="44"/>
                  <a:pt x="97" y="39"/>
                </a:cubicBezTo>
                <a:cubicBezTo>
                  <a:pt x="99" y="35"/>
                  <a:pt x="94" y="28"/>
                  <a:pt x="94" y="28"/>
                </a:cubicBezTo>
                <a:cubicBezTo>
                  <a:pt x="92" y="27"/>
                  <a:pt x="91" y="27"/>
                  <a:pt x="88" y="27"/>
                </a:cubicBezTo>
                <a:cubicBezTo>
                  <a:pt x="87" y="27"/>
                  <a:pt x="86" y="28"/>
                  <a:pt x="85" y="28"/>
                </a:cubicBezTo>
                <a:cubicBezTo>
                  <a:pt x="83" y="27"/>
                  <a:pt x="84" y="26"/>
                  <a:pt x="83" y="25"/>
                </a:cubicBezTo>
                <a:cubicBezTo>
                  <a:pt x="80" y="23"/>
                  <a:pt x="77" y="23"/>
                  <a:pt x="76" y="19"/>
                </a:cubicBezTo>
                <a:cubicBezTo>
                  <a:pt x="76" y="15"/>
                  <a:pt x="78" y="9"/>
                  <a:pt x="79" y="6"/>
                </a:cubicBezTo>
                <a:cubicBezTo>
                  <a:pt x="81" y="0"/>
                  <a:pt x="80" y="1"/>
                  <a:pt x="74" y="0"/>
                </a:cubicBezTo>
                <a:cubicBezTo>
                  <a:pt x="71" y="0"/>
                  <a:pt x="68" y="1"/>
                  <a:pt x="64" y="1"/>
                </a:cubicBezTo>
                <a:cubicBezTo>
                  <a:pt x="61" y="0"/>
                  <a:pt x="54" y="0"/>
                  <a:pt x="51" y="2"/>
                </a:cubicBezTo>
                <a:cubicBezTo>
                  <a:pt x="49" y="3"/>
                  <a:pt x="47" y="11"/>
                  <a:pt x="43" y="6"/>
                </a:cubicBezTo>
                <a:cubicBezTo>
                  <a:pt x="41" y="8"/>
                  <a:pt x="36" y="13"/>
                  <a:pt x="33" y="12"/>
                </a:cubicBezTo>
                <a:cubicBezTo>
                  <a:pt x="31" y="12"/>
                  <a:pt x="28" y="9"/>
                  <a:pt x="27" y="8"/>
                </a:cubicBezTo>
                <a:cubicBezTo>
                  <a:pt x="24" y="6"/>
                  <a:pt x="22" y="6"/>
                  <a:pt x="18" y="4"/>
                </a:cubicBezTo>
                <a:cubicBezTo>
                  <a:pt x="18" y="3"/>
                  <a:pt x="18" y="3"/>
                  <a:pt x="18" y="3"/>
                </a:cubicBezTo>
                <a:cubicBezTo>
                  <a:pt x="17" y="3"/>
                  <a:pt x="17" y="3"/>
                  <a:pt x="17" y="3"/>
                </a:cubicBezTo>
                <a:cubicBezTo>
                  <a:pt x="15" y="6"/>
                  <a:pt x="12" y="9"/>
                  <a:pt x="10" y="12"/>
                </a:cubicBezTo>
                <a:cubicBezTo>
                  <a:pt x="8" y="14"/>
                  <a:pt x="3" y="14"/>
                  <a:pt x="0" y="14"/>
                </a:cubicBezTo>
                <a:cubicBezTo>
                  <a:pt x="0" y="14"/>
                  <a:pt x="0" y="14"/>
                  <a:pt x="0" y="14"/>
                </a:cubicBezTo>
                <a:lnTo>
                  <a:pt x="0" y="1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Freeform 520"/>
          <p:cNvSpPr>
            <a:spLocks/>
          </p:cNvSpPr>
          <p:nvPr userDrawn="1"/>
        </p:nvSpPr>
        <p:spPr bwMode="auto">
          <a:xfrm>
            <a:off x="5594513" y="3450162"/>
            <a:ext cx="98831" cy="115581"/>
          </a:xfrm>
          <a:custGeom>
            <a:avLst/>
            <a:gdLst>
              <a:gd name="T0" fmla="*/ 2147483646 w 105"/>
              <a:gd name="T1" fmla="*/ 2147483646 h 124"/>
              <a:gd name="T2" fmla="*/ 2147483646 w 105"/>
              <a:gd name="T3" fmla="*/ 2147483646 h 124"/>
              <a:gd name="T4" fmla="*/ 2147483646 w 105"/>
              <a:gd name="T5" fmla="*/ 2147483646 h 124"/>
              <a:gd name="T6" fmla="*/ 2147483646 w 105"/>
              <a:gd name="T7" fmla="*/ 2147483646 h 124"/>
              <a:gd name="T8" fmla="*/ 2147483646 w 105"/>
              <a:gd name="T9" fmla="*/ 2147483646 h 124"/>
              <a:gd name="T10" fmla="*/ 2147483646 w 105"/>
              <a:gd name="T11" fmla="*/ 2147483646 h 124"/>
              <a:gd name="T12" fmla="*/ 2147483646 w 105"/>
              <a:gd name="T13" fmla="*/ 2147483646 h 124"/>
              <a:gd name="T14" fmla="*/ 2147483646 w 105"/>
              <a:gd name="T15" fmla="*/ 2147483646 h 124"/>
              <a:gd name="T16" fmla="*/ 2147483646 w 105"/>
              <a:gd name="T17" fmla="*/ 2147483646 h 124"/>
              <a:gd name="T18" fmla="*/ 2147483646 w 105"/>
              <a:gd name="T19" fmla="*/ 2147483646 h 124"/>
              <a:gd name="T20" fmla="*/ 2147483646 w 105"/>
              <a:gd name="T21" fmla="*/ 2147483646 h 124"/>
              <a:gd name="T22" fmla="*/ 2147483646 w 105"/>
              <a:gd name="T23" fmla="*/ 2147483646 h 124"/>
              <a:gd name="T24" fmla="*/ 0 w 105"/>
              <a:gd name="T25" fmla="*/ 2147483646 h 124"/>
              <a:gd name="T26" fmla="*/ 0 w 105"/>
              <a:gd name="T27" fmla="*/ 2147483646 h 124"/>
              <a:gd name="T28" fmla="*/ 0 w 105"/>
              <a:gd name="T29" fmla="*/ 2147483646 h 124"/>
              <a:gd name="T30" fmla="*/ 2147483646 w 105"/>
              <a:gd name="T31" fmla="*/ 2147483646 h 124"/>
              <a:gd name="T32" fmla="*/ 2147483646 w 105"/>
              <a:gd name="T33" fmla="*/ 2147483646 h 124"/>
              <a:gd name="T34" fmla="*/ 2147483646 w 105"/>
              <a:gd name="T35" fmla="*/ 2147483646 h 124"/>
              <a:gd name="T36" fmla="*/ 2147483646 w 105"/>
              <a:gd name="T37" fmla="*/ 2147483646 h 124"/>
              <a:gd name="T38" fmla="*/ 2147483646 w 105"/>
              <a:gd name="T39" fmla="*/ 2147483646 h 124"/>
              <a:gd name="T40" fmla="*/ 2147483646 w 105"/>
              <a:gd name="T41" fmla="*/ 2147483646 h 124"/>
              <a:gd name="T42" fmla="*/ 2147483646 w 105"/>
              <a:gd name="T43" fmla="*/ 2147483646 h 124"/>
              <a:gd name="T44" fmla="*/ 2147483646 w 105"/>
              <a:gd name="T45" fmla="*/ 2147483646 h 124"/>
              <a:gd name="T46" fmla="*/ 2147483646 w 105"/>
              <a:gd name="T47" fmla="*/ 2147483646 h 124"/>
              <a:gd name="T48" fmla="*/ 2147483646 w 105"/>
              <a:gd name="T49" fmla="*/ 2147483646 h 124"/>
              <a:gd name="T50" fmla="*/ 2147483646 w 105"/>
              <a:gd name="T51" fmla="*/ 2147483646 h 124"/>
              <a:gd name="T52" fmla="*/ 2147483646 w 105"/>
              <a:gd name="T53" fmla="*/ 2147483646 h 124"/>
              <a:gd name="T54" fmla="*/ 2147483646 w 105"/>
              <a:gd name="T55" fmla="*/ 2147483646 h 124"/>
              <a:gd name="T56" fmla="*/ 2147483646 w 105"/>
              <a:gd name="T57" fmla="*/ 2147483646 h 124"/>
              <a:gd name="T58" fmla="*/ 2147483646 w 105"/>
              <a:gd name="T59" fmla="*/ 2147483646 h 124"/>
              <a:gd name="T60" fmla="*/ 2147483646 w 105"/>
              <a:gd name="T61" fmla="*/ 2147483646 h 124"/>
              <a:gd name="T62" fmla="*/ 2147483646 w 105"/>
              <a:gd name="T63" fmla="*/ 2147483646 h 124"/>
              <a:gd name="T64" fmla="*/ 2147483646 w 105"/>
              <a:gd name="T65" fmla="*/ 2147483646 h 124"/>
              <a:gd name="T66" fmla="*/ 2147483646 w 105"/>
              <a:gd name="T67" fmla="*/ 2147483646 h 124"/>
              <a:gd name="T68" fmla="*/ 2147483646 w 105"/>
              <a:gd name="T69" fmla="*/ 2147483646 h 124"/>
              <a:gd name="T70" fmla="*/ 2147483646 w 105"/>
              <a:gd name="T71" fmla="*/ 2147483646 h 124"/>
              <a:gd name="T72" fmla="*/ 2147483646 w 105"/>
              <a:gd name="T73" fmla="*/ 2147483646 h 124"/>
              <a:gd name="T74" fmla="*/ 2147483646 w 105"/>
              <a:gd name="T75" fmla="*/ 2147483646 h 124"/>
              <a:gd name="T76" fmla="*/ 2147483646 w 105"/>
              <a:gd name="T77" fmla="*/ 2147483646 h 124"/>
              <a:gd name="T78" fmla="*/ 2147483646 w 105"/>
              <a:gd name="T79" fmla="*/ 2147483646 h 124"/>
              <a:gd name="T80" fmla="*/ 2147483646 w 105"/>
              <a:gd name="T81" fmla="*/ 2147483646 h 124"/>
              <a:gd name="T82" fmla="*/ 2147483646 w 105"/>
              <a:gd name="T83" fmla="*/ 2147483646 h 124"/>
              <a:gd name="T84" fmla="*/ 2147483646 w 105"/>
              <a:gd name="T85" fmla="*/ 2147483646 h 124"/>
              <a:gd name="T86" fmla="*/ 2147483646 w 105"/>
              <a:gd name="T87" fmla="*/ 2147483646 h 124"/>
              <a:gd name="T88" fmla="*/ 2147483646 w 105"/>
              <a:gd name="T89" fmla="*/ 2147483646 h 124"/>
              <a:gd name="T90" fmla="*/ 2147483646 w 105"/>
              <a:gd name="T91" fmla="*/ 2147483646 h 124"/>
              <a:gd name="T92" fmla="*/ 2147483646 w 105"/>
              <a:gd name="T93" fmla="*/ 2147483646 h 124"/>
              <a:gd name="T94" fmla="*/ 2147483646 w 105"/>
              <a:gd name="T95" fmla="*/ 2147483646 h 124"/>
              <a:gd name="T96" fmla="*/ 2147483646 w 105"/>
              <a:gd name="T97" fmla="*/ 2147483646 h 124"/>
              <a:gd name="T98" fmla="*/ 2147483646 w 105"/>
              <a:gd name="T99" fmla="*/ 2147483646 h 124"/>
              <a:gd name="T100" fmla="*/ 2147483646 w 105"/>
              <a:gd name="T101" fmla="*/ 2147483646 h 124"/>
              <a:gd name="T102" fmla="*/ 2147483646 w 105"/>
              <a:gd name="T103" fmla="*/ 2147483646 h 124"/>
              <a:gd name="T104" fmla="*/ 2147483646 w 105"/>
              <a:gd name="T105" fmla="*/ 2147483646 h 124"/>
              <a:gd name="T106" fmla="*/ 2147483646 w 105"/>
              <a:gd name="T107" fmla="*/ 2147483646 h 124"/>
              <a:gd name="T108" fmla="*/ 2147483646 w 105"/>
              <a:gd name="T109" fmla="*/ 2147483646 h 124"/>
              <a:gd name="T110" fmla="*/ 2147483646 w 105"/>
              <a:gd name="T111" fmla="*/ 2147483646 h 124"/>
              <a:gd name="T112" fmla="*/ 2147483646 w 105"/>
              <a:gd name="T113" fmla="*/ 2147483646 h 124"/>
              <a:gd name="T114" fmla="*/ 2147483646 w 105"/>
              <a:gd name="T115" fmla="*/ 2147483646 h 124"/>
              <a:gd name="T116" fmla="*/ 2147483646 w 105"/>
              <a:gd name="T117" fmla="*/ 2147483646 h 12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05"/>
              <a:gd name="T178" fmla="*/ 0 h 124"/>
              <a:gd name="T179" fmla="*/ 105 w 105"/>
              <a:gd name="T180" fmla="*/ 124 h 12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05" h="124">
                <a:moveTo>
                  <a:pt x="76" y="124"/>
                </a:moveTo>
                <a:cubicBezTo>
                  <a:pt x="74" y="123"/>
                  <a:pt x="73" y="123"/>
                  <a:pt x="70" y="123"/>
                </a:cubicBezTo>
                <a:cubicBezTo>
                  <a:pt x="69" y="123"/>
                  <a:pt x="68" y="124"/>
                  <a:pt x="67" y="124"/>
                </a:cubicBezTo>
                <a:cubicBezTo>
                  <a:pt x="65" y="123"/>
                  <a:pt x="66" y="122"/>
                  <a:pt x="65" y="121"/>
                </a:cubicBezTo>
                <a:cubicBezTo>
                  <a:pt x="62" y="119"/>
                  <a:pt x="59" y="119"/>
                  <a:pt x="58" y="115"/>
                </a:cubicBezTo>
                <a:cubicBezTo>
                  <a:pt x="58" y="111"/>
                  <a:pt x="60" y="105"/>
                  <a:pt x="61" y="101"/>
                </a:cubicBezTo>
                <a:cubicBezTo>
                  <a:pt x="63" y="96"/>
                  <a:pt x="62" y="96"/>
                  <a:pt x="56" y="96"/>
                </a:cubicBezTo>
                <a:cubicBezTo>
                  <a:pt x="53" y="96"/>
                  <a:pt x="50" y="97"/>
                  <a:pt x="46" y="96"/>
                </a:cubicBezTo>
                <a:cubicBezTo>
                  <a:pt x="43" y="96"/>
                  <a:pt x="37" y="96"/>
                  <a:pt x="33" y="98"/>
                </a:cubicBezTo>
                <a:cubicBezTo>
                  <a:pt x="31" y="99"/>
                  <a:pt x="29" y="107"/>
                  <a:pt x="25" y="102"/>
                </a:cubicBezTo>
                <a:cubicBezTo>
                  <a:pt x="23" y="104"/>
                  <a:pt x="18" y="109"/>
                  <a:pt x="15" y="108"/>
                </a:cubicBezTo>
                <a:cubicBezTo>
                  <a:pt x="13" y="108"/>
                  <a:pt x="10" y="105"/>
                  <a:pt x="9" y="104"/>
                </a:cubicBezTo>
                <a:cubicBezTo>
                  <a:pt x="6" y="102"/>
                  <a:pt x="4" y="101"/>
                  <a:pt x="0" y="100"/>
                </a:cubicBezTo>
                <a:cubicBezTo>
                  <a:pt x="0" y="99"/>
                  <a:pt x="0" y="99"/>
                  <a:pt x="0" y="99"/>
                </a:cubicBezTo>
                <a:cubicBezTo>
                  <a:pt x="0" y="98"/>
                  <a:pt x="0" y="98"/>
                  <a:pt x="0" y="98"/>
                </a:cubicBezTo>
                <a:cubicBezTo>
                  <a:pt x="1" y="98"/>
                  <a:pt x="2" y="97"/>
                  <a:pt x="2" y="97"/>
                </a:cubicBezTo>
                <a:cubicBezTo>
                  <a:pt x="3" y="96"/>
                  <a:pt x="6" y="91"/>
                  <a:pt x="11" y="95"/>
                </a:cubicBezTo>
                <a:cubicBezTo>
                  <a:pt x="15" y="98"/>
                  <a:pt x="16" y="96"/>
                  <a:pt x="17" y="95"/>
                </a:cubicBezTo>
                <a:cubicBezTo>
                  <a:pt x="18" y="94"/>
                  <a:pt x="16" y="89"/>
                  <a:pt x="16" y="87"/>
                </a:cubicBezTo>
                <a:cubicBezTo>
                  <a:pt x="16" y="85"/>
                  <a:pt x="12" y="82"/>
                  <a:pt x="15" y="80"/>
                </a:cubicBezTo>
                <a:cubicBezTo>
                  <a:pt x="18" y="79"/>
                  <a:pt x="20" y="77"/>
                  <a:pt x="20" y="76"/>
                </a:cubicBezTo>
                <a:cubicBezTo>
                  <a:pt x="21" y="74"/>
                  <a:pt x="20" y="73"/>
                  <a:pt x="22" y="71"/>
                </a:cubicBezTo>
                <a:cubicBezTo>
                  <a:pt x="24" y="69"/>
                  <a:pt x="23" y="66"/>
                  <a:pt x="24" y="64"/>
                </a:cubicBezTo>
                <a:cubicBezTo>
                  <a:pt x="25" y="62"/>
                  <a:pt x="30" y="56"/>
                  <a:pt x="32" y="51"/>
                </a:cubicBezTo>
                <a:cubicBezTo>
                  <a:pt x="35" y="47"/>
                  <a:pt x="36" y="34"/>
                  <a:pt x="37" y="30"/>
                </a:cubicBezTo>
                <a:cubicBezTo>
                  <a:pt x="37" y="26"/>
                  <a:pt x="34" y="20"/>
                  <a:pt x="38" y="16"/>
                </a:cubicBezTo>
                <a:cubicBezTo>
                  <a:pt x="41" y="12"/>
                  <a:pt x="51" y="6"/>
                  <a:pt x="60" y="4"/>
                </a:cubicBezTo>
                <a:cubicBezTo>
                  <a:pt x="69" y="1"/>
                  <a:pt x="72" y="7"/>
                  <a:pt x="82" y="1"/>
                </a:cubicBezTo>
                <a:cubicBezTo>
                  <a:pt x="82" y="1"/>
                  <a:pt x="76" y="6"/>
                  <a:pt x="66" y="6"/>
                </a:cubicBezTo>
                <a:cubicBezTo>
                  <a:pt x="56" y="6"/>
                  <a:pt x="54" y="10"/>
                  <a:pt x="51" y="13"/>
                </a:cubicBezTo>
                <a:cubicBezTo>
                  <a:pt x="48" y="16"/>
                  <a:pt x="43" y="21"/>
                  <a:pt x="44" y="25"/>
                </a:cubicBezTo>
                <a:cubicBezTo>
                  <a:pt x="45" y="28"/>
                  <a:pt x="44" y="29"/>
                  <a:pt x="48" y="32"/>
                </a:cubicBezTo>
                <a:cubicBezTo>
                  <a:pt x="51" y="36"/>
                  <a:pt x="54" y="36"/>
                  <a:pt x="53" y="40"/>
                </a:cubicBezTo>
                <a:cubicBezTo>
                  <a:pt x="51" y="44"/>
                  <a:pt x="46" y="47"/>
                  <a:pt x="51" y="47"/>
                </a:cubicBezTo>
                <a:cubicBezTo>
                  <a:pt x="56" y="47"/>
                  <a:pt x="57" y="45"/>
                  <a:pt x="58" y="42"/>
                </a:cubicBezTo>
                <a:cubicBezTo>
                  <a:pt x="59" y="38"/>
                  <a:pt x="54" y="24"/>
                  <a:pt x="56" y="21"/>
                </a:cubicBezTo>
                <a:cubicBezTo>
                  <a:pt x="58" y="17"/>
                  <a:pt x="59" y="11"/>
                  <a:pt x="62" y="11"/>
                </a:cubicBezTo>
                <a:cubicBezTo>
                  <a:pt x="66" y="11"/>
                  <a:pt x="70" y="9"/>
                  <a:pt x="70" y="9"/>
                </a:cubicBezTo>
                <a:cubicBezTo>
                  <a:pt x="70" y="9"/>
                  <a:pt x="77" y="13"/>
                  <a:pt x="83" y="10"/>
                </a:cubicBezTo>
                <a:cubicBezTo>
                  <a:pt x="89" y="6"/>
                  <a:pt x="90" y="0"/>
                  <a:pt x="92" y="5"/>
                </a:cubicBezTo>
                <a:cubicBezTo>
                  <a:pt x="95" y="10"/>
                  <a:pt x="96" y="15"/>
                  <a:pt x="99" y="15"/>
                </a:cubicBezTo>
                <a:cubicBezTo>
                  <a:pt x="102" y="15"/>
                  <a:pt x="101" y="10"/>
                  <a:pt x="103" y="10"/>
                </a:cubicBezTo>
                <a:cubicBezTo>
                  <a:pt x="105" y="11"/>
                  <a:pt x="105" y="11"/>
                  <a:pt x="105" y="11"/>
                </a:cubicBezTo>
                <a:cubicBezTo>
                  <a:pt x="104" y="14"/>
                  <a:pt x="104" y="14"/>
                  <a:pt x="104" y="14"/>
                </a:cubicBezTo>
                <a:cubicBezTo>
                  <a:pt x="104" y="15"/>
                  <a:pt x="104" y="17"/>
                  <a:pt x="103" y="17"/>
                </a:cubicBezTo>
                <a:cubicBezTo>
                  <a:pt x="101" y="22"/>
                  <a:pt x="98" y="23"/>
                  <a:pt x="100" y="29"/>
                </a:cubicBezTo>
                <a:cubicBezTo>
                  <a:pt x="101" y="32"/>
                  <a:pt x="102" y="31"/>
                  <a:pt x="100" y="34"/>
                </a:cubicBezTo>
                <a:cubicBezTo>
                  <a:pt x="98" y="38"/>
                  <a:pt x="95" y="41"/>
                  <a:pt x="94" y="45"/>
                </a:cubicBezTo>
                <a:cubicBezTo>
                  <a:pt x="94" y="49"/>
                  <a:pt x="97" y="53"/>
                  <a:pt x="100" y="56"/>
                </a:cubicBezTo>
                <a:cubicBezTo>
                  <a:pt x="96" y="61"/>
                  <a:pt x="91" y="69"/>
                  <a:pt x="89" y="76"/>
                </a:cubicBezTo>
                <a:cubicBezTo>
                  <a:pt x="88" y="75"/>
                  <a:pt x="87" y="73"/>
                  <a:pt x="85" y="74"/>
                </a:cubicBezTo>
                <a:cubicBezTo>
                  <a:pt x="83" y="74"/>
                  <a:pt x="82" y="77"/>
                  <a:pt x="81" y="77"/>
                </a:cubicBezTo>
                <a:cubicBezTo>
                  <a:pt x="79" y="77"/>
                  <a:pt x="79" y="75"/>
                  <a:pt x="77" y="76"/>
                </a:cubicBezTo>
                <a:cubicBezTo>
                  <a:pt x="76" y="76"/>
                  <a:pt x="77" y="79"/>
                  <a:pt x="77" y="81"/>
                </a:cubicBezTo>
                <a:cubicBezTo>
                  <a:pt x="73" y="79"/>
                  <a:pt x="70" y="84"/>
                  <a:pt x="71" y="87"/>
                </a:cubicBezTo>
                <a:cubicBezTo>
                  <a:pt x="72" y="91"/>
                  <a:pt x="74" y="99"/>
                  <a:pt x="76" y="102"/>
                </a:cubicBezTo>
                <a:cubicBezTo>
                  <a:pt x="75" y="104"/>
                  <a:pt x="72" y="106"/>
                  <a:pt x="70" y="108"/>
                </a:cubicBezTo>
                <a:cubicBezTo>
                  <a:pt x="70" y="110"/>
                  <a:pt x="72" y="112"/>
                  <a:pt x="73" y="114"/>
                </a:cubicBezTo>
                <a:cubicBezTo>
                  <a:pt x="74" y="117"/>
                  <a:pt x="76" y="120"/>
                  <a:pt x="76" y="12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7" name="Freeform 521"/>
          <p:cNvSpPr>
            <a:spLocks/>
          </p:cNvSpPr>
          <p:nvPr userDrawn="1"/>
        </p:nvSpPr>
        <p:spPr bwMode="auto">
          <a:xfrm>
            <a:off x="5808924" y="3548991"/>
            <a:ext cx="157459" cy="98831"/>
          </a:xfrm>
          <a:custGeom>
            <a:avLst/>
            <a:gdLst>
              <a:gd name="T0" fmla="*/ 2147483646 w 168"/>
              <a:gd name="T1" fmla="*/ 2147483646 h 106"/>
              <a:gd name="T2" fmla="*/ 2147483646 w 168"/>
              <a:gd name="T3" fmla="*/ 2147483646 h 106"/>
              <a:gd name="T4" fmla="*/ 2147483646 w 168"/>
              <a:gd name="T5" fmla="*/ 2147483646 h 106"/>
              <a:gd name="T6" fmla="*/ 2147483646 w 168"/>
              <a:gd name="T7" fmla="*/ 2147483646 h 106"/>
              <a:gd name="T8" fmla="*/ 2147483646 w 168"/>
              <a:gd name="T9" fmla="*/ 2147483646 h 106"/>
              <a:gd name="T10" fmla="*/ 2147483646 w 168"/>
              <a:gd name="T11" fmla="*/ 2147483646 h 106"/>
              <a:gd name="T12" fmla="*/ 2147483646 w 168"/>
              <a:gd name="T13" fmla="*/ 2147483646 h 106"/>
              <a:gd name="T14" fmla="*/ 2147483646 w 168"/>
              <a:gd name="T15" fmla="*/ 2147483646 h 106"/>
              <a:gd name="T16" fmla="*/ 2147483646 w 168"/>
              <a:gd name="T17" fmla="*/ 2147483646 h 106"/>
              <a:gd name="T18" fmla="*/ 2147483646 w 168"/>
              <a:gd name="T19" fmla="*/ 2147483646 h 106"/>
              <a:gd name="T20" fmla="*/ 2147483646 w 168"/>
              <a:gd name="T21" fmla="*/ 2147483646 h 106"/>
              <a:gd name="T22" fmla="*/ 2147483646 w 168"/>
              <a:gd name="T23" fmla="*/ 2147483646 h 106"/>
              <a:gd name="T24" fmla="*/ 2147483646 w 168"/>
              <a:gd name="T25" fmla="*/ 2147483646 h 106"/>
              <a:gd name="T26" fmla="*/ 2147483646 w 168"/>
              <a:gd name="T27" fmla="*/ 2147483646 h 106"/>
              <a:gd name="T28" fmla="*/ 2147483646 w 168"/>
              <a:gd name="T29" fmla="*/ 2147483646 h 106"/>
              <a:gd name="T30" fmla="*/ 0 w 168"/>
              <a:gd name="T31" fmla="*/ 2147483646 h 106"/>
              <a:gd name="T32" fmla="*/ 2147483646 w 168"/>
              <a:gd name="T33" fmla="*/ 2147483646 h 106"/>
              <a:gd name="T34" fmla="*/ 2147483646 w 168"/>
              <a:gd name="T35" fmla="*/ 2147483646 h 106"/>
              <a:gd name="T36" fmla="*/ 2147483646 w 168"/>
              <a:gd name="T37" fmla="*/ 2147483646 h 106"/>
              <a:gd name="T38" fmla="*/ 2147483646 w 168"/>
              <a:gd name="T39" fmla="*/ 2147483646 h 106"/>
              <a:gd name="T40" fmla="*/ 2147483646 w 168"/>
              <a:gd name="T41" fmla="*/ 2147483646 h 106"/>
              <a:gd name="T42" fmla="*/ 2147483646 w 168"/>
              <a:gd name="T43" fmla="*/ 2147483646 h 106"/>
              <a:gd name="T44" fmla="*/ 2147483646 w 168"/>
              <a:gd name="T45" fmla="*/ 0 h 106"/>
              <a:gd name="T46" fmla="*/ 2147483646 w 168"/>
              <a:gd name="T47" fmla="*/ 2147483646 h 106"/>
              <a:gd name="T48" fmla="*/ 2147483646 w 168"/>
              <a:gd name="T49" fmla="*/ 2147483646 h 106"/>
              <a:gd name="T50" fmla="*/ 2147483646 w 168"/>
              <a:gd name="T51" fmla="*/ 2147483646 h 106"/>
              <a:gd name="T52" fmla="*/ 2147483646 w 168"/>
              <a:gd name="T53" fmla="*/ 2147483646 h 106"/>
              <a:gd name="T54" fmla="*/ 2147483646 w 168"/>
              <a:gd name="T55" fmla="*/ 2147483646 h 106"/>
              <a:gd name="T56" fmla="*/ 2147483646 w 168"/>
              <a:gd name="T57" fmla="*/ 2147483646 h 106"/>
              <a:gd name="T58" fmla="*/ 2147483646 w 168"/>
              <a:gd name="T59" fmla="*/ 2147483646 h 106"/>
              <a:gd name="T60" fmla="*/ 2147483646 w 168"/>
              <a:gd name="T61" fmla="*/ 2147483646 h 106"/>
              <a:gd name="T62" fmla="*/ 2147483646 w 168"/>
              <a:gd name="T63" fmla="*/ 2147483646 h 106"/>
              <a:gd name="T64" fmla="*/ 2147483646 w 168"/>
              <a:gd name="T65" fmla="*/ 2147483646 h 106"/>
              <a:gd name="T66" fmla="*/ 2147483646 w 168"/>
              <a:gd name="T67" fmla="*/ 2147483646 h 106"/>
              <a:gd name="T68" fmla="*/ 2147483646 w 168"/>
              <a:gd name="T69" fmla="*/ 2147483646 h 106"/>
              <a:gd name="T70" fmla="*/ 2147483646 w 168"/>
              <a:gd name="T71" fmla="*/ 2147483646 h 106"/>
              <a:gd name="T72" fmla="*/ 2147483646 w 168"/>
              <a:gd name="T73" fmla="*/ 2147483646 h 106"/>
              <a:gd name="T74" fmla="*/ 2147483646 w 168"/>
              <a:gd name="T75" fmla="*/ 2147483646 h 106"/>
              <a:gd name="T76" fmla="*/ 2147483646 w 168"/>
              <a:gd name="T77" fmla="*/ 2147483646 h 106"/>
              <a:gd name="T78" fmla="*/ 2147483646 w 168"/>
              <a:gd name="T79" fmla="*/ 2147483646 h 106"/>
              <a:gd name="T80" fmla="*/ 2147483646 w 168"/>
              <a:gd name="T81" fmla="*/ 2147483646 h 106"/>
              <a:gd name="T82" fmla="*/ 2147483646 w 168"/>
              <a:gd name="T83" fmla="*/ 2147483646 h 106"/>
              <a:gd name="T84" fmla="*/ 2147483646 w 168"/>
              <a:gd name="T85" fmla="*/ 2147483646 h 106"/>
              <a:gd name="T86" fmla="*/ 2147483646 w 168"/>
              <a:gd name="T87" fmla="*/ 2147483646 h 106"/>
              <a:gd name="T88" fmla="*/ 2147483646 w 168"/>
              <a:gd name="T89" fmla="*/ 2147483646 h 106"/>
              <a:gd name="T90" fmla="*/ 2147483646 w 168"/>
              <a:gd name="T91" fmla="*/ 2147483646 h 10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8"/>
              <a:gd name="T139" fmla="*/ 0 h 106"/>
              <a:gd name="T140" fmla="*/ 168 w 168"/>
              <a:gd name="T141" fmla="*/ 106 h 10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8" h="106">
                <a:moveTo>
                  <a:pt x="119" y="93"/>
                </a:moveTo>
                <a:cubicBezTo>
                  <a:pt x="115" y="89"/>
                  <a:pt x="116" y="89"/>
                  <a:pt x="111" y="89"/>
                </a:cubicBezTo>
                <a:cubicBezTo>
                  <a:pt x="106" y="90"/>
                  <a:pt x="101" y="92"/>
                  <a:pt x="96" y="91"/>
                </a:cubicBezTo>
                <a:cubicBezTo>
                  <a:pt x="89" y="91"/>
                  <a:pt x="87" y="80"/>
                  <a:pt x="81" y="80"/>
                </a:cubicBezTo>
                <a:cubicBezTo>
                  <a:pt x="77" y="80"/>
                  <a:pt x="75" y="87"/>
                  <a:pt x="73" y="90"/>
                </a:cubicBezTo>
                <a:cubicBezTo>
                  <a:pt x="71" y="92"/>
                  <a:pt x="71" y="92"/>
                  <a:pt x="68" y="94"/>
                </a:cubicBezTo>
                <a:cubicBezTo>
                  <a:pt x="64" y="96"/>
                  <a:pt x="58" y="106"/>
                  <a:pt x="54" y="105"/>
                </a:cubicBezTo>
                <a:cubicBezTo>
                  <a:pt x="52" y="105"/>
                  <a:pt x="46" y="102"/>
                  <a:pt x="44" y="100"/>
                </a:cubicBezTo>
                <a:cubicBezTo>
                  <a:pt x="43" y="100"/>
                  <a:pt x="43" y="100"/>
                  <a:pt x="42" y="98"/>
                </a:cubicBezTo>
                <a:cubicBezTo>
                  <a:pt x="40" y="97"/>
                  <a:pt x="40" y="95"/>
                  <a:pt x="39" y="93"/>
                </a:cubicBezTo>
                <a:cubicBezTo>
                  <a:pt x="37" y="92"/>
                  <a:pt x="34" y="91"/>
                  <a:pt x="34" y="90"/>
                </a:cubicBezTo>
                <a:cubicBezTo>
                  <a:pt x="31" y="88"/>
                  <a:pt x="31" y="82"/>
                  <a:pt x="31" y="78"/>
                </a:cubicBezTo>
                <a:cubicBezTo>
                  <a:pt x="28" y="78"/>
                  <a:pt x="24" y="80"/>
                  <a:pt x="22" y="82"/>
                </a:cubicBezTo>
                <a:cubicBezTo>
                  <a:pt x="21" y="77"/>
                  <a:pt x="23" y="72"/>
                  <a:pt x="23" y="68"/>
                </a:cubicBezTo>
                <a:cubicBezTo>
                  <a:pt x="17" y="67"/>
                  <a:pt x="14" y="65"/>
                  <a:pt x="11" y="60"/>
                </a:cubicBezTo>
                <a:cubicBezTo>
                  <a:pt x="8" y="52"/>
                  <a:pt x="4" y="44"/>
                  <a:pt x="0" y="37"/>
                </a:cubicBezTo>
                <a:cubicBezTo>
                  <a:pt x="4" y="36"/>
                  <a:pt x="9" y="35"/>
                  <a:pt x="13" y="33"/>
                </a:cubicBezTo>
                <a:cubicBezTo>
                  <a:pt x="20" y="31"/>
                  <a:pt x="24" y="25"/>
                  <a:pt x="31" y="23"/>
                </a:cubicBezTo>
                <a:cubicBezTo>
                  <a:pt x="39" y="20"/>
                  <a:pt x="46" y="13"/>
                  <a:pt x="50" y="5"/>
                </a:cubicBezTo>
                <a:cubicBezTo>
                  <a:pt x="55" y="7"/>
                  <a:pt x="58" y="11"/>
                  <a:pt x="63" y="14"/>
                </a:cubicBezTo>
                <a:cubicBezTo>
                  <a:pt x="64" y="10"/>
                  <a:pt x="65" y="7"/>
                  <a:pt x="67" y="4"/>
                </a:cubicBezTo>
                <a:cubicBezTo>
                  <a:pt x="68" y="4"/>
                  <a:pt x="68" y="3"/>
                  <a:pt x="69" y="3"/>
                </a:cubicBezTo>
                <a:cubicBezTo>
                  <a:pt x="70" y="0"/>
                  <a:pt x="70" y="0"/>
                  <a:pt x="70" y="0"/>
                </a:cubicBezTo>
                <a:cubicBezTo>
                  <a:pt x="71" y="1"/>
                  <a:pt x="76" y="1"/>
                  <a:pt x="78" y="3"/>
                </a:cubicBezTo>
                <a:cubicBezTo>
                  <a:pt x="83" y="8"/>
                  <a:pt x="79" y="15"/>
                  <a:pt x="83" y="20"/>
                </a:cubicBezTo>
                <a:cubicBezTo>
                  <a:pt x="85" y="17"/>
                  <a:pt x="89" y="15"/>
                  <a:pt x="92" y="17"/>
                </a:cubicBezTo>
                <a:cubicBezTo>
                  <a:pt x="93" y="18"/>
                  <a:pt x="94" y="21"/>
                  <a:pt x="95" y="22"/>
                </a:cubicBezTo>
                <a:cubicBezTo>
                  <a:pt x="97" y="23"/>
                  <a:pt x="98" y="21"/>
                  <a:pt x="99" y="24"/>
                </a:cubicBezTo>
                <a:cubicBezTo>
                  <a:pt x="102" y="23"/>
                  <a:pt x="104" y="21"/>
                  <a:pt x="108" y="21"/>
                </a:cubicBezTo>
                <a:cubicBezTo>
                  <a:pt x="109" y="25"/>
                  <a:pt x="108" y="30"/>
                  <a:pt x="107" y="34"/>
                </a:cubicBezTo>
                <a:cubicBezTo>
                  <a:pt x="111" y="35"/>
                  <a:pt x="115" y="40"/>
                  <a:pt x="119" y="41"/>
                </a:cubicBezTo>
                <a:cubicBezTo>
                  <a:pt x="119" y="39"/>
                  <a:pt x="118" y="31"/>
                  <a:pt x="120" y="29"/>
                </a:cubicBezTo>
                <a:cubicBezTo>
                  <a:pt x="121" y="27"/>
                  <a:pt x="128" y="28"/>
                  <a:pt x="130" y="28"/>
                </a:cubicBezTo>
                <a:cubicBezTo>
                  <a:pt x="132" y="28"/>
                  <a:pt x="136" y="26"/>
                  <a:pt x="138" y="28"/>
                </a:cubicBezTo>
                <a:cubicBezTo>
                  <a:pt x="139" y="30"/>
                  <a:pt x="137" y="38"/>
                  <a:pt x="136" y="40"/>
                </a:cubicBezTo>
                <a:cubicBezTo>
                  <a:pt x="140" y="40"/>
                  <a:pt x="142" y="34"/>
                  <a:pt x="146" y="34"/>
                </a:cubicBezTo>
                <a:cubicBezTo>
                  <a:pt x="147" y="37"/>
                  <a:pt x="148" y="46"/>
                  <a:pt x="151" y="48"/>
                </a:cubicBezTo>
                <a:cubicBezTo>
                  <a:pt x="153" y="50"/>
                  <a:pt x="155" y="47"/>
                  <a:pt x="159" y="46"/>
                </a:cubicBezTo>
                <a:cubicBezTo>
                  <a:pt x="160" y="46"/>
                  <a:pt x="163" y="45"/>
                  <a:pt x="165" y="47"/>
                </a:cubicBezTo>
                <a:cubicBezTo>
                  <a:pt x="167" y="50"/>
                  <a:pt x="162" y="55"/>
                  <a:pt x="163" y="57"/>
                </a:cubicBezTo>
                <a:cubicBezTo>
                  <a:pt x="168" y="64"/>
                  <a:pt x="168" y="64"/>
                  <a:pt x="168" y="64"/>
                </a:cubicBezTo>
                <a:cubicBezTo>
                  <a:pt x="165" y="70"/>
                  <a:pt x="153" y="62"/>
                  <a:pt x="149" y="67"/>
                </a:cubicBezTo>
                <a:cubicBezTo>
                  <a:pt x="147" y="70"/>
                  <a:pt x="148" y="77"/>
                  <a:pt x="145" y="80"/>
                </a:cubicBezTo>
                <a:cubicBezTo>
                  <a:pt x="142" y="82"/>
                  <a:pt x="141" y="82"/>
                  <a:pt x="138" y="82"/>
                </a:cubicBezTo>
                <a:cubicBezTo>
                  <a:pt x="133" y="82"/>
                  <a:pt x="126" y="80"/>
                  <a:pt x="123" y="84"/>
                </a:cubicBezTo>
                <a:cubicBezTo>
                  <a:pt x="121" y="86"/>
                  <a:pt x="119" y="91"/>
                  <a:pt x="119" y="9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8" name="Freeform 522"/>
          <p:cNvSpPr>
            <a:spLocks/>
          </p:cNvSpPr>
          <p:nvPr userDrawn="1"/>
        </p:nvSpPr>
        <p:spPr bwMode="auto">
          <a:xfrm>
            <a:off x="5746946" y="3624372"/>
            <a:ext cx="175884" cy="100505"/>
          </a:xfrm>
          <a:custGeom>
            <a:avLst/>
            <a:gdLst>
              <a:gd name="T0" fmla="*/ 2147483646 w 188"/>
              <a:gd name="T1" fmla="*/ 2147483646 h 108"/>
              <a:gd name="T2" fmla="*/ 2147483646 w 188"/>
              <a:gd name="T3" fmla="*/ 2147483646 h 108"/>
              <a:gd name="T4" fmla="*/ 2147483646 w 188"/>
              <a:gd name="T5" fmla="*/ 2147483646 h 108"/>
              <a:gd name="T6" fmla="*/ 2147483646 w 188"/>
              <a:gd name="T7" fmla="*/ 2147483646 h 108"/>
              <a:gd name="T8" fmla="*/ 2147483646 w 188"/>
              <a:gd name="T9" fmla="*/ 2147483646 h 108"/>
              <a:gd name="T10" fmla="*/ 2147483646 w 188"/>
              <a:gd name="T11" fmla="*/ 2147483646 h 108"/>
              <a:gd name="T12" fmla="*/ 2147483646 w 188"/>
              <a:gd name="T13" fmla="*/ 2147483646 h 108"/>
              <a:gd name="T14" fmla="*/ 2147483646 w 188"/>
              <a:gd name="T15" fmla="*/ 2147483646 h 108"/>
              <a:gd name="T16" fmla="*/ 2147483646 w 188"/>
              <a:gd name="T17" fmla="*/ 2147483646 h 108"/>
              <a:gd name="T18" fmla="*/ 2147483646 w 188"/>
              <a:gd name="T19" fmla="*/ 2147483646 h 108"/>
              <a:gd name="T20" fmla="*/ 2147483646 w 188"/>
              <a:gd name="T21" fmla="*/ 2147483646 h 108"/>
              <a:gd name="T22" fmla="*/ 2147483646 w 188"/>
              <a:gd name="T23" fmla="*/ 2147483646 h 108"/>
              <a:gd name="T24" fmla="*/ 2147483646 w 188"/>
              <a:gd name="T25" fmla="*/ 2147483646 h 108"/>
              <a:gd name="T26" fmla="*/ 2147483646 w 188"/>
              <a:gd name="T27" fmla="*/ 2147483646 h 108"/>
              <a:gd name="T28" fmla="*/ 2147483646 w 188"/>
              <a:gd name="T29" fmla="*/ 2147483646 h 108"/>
              <a:gd name="T30" fmla="*/ 2147483646 w 188"/>
              <a:gd name="T31" fmla="*/ 2147483646 h 108"/>
              <a:gd name="T32" fmla="*/ 2147483646 w 188"/>
              <a:gd name="T33" fmla="*/ 2147483646 h 108"/>
              <a:gd name="T34" fmla="*/ 2147483646 w 188"/>
              <a:gd name="T35" fmla="*/ 2147483646 h 108"/>
              <a:gd name="T36" fmla="*/ 2147483646 w 188"/>
              <a:gd name="T37" fmla="*/ 2147483646 h 108"/>
              <a:gd name="T38" fmla="*/ 2147483646 w 188"/>
              <a:gd name="T39" fmla="*/ 2147483646 h 108"/>
              <a:gd name="T40" fmla="*/ 2147483646 w 188"/>
              <a:gd name="T41" fmla="*/ 2147483646 h 108"/>
              <a:gd name="T42" fmla="*/ 2147483646 w 188"/>
              <a:gd name="T43" fmla="*/ 2147483646 h 108"/>
              <a:gd name="T44" fmla="*/ 2147483646 w 188"/>
              <a:gd name="T45" fmla="*/ 2147483646 h 108"/>
              <a:gd name="T46" fmla="*/ 2147483646 w 188"/>
              <a:gd name="T47" fmla="*/ 2147483646 h 108"/>
              <a:gd name="T48" fmla="*/ 2147483646 w 188"/>
              <a:gd name="T49" fmla="*/ 2147483646 h 108"/>
              <a:gd name="T50" fmla="*/ 2147483646 w 188"/>
              <a:gd name="T51" fmla="*/ 2147483646 h 108"/>
              <a:gd name="T52" fmla="*/ 2147483646 w 188"/>
              <a:gd name="T53" fmla="*/ 2147483646 h 108"/>
              <a:gd name="T54" fmla="*/ 2147483646 w 188"/>
              <a:gd name="T55" fmla="*/ 2147483646 h 108"/>
              <a:gd name="T56" fmla="*/ 0 w 188"/>
              <a:gd name="T57" fmla="*/ 2147483646 h 108"/>
              <a:gd name="T58" fmla="*/ 2147483646 w 188"/>
              <a:gd name="T59" fmla="*/ 2147483646 h 108"/>
              <a:gd name="T60" fmla="*/ 2147483646 w 188"/>
              <a:gd name="T61" fmla="*/ 2147483646 h 108"/>
              <a:gd name="T62" fmla="*/ 2147483646 w 188"/>
              <a:gd name="T63" fmla="*/ 2147483646 h 108"/>
              <a:gd name="T64" fmla="*/ 2147483646 w 188"/>
              <a:gd name="T65" fmla="*/ 2147483646 h 108"/>
              <a:gd name="T66" fmla="*/ 2147483646 w 188"/>
              <a:gd name="T67" fmla="*/ 2147483646 h 108"/>
              <a:gd name="T68" fmla="*/ 2147483646 w 188"/>
              <a:gd name="T69" fmla="*/ 2147483646 h 108"/>
              <a:gd name="T70" fmla="*/ 2147483646 w 188"/>
              <a:gd name="T71" fmla="*/ 2147483646 h 108"/>
              <a:gd name="T72" fmla="*/ 2147483646 w 188"/>
              <a:gd name="T73" fmla="*/ 2147483646 h 108"/>
              <a:gd name="T74" fmla="*/ 2147483646 w 188"/>
              <a:gd name="T75" fmla="*/ 2147483646 h 108"/>
              <a:gd name="T76" fmla="*/ 2147483646 w 188"/>
              <a:gd name="T77" fmla="*/ 2147483646 h 108"/>
              <a:gd name="T78" fmla="*/ 2147483646 w 188"/>
              <a:gd name="T79" fmla="*/ 2147483646 h 108"/>
              <a:gd name="T80" fmla="*/ 2147483646 w 188"/>
              <a:gd name="T81" fmla="*/ 2147483646 h 108"/>
              <a:gd name="T82" fmla="*/ 2147483646 w 188"/>
              <a:gd name="T83" fmla="*/ 2147483646 h 108"/>
              <a:gd name="T84" fmla="*/ 2147483646 w 188"/>
              <a:gd name="T85" fmla="*/ 2147483646 h 108"/>
              <a:gd name="T86" fmla="*/ 2147483646 w 188"/>
              <a:gd name="T87" fmla="*/ 2147483646 h 108"/>
              <a:gd name="T88" fmla="*/ 2147483646 w 188"/>
              <a:gd name="T89" fmla="*/ 2147483646 h 108"/>
              <a:gd name="T90" fmla="*/ 2147483646 w 188"/>
              <a:gd name="T91" fmla="*/ 2147483646 h 108"/>
              <a:gd name="T92" fmla="*/ 2147483646 w 188"/>
              <a:gd name="T93" fmla="*/ 2147483646 h 108"/>
              <a:gd name="T94" fmla="*/ 2147483646 w 188"/>
              <a:gd name="T95" fmla="*/ 2147483646 h 108"/>
              <a:gd name="T96" fmla="*/ 2147483646 w 188"/>
              <a:gd name="T97" fmla="*/ 2147483646 h 108"/>
              <a:gd name="T98" fmla="*/ 2147483646 w 188"/>
              <a:gd name="T99" fmla="*/ 2147483646 h 108"/>
              <a:gd name="T100" fmla="*/ 2147483646 w 188"/>
              <a:gd name="T101" fmla="*/ 2147483646 h 108"/>
              <a:gd name="T102" fmla="*/ 2147483646 w 188"/>
              <a:gd name="T103" fmla="*/ 2147483646 h 108"/>
              <a:gd name="T104" fmla="*/ 2147483646 w 188"/>
              <a:gd name="T105" fmla="*/ 2147483646 h 108"/>
              <a:gd name="T106" fmla="*/ 2147483646 w 188"/>
              <a:gd name="T107" fmla="*/ 2147483646 h 108"/>
              <a:gd name="T108" fmla="*/ 2147483646 w 188"/>
              <a:gd name="T109" fmla="*/ 2147483646 h 108"/>
              <a:gd name="T110" fmla="*/ 2147483646 w 188"/>
              <a:gd name="T111" fmla="*/ 0 h 108"/>
              <a:gd name="T112" fmla="*/ 2147483646 w 188"/>
              <a:gd name="T113" fmla="*/ 2147483646 h 108"/>
              <a:gd name="T114" fmla="*/ 2147483646 w 188"/>
              <a:gd name="T115" fmla="*/ 2147483646 h 108"/>
              <a:gd name="T116" fmla="*/ 2147483646 w 188"/>
              <a:gd name="T117" fmla="*/ 2147483646 h 108"/>
              <a:gd name="T118" fmla="*/ 2147483646 w 188"/>
              <a:gd name="T119" fmla="*/ 2147483646 h 108"/>
              <a:gd name="T120" fmla="*/ 2147483646 w 188"/>
              <a:gd name="T121" fmla="*/ 2147483646 h 10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88"/>
              <a:gd name="T184" fmla="*/ 0 h 108"/>
              <a:gd name="T185" fmla="*/ 188 w 188"/>
              <a:gd name="T186" fmla="*/ 108 h 10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88" h="108">
                <a:moveTo>
                  <a:pt x="184" y="36"/>
                </a:moveTo>
                <a:cubicBezTo>
                  <a:pt x="185" y="41"/>
                  <a:pt x="188" y="46"/>
                  <a:pt x="186" y="51"/>
                </a:cubicBezTo>
                <a:cubicBezTo>
                  <a:pt x="184" y="55"/>
                  <a:pt x="179" y="57"/>
                  <a:pt x="178" y="61"/>
                </a:cubicBezTo>
                <a:cubicBezTo>
                  <a:pt x="178" y="64"/>
                  <a:pt x="181" y="66"/>
                  <a:pt x="179" y="70"/>
                </a:cubicBezTo>
                <a:cubicBezTo>
                  <a:pt x="175" y="77"/>
                  <a:pt x="166" y="80"/>
                  <a:pt x="165" y="88"/>
                </a:cubicBezTo>
                <a:cubicBezTo>
                  <a:pt x="164" y="91"/>
                  <a:pt x="166" y="96"/>
                  <a:pt x="162" y="98"/>
                </a:cubicBezTo>
                <a:cubicBezTo>
                  <a:pt x="159" y="99"/>
                  <a:pt x="157" y="96"/>
                  <a:pt x="156" y="94"/>
                </a:cubicBezTo>
                <a:cubicBezTo>
                  <a:pt x="154" y="95"/>
                  <a:pt x="153" y="97"/>
                  <a:pt x="152" y="98"/>
                </a:cubicBezTo>
                <a:cubicBezTo>
                  <a:pt x="149" y="97"/>
                  <a:pt x="145" y="97"/>
                  <a:pt x="142" y="97"/>
                </a:cubicBezTo>
                <a:cubicBezTo>
                  <a:pt x="138" y="96"/>
                  <a:pt x="137" y="96"/>
                  <a:pt x="134" y="99"/>
                </a:cubicBezTo>
                <a:cubicBezTo>
                  <a:pt x="131" y="101"/>
                  <a:pt x="128" y="106"/>
                  <a:pt x="124" y="107"/>
                </a:cubicBezTo>
                <a:cubicBezTo>
                  <a:pt x="117" y="108"/>
                  <a:pt x="110" y="103"/>
                  <a:pt x="103" y="103"/>
                </a:cubicBezTo>
                <a:cubicBezTo>
                  <a:pt x="102" y="104"/>
                  <a:pt x="102" y="104"/>
                  <a:pt x="102" y="104"/>
                </a:cubicBezTo>
                <a:cubicBezTo>
                  <a:pt x="102" y="103"/>
                  <a:pt x="102" y="103"/>
                  <a:pt x="102" y="103"/>
                </a:cubicBezTo>
                <a:cubicBezTo>
                  <a:pt x="101" y="102"/>
                  <a:pt x="99" y="102"/>
                  <a:pt x="97" y="101"/>
                </a:cubicBezTo>
                <a:cubicBezTo>
                  <a:pt x="95" y="100"/>
                  <a:pt x="93" y="98"/>
                  <a:pt x="91" y="97"/>
                </a:cubicBezTo>
                <a:cubicBezTo>
                  <a:pt x="88" y="96"/>
                  <a:pt x="88" y="96"/>
                  <a:pt x="86" y="96"/>
                </a:cubicBezTo>
                <a:cubicBezTo>
                  <a:pt x="82" y="97"/>
                  <a:pt x="80" y="98"/>
                  <a:pt x="76" y="97"/>
                </a:cubicBezTo>
                <a:cubicBezTo>
                  <a:pt x="71" y="96"/>
                  <a:pt x="68" y="90"/>
                  <a:pt x="65" y="86"/>
                </a:cubicBezTo>
                <a:cubicBezTo>
                  <a:pt x="64" y="85"/>
                  <a:pt x="63" y="84"/>
                  <a:pt x="62" y="84"/>
                </a:cubicBezTo>
                <a:cubicBezTo>
                  <a:pt x="61" y="84"/>
                  <a:pt x="60" y="85"/>
                  <a:pt x="59" y="85"/>
                </a:cubicBezTo>
                <a:cubicBezTo>
                  <a:pt x="57" y="85"/>
                  <a:pt x="56" y="84"/>
                  <a:pt x="54" y="84"/>
                </a:cubicBezTo>
                <a:cubicBezTo>
                  <a:pt x="49" y="84"/>
                  <a:pt x="45" y="88"/>
                  <a:pt x="41" y="90"/>
                </a:cubicBezTo>
                <a:cubicBezTo>
                  <a:pt x="36" y="93"/>
                  <a:pt x="33" y="92"/>
                  <a:pt x="29" y="90"/>
                </a:cubicBezTo>
                <a:cubicBezTo>
                  <a:pt x="26" y="89"/>
                  <a:pt x="23" y="89"/>
                  <a:pt x="21" y="89"/>
                </a:cubicBezTo>
                <a:cubicBezTo>
                  <a:pt x="21" y="89"/>
                  <a:pt x="20" y="88"/>
                  <a:pt x="19" y="88"/>
                </a:cubicBezTo>
                <a:cubicBezTo>
                  <a:pt x="17" y="88"/>
                  <a:pt x="16" y="94"/>
                  <a:pt x="13" y="93"/>
                </a:cubicBezTo>
                <a:cubicBezTo>
                  <a:pt x="11" y="93"/>
                  <a:pt x="10" y="88"/>
                  <a:pt x="9" y="87"/>
                </a:cubicBezTo>
                <a:cubicBezTo>
                  <a:pt x="7" y="84"/>
                  <a:pt x="3" y="85"/>
                  <a:pt x="0" y="85"/>
                </a:cubicBezTo>
                <a:cubicBezTo>
                  <a:pt x="0" y="80"/>
                  <a:pt x="4" y="75"/>
                  <a:pt x="5" y="70"/>
                </a:cubicBezTo>
                <a:cubicBezTo>
                  <a:pt x="6" y="67"/>
                  <a:pt x="5" y="67"/>
                  <a:pt x="2" y="66"/>
                </a:cubicBezTo>
                <a:cubicBezTo>
                  <a:pt x="2" y="66"/>
                  <a:pt x="8" y="65"/>
                  <a:pt x="9" y="66"/>
                </a:cubicBezTo>
                <a:cubicBezTo>
                  <a:pt x="11" y="66"/>
                  <a:pt x="13" y="68"/>
                  <a:pt x="15" y="69"/>
                </a:cubicBezTo>
                <a:cubicBezTo>
                  <a:pt x="16" y="70"/>
                  <a:pt x="17" y="72"/>
                  <a:pt x="19" y="72"/>
                </a:cubicBezTo>
                <a:cubicBezTo>
                  <a:pt x="20" y="72"/>
                  <a:pt x="22" y="70"/>
                  <a:pt x="24" y="70"/>
                </a:cubicBezTo>
                <a:cubicBezTo>
                  <a:pt x="25" y="69"/>
                  <a:pt x="27" y="67"/>
                  <a:pt x="28" y="65"/>
                </a:cubicBezTo>
                <a:cubicBezTo>
                  <a:pt x="29" y="65"/>
                  <a:pt x="30" y="62"/>
                  <a:pt x="31" y="62"/>
                </a:cubicBezTo>
                <a:cubicBezTo>
                  <a:pt x="34" y="61"/>
                  <a:pt x="40" y="68"/>
                  <a:pt x="42" y="69"/>
                </a:cubicBezTo>
                <a:cubicBezTo>
                  <a:pt x="46" y="72"/>
                  <a:pt x="51" y="66"/>
                  <a:pt x="55" y="64"/>
                </a:cubicBezTo>
                <a:cubicBezTo>
                  <a:pt x="58" y="61"/>
                  <a:pt x="63" y="58"/>
                  <a:pt x="67" y="56"/>
                </a:cubicBezTo>
                <a:cubicBezTo>
                  <a:pt x="70" y="55"/>
                  <a:pt x="71" y="55"/>
                  <a:pt x="74" y="57"/>
                </a:cubicBezTo>
                <a:cubicBezTo>
                  <a:pt x="77" y="58"/>
                  <a:pt x="79" y="59"/>
                  <a:pt x="82" y="58"/>
                </a:cubicBezTo>
                <a:cubicBezTo>
                  <a:pt x="82" y="58"/>
                  <a:pt x="83" y="57"/>
                  <a:pt x="84" y="57"/>
                </a:cubicBezTo>
                <a:cubicBezTo>
                  <a:pt x="85" y="56"/>
                  <a:pt x="86" y="57"/>
                  <a:pt x="87" y="57"/>
                </a:cubicBezTo>
                <a:cubicBezTo>
                  <a:pt x="89" y="58"/>
                  <a:pt x="91" y="59"/>
                  <a:pt x="93" y="60"/>
                </a:cubicBezTo>
                <a:cubicBezTo>
                  <a:pt x="93" y="56"/>
                  <a:pt x="91" y="52"/>
                  <a:pt x="90" y="49"/>
                </a:cubicBezTo>
                <a:cubicBezTo>
                  <a:pt x="89" y="46"/>
                  <a:pt x="87" y="45"/>
                  <a:pt x="84" y="43"/>
                </a:cubicBezTo>
                <a:cubicBezTo>
                  <a:pt x="86" y="39"/>
                  <a:pt x="92" y="35"/>
                  <a:pt x="96" y="32"/>
                </a:cubicBezTo>
                <a:cubicBezTo>
                  <a:pt x="97" y="30"/>
                  <a:pt x="98" y="29"/>
                  <a:pt x="100" y="30"/>
                </a:cubicBezTo>
                <a:cubicBezTo>
                  <a:pt x="101" y="30"/>
                  <a:pt x="101" y="31"/>
                  <a:pt x="102" y="32"/>
                </a:cubicBezTo>
                <a:cubicBezTo>
                  <a:pt x="102" y="24"/>
                  <a:pt x="108" y="18"/>
                  <a:pt x="108" y="18"/>
                </a:cubicBezTo>
                <a:cubicBezTo>
                  <a:pt x="109" y="19"/>
                  <a:pt x="110" y="20"/>
                  <a:pt x="111" y="20"/>
                </a:cubicBezTo>
                <a:cubicBezTo>
                  <a:pt x="113" y="22"/>
                  <a:pt x="119" y="25"/>
                  <a:pt x="121" y="25"/>
                </a:cubicBezTo>
                <a:cubicBezTo>
                  <a:pt x="125" y="26"/>
                  <a:pt x="131" y="16"/>
                  <a:pt x="135" y="14"/>
                </a:cubicBezTo>
                <a:cubicBezTo>
                  <a:pt x="138" y="12"/>
                  <a:pt x="138" y="12"/>
                  <a:pt x="140" y="10"/>
                </a:cubicBezTo>
                <a:cubicBezTo>
                  <a:pt x="142" y="7"/>
                  <a:pt x="144" y="0"/>
                  <a:pt x="148" y="0"/>
                </a:cubicBezTo>
                <a:cubicBezTo>
                  <a:pt x="153" y="0"/>
                  <a:pt x="156" y="11"/>
                  <a:pt x="163" y="11"/>
                </a:cubicBezTo>
                <a:cubicBezTo>
                  <a:pt x="167" y="12"/>
                  <a:pt x="173" y="10"/>
                  <a:pt x="178" y="9"/>
                </a:cubicBezTo>
                <a:cubicBezTo>
                  <a:pt x="183" y="9"/>
                  <a:pt x="183" y="9"/>
                  <a:pt x="186" y="13"/>
                </a:cubicBezTo>
                <a:cubicBezTo>
                  <a:pt x="186" y="14"/>
                  <a:pt x="186" y="14"/>
                  <a:pt x="186" y="14"/>
                </a:cubicBezTo>
                <a:cubicBezTo>
                  <a:pt x="186" y="21"/>
                  <a:pt x="187" y="30"/>
                  <a:pt x="185" y="3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9" name="Freeform 523"/>
          <p:cNvSpPr>
            <a:spLocks/>
          </p:cNvSpPr>
          <p:nvPr userDrawn="1"/>
        </p:nvSpPr>
        <p:spPr bwMode="auto">
          <a:xfrm>
            <a:off x="5746946" y="3624372"/>
            <a:ext cx="175884" cy="100505"/>
          </a:xfrm>
          <a:custGeom>
            <a:avLst/>
            <a:gdLst>
              <a:gd name="T0" fmla="*/ 2147483646 w 188"/>
              <a:gd name="T1" fmla="*/ 2147483646 h 108"/>
              <a:gd name="T2" fmla="*/ 2147483646 w 188"/>
              <a:gd name="T3" fmla="*/ 2147483646 h 108"/>
              <a:gd name="T4" fmla="*/ 2147483646 w 188"/>
              <a:gd name="T5" fmla="*/ 2147483646 h 108"/>
              <a:gd name="T6" fmla="*/ 2147483646 w 188"/>
              <a:gd name="T7" fmla="*/ 2147483646 h 108"/>
              <a:gd name="T8" fmla="*/ 2147483646 w 188"/>
              <a:gd name="T9" fmla="*/ 2147483646 h 108"/>
              <a:gd name="T10" fmla="*/ 2147483646 w 188"/>
              <a:gd name="T11" fmla="*/ 2147483646 h 108"/>
              <a:gd name="T12" fmla="*/ 2147483646 w 188"/>
              <a:gd name="T13" fmla="*/ 2147483646 h 108"/>
              <a:gd name="T14" fmla="*/ 2147483646 w 188"/>
              <a:gd name="T15" fmla="*/ 2147483646 h 108"/>
              <a:gd name="T16" fmla="*/ 2147483646 w 188"/>
              <a:gd name="T17" fmla="*/ 2147483646 h 108"/>
              <a:gd name="T18" fmla="*/ 2147483646 w 188"/>
              <a:gd name="T19" fmla="*/ 2147483646 h 108"/>
              <a:gd name="T20" fmla="*/ 2147483646 w 188"/>
              <a:gd name="T21" fmla="*/ 2147483646 h 108"/>
              <a:gd name="T22" fmla="*/ 2147483646 w 188"/>
              <a:gd name="T23" fmla="*/ 2147483646 h 108"/>
              <a:gd name="T24" fmla="*/ 2147483646 w 188"/>
              <a:gd name="T25" fmla="*/ 2147483646 h 108"/>
              <a:gd name="T26" fmla="*/ 2147483646 w 188"/>
              <a:gd name="T27" fmla="*/ 2147483646 h 108"/>
              <a:gd name="T28" fmla="*/ 2147483646 w 188"/>
              <a:gd name="T29" fmla="*/ 2147483646 h 108"/>
              <a:gd name="T30" fmla="*/ 2147483646 w 188"/>
              <a:gd name="T31" fmla="*/ 2147483646 h 108"/>
              <a:gd name="T32" fmla="*/ 2147483646 w 188"/>
              <a:gd name="T33" fmla="*/ 2147483646 h 108"/>
              <a:gd name="T34" fmla="*/ 2147483646 w 188"/>
              <a:gd name="T35" fmla="*/ 2147483646 h 108"/>
              <a:gd name="T36" fmla="*/ 2147483646 w 188"/>
              <a:gd name="T37" fmla="*/ 2147483646 h 108"/>
              <a:gd name="T38" fmla="*/ 2147483646 w 188"/>
              <a:gd name="T39" fmla="*/ 2147483646 h 108"/>
              <a:gd name="T40" fmla="*/ 2147483646 w 188"/>
              <a:gd name="T41" fmla="*/ 2147483646 h 108"/>
              <a:gd name="T42" fmla="*/ 2147483646 w 188"/>
              <a:gd name="T43" fmla="*/ 2147483646 h 108"/>
              <a:gd name="T44" fmla="*/ 2147483646 w 188"/>
              <a:gd name="T45" fmla="*/ 2147483646 h 108"/>
              <a:gd name="T46" fmla="*/ 2147483646 w 188"/>
              <a:gd name="T47" fmla="*/ 2147483646 h 108"/>
              <a:gd name="T48" fmla="*/ 2147483646 w 188"/>
              <a:gd name="T49" fmla="*/ 2147483646 h 108"/>
              <a:gd name="T50" fmla="*/ 2147483646 w 188"/>
              <a:gd name="T51" fmla="*/ 2147483646 h 108"/>
              <a:gd name="T52" fmla="*/ 2147483646 w 188"/>
              <a:gd name="T53" fmla="*/ 2147483646 h 108"/>
              <a:gd name="T54" fmla="*/ 2147483646 w 188"/>
              <a:gd name="T55" fmla="*/ 2147483646 h 108"/>
              <a:gd name="T56" fmla="*/ 0 w 188"/>
              <a:gd name="T57" fmla="*/ 2147483646 h 108"/>
              <a:gd name="T58" fmla="*/ 2147483646 w 188"/>
              <a:gd name="T59" fmla="*/ 2147483646 h 108"/>
              <a:gd name="T60" fmla="*/ 2147483646 w 188"/>
              <a:gd name="T61" fmla="*/ 2147483646 h 108"/>
              <a:gd name="T62" fmla="*/ 2147483646 w 188"/>
              <a:gd name="T63" fmla="*/ 2147483646 h 108"/>
              <a:gd name="T64" fmla="*/ 2147483646 w 188"/>
              <a:gd name="T65" fmla="*/ 2147483646 h 108"/>
              <a:gd name="T66" fmla="*/ 2147483646 w 188"/>
              <a:gd name="T67" fmla="*/ 2147483646 h 108"/>
              <a:gd name="T68" fmla="*/ 2147483646 w 188"/>
              <a:gd name="T69" fmla="*/ 2147483646 h 108"/>
              <a:gd name="T70" fmla="*/ 2147483646 w 188"/>
              <a:gd name="T71" fmla="*/ 2147483646 h 108"/>
              <a:gd name="T72" fmla="*/ 2147483646 w 188"/>
              <a:gd name="T73" fmla="*/ 2147483646 h 108"/>
              <a:gd name="T74" fmla="*/ 2147483646 w 188"/>
              <a:gd name="T75" fmla="*/ 2147483646 h 108"/>
              <a:gd name="T76" fmla="*/ 2147483646 w 188"/>
              <a:gd name="T77" fmla="*/ 2147483646 h 108"/>
              <a:gd name="T78" fmla="*/ 2147483646 w 188"/>
              <a:gd name="T79" fmla="*/ 2147483646 h 108"/>
              <a:gd name="T80" fmla="*/ 2147483646 w 188"/>
              <a:gd name="T81" fmla="*/ 2147483646 h 108"/>
              <a:gd name="T82" fmla="*/ 2147483646 w 188"/>
              <a:gd name="T83" fmla="*/ 2147483646 h 108"/>
              <a:gd name="T84" fmla="*/ 2147483646 w 188"/>
              <a:gd name="T85" fmla="*/ 2147483646 h 108"/>
              <a:gd name="T86" fmla="*/ 2147483646 w 188"/>
              <a:gd name="T87" fmla="*/ 2147483646 h 108"/>
              <a:gd name="T88" fmla="*/ 2147483646 w 188"/>
              <a:gd name="T89" fmla="*/ 2147483646 h 108"/>
              <a:gd name="T90" fmla="*/ 2147483646 w 188"/>
              <a:gd name="T91" fmla="*/ 2147483646 h 108"/>
              <a:gd name="T92" fmla="*/ 2147483646 w 188"/>
              <a:gd name="T93" fmla="*/ 2147483646 h 108"/>
              <a:gd name="T94" fmla="*/ 2147483646 w 188"/>
              <a:gd name="T95" fmla="*/ 2147483646 h 108"/>
              <a:gd name="T96" fmla="*/ 2147483646 w 188"/>
              <a:gd name="T97" fmla="*/ 2147483646 h 108"/>
              <a:gd name="T98" fmla="*/ 2147483646 w 188"/>
              <a:gd name="T99" fmla="*/ 2147483646 h 108"/>
              <a:gd name="T100" fmla="*/ 2147483646 w 188"/>
              <a:gd name="T101" fmla="*/ 2147483646 h 108"/>
              <a:gd name="T102" fmla="*/ 2147483646 w 188"/>
              <a:gd name="T103" fmla="*/ 2147483646 h 108"/>
              <a:gd name="T104" fmla="*/ 2147483646 w 188"/>
              <a:gd name="T105" fmla="*/ 2147483646 h 108"/>
              <a:gd name="T106" fmla="*/ 2147483646 w 188"/>
              <a:gd name="T107" fmla="*/ 2147483646 h 108"/>
              <a:gd name="T108" fmla="*/ 2147483646 w 188"/>
              <a:gd name="T109" fmla="*/ 2147483646 h 108"/>
              <a:gd name="T110" fmla="*/ 2147483646 w 188"/>
              <a:gd name="T111" fmla="*/ 0 h 108"/>
              <a:gd name="T112" fmla="*/ 2147483646 w 188"/>
              <a:gd name="T113" fmla="*/ 2147483646 h 108"/>
              <a:gd name="T114" fmla="*/ 2147483646 w 188"/>
              <a:gd name="T115" fmla="*/ 2147483646 h 108"/>
              <a:gd name="T116" fmla="*/ 2147483646 w 188"/>
              <a:gd name="T117" fmla="*/ 2147483646 h 108"/>
              <a:gd name="T118" fmla="*/ 2147483646 w 188"/>
              <a:gd name="T119" fmla="*/ 2147483646 h 108"/>
              <a:gd name="T120" fmla="*/ 2147483646 w 188"/>
              <a:gd name="T121" fmla="*/ 2147483646 h 10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88"/>
              <a:gd name="T184" fmla="*/ 0 h 108"/>
              <a:gd name="T185" fmla="*/ 188 w 188"/>
              <a:gd name="T186" fmla="*/ 108 h 10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88" h="108">
                <a:moveTo>
                  <a:pt x="184" y="36"/>
                </a:moveTo>
                <a:cubicBezTo>
                  <a:pt x="185" y="41"/>
                  <a:pt x="188" y="46"/>
                  <a:pt x="186" y="51"/>
                </a:cubicBezTo>
                <a:cubicBezTo>
                  <a:pt x="184" y="55"/>
                  <a:pt x="179" y="57"/>
                  <a:pt x="178" y="61"/>
                </a:cubicBezTo>
                <a:cubicBezTo>
                  <a:pt x="178" y="64"/>
                  <a:pt x="181" y="66"/>
                  <a:pt x="179" y="70"/>
                </a:cubicBezTo>
                <a:cubicBezTo>
                  <a:pt x="175" y="77"/>
                  <a:pt x="166" y="80"/>
                  <a:pt x="165" y="88"/>
                </a:cubicBezTo>
                <a:cubicBezTo>
                  <a:pt x="164" y="91"/>
                  <a:pt x="166" y="96"/>
                  <a:pt x="162" y="98"/>
                </a:cubicBezTo>
                <a:cubicBezTo>
                  <a:pt x="159" y="99"/>
                  <a:pt x="157" y="96"/>
                  <a:pt x="156" y="94"/>
                </a:cubicBezTo>
                <a:cubicBezTo>
                  <a:pt x="154" y="95"/>
                  <a:pt x="153" y="97"/>
                  <a:pt x="152" y="98"/>
                </a:cubicBezTo>
                <a:cubicBezTo>
                  <a:pt x="149" y="97"/>
                  <a:pt x="145" y="97"/>
                  <a:pt x="142" y="97"/>
                </a:cubicBezTo>
                <a:cubicBezTo>
                  <a:pt x="138" y="96"/>
                  <a:pt x="137" y="96"/>
                  <a:pt x="134" y="99"/>
                </a:cubicBezTo>
                <a:cubicBezTo>
                  <a:pt x="131" y="101"/>
                  <a:pt x="128" y="106"/>
                  <a:pt x="124" y="107"/>
                </a:cubicBezTo>
                <a:cubicBezTo>
                  <a:pt x="117" y="108"/>
                  <a:pt x="110" y="103"/>
                  <a:pt x="103" y="103"/>
                </a:cubicBezTo>
                <a:cubicBezTo>
                  <a:pt x="102" y="104"/>
                  <a:pt x="102" y="104"/>
                  <a:pt x="102" y="104"/>
                </a:cubicBezTo>
                <a:cubicBezTo>
                  <a:pt x="102" y="103"/>
                  <a:pt x="102" y="103"/>
                  <a:pt x="102" y="103"/>
                </a:cubicBezTo>
                <a:cubicBezTo>
                  <a:pt x="101" y="102"/>
                  <a:pt x="99" y="102"/>
                  <a:pt x="97" y="101"/>
                </a:cubicBezTo>
                <a:cubicBezTo>
                  <a:pt x="95" y="100"/>
                  <a:pt x="93" y="98"/>
                  <a:pt x="91" y="97"/>
                </a:cubicBezTo>
                <a:cubicBezTo>
                  <a:pt x="88" y="96"/>
                  <a:pt x="88" y="96"/>
                  <a:pt x="86" y="96"/>
                </a:cubicBezTo>
                <a:cubicBezTo>
                  <a:pt x="82" y="97"/>
                  <a:pt x="80" y="98"/>
                  <a:pt x="76" y="97"/>
                </a:cubicBezTo>
                <a:cubicBezTo>
                  <a:pt x="71" y="96"/>
                  <a:pt x="68" y="90"/>
                  <a:pt x="65" y="86"/>
                </a:cubicBezTo>
                <a:cubicBezTo>
                  <a:pt x="64" y="85"/>
                  <a:pt x="63" y="84"/>
                  <a:pt x="62" y="84"/>
                </a:cubicBezTo>
                <a:cubicBezTo>
                  <a:pt x="61" y="84"/>
                  <a:pt x="60" y="85"/>
                  <a:pt x="59" y="85"/>
                </a:cubicBezTo>
                <a:cubicBezTo>
                  <a:pt x="57" y="85"/>
                  <a:pt x="56" y="84"/>
                  <a:pt x="54" y="84"/>
                </a:cubicBezTo>
                <a:cubicBezTo>
                  <a:pt x="49" y="84"/>
                  <a:pt x="45" y="88"/>
                  <a:pt x="41" y="90"/>
                </a:cubicBezTo>
                <a:cubicBezTo>
                  <a:pt x="36" y="93"/>
                  <a:pt x="33" y="92"/>
                  <a:pt x="29" y="90"/>
                </a:cubicBezTo>
                <a:cubicBezTo>
                  <a:pt x="26" y="89"/>
                  <a:pt x="23" y="89"/>
                  <a:pt x="21" y="89"/>
                </a:cubicBezTo>
                <a:cubicBezTo>
                  <a:pt x="21" y="89"/>
                  <a:pt x="20" y="88"/>
                  <a:pt x="19" y="88"/>
                </a:cubicBezTo>
                <a:cubicBezTo>
                  <a:pt x="17" y="88"/>
                  <a:pt x="16" y="94"/>
                  <a:pt x="13" y="93"/>
                </a:cubicBezTo>
                <a:cubicBezTo>
                  <a:pt x="11" y="93"/>
                  <a:pt x="10" y="88"/>
                  <a:pt x="9" y="87"/>
                </a:cubicBezTo>
                <a:cubicBezTo>
                  <a:pt x="7" y="84"/>
                  <a:pt x="3" y="85"/>
                  <a:pt x="0" y="85"/>
                </a:cubicBezTo>
                <a:cubicBezTo>
                  <a:pt x="0" y="80"/>
                  <a:pt x="4" y="75"/>
                  <a:pt x="5" y="70"/>
                </a:cubicBezTo>
                <a:cubicBezTo>
                  <a:pt x="6" y="67"/>
                  <a:pt x="5" y="67"/>
                  <a:pt x="2" y="66"/>
                </a:cubicBezTo>
                <a:cubicBezTo>
                  <a:pt x="2" y="66"/>
                  <a:pt x="8" y="65"/>
                  <a:pt x="9" y="66"/>
                </a:cubicBezTo>
                <a:cubicBezTo>
                  <a:pt x="11" y="66"/>
                  <a:pt x="13" y="68"/>
                  <a:pt x="15" y="69"/>
                </a:cubicBezTo>
                <a:cubicBezTo>
                  <a:pt x="16" y="70"/>
                  <a:pt x="17" y="72"/>
                  <a:pt x="19" y="72"/>
                </a:cubicBezTo>
                <a:cubicBezTo>
                  <a:pt x="20" y="72"/>
                  <a:pt x="22" y="70"/>
                  <a:pt x="24" y="70"/>
                </a:cubicBezTo>
                <a:cubicBezTo>
                  <a:pt x="25" y="69"/>
                  <a:pt x="27" y="67"/>
                  <a:pt x="28" y="65"/>
                </a:cubicBezTo>
                <a:cubicBezTo>
                  <a:pt x="29" y="65"/>
                  <a:pt x="30" y="62"/>
                  <a:pt x="31" y="62"/>
                </a:cubicBezTo>
                <a:cubicBezTo>
                  <a:pt x="34" y="61"/>
                  <a:pt x="40" y="68"/>
                  <a:pt x="42" y="69"/>
                </a:cubicBezTo>
                <a:cubicBezTo>
                  <a:pt x="46" y="72"/>
                  <a:pt x="51" y="66"/>
                  <a:pt x="55" y="64"/>
                </a:cubicBezTo>
                <a:cubicBezTo>
                  <a:pt x="58" y="61"/>
                  <a:pt x="63" y="58"/>
                  <a:pt x="67" y="56"/>
                </a:cubicBezTo>
                <a:cubicBezTo>
                  <a:pt x="70" y="55"/>
                  <a:pt x="71" y="55"/>
                  <a:pt x="74" y="57"/>
                </a:cubicBezTo>
                <a:cubicBezTo>
                  <a:pt x="77" y="58"/>
                  <a:pt x="79" y="59"/>
                  <a:pt x="82" y="58"/>
                </a:cubicBezTo>
                <a:cubicBezTo>
                  <a:pt x="82" y="58"/>
                  <a:pt x="83" y="57"/>
                  <a:pt x="84" y="57"/>
                </a:cubicBezTo>
                <a:cubicBezTo>
                  <a:pt x="85" y="56"/>
                  <a:pt x="86" y="57"/>
                  <a:pt x="87" y="57"/>
                </a:cubicBezTo>
                <a:cubicBezTo>
                  <a:pt x="89" y="58"/>
                  <a:pt x="91" y="59"/>
                  <a:pt x="93" y="60"/>
                </a:cubicBezTo>
                <a:cubicBezTo>
                  <a:pt x="93" y="56"/>
                  <a:pt x="91" y="52"/>
                  <a:pt x="90" y="49"/>
                </a:cubicBezTo>
                <a:cubicBezTo>
                  <a:pt x="89" y="46"/>
                  <a:pt x="87" y="45"/>
                  <a:pt x="84" y="43"/>
                </a:cubicBezTo>
                <a:cubicBezTo>
                  <a:pt x="86" y="39"/>
                  <a:pt x="92" y="35"/>
                  <a:pt x="96" y="32"/>
                </a:cubicBezTo>
                <a:cubicBezTo>
                  <a:pt x="97" y="30"/>
                  <a:pt x="98" y="29"/>
                  <a:pt x="100" y="30"/>
                </a:cubicBezTo>
                <a:cubicBezTo>
                  <a:pt x="101" y="30"/>
                  <a:pt x="101" y="31"/>
                  <a:pt x="102" y="32"/>
                </a:cubicBezTo>
                <a:cubicBezTo>
                  <a:pt x="102" y="24"/>
                  <a:pt x="108" y="18"/>
                  <a:pt x="108" y="18"/>
                </a:cubicBezTo>
                <a:cubicBezTo>
                  <a:pt x="109" y="19"/>
                  <a:pt x="110" y="20"/>
                  <a:pt x="111" y="20"/>
                </a:cubicBezTo>
                <a:cubicBezTo>
                  <a:pt x="113" y="22"/>
                  <a:pt x="119" y="25"/>
                  <a:pt x="121" y="25"/>
                </a:cubicBezTo>
                <a:cubicBezTo>
                  <a:pt x="125" y="26"/>
                  <a:pt x="131" y="16"/>
                  <a:pt x="135" y="14"/>
                </a:cubicBezTo>
                <a:cubicBezTo>
                  <a:pt x="138" y="12"/>
                  <a:pt x="138" y="12"/>
                  <a:pt x="140" y="10"/>
                </a:cubicBezTo>
                <a:cubicBezTo>
                  <a:pt x="142" y="7"/>
                  <a:pt x="144" y="0"/>
                  <a:pt x="148" y="0"/>
                </a:cubicBezTo>
                <a:cubicBezTo>
                  <a:pt x="153" y="0"/>
                  <a:pt x="156" y="11"/>
                  <a:pt x="163" y="11"/>
                </a:cubicBezTo>
                <a:cubicBezTo>
                  <a:pt x="167" y="12"/>
                  <a:pt x="173" y="10"/>
                  <a:pt x="178" y="9"/>
                </a:cubicBezTo>
                <a:cubicBezTo>
                  <a:pt x="183" y="9"/>
                  <a:pt x="183" y="9"/>
                  <a:pt x="186" y="13"/>
                </a:cubicBezTo>
                <a:cubicBezTo>
                  <a:pt x="186" y="14"/>
                  <a:pt x="186" y="14"/>
                  <a:pt x="186" y="14"/>
                </a:cubicBezTo>
                <a:cubicBezTo>
                  <a:pt x="186" y="21"/>
                  <a:pt x="187" y="30"/>
                  <a:pt x="185" y="3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0" name="Freeform 524"/>
          <p:cNvSpPr>
            <a:spLocks/>
          </p:cNvSpPr>
          <p:nvPr userDrawn="1"/>
        </p:nvSpPr>
        <p:spPr bwMode="auto">
          <a:xfrm>
            <a:off x="5837402" y="3701426"/>
            <a:ext cx="80404" cy="58628"/>
          </a:xfrm>
          <a:custGeom>
            <a:avLst/>
            <a:gdLst>
              <a:gd name="T0" fmla="*/ 2147483646 w 85"/>
              <a:gd name="T1" fmla="*/ 2147483646 h 63"/>
              <a:gd name="T2" fmla="*/ 2147483646 w 85"/>
              <a:gd name="T3" fmla="*/ 2147483646 h 63"/>
              <a:gd name="T4" fmla="*/ 2147483646 w 85"/>
              <a:gd name="T5" fmla="*/ 2147483646 h 63"/>
              <a:gd name="T6" fmla="*/ 2147483646 w 85"/>
              <a:gd name="T7" fmla="*/ 2147483646 h 63"/>
              <a:gd name="T8" fmla="*/ 2147483646 w 85"/>
              <a:gd name="T9" fmla="*/ 2147483646 h 63"/>
              <a:gd name="T10" fmla="*/ 2147483646 w 85"/>
              <a:gd name="T11" fmla="*/ 2147483646 h 63"/>
              <a:gd name="T12" fmla="*/ 2147483646 w 85"/>
              <a:gd name="T13" fmla="*/ 2147483646 h 63"/>
              <a:gd name="T14" fmla="*/ 2147483646 w 85"/>
              <a:gd name="T15" fmla="*/ 2147483646 h 63"/>
              <a:gd name="T16" fmla="*/ 2147483646 w 85"/>
              <a:gd name="T17" fmla="*/ 0 h 63"/>
              <a:gd name="T18" fmla="*/ 2147483646 w 85"/>
              <a:gd name="T19" fmla="*/ 0 h 63"/>
              <a:gd name="T20" fmla="*/ 2147483646 w 85"/>
              <a:gd name="T21" fmla="*/ 2147483646 h 63"/>
              <a:gd name="T22" fmla="*/ 2147483646 w 85"/>
              <a:gd name="T23" fmla="*/ 2147483646 h 63"/>
              <a:gd name="T24" fmla="*/ 2147483646 w 85"/>
              <a:gd name="T25" fmla="*/ 2147483646 h 63"/>
              <a:gd name="T26" fmla="*/ 2147483646 w 85"/>
              <a:gd name="T27" fmla="*/ 2147483646 h 63"/>
              <a:gd name="T28" fmla="*/ 2147483646 w 85"/>
              <a:gd name="T29" fmla="*/ 2147483646 h 63"/>
              <a:gd name="T30" fmla="*/ 2147483646 w 85"/>
              <a:gd name="T31" fmla="*/ 2147483646 h 63"/>
              <a:gd name="T32" fmla="*/ 2147483646 w 85"/>
              <a:gd name="T33" fmla="*/ 2147483646 h 63"/>
              <a:gd name="T34" fmla="*/ 2147483646 w 85"/>
              <a:gd name="T35" fmla="*/ 2147483646 h 63"/>
              <a:gd name="T36" fmla="*/ 2147483646 w 85"/>
              <a:gd name="T37" fmla="*/ 2147483646 h 63"/>
              <a:gd name="T38" fmla="*/ 2147483646 w 85"/>
              <a:gd name="T39" fmla="*/ 2147483646 h 63"/>
              <a:gd name="T40" fmla="*/ 2147483646 w 85"/>
              <a:gd name="T41" fmla="*/ 2147483646 h 63"/>
              <a:gd name="T42" fmla="*/ 2147483646 w 85"/>
              <a:gd name="T43" fmla="*/ 2147483646 h 63"/>
              <a:gd name="T44" fmla="*/ 2147483646 w 85"/>
              <a:gd name="T45" fmla="*/ 2147483646 h 63"/>
              <a:gd name="T46" fmla="*/ 2147483646 w 85"/>
              <a:gd name="T47" fmla="*/ 2147483646 h 63"/>
              <a:gd name="T48" fmla="*/ 2147483646 w 85"/>
              <a:gd name="T49" fmla="*/ 2147483646 h 63"/>
              <a:gd name="T50" fmla="*/ 2147483646 w 85"/>
              <a:gd name="T51" fmla="*/ 2147483646 h 63"/>
              <a:gd name="T52" fmla="*/ 2147483646 w 85"/>
              <a:gd name="T53" fmla="*/ 2147483646 h 63"/>
              <a:gd name="T54" fmla="*/ 2147483646 w 85"/>
              <a:gd name="T55" fmla="*/ 2147483646 h 63"/>
              <a:gd name="T56" fmla="*/ 2147483646 w 85"/>
              <a:gd name="T57" fmla="*/ 2147483646 h 63"/>
              <a:gd name="T58" fmla="*/ 2147483646 w 85"/>
              <a:gd name="T59" fmla="*/ 2147483646 h 63"/>
              <a:gd name="T60" fmla="*/ 2147483646 w 85"/>
              <a:gd name="T61" fmla="*/ 2147483646 h 6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5"/>
              <a:gd name="T94" fmla="*/ 0 h 63"/>
              <a:gd name="T95" fmla="*/ 85 w 85"/>
              <a:gd name="T96" fmla="*/ 63 h 63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85" h="63">
                <a:moveTo>
                  <a:pt x="5" y="20"/>
                </a:moveTo>
                <a:cubicBezTo>
                  <a:pt x="12" y="20"/>
                  <a:pt x="19" y="25"/>
                  <a:pt x="26" y="24"/>
                </a:cubicBezTo>
                <a:cubicBezTo>
                  <a:pt x="30" y="23"/>
                  <a:pt x="33" y="18"/>
                  <a:pt x="36" y="16"/>
                </a:cubicBezTo>
                <a:cubicBezTo>
                  <a:pt x="39" y="13"/>
                  <a:pt x="40" y="13"/>
                  <a:pt x="44" y="14"/>
                </a:cubicBezTo>
                <a:cubicBezTo>
                  <a:pt x="47" y="14"/>
                  <a:pt x="51" y="14"/>
                  <a:pt x="54" y="15"/>
                </a:cubicBezTo>
                <a:cubicBezTo>
                  <a:pt x="55" y="14"/>
                  <a:pt x="56" y="12"/>
                  <a:pt x="58" y="11"/>
                </a:cubicBezTo>
                <a:cubicBezTo>
                  <a:pt x="59" y="13"/>
                  <a:pt x="61" y="16"/>
                  <a:pt x="64" y="15"/>
                </a:cubicBezTo>
                <a:cubicBezTo>
                  <a:pt x="68" y="13"/>
                  <a:pt x="66" y="8"/>
                  <a:pt x="67" y="5"/>
                </a:cubicBezTo>
                <a:cubicBezTo>
                  <a:pt x="67" y="3"/>
                  <a:pt x="68" y="1"/>
                  <a:pt x="69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73" y="5"/>
                  <a:pt x="76" y="11"/>
                  <a:pt x="80" y="15"/>
                </a:cubicBezTo>
                <a:cubicBezTo>
                  <a:pt x="85" y="18"/>
                  <a:pt x="85" y="18"/>
                  <a:pt x="85" y="18"/>
                </a:cubicBezTo>
                <a:cubicBezTo>
                  <a:pt x="81" y="20"/>
                  <a:pt x="77" y="22"/>
                  <a:pt x="74" y="23"/>
                </a:cubicBezTo>
                <a:cubicBezTo>
                  <a:pt x="71" y="24"/>
                  <a:pt x="69" y="26"/>
                  <a:pt x="67" y="27"/>
                </a:cubicBezTo>
                <a:cubicBezTo>
                  <a:pt x="65" y="28"/>
                  <a:pt x="59" y="30"/>
                  <a:pt x="58" y="31"/>
                </a:cubicBezTo>
                <a:cubicBezTo>
                  <a:pt x="56" y="35"/>
                  <a:pt x="63" y="40"/>
                  <a:pt x="63" y="44"/>
                </a:cubicBezTo>
                <a:cubicBezTo>
                  <a:pt x="62" y="47"/>
                  <a:pt x="56" y="48"/>
                  <a:pt x="54" y="49"/>
                </a:cubicBezTo>
                <a:cubicBezTo>
                  <a:pt x="53" y="53"/>
                  <a:pt x="53" y="57"/>
                  <a:pt x="55" y="61"/>
                </a:cubicBezTo>
                <a:cubicBezTo>
                  <a:pt x="46" y="61"/>
                  <a:pt x="38" y="62"/>
                  <a:pt x="32" y="54"/>
                </a:cubicBezTo>
                <a:cubicBezTo>
                  <a:pt x="29" y="56"/>
                  <a:pt x="30" y="61"/>
                  <a:pt x="28" y="62"/>
                </a:cubicBezTo>
                <a:cubicBezTo>
                  <a:pt x="27" y="63"/>
                  <a:pt x="23" y="62"/>
                  <a:pt x="22" y="62"/>
                </a:cubicBezTo>
                <a:cubicBezTo>
                  <a:pt x="18" y="62"/>
                  <a:pt x="5" y="58"/>
                  <a:pt x="4" y="60"/>
                </a:cubicBezTo>
                <a:cubicBezTo>
                  <a:pt x="4" y="58"/>
                  <a:pt x="4" y="58"/>
                  <a:pt x="4" y="58"/>
                </a:cubicBezTo>
                <a:cubicBezTo>
                  <a:pt x="5" y="57"/>
                  <a:pt x="6" y="55"/>
                  <a:pt x="6" y="52"/>
                </a:cubicBezTo>
                <a:cubicBezTo>
                  <a:pt x="7" y="49"/>
                  <a:pt x="7" y="48"/>
                  <a:pt x="6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4" y="45"/>
                  <a:pt x="2" y="42"/>
                  <a:pt x="3" y="40"/>
                </a:cubicBezTo>
                <a:cubicBezTo>
                  <a:pt x="3" y="38"/>
                  <a:pt x="6" y="37"/>
                  <a:pt x="6" y="35"/>
                </a:cubicBezTo>
                <a:cubicBezTo>
                  <a:pt x="0" y="34"/>
                  <a:pt x="2" y="27"/>
                  <a:pt x="3" y="24"/>
                </a:cubicBezTo>
                <a:cubicBezTo>
                  <a:pt x="4" y="22"/>
                  <a:pt x="5" y="21"/>
                  <a:pt x="4" y="21"/>
                </a:cubicBezTo>
                <a:lnTo>
                  <a:pt x="5" y="2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Freeform 525"/>
          <p:cNvSpPr>
            <a:spLocks/>
          </p:cNvSpPr>
          <p:nvPr userDrawn="1"/>
        </p:nvSpPr>
        <p:spPr bwMode="auto">
          <a:xfrm>
            <a:off x="5840751" y="3718176"/>
            <a:ext cx="139032" cy="125632"/>
          </a:xfrm>
          <a:custGeom>
            <a:avLst/>
            <a:gdLst>
              <a:gd name="T0" fmla="*/ 2147483646 w 148"/>
              <a:gd name="T1" fmla="*/ 2147483646 h 134"/>
              <a:gd name="T2" fmla="*/ 2147483646 w 148"/>
              <a:gd name="T3" fmla="*/ 2147483646 h 134"/>
              <a:gd name="T4" fmla="*/ 2147483646 w 148"/>
              <a:gd name="T5" fmla="*/ 2147483646 h 134"/>
              <a:gd name="T6" fmla="*/ 2147483646 w 148"/>
              <a:gd name="T7" fmla="*/ 2147483646 h 134"/>
              <a:gd name="T8" fmla="*/ 2147483646 w 148"/>
              <a:gd name="T9" fmla="*/ 2147483646 h 134"/>
              <a:gd name="T10" fmla="*/ 2147483646 w 148"/>
              <a:gd name="T11" fmla="*/ 2147483646 h 134"/>
              <a:gd name="T12" fmla="*/ 2147483646 w 148"/>
              <a:gd name="T13" fmla="*/ 2147483646 h 134"/>
              <a:gd name="T14" fmla="*/ 2147483646 w 148"/>
              <a:gd name="T15" fmla="*/ 2147483646 h 134"/>
              <a:gd name="T16" fmla="*/ 2147483646 w 148"/>
              <a:gd name="T17" fmla="*/ 2147483646 h 134"/>
              <a:gd name="T18" fmla="*/ 2147483646 w 148"/>
              <a:gd name="T19" fmla="*/ 2147483646 h 134"/>
              <a:gd name="T20" fmla="*/ 2147483646 w 148"/>
              <a:gd name="T21" fmla="*/ 2147483646 h 134"/>
              <a:gd name="T22" fmla="*/ 2147483646 w 148"/>
              <a:gd name="T23" fmla="*/ 2147483646 h 134"/>
              <a:gd name="T24" fmla="*/ 2147483646 w 148"/>
              <a:gd name="T25" fmla="*/ 2147483646 h 134"/>
              <a:gd name="T26" fmla="*/ 2147483646 w 148"/>
              <a:gd name="T27" fmla="*/ 2147483646 h 134"/>
              <a:gd name="T28" fmla="*/ 2147483646 w 148"/>
              <a:gd name="T29" fmla="*/ 2147483646 h 134"/>
              <a:gd name="T30" fmla="*/ 2147483646 w 148"/>
              <a:gd name="T31" fmla="*/ 2147483646 h 134"/>
              <a:gd name="T32" fmla="*/ 2147483646 w 148"/>
              <a:gd name="T33" fmla="*/ 2147483646 h 134"/>
              <a:gd name="T34" fmla="*/ 2147483646 w 148"/>
              <a:gd name="T35" fmla="*/ 2147483646 h 134"/>
              <a:gd name="T36" fmla="*/ 2147483646 w 148"/>
              <a:gd name="T37" fmla="*/ 2147483646 h 134"/>
              <a:gd name="T38" fmla="*/ 2147483646 w 148"/>
              <a:gd name="T39" fmla="*/ 2147483646 h 134"/>
              <a:gd name="T40" fmla="*/ 2147483646 w 148"/>
              <a:gd name="T41" fmla="*/ 2147483646 h 134"/>
              <a:gd name="T42" fmla="*/ 2147483646 w 148"/>
              <a:gd name="T43" fmla="*/ 2147483646 h 134"/>
              <a:gd name="T44" fmla="*/ 2147483646 w 148"/>
              <a:gd name="T45" fmla="*/ 0 h 134"/>
              <a:gd name="T46" fmla="*/ 2147483646 w 148"/>
              <a:gd name="T47" fmla="*/ 0 h 134"/>
              <a:gd name="T48" fmla="*/ 2147483646 w 148"/>
              <a:gd name="T49" fmla="*/ 2147483646 h 134"/>
              <a:gd name="T50" fmla="*/ 2147483646 w 148"/>
              <a:gd name="T51" fmla="*/ 2147483646 h 134"/>
              <a:gd name="T52" fmla="*/ 2147483646 w 148"/>
              <a:gd name="T53" fmla="*/ 2147483646 h 134"/>
              <a:gd name="T54" fmla="*/ 2147483646 w 148"/>
              <a:gd name="T55" fmla="*/ 2147483646 h 134"/>
              <a:gd name="T56" fmla="*/ 2147483646 w 148"/>
              <a:gd name="T57" fmla="*/ 2147483646 h 134"/>
              <a:gd name="T58" fmla="*/ 2147483646 w 148"/>
              <a:gd name="T59" fmla="*/ 2147483646 h 134"/>
              <a:gd name="T60" fmla="*/ 2147483646 w 148"/>
              <a:gd name="T61" fmla="*/ 2147483646 h 134"/>
              <a:gd name="T62" fmla="*/ 2147483646 w 148"/>
              <a:gd name="T63" fmla="*/ 2147483646 h 134"/>
              <a:gd name="T64" fmla="*/ 2147483646 w 148"/>
              <a:gd name="T65" fmla="*/ 2147483646 h 134"/>
              <a:gd name="T66" fmla="*/ 2147483646 w 148"/>
              <a:gd name="T67" fmla="*/ 2147483646 h 134"/>
              <a:gd name="T68" fmla="*/ 2147483646 w 148"/>
              <a:gd name="T69" fmla="*/ 2147483646 h 134"/>
              <a:gd name="T70" fmla="*/ 2147483646 w 148"/>
              <a:gd name="T71" fmla="*/ 2147483646 h 134"/>
              <a:gd name="T72" fmla="*/ 2147483646 w 148"/>
              <a:gd name="T73" fmla="*/ 2147483646 h 134"/>
              <a:gd name="T74" fmla="*/ 2147483646 w 148"/>
              <a:gd name="T75" fmla="*/ 2147483646 h 134"/>
              <a:gd name="T76" fmla="*/ 2147483646 w 148"/>
              <a:gd name="T77" fmla="*/ 2147483646 h 134"/>
              <a:gd name="T78" fmla="*/ 2147483646 w 148"/>
              <a:gd name="T79" fmla="*/ 2147483646 h 134"/>
              <a:gd name="T80" fmla="*/ 2147483646 w 148"/>
              <a:gd name="T81" fmla="*/ 2147483646 h 134"/>
              <a:gd name="T82" fmla="*/ 2147483646 w 148"/>
              <a:gd name="T83" fmla="*/ 2147483646 h 134"/>
              <a:gd name="T84" fmla="*/ 2147483646 w 148"/>
              <a:gd name="T85" fmla="*/ 2147483646 h 134"/>
              <a:gd name="T86" fmla="*/ 2147483646 w 148"/>
              <a:gd name="T87" fmla="*/ 2147483646 h 134"/>
              <a:gd name="T88" fmla="*/ 2147483646 w 148"/>
              <a:gd name="T89" fmla="*/ 2147483646 h 134"/>
              <a:gd name="T90" fmla="*/ 2147483646 w 148"/>
              <a:gd name="T91" fmla="*/ 2147483646 h 134"/>
              <a:gd name="T92" fmla="*/ 2147483646 w 148"/>
              <a:gd name="T93" fmla="*/ 2147483646 h 134"/>
              <a:gd name="T94" fmla="*/ 2147483646 w 148"/>
              <a:gd name="T95" fmla="*/ 2147483646 h 134"/>
              <a:gd name="T96" fmla="*/ 2147483646 w 148"/>
              <a:gd name="T97" fmla="*/ 2147483646 h 134"/>
              <a:gd name="T98" fmla="*/ 2147483646 w 148"/>
              <a:gd name="T99" fmla="*/ 2147483646 h 134"/>
              <a:gd name="T100" fmla="*/ 2147483646 w 148"/>
              <a:gd name="T101" fmla="*/ 2147483646 h 13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48"/>
              <a:gd name="T154" fmla="*/ 0 h 134"/>
              <a:gd name="T155" fmla="*/ 148 w 148"/>
              <a:gd name="T156" fmla="*/ 134 h 13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48" h="134">
                <a:moveTo>
                  <a:pt x="107" y="134"/>
                </a:moveTo>
                <a:cubicBezTo>
                  <a:pt x="109" y="129"/>
                  <a:pt x="105" y="127"/>
                  <a:pt x="101" y="122"/>
                </a:cubicBezTo>
                <a:cubicBezTo>
                  <a:pt x="95" y="115"/>
                  <a:pt x="92" y="106"/>
                  <a:pt x="84" y="100"/>
                </a:cubicBezTo>
                <a:cubicBezTo>
                  <a:pt x="81" y="99"/>
                  <a:pt x="78" y="98"/>
                  <a:pt x="77" y="95"/>
                </a:cubicBezTo>
                <a:cubicBezTo>
                  <a:pt x="75" y="92"/>
                  <a:pt x="77" y="88"/>
                  <a:pt x="75" y="84"/>
                </a:cubicBezTo>
                <a:cubicBezTo>
                  <a:pt x="72" y="75"/>
                  <a:pt x="55" y="70"/>
                  <a:pt x="58" y="60"/>
                </a:cubicBezTo>
                <a:cubicBezTo>
                  <a:pt x="59" y="57"/>
                  <a:pt x="61" y="52"/>
                  <a:pt x="63" y="52"/>
                </a:cubicBezTo>
                <a:cubicBezTo>
                  <a:pt x="64" y="52"/>
                  <a:pt x="68" y="55"/>
                  <a:pt x="69" y="55"/>
                </a:cubicBezTo>
                <a:cubicBezTo>
                  <a:pt x="76" y="56"/>
                  <a:pt x="83" y="53"/>
                  <a:pt x="89" y="52"/>
                </a:cubicBezTo>
                <a:cubicBezTo>
                  <a:pt x="96" y="52"/>
                  <a:pt x="97" y="55"/>
                  <a:pt x="102" y="59"/>
                </a:cubicBezTo>
                <a:cubicBezTo>
                  <a:pt x="109" y="62"/>
                  <a:pt x="112" y="57"/>
                  <a:pt x="118" y="56"/>
                </a:cubicBezTo>
                <a:cubicBezTo>
                  <a:pt x="124" y="56"/>
                  <a:pt x="128" y="61"/>
                  <a:pt x="132" y="65"/>
                </a:cubicBezTo>
                <a:cubicBezTo>
                  <a:pt x="139" y="71"/>
                  <a:pt x="138" y="62"/>
                  <a:pt x="145" y="61"/>
                </a:cubicBezTo>
                <a:cubicBezTo>
                  <a:pt x="146" y="57"/>
                  <a:pt x="148" y="52"/>
                  <a:pt x="148" y="48"/>
                </a:cubicBezTo>
                <a:cubicBezTo>
                  <a:pt x="146" y="48"/>
                  <a:pt x="143" y="48"/>
                  <a:pt x="141" y="48"/>
                </a:cubicBezTo>
                <a:cubicBezTo>
                  <a:pt x="141" y="45"/>
                  <a:pt x="142" y="38"/>
                  <a:pt x="138" y="37"/>
                </a:cubicBezTo>
                <a:cubicBezTo>
                  <a:pt x="139" y="35"/>
                  <a:pt x="141" y="32"/>
                  <a:pt x="141" y="30"/>
                </a:cubicBezTo>
                <a:cubicBezTo>
                  <a:pt x="142" y="28"/>
                  <a:pt x="139" y="24"/>
                  <a:pt x="138" y="23"/>
                </a:cubicBezTo>
                <a:cubicBezTo>
                  <a:pt x="138" y="22"/>
                  <a:pt x="138" y="22"/>
                  <a:pt x="138" y="22"/>
                </a:cubicBezTo>
                <a:cubicBezTo>
                  <a:pt x="134" y="24"/>
                  <a:pt x="129" y="25"/>
                  <a:pt x="125" y="25"/>
                </a:cubicBezTo>
                <a:cubicBezTo>
                  <a:pt x="121" y="25"/>
                  <a:pt x="114" y="16"/>
                  <a:pt x="111" y="25"/>
                </a:cubicBezTo>
                <a:cubicBezTo>
                  <a:pt x="102" y="20"/>
                  <a:pt x="95" y="13"/>
                  <a:pt x="88" y="6"/>
                </a:cubicBezTo>
                <a:cubicBezTo>
                  <a:pt x="86" y="3"/>
                  <a:pt x="84" y="2"/>
                  <a:pt x="81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7" y="1"/>
                  <a:pt x="74" y="3"/>
                  <a:pt x="70" y="4"/>
                </a:cubicBezTo>
                <a:cubicBezTo>
                  <a:pt x="68" y="5"/>
                  <a:pt x="66" y="7"/>
                  <a:pt x="64" y="8"/>
                </a:cubicBezTo>
                <a:cubicBezTo>
                  <a:pt x="62" y="9"/>
                  <a:pt x="56" y="11"/>
                  <a:pt x="55" y="12"/>
                </a:cubicBezTo>
                <a:cubicBezTo>
                  <a:pt x="53" y="16"/>
                  <a:pt x="60" y="21"/>
                  <a:pt x="60" y="25"/>
                </a:cubicBezTo>
                <a:cubicBezTo>
                  <a:pt x="59" y="28"/>
                  <a:pt x="53" y="29"/>
                  <a:pt x="51" y="30"/>
                </a:cubicBezTo>
                <a:cubicBezTo>
                  <a:pt x="50" y="34"/>
                  <a:pt x="50" y="38"/>
                  <a:pt x="52" y="42"/>
                </a:cubicBezTo>
                <a:cubicBezTo>
                  <a:pt x="42" y="42"/>
                  <a:pt x="35" y="43"/>
                  <a:pt x="29" y="35"/>
                </a:cubicBezTo>
                <a:cubicBezTo>
                  <a:pt x="26" y="37"/>
                  <a:pt x="27" y="42"/>
                  <a:pt x="25" y="43"/>
                </a:cubicBezTo>
                <a:cubicBezTo>
                  <a:pt x="24" y="44"/>
                  <a:pt x="20" y="43"/>
                  <a:pt x="19" y="43"/>
                </a:cubicBezTo>
                <a:cubicBezTo>
                  <a:pt x="15" y="43"/>
                  <a:pt x="2" y="39"/>
                  <a:pt x="1" y="41"/>
                </a:cubicBezTo>
                <a:cubicBezTo>
                  <a:pt x="1" y="42"/>
                  <a:pt x="1" y="42"/>
                  <a:pt x="1" y="42"/>
                </a:cubicBezTo>
                <a:cubicBezTo>
                  <a:pt x="0" y="46"/>
                  <a:pt x="0" y="48"/>
                  <a:pt x="2" y="49"/>
                </a:cubicBezTo>
                <a:cubicBezTo>
                  <a:pt x="4" y="52"/>
                  <a:pt x="2" y="54"/>
                  <a:pt x="6" y="60"/>
                </a:cubicBezTo>
                <a:cubicBezTo>
                  <a:pt x="10" y="66"/>
                  <a:pt x="11" y="71"/>
                  <a:pt x="15" y="64"/>
                </a:cubicBezTo>
                <a:cubicBezTo>
                  <a:pt x="18" y="58"/>
                  <a:pt x="18" y="57"/>
                  <a:pt x="20" y="51"/>
                </a:cubicBezTo>
                <a:cubicBezTo>
                  <a:pt x="22" y="45"/>
                  <a:pt x="22" y="44"/>
                  <a:pt x="26" y="49"/>
                </a:cubicBezTo>
                <a:cubicBezTo>
                  <a:pt x="31" y="54"/>
                  <a:pt x="37" y="57"/>
                  <a:pt x="38" y="61"/>
                </a:cubicBezTo>
                <a:cubicBezTo>
                  <a:pt x="40" y="65"/>
                  <a:pt x="34" y="59"/>
                  <a:pt x="36" y="66"/>
                </a:cubicBezTo>
                <a:cubicBezTo>
                  <a:pt x="39" y="74"/>
                  <a:pt x="44" y="79"/>
                  <a:pt x="46" y="81"/>
                </a:cubicBezTo>
                <a:cubicBezTo>
                  <a:pt x="48" y="84"/>
                  <a:pt x="54" y="88"/>
                  <a:pt x="47" y="87"/>
                </a:cubicBezTo>
                <a:cubicBezTo>
                  <a:pt x="40" y="87"/>
                  <a:pt x="38" y="87"/>
                  <a:pt x="44" y="92"/>
                </a:cubicBezTo>
                <a:cubicBezTo>
                  <a:pt x="51" y="98"/>
                  <a:pt x="55" y="101"/>
                  <a:pt x="59" y="105"/>
                </a:cubicBezTo>
                <a:cubicBezTo>
                  <a:pt x="63" y="110"/>
                  <a:pt x="62" y="111"/>
                  <a:pt x="66" y="114"/>
                </a:cubicBezTo>
                <a:cubicBezTo>
                  <a:pt x="70" y="117"/>
                  <a:pt x="73" y="116"/>
                  <a:pt x="78" y="116"/>
                </a:cubicBezTo>
                <a:cubicBezTo>
                  <a:pt x="82" y="117"/>
                  <a:pt x="80" y="111"/>
                  <a:pt x="86" y="118"/>
                </a:cubicBezTo>
                <a:cubicBezTo>
                  <a:pt x="91" y="125"/>
                  <a:pt x="92" y="128"/>
                  <a:pt x="97" y="130"/>
                </a:cubicBezTo>
                <a:cubicBezTo>
                  <a:pt x="101" y="133"/>
                  <a:pt x="102" y="129"/>
                  <a:pt x="107" y="13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2" name="Freeform 526"/>
          <p:cNvSpPr>
            <a:spLocks/>
          </p:cNvSpPr>
          <p:nvPr userDrawn="1"/>
        </p:nvSpPr>
        <p:spPr bwMode="auto">
          <a:xfrm>
            <a:off x="5892679" y="3766754"/>
            <a:ext cx="97156" cy="88780"/>
          </a:xfrm>
          <a:custGeom>
            <a:avLst/>
            <a:gdLst>
              <a:gd name="T0" fmla="*/ 2147483646 w 105"/>
              <a:gd name="T1" fmla="*/ 2147483646 h 95"/>
              <a:gd name="T2" fmla="*/ 2147483646 w 105"/>
              <a:gd name="T3" fmla="*/ 2147483646 h 95"/>
              <a:gd name="T4" fmla="*/ 2147483646 w 105"/>
              <a:gd name="T5" fmla="*/ 2147483646 h 95"/>
              <a:gd name="T6" fmla="*/ 2147483646 w 105"/>
              <a:gd name="T7" fmla="*/ 2147483646 h 95"/>
              <a:gd name="T8" fmla="*/ 2147483646 w 105"/>
              <a:gd name="T9" fmla="*/ 0 h 95"/>
              <a:gd name="T10" fmla="*/ 2147483646 w 105"/>
              <a:gd name="T11" fmla="*/ 2147483646 h 95"/>
              <a:gd name="T12" fmla="*/ 2147483646 w 105"/>
              <a:gd name="T13" fmla="*/ 0 h 95"/>
              <a:gd name="T14" fmla="*/ 2147483646 w 105"/>
              <a:gd name="T15" fmla="*/ 2147483646 h 95"/>
              <a:gd name="T16" fmla="*/ 2147483646 w 105"/>
              <a:gd name="T17" fmla="*/ 2147483646 h 95"/>
              <a:gd name="T18" fmla="*/ 2147483646 w 105"/>
              <a:gd name="T19" fmla="*/ 2147483646 h 95"/>
              <a:gd name="T20" fmla="*/ 2147483646 w 105"/>
              <a:gd name="T21" fmla="*/ 2147483646 h 95"/>
              <a:gd name="T22" fmla="*/ 2147483646 w 105"/>
              <a:gd name="T23" fmla="*/ 2147483646 h 95"/>
              <a:gd name="T24" fmla="*/ 2147483646 w 105"/>
              <a:gd name="T25" fmla="*/ 2147483646 h 95"/>
              <a:gd name="T26" fmla="*/ 2147483646 w 105"/>
              <a:gd name="T27" fmla="*/ 2147483646 h 95"/>
              <a:gd name="T28" fmla="*/ 2147483646 w 105"/>
              <a:gd name="T29" fmla="*/ 2147483646 h 95"/>
              <a:gd name="T30" fmla="*/ 2147483646 w 105"/>
              <a:gd name="T31" fmla="*/ 2147483646 h 95"/>
              <a:gd name="T32" fmla="*/ 2147483646 w 105"/>
              <a:gd name="T33" fmla="*/ 2147483646 h 95"/>
              <a:gd name="T34" fmla="*/ 2147483646 w 105"/>
              <a:gd name="T35" fmla="*/ 2147483646 h 95"/>
              <a:gd name="T36" fmla="*/ 2147483646 w 105"/>
              <a:gd name="T37" fmla="*/ 2147483646 h 95"/>
              <a:gd name="T38" fmla="*/ 2147483646 w 105"/>
              <a:gd name="T39" fmla="*/ 2147483646 h 95"/>
              <a:gd name="T40" fmla="*/ 2147483646 w 105"/>
              <a:gd name="T41" fmla="*/ 2147483646 h 95"/>
              <a:gd name="T42" fmla="*/ 2147483646 w 105"/>
              <a:gd name="T43" fmla="*/ 2147483646 h 95"/>
              <a:gd name="T44" fmla="*/ 2147483646 w 105"/>
              <a:gd name="T45" fmla="*/ 2147483646 h 95"/>
              <a:gd name="T46" fmla="*/ 2147483646 w 105"/>
              <a:gd name="T47" fmla="*/ 2147483646 h 95"/>
              <a:gd name="T48" fmla="*/ 2147483646 w 105"/>
              <a:gd name="T49" fmla="*/ 2147483646 h 95"/>
              <a:gd name="T50" fmla="*/ 2147483646 w 105"/>
              <a:gd name="T51" fmla="*/ 2147483646 h 95"/>
              <a:gd name="T52" fmla="*/ 2147483646 w 105"/>
              <a:gd name="T53" fmla="*/ 2147483646 h 9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05"/>
              <a:gd name="T82" fmla="*/ 0 h 95"/>
              <a:gd name="T83" fmla="*/ 105 w 105"/>
              <a:gd name="T84" fmla="*/ 95 h 95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05" h="95">
                <a:moveTo>
                  <a:pt x="90" y="9"/>
                </a:moveTo>
                <a:cubicBezTo>
                  <a:pt x="83" y="10"/>
                  <a:pt x="84" y="19"/>
                  <a:pt x="77" y="13"/>
                </a:cubicBezTo>
                <a:cubicBezTo>
                  <a:pt x="73" y="9"/>
                  <a:pt x="69" y="4"/>
                  <a:pt x="63" y="4"/>
                </a:cubicBezTo>
                <a:cubicBezTo>
                  <a:pt x="57" y="5"/>
                  <a:pt x="54" y="10"/>
                  <a:pt x="47" y="7"/>
                </a:cubicBezTo>
                <a:cubicBezTo>
                  <a:pt x="42" y="3"/>
                  <a:pt x="41" y="0"/>
                  <a:pt x="34" y="0"/>
                </a:cubicBezTo>
                <a:cubicBezTo>
                  <a:pt x="28" y="1"/>
                  <a:pt x="21" y="4"/>
                  <a:pt x="14" y="3"/>
                </a:cubicBezTo>
                <a:cubicBezTo>
                  <a:pt x="13" y="3"/>
                  <a:pt x="9" y="0"/>
                  <a:pt x="8" y="0"/>
                </a:cubicBezTo>
                <a:cubicBezTo>
                  <a:pt x="6" y="0"/>
                  <a:pt x="4" y="5"/>
                  <a:pt x="3" y="8"/>
                </a:cubicBezTo>
                <a:cubicBezTo>
                  <a:pt x="0" y="18"/>
                  <a:pt x="17" y="23"/>
                  <a:pt x="20" y="32"/>
                </a:cubicBezTo>
                <a:cubicBezTo>
                  <a:pt x="22" y="36"/>
                  <a:pt x="20" y="40"/>
                  <a:pt x="22" y="43"/>
                </a:cubicBezTo>
                <a:cubicBezTo>
                  <a:pt x="23" y="46"/>
                  <a:pt x="26" y="47"/>
                  <a:pt x="29" y="48"/>
                </a:cubicBezTo>
                <a:cubicBezTo>
                  <a:pt x="37" y="54"/>
                  <a:pt x="40" y="63"/>
                  <a:pt x="46" y="70"/>
                </a:cubicBezTo>
                <a:cubicBezTo>
                  <a:pt x="50" y="75"/>
                  <a:pt x="54" y="77"/>
                  <a:pt x="52" y="82"/>
                </a:cubicBezTo>
                <a:cubicBezTo>
                  <a:pt x="53" y="82"/>
                  <a:pt x="53" y="82"/>
                  <a:pt x="53" y="82"/>
                </a:cubicBezTo>
                <a:cubicBezTo>
                  <a:pt x="55" y="82"/>
                  <a:pt x="55" y="82"/>
                  <a:pt x="55" y="82"/>
                </a:cubicBezTo>
                <a:cubicBezTo>
                  <a:pt x="64" y="82"/>
                  <a:pt x="69" y="91"/>
                  <a:pt x="74" y="95"/>
                </a:cubicBezTo>
                <a:cubicBezTo>
                  <a:pt x="75" y="86"/>
                  <a:pt x="80" y="78"/>
                  <a:pt x="81" y="70"/>
                </a:cubicBezTo>
                <a:cubicBezTo>
                  <a:pt x="83" y="70"/>
                  <a:pt x="86" y="70"/>
                  <a:pt x="87" y="69"/>
                </a:cubicBezTo>
                <a:cubicBezTo>
                  <a:pt x="89" y="68"/>
                  <a:pt x="87" y="67"/>
                  <a:pt x="88" y="65"/>
                </a:cubicBezTo>
                <a:cubicBezTo>
                  <a:pt x="90" y="63"/>
                  <a:pt x="90" y="63"/>
                  <a:pt x="91" y="62"/>
                </a:cubicBezTo>
                <a:cubicBezTo>
                  <a:pt x="93" y="61"/>
                  <a:pt x="98" y="60"/>
                  <a:pt x="99" y="58"/>
                </a:cubicBezTo>
                <a:cubicBezTo>
                  <a:pt x="101" y="53"/>
                  <a:pt x="93" y="50"/>
                  <a:pt x="93" y="45"/>
                </a:cubicBezTo>
                <a:cubicBezTo>
                  <a:pt x="94" y="40"/>
                  <a:pt x="103" y="42"/>
                  <a:pt x="105" y="39"/>
                </a:cubicBezTo>
                <a:cubicBezTo>
                  <a:pt x="102" y="36"/>
                  <a:pt x="96" y="34"/>
                  <a:pt x="94" y="29"/>
                </a:cubicBezTo>
                <a:cubicBezTo>
                  <a:pt x="92" y="25"/>
                  <a:pt x="94" y="24"/>
                  <a:pt x="95" y="20"/>
                </a:cubicBezTo>
                <a:cubicBezTo>
                  <a:pt x="96" y="13"/>
                  <a:pt x="95" y="12"/>
                  <a:pt x="90" y="10"/>
                </a:cubicBezTo>
                <a:lnTo>
                  <a:pt x="90" y="9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3" name="Freeform 527"/>
          <p:cNvSpPr>
            <a:spLocks/>
          </p:cNvSpPr>
          <p:nvPr userDrawn="1"/>
        </p:nvSpPr>
        <p:spPr bwMode="auto">
          <a:xfrm>
            <a:off x="5974759" y="3850509"/>
            <a:ext cx="43552" cy="100505"/>
          </a:xfrm>
          <a:custGeom>
            <a:avLst/>
            <a:gdLst>
              <a:gd name="T0" fmla="*/ 2147483646 w 48"/>
              <a:gd name="T1" fmla="*/ 2147483646 h 107"/>
              <a:gd name="T2" fmla="*/ 2147483646 w 48"/>
              <a:gd name="T3" fmla="*/ 2147483646 h 107"/>
              <a:gd name="T4" fmla="*/ 2147483646 w 48"/>
              <a:gd name="T5" fmla="*/ 2147483646 h 107"/>
              <a:gd name="T6" fmla="*/ 2147483646 w 48"/>
              <a:gd name="T7" fmla="*/ 2147483646 h 107"/>
              <a:gd name="T8" fmla="*/ 2147483646 w 48"/>
              <a:gd name="T9" fmla="*/ 2147483646 h 107"/>
              <a:gd name="T10" fmla="*/ 2147483646 w 48"/>
              <a:gd name="T11" fmla="*/ 2147483646 h 107"/>
              <a:gd name="T12" fmla="*/ 2147483646 w 48"/>
              <a:gd name="T13" fmla="*/ 2147483646 h 107"/>
              <a:gd name="T14" fmla="*/ 2147483646 w 48"/>
              <a:gd name="T15" fmla="*/ 2147483646 h 107"/>
              <a:gd name="T16" fmla="*/ 2147483646 w 48"/>
              <a:gd name="T17" fmla="*/ 2147483646 h 107"/>
              <a:gd name="T18" fmla="*/ 2147483646 w 48"/>
              <a:gd name="T19" fmla="*/ 2147483646 h 107"/>
              <a:gd name="T20" fmla="*/ 2147483646 w 48"/>
              <a:gd name="T21" fmla="*/ 2147483646 h 107"/>
              <a:gd name="T22" fmla="*/ 2147483646 w 48"/>
              <a:gd name="T23" fmla="*/ 2147483646 h 107"/>
              <a:gd name="T24" fmla="*/ 2147483646 w 48"/>
              <a:gd name="T25" fmla="*/ 2147483646 h 107"/>
              <a:gd name="T26" fmla="*/ 2147483646 w 48"/>
              <a:gd name="T27" fmla="*/ 2147483646 h 107"/>
              <a:gd name="T28" fmla="*/ 2147483646 w 48"/>
              <a:gd name="T29" fmla="*/ 2147483646 h 107"/>
              <a:gd name="T30" fmla="*/ 2147483646 w 48"/>
              <a:gd name="T31" fmla="*/ 2147483646 h 107"/>
              <a:gd name="T32" fmla="*/ 2147483646 w 48"/>
              <a:gd name="T33" fmla="*/ 2147483646 h 107"/>
              <a:gd name="T34" fmla="*/ 2147483646 w 48"/>
              <a:gd name="T35" fmla="*/ 2147483646 h 107"/>
              <a:gd name="T36" fmla="*/ 2147483646 w 48"/>
              <a:gd name="T37" fmla="*/ 2147483646 h 10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48"/>
              <a:gd name="T58" fmla="*/ 0 h 107"/>
              <a:gd name="T59" fmla="*/ 48 w 48"/>
              <a:gd name="T60" fmla="*/ 107 h 10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48" h="107">
                <a:moveTo>
                  <a:pt x="44" y="68"/>
                </a:moveTo>
                <a:cubicBezTo>
                  <a:pt x="44" y="77"/>
                  <a:pt x="48" y="85"/>
                  <a:pt x="42" y="93"/>
                </a:cubicBezTo>
                <a:cubicBezTo>
                  <a:pt x="39" y="96"/>
                  <a:pt x="38" y="99"/>
                  <a:pt x="35" y="102"/>
                </a:cubicBezTo>
                <a:cubicBezTo>
                  <a:pt x="33" y="103"/>
                  <a:pt x="31" y="105"/>
                  <a:pt x="29" y="107"/>
                </a:cubicBezTo>
                <a:cubicBezTo>
                  <a:pt x="28" y="107"/>
                  <a:pt x="28" y="107"/>
                  <a:pt x="28" y="107"/>
                </a:cubicBezTo>
                <a:cubicBezTo>
                  <a:pt x="28" y="105"/>
                  <a:pt x="26" y="106"/>
                  <a:pt x="24" y="105"/>
                </a:cubicBezTo>
                <a:cubicBezTo>
                  <a:pt x="20" y="102"/>
                  <a:pt x="20" y="98"/>
                  <a:pt x="10" y="86"/>
                </a:cubicBezTo>
                <a:cubicBezTo>
                  <a:pt x="0" y="74"/>
                  <a:pt x="12" y="83"/>
                  <a:pt x="9" y="79"/>
                </a:cubicBezTo>
                <a:cubicBezTo>
                  <a:pt x="5" y="76"/>
                  <a:pt x="7" y="72"/>
                  <a:pt x="12" y="66"/>
                </a:cubicBezTo>
                <a:cubicBezTo>
                  <a:pt x="16" y="60"/>
                  <a:pt x="13" y="61"/>
                  <a:pt x="9" y="58"/>
                </a:cubicBezTo>
                <a:cubicBezTo>
                  <a:pt x="5" y="56"/>
                  <a:pt x="9" y="46"/>
                  <a:pt x="13" y="41"/>
                </a:cubicBezTo>
                <a:cubicBezTo>
                  <a:pt x="17" y="37"/>
                  <a:pt x="12" y="38"/>
                  <a:pt x="9" y="36"/>
                </a:cubicBezTo>
                <a:cubicBezTo>
                  <a:pt x="8" y="35"/>
                  <a:pt x="7" y="34"/>
                  <a:pt x="7" y="34"/>
                </a:cubicBezTo>
                <a:cubicBezTo>
                  <a:pt x="7" y="33"/>
                  <a:pt x="7" y="33"/>
                  <a:pt x="7" y="33"/>
                </a:cubicBezTo>
                <a:cubicBezTo>
                  <a:pt x="7" y="26"/>
                  <a:pt x="8" y="20"/>
                  <a:pt x="8" y="13"/>
                </a:cubicBezTo>
                <a:cubicBezTo>
                  <a:pt x="8" y="5"/>
                  <a:pt x="10" y="5"/>
                  <a:pt x="18" y="3"/>
                </a:cubicBezTo>
                <a:cubicBezTo>
                  <a:pt x="29" y="0"/>
                  <a:pt x="34" y="9"/>
                  <a:pt x="41" y="17"/>
                </a:cubicBezTo>
                <a:cubicBezTo>
                  <a:pt x="35" y="28"/>
                  <a:pt x="43" y="36"/>
                  <a:pt x="45" y="46"/>
                </a:cubicBezTo>
                <a:cubicBezTo>
                  <a:pt x="46" y="52"/>
                  <a:pt x="47" y="64"/>
                  <a:pt x="44" y="6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4" name="Freeform 528"/>
          <p:cNvSpPr>
            <a:spLocks/>
          </p:cNvSpPr>
          <p:nvPr userDrawn="1"/>
        </p:nvSpPr>
        <p:spPr bwMode="auto">
          <a:xfrm>
            <a:off x="6001560" y="3838783"/>
            <a:ext cx="73704" cy="77055"/>
          </a:xfrm>
          <a:custGeom>
            <a:avLst/>
            <a:gdLst>
              <a:gd name="T0" fmla="*/ 2147483646 w 79"/>
              <a:gd name="T1" fmla="*/ 2147483646 h 83"/>
              <a:gd name="T2" fmla="*/ 2147483646 w 79"/>
              <a:gd name="T3" fmla="*/ 2147483646 h 83"/>
              <a:gd name="T4" fmla="*/ 2147483646 w 79"/>
              <a:gd name="T5" fmla="*/ 2147483646 h 83"/>
              <a:gd name="T6" fmla="*/ 2147483646 w 79"/>
              <a:gd name="T7" fmla="*/ 2147483646 h 83"/>
              <a:gd name="T8" fmla="*/ 2147483646 w 79"/>
              <a:gd name="T9" fmla="*/ 2147483646 h 83"/>
              <a:gd name="T10" fmla="*/ 2147483646 w 79"/>
              <a:gd name="T11" fmla="*/ 2147483646 h 83"/>
              <a:gd name="T12" fmla="*/ 2147483646 w 79"/>
              <a:gd name="T13" fmla="*/ 2147483646 h 83"/>
              <a:gd name="T14" fmla="*/ 2147483646 w 79"/>
              <a:gd name="T15" fmla="*/ 2147483646 h 83"/>
              <a:gd name="T16" fmla="*/ 2147483646 w 79"/>
              <a:gd name="T17" fmla="*/ 2147483646 h 83"/>
              <a:gd name="T18" fmla="*/ 2147483646 w 79"/>
              <a:gd name="T19" fmla="*/ 2147483646 h 83"/>
              <a:gd name="T20" fmla="*/ 2147483646 w 79"/>
              <a:gd name="T21" fmla="*/ 2147483646 h 83"/>
              <a:gd name="T22" fmla="*/ 2147483646 w 79"/>
              <a:gd name="T23" fmla="*/ 2147483646 h 83"/>
              <a:gd name="T24" fmla="*/ 0 w 79"/>
              <a:gd name="T25" fmla="*/ 2147483646 h 83"/>
              <a:gd name="T26" fmla="*/ 0 w 79"/>
              <a:gd name="T27" fmla="*/ 2147483646 h 83"/>
              <a:gd name="T28" fmla="*/ 2147483646 w 79"/>
              <a:gd name="T29" fmla="*/ 2147483646 h 83"/>
              <a:gd name="T30" fmla="*/ 2147483646 w 79"/>
              <a:gd name="T31" fmla="*/ 2147483646 h 83"/>
              <a:gd name="T32" fmla="*/ 2147483646 w 79"/>
              <a:gd name="T33" fmla="*/ 2147483646 h 8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79"/>
              <a:gd name="T52" fmla="*/ 0 h 83"/>
              <a:gd name="T53" fmla="*/ 79 w 79"/>
              <a:gd name="T54" fmla="*/ 83 h 8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79" h="83">
                <a:moveTo>
                  <a:pt x="14" y="82"/>
                </a:moveTo>
                <a:cubicBezTo>
                  <a:pt x="22" y="80"/>
                  <a:pt x="31" y="78"/>
                  <a:pt x="38" y="83"/>
                </a:cubicBezTo>
                <a:cubicBezTo>
                  <a:pt x="41" y="79"/>
                  <a:pt x="42" y="73"/>
                  <a:pt x="46" y="72"/>
                </a:cubicBezTo>
                <a:cubicBezTo>
                  <a:pt x="48" y="71"/>
                  <a:pt x="52" y="72"/>
                  <a:pt x="54" y="72"/>
                </a:cubicBezTo>
                <a:cubicBezTo>
                  <a:pt x="58" y="71"/>
                  <a:pt x="62" y="69"/>
                  <a:pt x="65" y="68"/>
                </a:cubicBezTo>
                <a:cubicBezTo>
                  <a:pt x="69" y="66"/>
                  <a:pt x="73" y="63"/>
                  <a:pt x="75" y="58"/>
                </a:cubicBezTo>
                <a:cubicBezTo>
                  <a:pt x="79" y="51"/>
                  <a:pt x="67" y="39"/>
                  <a:pt x="63" y="32"/>
                </a:cubicBezTo>
                <a:cubicBezTo>
                  <a:pt x="61" y="28"/>
                  <a:pt x="57" y="25"/>
                  <a:pt x="58" y="21"/>
                </a:cubicBezTo>
                <a:cubicBezTo>
                  <a:pt x="57" y="22"/>
                  <a:pt x="57" y="22"/>
                  <a:pt x="57" y="22"/>
                </a:cubicBezTo>
                <a:cubicBezTo>
                  <a:pt x="51" y="25"/>
                  <a:pt x="44" y="32"/>
                  <a:pt x="38" y="28"/>
                </a:cubicBezTo>
                <a:cubicBezTo>
                  <a:pt x="30" y="23"/>
                  <a:pt x="25" y="10"/>
                  <a:pt x="18" y="3"/>
                </a:cubicBezTo>
                <a:cubicBezTo>
                  <a:pt x="14" y="0"/>
                  <a:pt x="7" y="1"/>
                  <a:pt x="4" y="6"/>
                </a:cubicBezTo>
                <a:cubicBezTo>
                  <a:pt x="2" y="9"/>
                  <a:pt x="1" y="15"/>
                  <a:pt x="0" y="19"/>
                </a:cubicBezTo>
                <a:cubicBezTo>
                  <a:pt x="0" y="19"/>
                  <a:pt x="0" y="19"/>
                  <a:pt x="0" y="19"/>
                </a:cubicBezTo>
                <a:cubicBezTo>
                  <a:pt x="4" y="22"/>
                  <a:pt x="7" y="26"/>
                  <a:pt x="11" y="31"/>
                </a:cubicBezTo>
                <a:cubicBezTo>
                  <a:pt x="5" y="42"/>
                  <a:pt x="13" y="49"/>
                  <a:pt x="15" y="60"/>
                </a:cubicBezTo>
                <a:cubicBezTo>
                  <a:pt x="16" y="66"/>
                  <a:pt x="17" y="78"/>
                  <a:pt x="14" y="8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5" name="Freeform 530"/>
          <p:cNvSpPr>
            <a:spLocks/>
          </p:cNvSpPr>
          <p:nvPr userDrawn="1"/>
        </p:nvSpPr>
        <p:spPr bwMode="auto">
          <a:xfrm>
            <a:off x="6055163" y="3801931"/>
            <a:ext cx="150759" cy="97156"/>
          </a:xfrm>
          <a:custGeom>
            <a:avLst/>
            <a:gdLst>
              <a:gd name="T0" fmla="*/ 2147483646 w 162"/>
              <a:gd name="T1" fmla="*/ 2147483646 h 103"/>
              <a:gd name="T2" fmla="*/ 2147483646 w 162"/>
              <a:gd name="T3" fmla="*/ 2147483646 h 103"/>
              <a:gd name="T4" fmla="*/ 2147483646 w 162"/>
              <a:gd name="T5" fmla="*/ 2147483646 h 103"/>
              <a:gd name="T6" fmla="*/ 2147483646 w 162"/>
              <a:gd name="T7" fmla="*/ 2147483646 h 103"/>
              <a:gd name="T8" fmla="*/ 2147483646 w 162"/>
              <a:gd name="T9" fmla="*/ 2147483646 h 103"/>
              <a:gd name="T10" fmla="*/ 2147483646 w 162"/>
              <a:gd name="T11" fmla="*/ 2147483646 h 103"/>
              <a:gd name="T12" fmla="*/ 2147483646 w 162"/>
              <a:gd name="T13" fmla="*/ 2147483646 h 103"/>
              <a:gd name="T14" fmla="*/ 2147483646 w 162"/>
              <a:gd name="T15" fmla="*/ 2147483646 h 103"/>
              <a:gd name="T16" fmla="*/ 2147483646 w 162"/>
              <a:gd name="T17" fmla="*/ 2147483646 h 103"/>
              <a:gd name="T18" fmla="*/ 2147483646 w 162"/>
              <a:gd name="T19" fmla="*/ 2147483646 h 103"/>
              <a:gd name="T20" fmla="*/ 2147483646 w 162"/>
              <a:gd name="T21" fmla="*/ 2147483646 h 103"/>
              <a:gd name="T22" fmla="*/ 2147483646 w 162"/>
              <a:gd name="T23" fmla="*/ 2147483646 h 103"/>
              <a:gd name="T24" fmla="*/ 2147483646 w 162"/>
              <a:gd name="T25" fmla="*/ 2147483646 h 103"/>
              <a:gd name="T26" fmla="*/ 2147483646 w 162"/>
              <a:gd name="T27" fmla="*/ 2147483646 h 103"/>
              <a:gd name="T28" fmla="*/ 2147483646 w 162"/>
              <a:gd name="T29" fmla="*/ 2147483646 h 103"/>
              <a:gd name="T30" fmla="*/ 2147483646 w 162"/>
              <a:gd name="T31" fmla="*/ 2147483646 h 103"/>
              <a:gd name="T32" fmla="*/ 2147483646 w 162"/>
              <a:gd name="T33" fmla="*/ 2147483646 h 103"/>
              <a:gd name="T34" fmla="*/ 2147483646 w 162"/>
              <a:gd name="T35" fmla="*/ 2147483646 h 103"/>
              <a:gd name="T36" fmla="*/ 2147483646 w 162"/>
              <a:gd name="T37" fmla="*/ 2147483646 h 103"/>
              <a:gd name="T38" fmla="*/ 2147483646 w 162"/>
              <a:gd name="T39" fmla="*/ 2147483646 h 103"/>
              <a:gd name="T40" fmla="*/ 2147483646 w 162"/>
              <a:gd name="T41" fmla="*/ 2147483646 h 103"/>
              <a:gd name="T42" fmla="*/ 2147483646 w 162"/>
              <a:gd name="T43" fmla="*/ 2147483646 h 103"/>
              <a:gd name="T44" fmla="*/ 2147483646 w 162"/>
              <a:gd name="T45" fmla="*/ 2147483646 h 103"/>
              <a:gd name="T46" fmla="*/ 2147483646 w 162"/>
              <a:gd name="T47" fmla="*/ 2147483646 h 103"/>
              <a:gd name="T48" fmla="*/ 2147483646 w 162"/>
              <a:gd name="T49" fmla="*/ 2147483646 h 103"/>
              <a:gd name="T50" fmla="*/ 2147483646 w 162"/>
              <a:gd name="T51" fmla="*/ 2147483646 h 103"/>
              <a:gd name="T52" fmla="*/ 2147483646 w 162"/>
              <a:gd name="T53" fmla="*/ 2147483646 h 103"/>
              <a:gd name="T54" fmla="*/ 2147483646 w 162"/>
              <a:gd name="T55" fmla="*/ 2147483646 h 103"/>
              <a:gd name="T56" fmla="*/ 2147483646 w 162"/>
              <a:gd name="T57" fmla="*/ 2147483646 h 103"/>
              <a:gd name="T58" fmla="*/ 2147483646 w 162"/>
              <a:gd name="T59" fmla="*/ 2147483646 h 103"/>
              <a:gd name="T60" fmla="*/ 2147483646 w 162"/>
              <a:gd name="T61" fmla="*/ 2147483646 h 10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62"/>
              <a:gd name="T94" fmla="*/ 0 h 103"/>
              <a:gd name="T95" fmla="*/ 162 w 162"/>
              <a:gd name="T96" fmla="*/ 103 h 103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62" h="103">
                <a:moveTo>
                  <a:pt x="19" y="98"/>
                </a:moveTo>
                <a:cubicBezTo>
                  <a:pt x="26" y="100"/>
                  <a:pt x="38" y="92"/>
                  <a:pt x="45" y="94"/>
                </a:cubicBezTo>
                <a:cubicBezTo>
                  <a:pt x="50" y="95"/>
                  <a:pt x="52" y="98"/>
                  <a:pt x="56" y="100"/>
                </a:cubicBezTo>
                <a:cubicBezTo>
                  <a:pt x="61" y="103"/>
                  <a:pt x="68" y="102"/>
                  <a:pt x="74" y="102"/>
                </a:cubicBezTo>
                <a:cubicBezTo>
                  <a:pt x="82" y="103"/>
                  <a:pt x="81" y="103"/>
                  <a:pt x="88" y="97"/>
                </a:cubicBezTo>
                <a:cubicBezTo>
                  <a:pt x="94" y="91"/>
                  <a:pt x="101" y="81"/>
                  <a:pt x="108" y="78"/>
                </a:cubicBezTo>
                <a:cubicBezTo>
                  <a:pt x="117" y="74"/>
                  <a:pt x="130" y="81"/>
                  <a:pt x="140" y="80"/>
                </a:cubicBezTo>
                <a:cubicBezTo>
                  <a:pt x="141" y="79"/>
                  <a:pt x="141" y="79"/>
                  <a:pt x="141" y="79"/>
                </a:cubicBezTo>
                <a:cubicBezTo>
                  <a:pt x="141" y="74"/>
                  <a:pt x="139" y="65"/>
                  <a:pt x="134" y="63"/>
                </a:cubicBezTo>
                <a:cubicBezTo>
                  <a:pt x="129" y="61"/>
                  <a:pt x="135" y="56"/>
                  <a:pt x="141" y="52"/>
                </a:cubicBezTo>
                <a:cubicBezTo>
                  <a:pt x="146" y="48"/>
                  <a:pt x="148" y="42"/>
                  <a:pt x="152" y="35"/>
                </a:cubicBezTo>
                <a:cubicBezTo>
                  <a:pt x="156" y="29"/>
                  <a:pt x="161" y="35"/>
                  <a:pt x="162" y="23"/>
                </a:cubicBezTo>
                <a:cubicBezTo>
                  <a:pt x="162" y="21"/>
                  <a:pt x="162" y="21"/>
                  <a:pt x="162" y="21"/>
                </a:cubicBezTo>
                <a:cubicBezTo>
                  <a:pt x="160" y="15"/>
                  <a:pt x="157" y="15"/>
                  <a:pt x="151" y="13"/>
                </a:cubicBezTo>
                <a:cubicBezTo>
                  <a:pt x="147" y="11"/>
                  <a:pt x="142" y="9"/>
                  <a:pt x="138" y="7"/>
                </a:cubicBezTo>
                <a:cubicBezTo>
                  <a:pt x="133" y="5"/>
                  <a:pt x="129" y="1"/>
                  <a:pt x="124" y="1"/>
                </a:cubicBezTo>
                <a:cubicBezTo>
                  <a:pt x="117" y="0"/>
                  <a:pt x="108" y="6"/>
                  <a:pt x="101" y="7"/>
                </a:cubicBezTo>
                <a:cubicBezTo>
                  <a:pt x="97" y="8"/>
                  <a:pt x="94" y="9"/>
                  <a:pt x="90" y="11"/>
                </a:cubicBezTo>
                <a:cubicBezTo>
                  <a:pt x="87" y="14"/>
                  <a:pt x="84" y="19"/>
                  <a:pt x="79" y="19"/>
                </a:cubicBezTo>
                <a:cubicBezTo>
                  <a:pt x="76" y="19"/>
                  <a:pt x="75" y="16"/>
                  <a:pt x="72" y="15"/>
                </a:cubicBezTo>
                <a:cubicBezTo>
                  <a:pt x="69" y="15"/>
                  <a:pt x="66" y="16"/>
                  <a:pt x="64" y="17"/>
                </a:cubicBezTo>
                <a:cubicBezTo>
                  <a:pt x="56" y="18"/>
                  <a:pt x="49" y="17"/>
                  <a:pt x="43" y="14"/>
                </a:cubicBezTo>
                <a:cubicBezTo>
                  <a:pt x="36" y="11"/>
                  <a:pt x="29" y="13"/>
                  <a:pt x="23" y="10"/>
                </a:cubicBezTo>
                <a:cubicBezTo>
                  <a:pt x="16" y="6"/>
                  <a:pt x="10" y="4"/>
                  <a:pt x="2" y="4"/>
                </a:cubicBezTo>
                <a:cubicBezTo>
                  <a:pt x="2" y="6"/>
                  <a:pt x="2" y="6"/>
                  <a:pt x="2" y="6"/>
                </a:cubicBezTo>
                <a:cubicBezTo>
                  <a:pt x="6" y="13"/>
                  <a:pt x="7" y="21"/>
                  <a:pt x="10" y="29"/>
                </a:cubicBezTo>
                <a:cubicBezTo>
                  <a:pt x="11" y="33"/>
                  <a:pt x="14" y="37"/>
                  <a:pt x="13" y="41"/>
                </a:cubicBezTo>
                <a:cubicBezTo>
                  <a:pt x="10" y="47"/>
                  <a:pt x="3" y="52"/>
                  <a:pt x="1" y="59"/>
                </a:cubicBezTo>
                <a:cubicBezTo>
                  <a:pt x="0" y="63"/>
                  <a:pt x="4" y="66"/>
                  <a:pt x="6" y="70"/>
                </a:cubicBezTo>
                <a:cubicBezTo>
                  <a:pt x="10" y="77"/>
                  <a:pt x="22" y="89"/>
                  <a:pt x="18" y="96"/>
                </a:cubicBezTo>
                <a:lnTo>
                  <a:pt x="19" y="9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6" name="Freeform 531"/>
          <p:cNvSpPr>
            <a:spLocks/>
          </p:cNvSpPr>
          <p:nvPr userDrawn="1"/>
        </p:nvSpPr>
        <p:spPr bwMode="auto">
          <a:xfrm>
            <a:off x="5999884" y="3877310"/>
            <a:ext cx="157459" cy="184260"/>
          </a:xfrm>
          <a:custGeom>
            <a:avLst/>
            <a:gdLst>
              <a:gd name="T0" fmla="*/ 2147483646 w 169"/>
              <a:gd name="T1" fmla="*/ 2147483646 h 199"/>
              <a:gd name="T2" fmla="*/ 2147483646 w 169"/>
              <a:gd name="T3" fmla="*/ 2147483646 h 199"/>
              <a:gd name="T4" fmla="*/ 2147483646 w 169"/>
              <a:gd name="T5" fmla="*/ 2147483646 h 199"/>
              <a:gd name="T6" fmla="*/ 2147483646 w 169"/>
              <a:gd name="T7" fmla="*/ 2147483646 h 199"/>
              <a:gd name="T8" fmla="*/ 2147483646 w 169"/>
              <a:gd name="T9" fmla="*/ 2147483646 h 199"/>
              <a:gd name="T10" fmla="*/ 2147483646 w 169"/>
              <a:gd name="T11" fmla="*/ 2147483646 h 199"/>
              <a:gd name="T12" fmla="*/ 2147483646 w 169"/>
              <a:gd name="T13" fmla="*/ 2147483646 h 199"/>
              <a:gd name="T14" fmla="*/ 2147483646 w 169"/>
              <a:gd name="T15" fmla="*/ 2147483646 h 199"/>
              <a:gd name="T16" fmla="*/ 2147483646 w 169"/>
              <a:gd name="T17" fmla="*/ 2147483646 h 199"/>
              <a:gd name="T18" fmla="*/ 2147483646 w 169"/>
              <a:gd name="T19" fmla="*/ 2147483646 h 199"/>
              <a:gd name="T20" fmla="*/ 2147483646 w 169"/>
              <a:gd name="T21" fmla="*/ 2147483646 h 199"/>
              <a:gd name="T22" fmla="*/ 2147483646 w 169"/>
              <a:gd name="T23" fmla="*/ 2147483646 h 199"/>
              <a:gd name="T24" fmla="*/ 2147483646 w 169"/>
              <a:gd name="T25" fmla="*/ 2147483646 h 199"/>
              <a:gd name="T26" fmla="*/ 2147483646 w 169"/>
              <a:gd name="T27" fmla="*/ 2147483646 h 199"/>
              <a:gd name="T28" fmla="*/ 2147483646 w 169"/>
              <a:gd name="T29" fmla="*/ 2147483646 h 199"/>
              <a:gd name="T30" fmla="*/ 2147483646 w 169"/>
              <a:gd name="T31" fmla="*/ 2147483646 h 199"/>
              <a:gd name="T32" fmla="*/ 2147483646 w 169"/>
              <a:gd name="T33" fmla="*/ 2147483646 h 199"/>
              <a:gd name="T34" fmla="*/ 2147483646 w 169"/>
              <a:gd name="T35" fmla="*/ 2147483646 h 199"/>
              <a:gd name="T36" fmla="*/ 2147483646 w 169"/>
              <a:gd name="T37" fmla="*/ 2147483646 h 199"/>
              <a:gd name="T38" fmla="*/ 2147483646 w 169"/>
              <a:gd name="T39" fmla="*/ 2147483646 h 199"/>
              <a:gd name="T40" fmla="*/ 2147483646 w 169"/>
              <a:gd name="T41" fmla="*/ 2147483646 h 199"/>
              <a:gd name="T42" fmla="*/ 2147483646 w 169"/>
              <a:gd name="T43" fmla="*/ 2147483646 h 199"/>
              <a:gd name="T44" fmla="*/ 2147483646 w 169"/>
              <a:gd name="T45" fmla="*/ 2147483646 h 199"/>
              <a:gd name="T46" fmla="*/ 2147483646 w 169"/>
              <a:gd name="T47" fmla="*/ 2147483646 h 199"/>
              <a:gd name="T48" fmla="*/ 2147483646 w 169"/>
              <a:gd name="T49" fmla="*/ 2147483646 h 199"/>
              <a:gd name="T50" fmla="*/ 2147483646 w 169"/>
              <a:gd name="T51" fmla="*/ 2147483646 h 199"/>
              <a:gd name="T52" fmla="*/ 2147483646 w 169"/>
              <a:gd name="T53" fmla="*/ 2147483646 h 199"/>
              <a:gd name="T54" fmla="*/ 2147483646 w 169"/>
              <a:gd name="T55" fmla="*/ 2147483646 h 199"/>
              <a:gd name="T56" fmla="*/ 2147483646 w 169"/>
              <a:gd name="T57" fmla="*/ 2147483646 h 199"/>
              <a:gd name="T58" fmla="*/ 2147483646 w 169"/>
              <a:gd name="T59" fmla="*/ 2147483646 h 199"/>
              <a:gd name="T60" fmla="*/ 2147483646 w 169"/>
              <a:gd name="T61" fmla="*/ 2147483646 h 199"/>
              <a:gd name="T62" fmla="*/ 2147483646 w 169"/>
              <a:gd name="T63" fmla="*/ 2147483646 h 199"/>
              <a:gd name="T64" fmla="*/ 2147483646 w 169"/>
              <a:gd name="T65" fmla="*/ 2147483646 h 199"/>
              <a:gd name="T66" fmla="*/ 2147483646 w 169"/>
              <a:gd name="T67" fmla="*/ 2147483646 h 199"/>
              <a:gd name="T68" fmla="*/ 2147483646 w 169"/>
              <a:gd name="T69" fmla="*/ 2147483646 h 199"/>
              <a:gd name="T70" fmla="*/ 2147483646 w 169"/>
              <a:gd name="T71" fmla="*/ 2147483646 h 199"/>
              <a:gd name="T72" fmla="*/ 2147483646 w 169"/>
              <a:gd name="T73" fmla="*/ 2147483646 h 199"/>
              <a:gd name="T74" fmla="*/ 2147483646 w 169"/>
              <a:gd name="T75" fmla="*/ 2147483646 h 199"/>
              <a:gd name="T76" fmla="*/ 2147483646 w 169"/>
              <a:gd name="T77" fmla="*/ 2147483646 h 199"/>
              <a:gd name="T78" fmla="*/ 2147483646 w 169"/>
              <a:gd name="T79" fmla="*/ 2147483646 h 199"/>
              <a:gd name="T80" fmla="*/ 2147483646 w 169"/>
              <a:gd name="T81" fmla="*/ 2147483646 h 199"/>
              <a:gd name="T82" fmla="*/ 2147483646 w 169"/>
              <a:gd name="T83" fmla="*/ 2147483646 h 199"/>
              <a:gd name="T84" fmla="*/ 2147483646 w 169"/>
              <a:gd name="T85" fmla="*/ 2147483646 h 199"/>
              <a:gd name="T86" fmla="*/ 2147483646 w 169"/>
              <a:gd name="T87" fmla="*/ 2147483646 h 199"/>
              <a:gd name="T88" fmla="*/ 2147483646 w 169"/>
              <a:gd name="T89" fmla="*/ 2147483646 h 199"/>
              <a:gd name="T90" fmla="*/ 2147483646 w 169"/>
              <a:gd name="T91" fmla="*/ 2147483646 h 199"/>
              <a:gd name="T92" fmla="*/ 2147483646 w 169"/>
              <a:gd name="T93" fmla="*/ 2147483646 h 199"/>
              <a:gd name="T94" fmla="*/ 2147483646 w 169"/>
              <a:gd name="T95" fmla="*/ 2147483646 h 199"/>
              <a:gd name="T96" fmla="*/ 2147483646 w 169"/>
              <a:gd name="T97" fmla="*/ 2147483646 h 199"/>
              <a:gd name="T98" fmla="*/ 2147483646 w 169"/>
              <a:gd name="T99" fmla="*/ 2147483646 h 199"/>
              <a:gd name="T100" fmla="*/ 2147483646 w 169"/>
              <a:gd name="T101" fmla="*/ 2147483646 h 199"/>
              <a:gd name="T102" fmla="*/ 2147483646 w 169"/>
              <a:gd name="T103" fmla="*/ 2147483646 h 199"/>
              <a:gd name="T104" fmla="*/ 2147483646 w 169"/>
              <a:gd name="T105" fmla="*/ 2147483646 h 199"/>
              <a:gd name="T106" fmla="*/ 2147483646 w 169"/>
              <a:gd name="T107" fmla="*/ 2147483646 h 199"/>
              <a:gd name="T108" fmla="*/ 2147483646 w 169"/>
              <a:gd name="T109" fmla="*/ 2147483646 h 19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9"/>
              <a:gd name="T166" fmla="*/ 0 h 199"/>
              <a:gd name="T167" fmla="*/ 169 w 169"/>
              <a:gd name="T168" fmla="*/ 199 h 19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9" h="199">
                <a:moveTo>
                  <a:pt x="16" y="42"/>
                </a:moveTo>
                <a:cubicBezTo>
                  <a:pt x="16" y="50"/>
                  <a:pt x="20" y="58"/>
                  <a:pt x="14" y="66"/>
                </a:cubicBezTo>
                <a:cubicBezTo>
                  <a:pt x="11" y="69"/>
                  <a:pt x="10" y="72"/>
                  <a:pt x="8" y="75"/>
                </a:cubicBezTo>
                <a:cubicBezTo>
                  <a:pt x="6" y="76"/>
                  <a:pt x="3" y="78"/>
                  <a:pt x="1" y="80"/>
                </a:cubicBezTo>
                <a:cubicBezTo>
                  <a:pt x="0" y="80"/>
                  <a:pt x="0" y="80"/>
                  <a:pt x="0" y="80"/>
                </a:cubicBezTo>
                <a:cubicBezTo>
                  <a:pt x="1" y="81"/>
                  <a:pt x="1" y="82"/>
                  <a:pt x="1" y="86"/>
                </a:cubicBezTo>
                <a:cubicBezTo>
                  <a:pt x="0" y="94"/>
                  <a:pt x="2" y="97"/>
                  <a:pt x="6" y="99"/>
                </a:cubicBezTo>
                <a:cubicBezTo>
                  <a:pt x="11" y="101"/>
                  <a:pt x="11" y="100"/>
                  <a:pt x="15" y="103"/>
                </a:cubicBezTo>
                <a:cubicBezTo>
                  <a:pt x="18" y="106"/>
                  <a:pt x="17" y="106"/>
                  <a:pt x="20" y="113"/>
                </a:cubicBezTo>
                <a:cubicBezTo>
                  <a:pt x="23" y="120"/>
                  <a:pt x="22" y="120"/>
                  <a:pt x="26" y="122"/>
                </a:cubicBezTo>
                <a:cubicBezTo>
                  <a:pt x="29" y="124"/>
                  <a:pt x="29" y="130"/>
                  <a:pt x="34" y="128"/>
                </a:cubicBezTo>
                <a:cubicBezTo>
                  <a:pt x="39" y="127"/>
                  <a:pt x="41" y="130"/>
                  <a:pt x="45" y="128"/>
                </a:cubicBezTo>
                <a:cubicBezTo>
                  <a:pt x="49" y="127"/>
                  <a:pt x="53" y="127"/>
                  <a:pt x="57" y="128"/>
                </a:cubicBezTo>
                <a:cubicBezTo>
                  <a:pt x="61" y="128"/>
                  <a:pt x="66" y="126"/>
                  <a:pt x="68" y="130"/>
                </a:cubicBezTo>
                <a:cubicBezTo>
                  <a:pt x="70" y="134"/>
                  <a:pt x="68" y="138"/>
                  <a:pt x="73" y="136"/>
                </a:cubicBezTo>
                <a:cubicBezTo>
                  <a:pt x="78" y="134"/>
                  <a:pt x="80" y="130"/>
                  <a:pt x="83" y="137"/>
                </a:cubicBezTo>
                <a:cubicBezTo>
                  <a:pt x="83" y="137"/>
                  <a:pt x="70" y="141"/>
                  <a:pt x="68" y="139"/>
                </a:cubicBezTo>
                <a:cubicBezTo>
                  <a:pt x="66" y="138"/>
                  <a:pt x="64" y="139"/>
                  <a:pt x="61" y="136"/>
                </a:cubicBezTo>
                <a:cubicBezTo>
                  <a:pt x="57" y="132"/>
                  <a:pt x="56" y="134"/>
                  <a:pt x="54" y="134"/>
                </a:cubicBezTo>
                <a:cubicBezTo>
                  <a:pt x="51" y="133"/>
                  <a:pt x="44" y="130"/>
                  <a:pt x="42" y="129"/>
                </a:cubicBezTo>
                <a:cubicBezTo>
                  <a:pt x="41" y="128"/>
                  <a:pt x="40" y="131"/>
                  <a:pt x="39" y="130"/>
                </a:cubicBezTo>
                <a:cubicBezTo>
                  <a:pt x="37" y="129"/>
                  <a:pt x="37" y="130"/>
                  <a:pt x="35" y="131"/>
                </a:cubicBezTo>
                <a:cubicBezTo>
                  <a:pt x="32" y="132"/>
                  <a:pt x="32" y="133"/>
                  <a:pt x="31" y="133"/>
                </a:cubicBezTo>
                <a:cubicBezTo>
                  <a:pt x="29" y="133"/>
                  <a:pt x="26" y="143"/>
                  <a:pt x="25" y="147"/>
                </a:cubicBezTo>
                <a:cubicBezTo>
                  <a:pt x="24" y="151"/>
                  <a:pt x="27" y="148"/>
                  <a:pt x="30" y="150"/>
                </a:cubicBezTo>
                <a:cubicBezTo>
                  <a:pt x="32" y="151"/>
                  <a:pt x="35" y="154"/>
                  <a:pt x="39" y="155"/>
                </a:cubicBezTo>
                <a:cubicBezTo>
                  <a:pt x="43" y="155"/>
                  <a:pt x="41" y="161"/>
                  <a:pt x="41" y="162"/>
                </a:cubicBezTo>
                <a:cubicBezTo>
                  <a:pt x="41" y="164"/>
                  <a:pt x="40" y="168"/>
                  <a:pt x="39" y="173"/>
                </a:cubicBezTo>
                <a:cubicBezTo>
                  <a:pt x="39" y="178"/>
                  <a:pt x="42" y="181"/>
                  <a:pt x="44" y="182"/>
                </a:cubicBezTo>
                <a:cubicBezTo>
                  <a:pt x="46" y="183"/>
                  <a:pt x="46" y="174"/>
                  <a:pt x="47" y="172"/>
                </a:cubicBezTo>
                <a:cubicBezTo>
                  <a:pt x="47" y="170"/>
                  <a:pt x="51" y="176"/>
                  <a:pt x="54" y="176"/>
                </a:cubicBezTo>
                <a:cubicBezTo>
                  <a:pt x="56" y="177"/>
                  <a:pt x="56" y="181"/>
                  <a:pt x="56" y="183"/>
                </a:cubicBezTo>
                <a:cubicBezTo>
                  <a:pt x="56" y="186"/>
                  <a:pt x="58" y="194"/>
                  <a:pt x="61" y="196"/>
                </a:cubicBezTo>
                <a:cubicBezTo>
                  <a:pt x="65" y="199"/>
                  <a:pt x="63" y="191"/>
                  <a:pt x="62" y="185"/>
                </a:cubicBezTo>
                <a:cubicBezTo>
                  <a:pt x="60" y="178"/>
                  <a:pt x="64" y="181"/>
                  <a:pt x="66" y="180"/>
                </a:cubicBezTo>
                <a:cubicBezTo>
                  <a:pt x="68" y="179"/>
                  <a:pt x="67" y="182"/>
                  <a:pt x="69" y="183"/>
                </a:cubicBezTo>
                <a:cubicBezTo>
                  <a:pt x="70" y="184"/>
                  <a:pt x="71" y="188"/>
                  <a:pt x="75" y="189"/>
                </a:cubicBezTo>
                <a:cubicBezTo>
                  <a:pt x="79" y="191"/>
                  <a:pt x="78" y="189"/>
                  <a:pt x="78" y="183"/>
                </a:cubicBezTo>
                <a:cubicBezTo>
                  <a:pt x="79" y="177"/>
                  <a:pt x="77" y="179"/>
                  <a:pt x="76" y="172"/>
                </a:cubicBezTo>
                <a:cubicBezTo>
                  <a:pt x="74" y="165"/>
                  <a:pt x="75" y="167"/>
                  <a:pt x="73" y="162"/>
                </a:cubicBezTo>
                <a:cubicBezTo>
                  <a:pt x="71" y="158"/>
                  <a:pt x="73" y="158"/>
                  <a:pt x="75" y="158"/>
                </a:cubicBezTo>
                <a:cubicBezTo>
                  <a:pt x="78" y="159"/>
                  <a:pt x="77" y="162"/>
                  <a:pt x="78" y="163"/>
                </a:cubicBezTo>
                <a:cubicBezTo>
                  <a:pt x="79" y="165"/>
                  <a:pt x="83" y="162"/>
                  <a:pt x="84" y="160"/>
                </a:cubicBezTo>
                <a:cubicBezTo>
                  <a:pt x="85" y="158"/>
                  <a:pt x="84" y="151"/>
                  <a:pt x="82" y="152"/>
                </a:cubicBezTo>
                <a:cubicBezTo>
                  <a:pt x="79" y="152"/>
                  <a:pt x="79" y="146"/>
                  <a:pt x="79" y="144"/>
                </a:cubicBezTo>
                <a:cubicBezTo>
                  <a:pt x="79" y="141"/>
                  <a:pt x="82" y="142"/>
                  <a:pt x="84" y="142"/>
                </a:cubicBezTo>
                <a:cubicBezTo>
                  <a:pt x="87" y="141"/>
                  <a:pt x="87" y="141"/>
                  <a:pt x="87" y="141"/>
                </a:cubicBezTo>
                <a:cubicBezTo>
                  <a:pt x="87" y="141"/>
                  <a:pt x="92" y="147"/>
                  <a:pt x="96" y="148"/>
                </a:cubicBezTo>
                <a:cubicBezTo>
                  <a:pt x="100" y="148"/>
                  <a:pt x="99" y="149"/>
                  <a:pt x="103" y="151"/>
                </a:cubicBezTo>
                <a:cubicBezTo>
                  <a:pt x="107" y="153"/>
                  <a:pt x="109" y="150"/>
                  <a:pt x="109" y="150"/>
                </a:cubicBezTo>
                <a:cubicBezTo>
                  <a:pt x="109" y="150"/>
                  <a:pt x="100" y="142"/>
                  <a:pt x="99" y="139"/>
                </a:cubicBezTo>
                <a:cubicBezTo>
                  <a:pt x="98" y="137"/>
                  <a:pt x="96" y="133"/>
                  <a:pt x="96" y="131"/>
                </a:cubicBezTo>
                <a:cubicBezTo>
                  <a:pt x="97" y="128"/>
                  <a:pt x="103" y="130"/>
                  <a:pt x="92" y="123"/>
                </a:cubicBezTo>
                <a:cubicBezTo>
                  <a:pt x="80" y="115"/>
                  <a:pt x="77" y="113"/>
                  <a:pt x="75" y="114"/>
                </a:cubicBezTo>
                <a:cubicBezTo>
                  <a:pt x="74" y="114"/>
                  <a:pt x="71" y="113"/>
                  <a:pt x="71" y="113"/>
                </a:cubicBezTo>
                <a:cubicBezTo>
                  <a:pt x="71" y="113"/>
                  <a:pt x="66" y="111"/>
                  <a:pt x="66" y="110"/>
                </a:cubicBezTo>
                <a:cubicBezTo>
                  <a:pt x="67" y="108"/>
                  <a:pt x="70" y="107"/>
                  <a:pt x="74" y="108"/>
                </a:cubicBezTo>
                <a:cubicBezTo>
                  <a:pt x="79" y="109"/>
                  <a:pt x="81" y="112"/>
                  <a:pt x="83" y="113"/>
                </a:cubicBezTo>
                <a:cubicBezTo>
                  <a:pt x="85" y="114"/>
                  <a:pt x="88" y="117"/>
                  <a:pt x="92" y="118"/>
                </a:cubicBezTo>
                <a:cubicBezTo>
                  <a:pt x="96" y="120"/>
                  <a:pt x="97" y="122"/>
                  <a:pt x="99" y="125"/>
                </a:cubicBezTo>
                <a:cubicBezTo>
                  <a:pt x="101" y="129"/>
                  <a:pt x="101" y="134"/>
                  <a:pt x="105" y="137"/>
                </a:cubicBezTo>
                <a:cubicBezTo>
                  <a:pt x="110" y="139"/>
                  <a:pt x="109" y="140"/>
                  <a:pt x="111" y="139"/>
                </a:cubicBezTo>
                <a:cubicBezTo>
                  <a:pt x="114" y="138"/>
                  <a:pt x="117" y="142"/>
                  <a:pt x="117" y="138"/>
                </a:cubicBezTo>
                <a:cubicBezTo>
                  <a:pt x="118" y="135"/>
                  <a:pt x="124" y="128"/>
                  <a:pt x="116" y="129"/>
                </a:cubicBezTo>
                <a:cubicBezTo>
                  <a:pt x="108" y="130"/>
                  <a:pt x="107" y="130"/>
                  <a:pt x="106" y="125"/>
                </a:cubicBezTo>
                <a:cubicBezTo>
                  <a:pt x="105" y="121"/>
                  <a:pt x="105" y="118"/>
                  <a:pt x="103" y="117"/>
                </a:cubicBezTo>
                <a:cubicBezTo>
                  <a:pt x="101" y="116"/>
                  <a:pt x="104" y="116"/>
                  <a:pt x="99" y="114"/>
                </a:cubicBezTo>
                <a:cubicBezTo>
                  <a:pt x="95" y="113"/>
                  <a:pt x="88" y="116"/>
                  <a:pt x="86" y="107"/>
                </a:cubicBezTo>
                <a:cubicBezTo>
                  <a:pt x="84" y="99"/>
                  <a:pt x="80" y="106"/>
                  <a:pt x="76" y="99"/>
                </a:cubicBezTo>
                <a:cubicBezTo>
                  <a:pt x="72" y="93"/>
                  <a:pt x="71" y="85"/>
                  <a:pt x="78" y="92"/>
                </a:cubicBezTo>
                <a:cubicBezTo>
                  <a:pt x="85" y="99"/>
                  <a:pt x="88" y="103"/>
                  <a:pt x="86" y="96"/>
                </a:cubicBezTo>
                <a:cubicBezTo>
                  <a:pt x="84" y="89"/>
                  <a:pt x="78" y="82"/>
                  <a:pt x="74" y="82"/>
                </a:cubicBezTo>
                <a:cubicBezTo>
                  <a:pt x="70" y="81"/>
                  <a:pt x="71" y="78"/>
                  <a:pt x="69" y="73"/>
                </a:cubicBezTo>
                <a:cubicBezTo>
                  <a:pt x="67" y="68"/>
                  <a:pt x="60" y="66"/>
                  <a:pt x="63" y="60"/>
                </a:cubicBezTo>
                <a:cubicBezTo>
                  <a:pt x="66" y="54"/>
                  <a:pt x="62" y="47"/>
                  <a:pt x="68" y="48"/>
                </a:cubicBezTo>
                <a:cubicBezTo>
                  <a:pt x="75" y="49"/>
                  <a:pt x="76" y="45"/>
                  <a:pt x="77" y="53"/>
                </a:cubicBezTo>
                <a:cubicBezTo>
                  <a:pt x="78" y="61"/>
                  <a:pt x="79" y="62"/>
                  <a:pt x="83" y="64"/>
                </a:cubicBezTo>
                <a:cubicBezTo>
                  <a:pt x="86" y="65"/>
                  <a:pt x="78" y="73"/>
                  <a:pt x="84" y="75"/>
                </a:cubicBezTo>
                <a:cubicBezTo>
                  <a:pt x="91" y="78"/>
                  <a:pt x="92" y="78"/>
                  <a:pt x="93" y="76"/>
                </a:cubicBezTo>
                <a:cubicBezTo>
                  <a:pt x="93" y="73"/>
                  <a:pt x="90" y="68"/>
                  <a:pt x="90" y="64"/>
                </a:cubicBezTo>
                <a:cubicBezTo>
                  <a:pt x="90" y="61"/>
                  <a:pt x="94" y="72"/>
                  <a:pt x="97" y="70"/>
                </a:cubicBezTo>
                <a:cubicBezTo>
                  <a:pt x="101" y="68"/>
                  <a:pt x="99" y="62"/>
                  <a:pt x="96" y="62"/>
                </a:cubicBezTo>
                <a:cubicBezTo>
                  <a:pt x="93" y="62"/>
                  <a:pt x="92" y="58"/>
                  <a:pt x="95" y="58"/>
                </a:cubicBezTo>
                <a:cubicBezTo>
                  <a:pt x="97" y="58"/>
                  <a:pt x="97" y="57"/>
                  <a:pt x="101" y="61"/>
                </a:cubicBezTo>
                <a:cubicBezTo>
                  <a:pt x="105" y="66"/>
                  <a:pt x="108" y="70"/>
                  <a:pt x="109" y="66"/>
                </a:cubicBezTo>
                <a:cubicBezTo>
                  <a:pt x="111" y="62"/>
                  <a:pt x="109" y="56"/>
                  <a:pt x="106" y="55"/>
                </a:cubicBezTo>
                <a:cubicBezTo>
                  <a:pt x="104" y="55"/>
                  <a:pt x="100" y="53"/>
                  <a:pt x="98" y="50"/>
                </a:cubicBezTo>
                <a:cubicBezTo>
                  <a:pt x="97" y="47"/>
                  <a:pt x="91" y="45"/>
                  <a:pt x="96" y="44"/>
                </a:cubicBezTo>
                <a:cubicBezTo>
                  <a:pt x="102" y="44"/>
                  <a:pt x="101" y="41"/>
                  <a:pt x="105" y="44"/>
                </a:cubicBezTo>
                <a:cubicBezTo>
                  <a:pt x="108" y="46"/>
                  <a:pt x="110" y="43"/>
                  <a:pt x="110" y="43"/>
                </a:cubicBezTo>
                <a:cubicBezTo>
                  <a:pt x="110" y="43"/>
                  <a:pt x="113" y="38"/>
                  <a:pt x="118" y="40"/>
                </a:cubicBezTo>
                <a:cubicBezTo>
                  <a:pt x="123" y="42"/>
                  <a:pt x="120" y="45"/>
                  <a:pt x="126" y="40"/>
                </a:cubicBezTo>
                <a:cubicBezTo>
                  <a:pt x="131" y="36"/>
                  <a:pt x="141" y="36"/>
                  <a:pt x="143" y="37"/>
                </a:cubicBezTo>
                <a:cubicBezTo>
                  <a:pt x="144" y="38"/>
                  <a:pt x="140" y="40"/>
                  <a:pt x="146" y="40"/>
                </a:cubicBezTo>
                <a:cubicBezTo>
                  <a:pt x="152" y="40"/>
                  <a:pt x="144" y="31"/>
                  <a:pt x="152" y="40"/>
                </a:cubicBezTo>
                <a:cubicBezTo>
                  <a:pt x="156" y="43"/>
                  <a:pt x="156" y="43"/>
                  <a:pt x="156" y="43"/>
                </a:cubicBezTo>
                <a:cubicBezTo>
                  <a:pt x="159" y="36"/>
                  <a:pt x="164" y="31"/>
                  <a:pt x="167" y="23"/>
                </a:cubicBezTo>
                <a:cubicBezTo>
                  <a:pt x="168" y="19"/>
                  <a:pt x="169" y="15"/>
                  <a:pt x="168" y="11"/>
                </a:cubicBezTo>
                <a:cubicBezTo>
                  <a:pt x="167" y="8"/>
                  <a:pt x="164" y="3"/>
                  <a:pt x="165" y="0"/>
                </a:cubicBezTo>
                <a:cubicBezTo>
                  <a:pt x="165" y="1"/>
                  <a:pt x="165" y="1"/>
                  <a:pt x="165" y="1"/>
                </a:cubicBezTo>
                <a:cubicBezTo>
                  <a:pt x="158" y="5"/>
                  <a:pt x="152" y="13"/>
                  <a:pt x="147" y="18"/>
                </a:cubicBezTo>
                <a:cubicBezTo>
                  <a:pt x="140" y="24"/>
                  <a:pt x="141" y="24"/>
                  <a:pt x="133" y="23"/>
                </a:cubicBezTo>
                <a:cubicBezTo>
                  <a:pt x="127" y="23"/>
                  <a:pt x="120" y="24"/>
                  <a:pt x="115" y="21"/>
                </a:cubicBezTo>
                <a:cubicBezTo>
                  <a:pt x="111" y="19"/>
                  <a:pt x="109" y="16"/>
                  <a:pt x="104" y="15"/>
                </a:cubicBezTo>
                <a:cubicBezTo>
                  <a:pt x="97" y="13"/>
                  <a:pt x="85" y="21"/>
                  <a:pt x="78" y="19"/>
                </a:cubicBezTo>
                <a:cubicBezTo>
                  <a:pt x="77" y="17"/>
                  <a:pt x="77" y="17"/>
                  <a:pt x="77" y="17"/>
                </a:cubicBezTo>
                <a:cubicBezTo>
                  <a:pt x="75" y="22"/>
                  <a:pt x="71" y="25"/>
                  <a:pt x="67" y="27"/>
                </a:cubicBezTo>
                <a:cubicBezTo>
                  <a:pt x="63" y="28"/>
                  <a:pt x="60" y="30"/>
                  <a:pt x="56" y="31"/>
                </a:cubicBezTo>
                <a:cubicBezTo>
                  <a:pt x="54" y="31"/>
                  <a:pt x="50" y="30"/>
                  <a:pt x="48" y="31"/>
                </a:cubicBezTo>
                <a:cubicBezTo>
                  <a:pt x="44" y="32"/>
                  <a:pt x="43" y="38"/>
                  <a:pt x="40" y="42"/>
                </a:cubicBezTo>
                <a:cubicBezTo>
                  <a:pt x="33" y="37"/>
                  <a:pt x="24" y="39"/>
                  <a:pt x="16" y="41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7" name="Freeform 532"/>
          <p:cNvSpPr>
            <a:spLocks/>
          </p:cNvSpPr>
          <p:nvPr userDrawn="1"/>
        </p:nvSpPr>
        <p:spPr bwMode="auto">
          <a:xfrm>
            <a:off x="5999884" y="3877310"/>
            <a:ext cx="157459" cy="184260"/>
          </a:xfrm>
          <a:custGeom>
            <a:avLst/>
            <a:gdLst>
              <a:gd name="T0" fmla="*/ 2147483646 w 169"/>
              <a:gd name="T1" fmla="*/ 2147483646 h 199"/>
              <a:gd name="T2" fmla="*/ 2147483646 w 169"/>
              <a:gd name="T3" fmla="*/ 2147483646 h 199"/>
              <a:gd name="T4" fmla="*/ 2147483646 w 169"/>
              <a:gd name="T5" fmla="*/ 2147483646 h 199"/>
              <a:gd name="T6" fmla="*/ 2147483646 w 169"/>
              <a:gd name="T7" fmla="*/ 2147483646 h 199"/>
              <a:gd name="T8" fmla="*/ 2147483646 w 169"/>
              <a:gd name="T9" fmla="*/ 2147483646 h 199"/>
              <a:gd name="T10" fmla="*/ 2147483646 w 169"/>
              <a:gd name="T11" fmla="*/ 2147483646 h 199"/>
              <a:gd name="T12" fmla="*/ 2147483646 w 169"/>
              <a:gd name="T13" fmla="*/ 2147483646 h 199"/>
              <a:gd name="T14" fmla="*/ 2147483646 w 169"/>
              <a:gd name="T15" fmla="*/ 2147483646 h 199"/>
              <a:gd name="T16" fmla="*/ 2147483646 w 169"/>
              <a:gd name="T17" fmla="*/ 2147483646 h 199"/>
              <a:gd name="T18" fmla="*/ 2147483646 w 169"/>
              <a:gd name="T19" fmla="*/ 2147483646 h 199"/>
              <a:gd name="T20" fmla="*/ 2147483646 w 169"/>
              <a:gd name="T21" fmla="*/ 2147483646 h 199"/>
              <a:gd name="T22" fmla="*/ 2147483646 w 169"/>
              <a:gd name="T23" fmla="*/ 2147483646 h 199"/>
              <a:gd name="T24" fmla="*/ 2147483646 w 169"/>
              <a:gd name="T25" fmla="*/ 2147483646 h 199"/>
              <a:gd name="T26" fmla="*/ 2147483646 w 169"/>
              <a:gd name="T27" fmla="*/ 2147483646 h 199"/>
              <a:gd name="T28" fmla="*/ 2147483646 w 169"/>
              <a:gd name="T29" fmla="*/ 2147483646 h 199"/>
              <a:gd name="T30" fmla="*/ 2147483646 w 169"/>
              <a:gd name="T31" fmla="*/ 2147483646 h 199"/>
              <a:gd name="T32" fmla="*/ 2147483646 w 169"/>
              <a:gd name="T33" fmla="*/ 2147483646 h 199"/>
              <a:gd name="T34" fmla="*/ 2147483646 w 169"/>
              <a:gd name="T35" fmla="*/ 2147483646 h 199"/>
              <a:gd name="T36" fmla="*/ 2147483646 w 169"/>
              <a:gd name="T37" fmla="*/ 2147483646 h 199"/>
              <a:gd name="T38" fmla="*/ 2147483646 w 169"/>
              <a:gd name="T39" fmla="*/ 2147483646 h 199"/>
              <a:gd name="T40" fmla="*/ 2147483646 w 169"/>
              <a:gd name="T41" fmla="*/ 2147483646 h 199"/>
              <a:gd name="T42" fmla="*/ 2147483646 w 169"/>
              <a:gd name="T43" fmla="*/ 2147483646 h 199"/>
              <a:gd name="T44" fmla="*/ 2147483646 w 169"/>
              <a:gd name="T45" fmla="*/ 2147483646 h 199"/>
              <a:gd name="T46" fmla="*/ 2147483646 w 169"/>
              <a:gd name="T47" fmla="*/ 2147483646 h 199"/>
              <a:gd name="T48" fmla="*/ 2147483646 w 169"/>
              <a:gd name="T49" fmla="*/ 2147483646 h 199"/>
              <a:gd name="T50" fmla="*/ 2147483646 w 169"/>
              <a:gd name="T51" fmla="*/ 2147483646 h 199"/>
              <a:gd name="T52" fmla="*/ 2147483646 w 169"/>
              <a:gd name="T53" fmla="*/ 2147483646 h 199"/>
              <a:gd name="T54" fmla="*/ 2147483646 w 169"/>
              <a:gd name="T55" fmla="*/ 2147483646 h 199"/>
              <a:gd name="T56" fmla="*/ 2147483646 w 169"/>
              <a:gd name="T57" fmla="*/ 2147483646 h 199"/>
              <a:gd name="T58" fmla="*/ 2147483646 w 169"/>
              <a:gd name="T59" fmla="*/ 2147483646 h 199"/>
              <a:gd name="T60" fmla="*/ 2147483646 w 169"/>
              <a:gd name="T61" fmla="*/ 2147483646 h 199"/>
              <a:gd name="T62" fmla="*/ 2147483646 w 169"/>
              <a:gd name="T63" fmla="*/ 2147483646 h 199"/>
              <a:gd name="T64" fmla="*/ 2147483646 w 169"/>
              <a:gd name="T65" fmla="*/ 2147483646 h 199"/>
              <a:gd name="T66" fmla="*/ 2147483646 w 169"/>
              <a:gd name="T67" fmla="*/ 2147483646 h 199"/>
              <a:gd name="T68" fmla="*/ 2147483646 w 169"/>
              <a:gd name="T69" fmla="*/ 2147483646 h 199"/>
              <a:gd name="T70" fmla="*/ 2147483646 w 169"/>
              <a:gd name="T71" fmla="*/ 2147483646 h 199"/>
              <a:gd name="T72" fmla="*/ 2147483646 w 169"/>
              <a:gd name="T73" fmla="*/ 2147483646 h 199"/>
              <a:gd name="T74" fmla="*/ 2147483646 w 169"/>
              <a:gd name="T75" fmla="*/ 2147483646 h 199"/>
              <a:gd name="T76" fmla="*/ 2147483646 w 169"/>
              <a:gd name="T77" fmla="*/ 2147483646 h 199"/>
              <a:gd name="T78" fmla="*/ 2147483646 w 169"/>
              <a:gd name="T79" fmla="*/ 2147483646 h 199"/>
              <a:gd name="T80" fmla="*/ 2147483646 w 169"/>
              <a:gd name="T81" fmla="*/ 2147483646 h 199"/>
              <a:gd name="T82" fmla="*/ 2147483646 w 169"/>
              <a:gd name="T83" fmla="*/ 2147483646 h 199"/>
              <a:gd name="T84" fmla="*/ 2147483646 w 169"/>
              <a:gd name="T85" fmla="*/ 2147483646 h 199"/>
              <a:gd name="T86" fmla="*/ 2147483646 w 169"/>
              <a:gd name="T87" fmla="*/ 2147483646 h 199"/>
              <a:gd name="T88" fmla="*/ 2147483646 w 169"/>
              <a:gd name="T89" fmla="*/ 2147483646 h 199"/>
              <a:gd name="T90" fmla="*/ 2147483646 w 169"/>
              <a:gd name="T91" fmla="*/ 2147483646 h 199"/>
              <a:gd name="T92" fmla="*/ 2147483646 w 169"/>
              <a:gd name="T93" fmla="*/ 2147483646 h 199"/>
              <a:gd name="T94" fmla="*/ 2147483646 w 169"/>
              <a:gd name="T95" fmla="*/ 2147483646 h 199"/>
              <a:gd name="T96" fmla="*/ 2147483646 w 169"/>
              <a:gd name="T97" fmla="*/ 2147483646 h 199"/>
              <a:gd name="T98" fmla="*/ 2147483646 w 169"/>
              <a:gd name="T99" fmla="*/ 2147483646 h 199"/>
              <a:gd name="T100" fmla="*/ 2147483646 w 169"/>
              <a:gd name="T101" fmla="*/ 2147483646 h 199"/>
              <a:gd name="T102" fmla="*/ 2147483646 w 169"/>
              <a:gd name="T103" fmla="*/ 2147483646 h 199"/>
              <a:gd name="T104" fmla="*/ 2147483646 w 169"/>
              <a:gd name="T105" fmla="*/ 2147483646 h 199"/>
              <a:gd name="T106" fmla="*/ 2147483646 w 169"/>
              <a:gd name="T107" fmla="*/ 2147483646 h 199"/>
              <a:gd name="T108" fmla="*/ 2147483646 w 169"/>
              <a:gd name="T109" fmla="*/ 2147483646 h 19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9"/>
              <a:gd name="T166" fmla="*/ 0 h 199"/>
              <a:gd name="T167" fmla="*/ 169 w 169"/>
              <a:gd name="T168" fmla="*/ 199 h 19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9" h="199">
                <a:moveTo>
                  <a:pt x="16" y="42"/>
                </a:moveTo>
                <a:cubicBezTo>
                  <a:pt x="16" y="50"/>
                  <a:pt x="20" y="58"/>
                  <a:pt x="14" y="66"/>
                </a:cubicBezTo>
                <a:cubicBezTo>
                  <a:pt x="11" y="69"/>
                  <a:pt x="10" y="72"/>
                  <a:pt x="8" y="75"/>
                </a:cubicBezTo>
                <a:cubicBezTo>
                  <a:pt x="6" y="76"/>
                  <a:pt x="3" y="78"/>
                  <a:pt x="1" y="80"/>
                </a:cubicBezTo>
                <a:cubicBezTo>
                  <a:pt x="0" y="80"/>
                  <a:pt x="0" y="80"/>
                  <a:pt x="0" y="80"/>
                </a:cubicBezTo>
                <a:cubicBezTo>
                  <a:pt x="1" y="81"/>
                  <a:pt x="1" y="82"/>
                  <a:pt x="1" y="86"/>
                </a:cubicBezTo>
                <a:cubicBezTo>
                  <a:pt x="0" y="94"/>
                  <a:pt x="2" y="97"/>
                  <a:pt x="6" y="99"/>
                </a:cubicBezTo>
                <a:cubicBezTo>
                  <a:pt x="11" y="101"/>
                  <a:pt x="11" y="100"/>
                  <a:pt x="15" y="103"/>
                </a:cubicBezTo>
                <a:cubicBezTo>
                  <a:pt x="18" y="106"/>
                  <a:pt x="17" y="106"/>
                  <a:pt x="20" y="113"/>
                </a:cubicBezTo>
                <a:cubicBezTo>
                  <a:pt x="23" y="120"/>
                  <a:pt x="22" y="120"/>
                  <a:pt x="26" y="122"/>
                </a:cubicBezTo>
                <a:cubicBezTo>
                  <a:pt x="29" y="124"/>
                  <a:pt x="29" y="130"/>
                  <a:pt x="34" y="128"/>
                </a:cubicBezTo>
                <a:cubicBezTo>
                  <a:pt x="39" y="127"/>
                  <a:pt x="41" y="130"/>
                  <a:pt x="45" y="128"/>
                </a:cubicBezTo>
                <a:cubicBezTo>
                  <a:pt x="49" y="127"/>
                  <a:pt x="53" y="127"/>
                  <a:pt x="57" y="128"/>
                </a:cubicBezTo>
                <a:cubicBezTo>
                  <a:pt x="61" y="128"/>
                  <a:pt x="66" y="126"/>
                  <a:pt x="68" y="130"/>
                </a:cubicBezTo>
                <a:cubicBezTo>
                  <a:pt x="70" y="134"/>
                  <a:pt x="68" y="138"/>
                  <a:pt x="73" y="136"/>
                </a:cubicBezTo>
                <a:cubicBezTo>
                  <a:pt x="78" y="134"/>
                  <a:pt x="80" y="130"/>
                  <a:pt x="83" y="137"/>
                </a:cubicBezTo>
                <a:cubicBezTo>
                  <a:pt x="83" y="137"/>
                  <a:pt x="70" y="141"/>
                  <a:pt x="68" y="139"/>
                </a:cubicBezTo>
                <a:cubicBezTo>
                  <a:pt x="66" y="138"/>
                  <a:pt x="64" y="139"/>
                  <a:pt x="61" y="136"/>
                </a:cubicBezTo>
                <a:cubicBezTo>
                  <a:pt x="57" y="132"/>
                  <a:pt x="56" y="134"/>
                  <a:pt x="54" y="134"/>
                </a:cubicBezTo>
                <a:cubicBezTo>
                  <a:pt x="51" y="133"/>
                  <a:pt x="44" y="130"/>
                  <a:pt x="42" y="129"/>
                </a:cubicBezTo>
                <a:cubicBezTo>
                  <a:pt x="41" y="128"/>
                  <a:pt x="40" y="131"/>
                  <a:pt x="39" y="130"/>
                </a:cubicBezTo>
                <a:cubicBezTo>
                  <a:pt x="37" y="129"/>
                  <a:pt x="37" y="130"/>
                  <a:pt x="35" y="131"/>
                </a:cubicBezTo>
                <a:cubicBezTo>
                  <a:pt x="32" y="132"/>
                  <a:pt x="32" y="133"/>
                  <a:pt x="31" y="133"/>
                </a:cubicBezTo>
                <a:cubicBezTo>
                  <a:pt x="29" y="133"/>
                  <a:pt x="26" y="143"/>
                  <a:pt x="25" y="147"/>
                </a:cubicBezTo>
                <a:cubicBezTo>
                  <a:pt x="24" y="151"/>
                  <a:pt x="27" y="148"/>
                  <a:pt x="30" y="150"/>
                </a:cubicBezTo>
                <a:cubicBezTo>
                  <a:pt x="32" y="151"/>
                  <a:pt x="35" y="154"/>
                  <a:pt x="39" y="155"/>
                </a:cubicBezTo>
                <a:cubicBezTo>
                  <a:pt x="43" y="155"/>
                  <a:pt x="41" y="161"/>
                  <a:pt x="41" y="162"/>
                </a:cubicBezTo>
                <a:cubicBezTo>
                  <a:pt x="41" y="164"/>
                  <a:pt x="40" y="168"/>
                  <a:pt x="39" y="173"/>
                </a:cubicBezTo>
                <a:cubicBezTo>
                  <a:pt x="39" y="178"/>
                  <a:pt x="42" y="181"/>
                  <a:pt x="44" y="182"/>
                </a:cubicBezTo>
                <a:cubicBezTo>
                  <a:pt x="46" y="183"/>
                  <a:pt x="46" y="174"/>
                  <a:pt x="47" y="172"/>
                </a:cubicBezTo>
                <a:cubicBezTo>
                  <a:pt x="47" y="170"/>
                  <a:pt x="51" y="176"/>
                  <a:pt x="54" y="176"/>
                </a:cubicBezTo>
                <a:cubicBezTo>
                  <a:pt x="56" y="177"/>
                  <a:pt x="56" y="181"/>
                  <a:pt x="56" y="183"/>
                </a:cubicBezTo>
                <a:cubicBezTo>
                  <a:pt x="56" y="186"/>
                  <a:pt x="58" y="194"/>
                  <a:pt x="61" y="196"/>
                </a:cubicBezTo>
                <a:cubicBezTo>
                  <a:pt x="65" y="199"/>
                  <a:pt x="63" y="191"/>
                  <a:pt x="62" y="185"/>
                </a:cubicBezTo>
                <a:cubicBezTo>
                  <a:pt x="60" y="178"/>
                  <a:pt x="64" y="181"/>
                  <a:pt x="66" y="180"/>
                </a:cubicBezTo>
                <a:cubicBezTo>
                  <a:pt x="68" y="179"/>
                  <a:pt x="67" y="182"/>
                  <a:pt x="69" y="183"/>
                </a:cubicBezTo>
                <a:cubicBezTo>
                  <a:pt x="70" y="184"/>
                  <a:pt x="71" y="188"/>
                  <a:pt x="75" y="189"/>
                </a:cubicBezTo>
                <a:cubicBezTo>
                  <a:pt x="79" y="191"/>
                  <a:pt x="78" y="189"/>
                  <a:pt x="78" y="183"/>
                </a:cubicBezTo>
                <a:cubicBezTo>
                  <a:pt x="79" y="177"/>
                  <a:pt x="77" y="179"/>
                  <a:pt x="76" y="172"/>
                </a:cubicBezTo>
                <a:cubicBezTo>
                  <a:pt x="74" y="165"/>
                  <a:pt x="75" y="167"/>
                  <a:pt x="73" y="162"/>
                </a:cubicBezTo>
                <a:cubicBezTo>
                  <a:pt x="71" y="158"/>
                  <a:pt x="73" y="158"/>
                  <a:pt x="75" y="158"/>
                </a:cubicBezTo>
                <a:cubicBezTo>
                  <a:pt x="78" y="159"/>
                  <a:pt x="77" y="162"/>
                  <a:pt x="78" y="163"/>
                </a:cubicBezTo>
                <a:cubicBezTo>
                  <a:pt x="79" y="165"/>
                  <a:pt x="83" y="162"/>
                  <a:pt x="84" y="160"/>
                </a:cubicBezTo>
                <a:cubicBezTo>
                  <a:pt x="85" y="158"/>
                  <a:pt x="84" y="151"/>
                  <a:pt x="82" y="152"/>
                </a:cubicBezTo>
                <a:cubicBezTo>
                  <a:pt x="79" y="152"/>
                  <a:pt x="79" y="146"/>
                  <a:pt x="79" y="144"/>
                </a:cubicBezTo>
                <a:cubicBezTo>
                  <a:pt x="79" y="141"/>
                  <a:pt x="82" y="142"/>
                  <a:pt x="84" y="142"/>
                </a:cubicBezTo>
                <a:cubicBezTo>
                  <a:pt x="87" y="141"/>
                  <a:pt x="87" y="141"/>
                  <a:pt x="87" y="141"/>
                </a:cubicBezTo>
                <a:cubicBezTo>
                  <a:pt x="87" y="141"/>
                  <a:pt x="92" y="147"/>
                  <a:pt x="96" y="148"/>
                </a:cubicBezTo>
                <a:cubicBezTo>
                  <a:pt x="100" y="148"/>
                  <a:pt x="99" y="149"/>
                  <a:pt x="103" y="151"/>
                </a:cubicBezTo>
                <a:cubicBezTo>
                  <a:pt x="107" y="153"/>
                  <a:pt x="109" y="150"/>
                  <a:pt x="109" y="150"/>
                </a:cubicBezTo>
                <a:cubicBezTo>
                  <a:pt x="109" y="150"/>
                  <a:pt x="100" y="142"/>
                  <a:pt x="99" y="139"/>
                </a:cubicBezTo>
                <a:cubicBezTo>
                  <a:pt x="98" y="137"/>
                  <a:pt x="96" y="133"/>
                  <a:pt x="96" y="131"/>
                </a:cubicBezTo>
                <a:cubicBezTo>
                  <a:pt x="97" y="128"/>
                  <a:pt x="103" y="130"/>
                  <a:pt x="92" y="123"/>
                </a:cubicBezTo>
                <a:cubicBezTo>
                  <a:pt x="80" y="115"/>
                  <a:pt x="77" y="113"/>
                  <a:pt x="75" y="114"/>
                </a:cubicBezTo>
                <a:cubicBezTo>
                  <a:pt x="74" y="114"/>
                  <a:pt x="71" y="113"/>
                  <a:pt x="71" y="113"/>
                </a:cubicBezTo>
                <a:cubicBezTo>
                  <a:pt x="71" y="113"/>
                  <a:pt x="66" y="111"/>
                  <a:pt x="66" y="110"/>
                </a:cubicBezTo>
                <a:cubicBezTo>
                  <a:pt x="67" y="108"/>
                  <a:pt x="70" y="107"/>
                  <a:pt x="74" y="108"/>
                </a:cubicBezTo>
                <a:cubicBezTo>
                  <a:pt x="79" y="109"/>
                  <a:pt x="81" y="112"/>
                  <a:pt x="83" y="113"/>
                </a:cubicBezTo>
                <a:cubicBezTo>
                  <a:pt x="85" y="114"/>
                  <a:pt x="88" y="117"/>
                  <a:pt x="92" y="118"/>
                </a:cubicBezTo>
                <a:cubicBezTo>
                  <a:pt x="96" y="120"/>
                  <a:pt x="97" y="122"/>
                  <a:pt x="99" y="125"/>
                </a:cubicBezTo>
                <a:cubicBezTo>
                  <a:pt x="101" y="129"/>
                  <a:pt x="101" y="134"/>
                  <a:pt x="105" y="137"/>
                </a:cubicBezTo>
                <a:cubicBezTo>
                  <a:pt x="110" y="139"/>
                  <a:pt x="109" y="140"/>
                  <a:pt x="111" y="139"/>
                </a:cubicBezTo>
                <a:cubicBezTo>
                  <a:pt x="114" y="138"/>
                  <a:pt x="117" y="142"/>
                  <a:pt x="117" y="138"/>
                </a:cubicBezTo>
                <a:cubicBezTo>
                  <a:pt x="118" y="135"/>
                  <a:pt x="124" y="128"/>
                  <a:pt x="116" y="129"/>
                </a:cubicBezTo>
                <a:cubicBezTo>
                  <a:pt x="108" y="130"/>
                  <a:pt x="107" y="130"/>
                  <a:pt x="106" y="125"/>
                </a:cubicBezTo>
                <a:cubicBezTo>
                  <a:pt x="105" y="121"/>
                  <a:pt x="105" y="118"/>
                  <a:pt x="103" y="117"/>
                </a:cubicBezTo>
                <a:cubicBezTo>
                  <a:pt x="101" y="116"/>
                  <a:pt x="104" y="116"/>
                  <a:pt x="99" y="114"/>
                </a:cubicBezTo>
                <a:cubicBezTo>
                  <a:pt x="95" y="113"/>
                  <a:pt x="88" y="116"/>
                  <a:pt x="86" y="107"/>
                </a:cubicBezTo>
                <a:cubicBezTo>
                  <a:pt x="84" y="99"/>
                  <a:pt x="80" y="106"/>
                  <a:pt x="76" y="99"/>
                </a:cubicBezTo>
                <a:cubicBezTo>
                  <a:pt x="72" y="93"/>
                  <a:pt x="71" y="85"/>
                  <a:pt x="78" y="92"/>
                </a:cubicBezTo>
                <a:cubicBezTo>
                  <a:pt x="85" y="99"/>
                  <a:pt x="88" y="103"/>
                  <a:pt x="86" y="96"/>
                </a:cubicBezTo>
                <a:cubicBezTo>
                  <a:pt x="84" y="89"/>
                  <a:pt x="78" y="82"/>
                  <a:pt x="74" y="82"/>
                </a:cubicBezTo>
                <a:cubicBezTo>
                  <a:pt x="70" y="81"/>
                  <a:pt x="71" y="78"/>
                  <a:pt x="69" y="73"/>
                </a:cubicBezTo>
                <a:cubicBezTo>
                  <a:pt x="67" y="68"/>
                  <a:pt x="60" y="66"/>
                  <a:pt x="63" y="60"/>
                </a:cubicBezTo>
                <a:cubicBezTo>
                  <a:pt x="66" y="54"/>
                  <a:pt x="62" y="47"/>
                  <a:pt x="68" y="48"/>
                </a:cubicBezTo>
                <a:cubicBezTo>
                  <a:pt x="75" y="49"/>
                  <a:pt x="76" y="45"/>
                  <a:pt x="77" y="53"/>
                </a:cubicBezTo>
                <a:cubicBezTo>
                  <a:pt x="78" y="61"/>
                  <a:pt x="79" y="62"/>
                  <a:pt x="83" y="64"/>
                </a:cubicBezTo>
                <a:cubicBezTo>
                  <a:pt x="86" y="65"/>
                  <a:pt x="78" y="73"/>
                  <a:pt x="84" y="75"/>
                </a:cubicBezTo>
                <a:cubicBezTo>
                  <a:pt x="91" y="78"/>
                  <a:pt x="92" y="78"/>
                  <a:pt x="93" y="76"/>
                </a:cubicBezTo>
                <a:cubicBezTo>
                  <a:pt x="93" y="73"/>
                  <a:pt x="90" y="68"/>
                  <a:pt x="90" y="64"/>
                </a:cubicBezTo>
                <a:cubicBezTo>
                  <a:pt x="90" y="61"/>
                  <a:pt x="94" y="72"/>
                  <a:pt x="97" y="70"/>
                </a:cubicBezTo>
                <a:cubicBezTo>
                  <a:pt x="101" y="68"/>
                  <a:pt x="99" y="62"/>
                  <a:pt x="96" y="62"/>
                </a:cubicBezTo>
                <a:cubicBezTo>
                  <a:pt x="93" y="62"/>
                  <a:pt x="92" y="58"/>
                  <a:pt x="95" y="58"/>
                </a:cubicBezTo>
                <a:cubicBezTo>
                  <a:pt x="97" y="58"/>
                  <a:pt x="97" y="57"/>
                  <a:pt x="101" y="61"/>
                </a:cubicBezTo>
                <a:cubicBezTo>
                  <a:pt x="105" y="66"/>
                  <a:pt x="108" y="70"/>
                  <a:pt x="109" y="66"/>
                </a:cubicBezTo>
                <a:cubicBezTo>
                  <a:pt x="111" y="62"/>
                  <a:pt x="109" y="56"/>
                  <a:pt x="106" y="55"/>
                </a:cubicBezTo>
                <a:cubicBezTo>
                  <a:pt x="104" y="55"/>
                  <a:pt x="100" y="53"/>
                  <a:pt x="98" y="50"/>
                </a:cubicBezTo>
                <a:cubicBezTo>
                  <a:pt x="97" y="47"/>
                  <a:pt x="91" y="45"/>
                  <a:pt x="96" y="44"/>
                </a:cubicBezTo>
                <a:cubicBezTo>
                  <a:pt x="102" y="44"/>
                  <a:pt x="101" y="41"/>
                  <a:pt x="105" y="44"/>
                </a:cubicBezTo>
                <a:cubicBezTo>
                  <a:pt x="108" y="46"/>
                  <a:pt x="110" y="43"/>
                  <a:pt x="110" y="43"/>
                </a:cubicBezTo>
                <a:cubicBezTo>
                  <a:pt x="110" y="43"/>
                  <a:pt x="113" y="38"/>
                  <a:pt x="118" y="40"/>
                </a:cubicBezTo>
                <a:cubicBezTo>
                  <a:pt x="123" y="42"/>
                  <a:pt x="120" y="45"/>
                  <a:pt x="126" y="40"/>
                </a:cubicBezTo>
                <a:cubicBezTo>
                  <a:pt x="131" y="36"/>
                  <a:pt x="141" y="36"/>
                  <a:pt x="143" y="37"/>
                </a:cubicBezTo>
                <a:cubicBezTo>
                  <a:pt x="144" y="38"/>
                  <a:pt x="140" y="40"/>
                  <a:pt x="146" y="40"/>
                </a:cubicBezTo>
                <a:cubicBezTo>
                  <a:pt x="152" y="40"/>
                  <a:pt x="144" y="31"/>
                  <a:pt x="152" y="40"/>
                </a:cubicBezTo>
                <a:cubicBezTo>
                  <a:pt x="156" y="43"/>
                  <a:pt x="156" y="43"/>
                  <a:pt x="156" y="43"/>
                </a:cubicBezTo>
                <a:cubicBezTo>
                  <a:pt x="159" y="36"/>
                  <a:pt x="164" y="31"/>
                  <a:pt x="167" y="23"/>
                </a:cubicBezTo>
                <a:cubicBezTo>
                  <a:pt x="168" y="19"/>
                  <a:pt x="169" y="15"/>
                  <a:pt x="168" y="11"/>
                </a:cubicBezTo>
                <a:cubicBezTo>
                  <a:pt x="167" y="8"/>
                  <a:pt x="164" y="3"/>
                  <a:pt x="165" y="0"/>
                </a:cubicBezTo>
                <a:cubicBezTo>
                  <a:pt x="165" y="1"/>
                  <a:pt x="165" y="1"/>
                  <a:pt x="165" y="1"/>
                </a:cubicBezTo>
                <a:cubicBezTo>
                  <a:pt x="158" y="5"/>
                  <a:pt x="152" y="13"/>
                  <a:pt x="147" y="18"/>
                </a:cubicBezTo>
                <a:cubicBezTo>
                  <a:pt x="140" y="24"/>
                  <a:pt x="141" y="24"/>
                  <a:pt x="133" y="23"/>
                </a:cubicBezTo>
                <a:cubicBezTo>
                  <a:pt x="127" y="23"/>
                  <a:pt x="120" y="24"/>
                  <a:pt x="115" y="21"/>
                </a:cubicBezTo>
                <a:cubicBezTo>
                  <a:pt x="111" y="19"/>
                  <a:pt x="109" y="16"/>
                  <a:pt x="104" y="15"/>
                </a:cubicBezTo>
                <a:cubicBezTo>
                  <a:pt x="97" y="13"/>
                  <a:pt x="85" y="21"/>
                  <a:pt x="78" y="19"/>
                </a:cubicBezTo>
                <a:cubicBezTo>
                  <a:pt x="77" y="17"/>
                  <a:pt x="77" y="17"/>
                  <a:pt x="77" y="17"/>
                </a:cubicBezTo>
                <a:cubicBezTo>
                  <a:pt x="75" y="22"/>
                  <a:pt x="71" y="25"/>
                  <a:pt x="67" y="27"/>
                </a:cubicBezTo>
                <a:cubicBezTo>
                  <a:pt x="63" y="28"/>
                  <a:pt x="60" y="30"/>
                  <a:pt x="56" y="31"/>
                </a:cubicBezTo>
                <a:cubicBezTo>
                  <a:pt x="54" y="31"/>
                  <a:pt x="50" y="30"/>
                  <a:pt x="48" y="31"/>
                </a:cubicBezTo>
                <a:cubicBezTo>
                  <a:pt x="44" y="32"/>
                  <a:pt x="43" y="38"/>
                  <a:pt x="40" y="42"/>
                </a:cubicBezTo>
                <a:cubicBezTo>
                  <a:pt x="33" y="37"/>
                  <a:pt x="24" y="39"/>
                  <a:pt x="16" y="41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8" name="Freeform 533"/>
          <p:cNvSpPr>
            <a:spLocks/>
          </p:cNvSpPr>
          <p:nvPr userDrawn="1"/>
        </p:nvSpPr>
        <p:spPr bwMode="auto">
          <a:xfrm>
            <a:off x="5999884" y="3652847"/>
            <a:ext cx="231163" cy="169185"/>
          </a:xfrm>
          <a:custGeom>
            <a:avLst/>
            <a:gdLst>
              <a:gd name="T0" fmla="*/ 2147483646 w 248"/>
              <a:gd name="T1" fmla="*/ 2147483646 h 181"/>
              <a:gd name="T2" fmla="*/ 2147483646 w 248"/>
              <a:gd name="T3" fmla="*/ 2147483646 h 181"/>
              <a:gd name="T4" fmla="*/ 2147483646 w 248"/>
              <a:gd name="T5" fmla="*/ 2147483646 h 181"/>
              <a:gd name="T6" fmla="*/ 2147483646 w 248"/>
              <a:gd name="T7" fmla="*/ 2147483646 h 181"/>
              <a:gd name="T8" fmla="*/ 2147483646 w 248"/>
              <a:gd name="T9" fmla="*/ 2147483646 h 181"/>
              <a:gd name="T10" fmla="*/ 2147483646 w 248"/>
              <a:gd name="T11" fmla="*/ 2147483646 h 181"/>
              <a:gd name="T12" fmla="*/ 2147483646 w 248"/>
              <a:gd name="T13" fmla="*/ 2147483646 h 181"/>
              <a:gd name="T14" fmla="*/ 2147483646 w 248"/>
              <a:gd name="T15" fmla="*/ 2147483646 h 181"/>
              <a:gd name="T16" fmla="*/ 2147483646 w 248"/>
              <a:gd name="T17" fmla="*/ 2147483646 h 181"/>
              <a:gd name="T18" fmla="*/ 2147483646 w 248"/>
              <a:gd name="T19" fmla="*/ 2147483646 h 181"/>
              <a:gd name="T20" fmla="*/ 2147483646 w 248"/>
              <a:gd name="T21" fmla="*/ 2147483646 h 181"/>
              <a:gd name="T22" fmla="*/ 2147483646 w 248"/>
              <a:gd name="T23" fmla="*/ 2147483646 h 181"/>
              <a:gd name="T24" fmla="*/ 2147483646 w 248"/>
              <a:gd name="T25" fmla="*/ 2147483646 h 181"/>
              <a:gd name="T26" fmla="*/ 2147483646 w 248"/>
              <a:gd name="T27" fmla="*/ 2147483646 h 181"/>
              <a:gd name="T28" fmla="*/ 2147483646 w 248"/>
              <a:gd name="T29" fmla="*/ 2147483646 h 181"/>
              <a:gd name="T30" fmla="*/ 2147483646 w 248"/>
              <a:gd name="T31" fmla="*/ 2147483646 h 181"/>
              <a:gd name="T32" fmla="*/ 2147483646 w 248"/>
              <a:gd name="T33" fmla="*/ 2147483646 h 181"/>
              <a:gd name="T34" fmla="*/ 2147483646 w 248"/>
              <a:gd name="T35" fmla="*/ 2147483646 h 181"/>
              <a:gd name="T36" fmla="*/ 2147483646 w 248"/>
              <a:gd name="T37" fmla="*/ 2147483646 h 181"/>
              <a:gd name="T38" fmla="*/ 2147483646 w 248"/>
              <a:gd name="T39" fmla="*/ 2147483646 h 181"/>
              <a:gd name="T40" fmla="*/ 2147483646 w 248"/>
              <a:gd name="T41" fmla="*/ 2147483646 h 181"/>
              <a:gd name="T42" fmla="*/ 2147483646 w 248"/>
              <a:gd name="T43" fmla="*/ 2147483646 h 181"/>
              <a:gd name="T44" fmla="*/ 2147483646 w 248"/>
              <a:gd name="T45" fmla="*/ 2147483646 h 181"/>
              <a:gd name="T46" fmla="*/ 0 w 248"/>
              <a:gd name="T47" fmla="*/ 2147483646 h 181"/>
              <a:gd name="T48" fmla="*/ 0 w 248"/>
              <a:gd name="T49" fmla="*/ 2147483646 h 181"/>
              <a:gd name="T50" fmla="*/ 2147483646 w 248"/>
              <a:gd name="T51" fmla="*/ 2147483646 h 181"/>
              <a:gd name="T52" fmla="*/ 2147483646 w 248"/>
              <a:gd name="T53" fmla="*/ 2147483646 h 181"/>
              <a:gd name="T54" fmla="*/ 2147483646 w 248"/>
              <a:gd name="T55" fmla="*/ 2147483646 h 181"/>
              <a:gd name="T56" fmla="*/ 2147483646 w 248"/>
              <a:gd name="T57" fmla="*/ 2147483646 h 181"/>
              <a:gd name="T58" fmla="*/ 2147483646 w 248"/>
              <a:gd name="T59" fmla="*/ 2147483646 h 181"/>
              <a:gd name="T60" fmla="*/ 2147483646 w 248"/>
              <a:gd name="T61" fmla="*/ 2147483646 h 181"/>
              <a:gd name="T62" fmla="*/ 2147483646 w 248"/>
              <a:gd name="T63" fmla="*/ 2147483646 h 181"/>
              <a:gd name="T64" fmla="*/ 2147483646 w 248"/>
              <a:gd name="T65" fmla="*/ 2147483646 h 181"/>
              <a:gd name="T66" fmla="*/ 2147483646 w 248"/>
              <a:gd name="T67" fmla="*/ 2147483646 h 181"/>
              <a:gd name="T68" fmla="*/ 2147483646 w 248"/>
              <a:gd name="T69" fmla="*/ 2147483646 h 181"/>
              <a:gd name="T70" fmla="*/ 2147483646 w 248"/>
              <a:gd name="T71" fmla="*/ 2147483646 h 181"/>
              <a:gd name="T72" fmla="*/ 2147483646 w 248"/>
              <a:gd name="T73" fmla="*/ 2147483646 h 181"/>
              <a:gd name="T74" fmla="*/ 2147483646 w 248"/>
              <a:gd name="T75" fmla="*/ 2147483646 h 181"/>
              <a:gd name="T76" fmla="*/ 2147483646 w 248"/>
              <a:gd name="T77" fmla="*/ 2147483646 h 181"/>
              <a:gd name="T78" fmla="*/ 2147483646 w 248"/>
              <a:gd name="T79" fmla="*/ 2147483646 h 181"/>
              <a:gd name="T80" fmla="*/ 2147483646 w 248"/>
              <a:gd name="T81" fmla="*/ 2147483646 h 181"/>
              <a:gd name="T82" fmla="*/ 2147483646 w 248"/>
              <a:gd name="T83" fmla="*/ 2147483646 h 181"/>
              <a:gd name="T84" fmla="*/ 2147483646 w 248"/>
              <a:gd name="T85" fmla="*/ 2147483646 h 181"/>
              <a:gd name="T86" fmla="*/ 2147483646 w 248"/>
              <a:gd name="T87" fmla="*/ 2147483646 h 181"/>
              <a:gd name="T88" fmla="*/ 2147483646 w 248"/>
              <a:gd name="T89" fmla="*/ 2147483646 h 181"/>
              <a:gd name="T90" fmla="*/ 2147483646 w 248"/>
              <a:gd name="T91" fmla="*/ 2147483646 h 181"/>
              <a:gd name="T92" fmla="*/ 2147483646 w 248"/>
              <a:gd name="T93" fmla="*/ 2147483646 h 181"/>
              <a:gd name="T94" fmla="*/ 2147483646 w 248"/>
              <a:gd name="T95" fmla="*/ 2147483646 h 181"/>
              <a:gd name="T96" fmla="*/ 2147483646 w 248"/>
              <a:gd name="T97" fmla="*/ 2147483646 h 181"/>
              <a:gd name="T98" fmla="*/ 2147483646 w 248"/>
              <a:gd name="T99" fmla="*/ 2147483646 h 181"/>
              <a:gd name="T100" fmla="*/ 2147483646 w 248"/>
              <a:gd name="T101" fmla="*/ 2147483646 h 181"/>
              <a:gd name="T102" fmla="*/ 2147483646 w 248"/>
              <a:gd name="T103" fmla="*/ 2147483646 h 181"/>
              <a:gd name="T104" fmla="*/ 2147483646 w 248"/>
              <a:gd name="T105" fmla="*/ 2147483646 h 181"/>
              <a:gd name="T106" fmla="*/ 2147483646 w 248"/>
              <a:gd name="T107" fmla="*/ 2147483646 h 181"/>
              <a:gd name="T108" fmla="*/ 2147483646 w 248"/>
              <a:gd name="T109" fmla="*/ 2147483646 h 181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48"/>
              <a:gd name="T166" fmla="*/ 0 h 181"/>
              <a:gd name="T167" fmla="*/ 248 w 248"/>
              <a:gd name="T168" fmla="*/ 181 h 181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48" h="181">
                <a:moveTo>
                  <a:pt x="247" y="121"/>
                </a:moveTo>
                <a:cubicBezTo>
                  <a:pt x="246" y="119"/>
                  <a:pt x="245" y="118"/>
                  <a:pt x="244" y="116"/>
                </a:cubicBezTo>
                <a:cubicBezTo>
                  <a:pt x="239" y="114"/>
                  <a:pt x="235" y="115"/>
                  <a:pt x="229" y="115"/>
                </a:cubicBezTo>
                <a:cubicBezTo>
                  <a:pt x="225" y="115"/>
                  <a:pt x="218" y="114"/>
                  <a:pt x="214" y="117"/>
                </a:cubicBezTo>
                <a:cubicBezTo>
                  <a:pt x="211" y="115"/>
                  <a:pt x="205" y="110"/>
                  <a:pt x="205" y="107"/>
                </a:cubicBezTo>
                <a:cubicBezTo>
                  <a:pt x="204" y="103"/>
                  <a:pt x="209" y="95"/>
                  <a:pt x="209" y="91"/>
                </a:cubicBezTo>
                <a:cubicBezTo>
                  <a:pt x="210" y="82"/>
                  <a:pt x="206" y="74"/>
                  <a:pt x="205" y="65"/>
                </a:cubicBezTo>
                <a:cubicBezTo>
                  <a:pt x="205" y="60"/>
                  <a:pt x="208" y="53"/>
                  <a:pt x="205" y="48"/>
                </a:cubicBezTo>
                <a:cubicBezTo>
                  <a:pt x="202" y="42"/>
                  <a:pt x="194" y="36"/>
                  <a:pt x="188" y="32"/>
                </a:cubicBezTo>
                <a:cubicBezTo>
                  <a:pt x="182" y="27"/>
                  <a:pt x="178" y="20"/>
                  <a:pt x="177" y="12"/>
                </a:cubicBezTo>
                <a:cubicBezTo>
                  <a:pt x="176" y="9"/>
                  <a:pt x="177" y="5"/>
                  <a:pt x="175" y="3"/>
                </a:cubicBezTo>
                <a:cubicBezTo>
                  <a:pt x="173" y="0"/>
                  <a:pt x="166" y="1"/>
                  <a:pt x="163" y="1"/>
                </a:cubicBezTo>
                <a:cubicBezTo>
                  <a:pt x="155" y="1"/>
                  <a:pt x="156" y="2"/>
                  <a:pt x="154" y="11"/>
                </a:cubicBezTo>
                <a:cubicBezTo>
                  <a:pt x="152" y="11"/>
                  <a:pt x="151" y="12"/>
                  <a:pt x="149" y="12"/>
                </a:cubicBezTo>
                <a:cubicBezTo>
                  <a:pt x="141" y="15"/>
                  <a:pt x="135" y="22"/>
                  <a:pt x="126" y="19"/>
                </a:cubicBezTo>
                <a:cubicBezTo>
                  <a:pt x="121" y="17"/>
                  <a:pt x="117" y="19"/>
                  <a:pt x="112" y="17"/>
                </a:cubicBezTo>
                <a:cubicBezTo>
                  <a:pt x="104" y="15"/>
                  <a:pt x="96" y="10"/>
                  <a:pt x="87" y="10"/>
                </a:cubicBezTo>
                <a:cubicBezTo>
                  <a:pt x="84" y="10"/>
                  <a:pt x="79" y="11"/>
                  <a:pt x="76" y="13"/>
                </a:cubicBezTo>
                <a:cubicBezTo>
                  <a:pt x="72" y="15"/>
                  <a:pt x="72" y="18"/>
                  <a:pt x="69" y="22"/>
                </a:cubicBezTo>
                <a:cubicBezTo>
                  <a:pt x="65" y="27"/>
                  <a:pt x="57" y="23"/>
                  <a:pt x="52" y="28"/>
                </a:cubicBezTo>
                <a:cubicBezTo>
                  <a:pt x="44" y="34"/>
                  <a:pt x="40" y="46"/>
                  <a:pt x="36" y="56"/>
                </a:cubicBezTo>
                <a:cubicBezTo>
                  <a:pt x="33" y="62"/>
                  <a:pt x="31" y="75"/>
                  <a:pt x="25" y="78"/>
                </a:cubicBezTo>
                <a:cubicBezTo>
                  <a:pt x="21" y="80"/>
                  <a:pt x="14" y="80"/>
                  <a:pt x="10" y="82"/>
                </a:cubicBezTo>
                <a:cubicBezTo>
                  <a:pt x="6" y="83"/>
                  <a:pt x="4" y="83"/>
                  <a:pt x="0" y="83"/>
                </a:cubicBezTo>
                <a:cubicBezTo>
                  <a:pt x="0" y="83"/>
                  <a:pt x="0" y="83"/>
                  <a:pt x="0" y="83"/>
                </a:cubicBezTo>
                <a:cubicBezTo>
                  <a:pt x="1" y="84"/>
                  <a:pt x="1" y="84"/>
                  <a:pt x="2" y="85"/>
                </a:cubicBezTo>
                <a:cubicBezTo>
                  <a:pt x="6" y="90"/>
                  <a:pt x="8" y="98"/>
                  <a:pt x="11" y="104"/>
                </a:cubicBezTo>
                <a:cubicBezTo>
                  <a:pt x="14" y="109"/>
                  <a:pt x="17" y="114"/>
                  <a:pt x="20" y="119"/>
                </a:cubicBezTo>
                <a:cubicBezTo>
                  <a:pt x="25" y="118"/>
                  <a:pt x="29" y="122"/>
                  <a:pt x="34" y="123"/>
                </a:cubicBezTo>
                <a:cubicBezTo>
                  <a:pt x="34" y="126"/>
                  <a:pt x="32" y="131"/>
                  <a:pt x="31" y="134"/>
                </a:cubicBezTo>
                <a:cubicBezTo>
                  <a:pt x="38" y="135"/>
                  <a:pt x="44" y="140"/>
                  <a:pt x="50" y="143"/>
                </a:cubicBezTo>
                <a:cubicBezTo>
                  <a:pt x="54" y="145"/>
                  <a:pt x="58" y="146"/>
                  <a:pt x="61" y="148"/>
                </a:cubicBezTo>
                <a:cubicBezTo>
                  <a:pt x="64" y="150"/>
                  <a:pt x="65" y="153"/>
                  <a:pt x="67" y="156"/>
                </a:cubicBezTo>
                <a:cubicBezTo>
                  <a:pt x="66" y="159"/>
                  <a:pt x="64" y="162"/>
                  <a:pt x="63" y="164"/>
                </a:cubicBezTo>
                <a:cubicBezTo>
                  <a:pt x="63" y="164"/>
                  <a:pt x="63" y="164"/>
                  <a:pt x="63" y="164"/>
                </a:cubicBezTo>
                <a:cubicBezTo>
                  <a:pt x="70" y="164"/>
                  <a:pt x="75" y="167"/>
                  <a:pt x="82" y="170"/>
                </a:cubicBezTo>
                <a:cubicBezTo>
                  <a:pt x="88" y="173"/>
                  <a:pt x="95" y="171"/>
                  <a:pt x="102" y="174"/>
                </a:cubicBezTo>
                <a:cubicBezTo>
                  <a:pt x="109" y="177"/>
                  <a:pt x="115" y="178"/>
                  <a:pt x="123" y="177"/>
                </a:cubicBezTo>
                <a:cubicBezTo>
                  <a:pt x="126" y="176"/>
                  <a:pt x="128" y="175"/>
                  <a:pt x="131" y="175"/>
                </a:cubicBezTo>
                <a:cubicBezTo>
                  <a:pt x="134" y="176"/>
                  <a:pt x="136" y="179"/>
                  <a:pt x="139" y="179"/>
                </a:cubicBezTo>
                <a:cubicBezTo>
                  <a:pt x="143" y="179"/>
                  <a:pt x="146" y="174"/>
                  <a:pt x="149" y="171"/>
                </a:cubicBezTo>
                <a:cubicBezTo>
                  <a:pt x="153" y="169"/>
                  <a:pt x="156" y="168"/>
                  <a:pt x="160" y="167"/>
                </a:cubicBezTo>
                <a:cubicBezTo>
                  <a:pt x="167" y="166"/>
                  <a:pt x="176" y="160"/>
                  <a:pt x="183" y="161"/>
                </a:cubicBezTo>
                <a:cubicBezTo>
                  <a:pt x="189" y="161"/>
                  <a:pt x="192" y="165"/>
                  <a:pt x="197" y="167"/>
                </a:cubicBezTo>
                <a:cubicBezTo>
                  <a:pt x="201" y="169"/>
                  <a:pt x="206" y="171"/>
                  <a:pt x="211" y="173"/>
                </a:cubicBezTo>
                <a:cubicBezTo>
                  <a:pt x="216" y="175"/>
                  <a:pt x="219" y="175"/>
                  <a:pt x="221" y="181"/>
                </a:cubicBezTo>
                <a:cubicBezTo>
                  <a:pt x="221" y="181"/>
                  <a:pt x="221" y="181"/>
                  <a:pt x="221" y="181"/>
                </a:cubicBezTo>
                <a:cubicBezTo>
                  <a:pt x="222" y="170"/>
                  <a:pt x="224" y="166"/>
                  <a:pt x="223" y="160"/>
                </a:cubicBezTo>
                <a:cubicBezTo>
                  <a:pt x="222" y="154"/>
                  <a:pt x="220" y="151"/>
                  <a:pt x="222" y="147"/>
                </a:cubicBezTo>
                <a:cubicBezTo>
                  <a:pt x="224" y="142"/>
                  <a:pt x="228" y="141"/>
                  <a:pt x="228" y="141"/>
                </a:cubicBezTo>
                <a:cubicBezTo>
                  <a:pt x="228" y="141"/>
                  <a:pt x="216" y="137"/>
                  <a:pt x="223" y="133"/>
                </a:cubicBezTo>
                <a:cubicBezTo>
                  <a:pt x="230" y="128"/>
                  <a:pt x="237" y="128"/>
                  <a:pt x="236" y="135"/>
                </a:cubicBezTo>
                <a:cubicBezTo>
                  <a:pt x="235" y="142"/>
                  <a:pt x="236" y="141"/>
                  <a:pt x="240" y="140"/>
                </a:cubicBezTo>
                <a:cubicBezTo>
                  <a:pt x="244" y="138"/>
                  <a:pt x="247" y="127"/>
                  <a:pt x="248" y="121"/>
                </a:cubicBezTo>
                <a:lnTo>
                  <a:pt x="247" y="12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9" name="Freeform 534"/>
          <p:cNvSpPr>
            <a:spLocks/>
          </p:cNvSpPr>
          <p:nvPr userDrawn="1"/>
        </p:nvSpPr>
        <p:spPr bwMode="auto">
          <a:xfrm>
            <a:off x="6160694" y="3644472"/>
            <a:ext cx="77055" cy="98829"/>
          </a:xfrm>
          <a:custGeom>
            <a:avLst/>
            <a:gdLst>
              <a:gd name="T0" fmla="*/ 0 w 84"/>
              <a:gd name="T1" fmla="*/ 2147483646 h 106"/>
              <a:gd name="T2" fmla="*/ 2147483646 w 84"/>
              <a:gd name="T3" fmla="*/ 2147483646 h 106"/>
              <a:gd name="T4" fmla="*/ 2147483646 w 84"/>
              <a:gd name="T5" fmla="*/ 2147483646 h 106"/>
              <a:gd name="T6" fmla="*/ 2147483646 w 84"/>
              <a:gd name="T7" fmla="*/ 2147483646 h 106"/>
              <a:gd name="T8" fmla="*/ 2147483646 w 84"/>
              <a:gd name="T9" fmla="*/ 2147483646 h 106"/>
              <a:gd name="T10" fmla="*/ 2147483646 w 84"/>
              <a:gd name="T11" fmla="*/ 2147483646 h 106"/>
              <a:gd name="T12" fmla="*/ 2147483646 w 84"/>
              <a:gd name="T13" fmla="*/ 2147483646 h 106"/>
              <a:gd name="T14" fmla="*/ 2147483646 w 84"/>
              <a:gd name="T15" fmla="*/ 2147483646 h 106"/>
              <a:gd name="T16" fmla="*/ 2147483646 w 84"/>
              <a:gd name="T17" fmla="*/ 2147483646 h 106"/>
              <a:gd name="T18" fmla="*/ 2147483646 w 84"/>
              <a:gd name="T19" fmla="*/ 2147483646 h 106"/>
              <a:gd name="T20" fmla="*/ 2147483646 w 84"/>
              <a:gd name="T21" fmla="*/ 2147483646 h 106"/>
              <a:gd name="T22" fmla="*/ 2147483646 w 84"/>
              <a:gd name="T23" fmla="*/ 2147483646 h 106"/>
              <a:gd name="T24" fmla="*/ 2147483646 w 84"/>
              <a:gd name="T25" fmla="*/ 2147483646 h 106"/>
              <a:gd name="T26" fmla="*/ 2147483646 w 84"/>
              <a:gd name="T27" fmla="*/ 2147483646 h 106"/>
              <a:gd name="T28" fmla="*/ 2147483646 w 84"/>
              <a:gd name="T29" fmla="*/ 2147483646 h 106"/>
              <a:gd name="T30" fmla="*/ 2147483646 w 84"/>
              <a:gd name="T31" fmla="*/ 2147483646 h 106"/>
              <a:gd name="T32" fmla="*/ 2147483646 w 84"/>
              <a:gd name="T33" fmla="*/ 2147483646 h 106"/>
              <a:gd name="T34" fmla="*/ 2147483646 w 84"/>
              <a:gd name="T35" fmla="*/ 2147483646 h 106"/>
              <a:gd name="T36" fmla="*/ 2147483646 w 84"/>
              <a:gd name="T37" fmla="*/ 2147483646 h 106"/>
              <a:gd name="T38" fmla="*/ 2147483646 w 84"/>
              <a:gd name="T39" fmla="*/ 2147483646 h 106"/>
              <a:gd name="T40" fmla="*/ 2147483646 w 84"/>
              <a:gd name="T41" fmla="*/ 2147483646 h 106"/>
              <a:gd name="T42" fmla="*/ 0 w 84"/>
              <a:gd name="T43" fmla="*/ 2147483646 h 10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4"/>
              <a:gd name="T67" fmla="*/ 0 h 106"/>
              <a:gd name="T68" fmla="*/ 84 w 84"/>
              <a:gd name="T69" fmla="*/ 106 h 10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4" h="106">
                <a:moveTo>
                  <a:pt x="0" y="11"/>
                </a:moveTo>
                <a:cubicBezTo>
                  <a:pt x="1" y="10"/>
                  <a:pt x="1" y="6"/>
                  <a:pt x="2" y="5"/>
                </a:cubicBezTo>
                <a:cubicBezTo>
                  <a:pt x="4" y="3"/>
                  <a:pt x="6" y="3"/>
                  <a:pt x="8" y="3"/>
                </a:cubicBezTo>
                <a:cubicBezTo>
                  <a:pt x="17" y="1"/>
                  <a:pt x="18" y="0"/>
                  <a:pt x="25" y="4"/>
                </a:cubicBezTo>
                <a:cubicBezTo>
                  <a:pt x="32" y="8"/>
                  <a:pt x="39" y="9"/>
                  <a:pt x="46" y="12"/>
                </a:cubicBezTo>
                <a:cubicBezTo>
                  <a:pt x="51" y="14"/>
                  <a:pt x="58" y="16"/>
                  <a:pt x="60" y="20"/>
                </a:cubicBezTo>
                <a:cubicBezTo>
                  <a:pt x="61" y="23"/>
                  <a:pt x="61" y="28"/>
                  <a:pt x="63" y="31"/>
                </a:cubicBezTo>
                <a:cubicBezTo>
                  <a:pt x="64" y="35"/>
                  <a:pt x="66" y="39"/>
                  <a:pt x="67" y="43"/>
                </a:cubicBezTo>
                <a:cubicBezTo>
                  <a:pt x="69" y="49"/>
                  <a:pt x="72" y="54"/>
                  <a:pt x="76" y="59"/>
                </a:cubicBezTo>
                <a:cubicBezTo>
                  <a:pt x="80" y="63"/>
                  <a:pt x="82" y="64"/>
                  <a:pt x="82" y="69"/>
                </a:cubicBezTo>
                <a:cubicBezTo>
                  <a:pt x="82" y="73"/>
                  <a:pt x="84" y="78"/>
                  <a:pt x="83" y="82"/>
                </a:cubicBezTo>
                <a:cubicBezTo>
                  <a:pt x="78" y="83"/>
                  <a:pt x="75" y="82"/>
                  <a:pt x="69" y="81"/>
                </a:cubicBezTo>
                <a:cubicBezTo>
                  <a:pt x="64" y="81"/>
                  <a:pt x="58" y="80"/>
                  <a:pt x="55" y="85"/>
                </a:cubicBezTo>
                <a:cubicBezTo>
                  <a:pt x="53" y="89"/>
                  <a:pt x="54" y="98"/>
                  <a:pt x="50" y="102"/>
                </a:cubicBezTo>
                <a:cubicBezTo>
                  <a:pt x="47" y="105"/>
                  <a:pt x="39" y="105"/>
                  <a:pt x="36" y="106"/>
                </a:cubicBezTo>
                <a:cubicBezTo>
                  <a:pt x="38" y="101"/>
                  <a:pt x="38" y="101"/>
                  <a:pt x="38" y="101"/>
                </a:cubicBezTo>
                <a:cubicBezTo>
                  <a:pt x="39" y="92"/>
                  <a:pt x="34" y="84"/>
                  <a:pt x="34" y="75"/>
                </a:cubicBezTo>
                <a:cubicBezTo>
                  <a:pt x="34" y="70"/>
                  <a:pt x="36" y="63"/>
                  <a:pt x="34" y="58"/>
                </a:cubicBezTo>
                <a:cubicBezTo>
                  <a:pt x="31" y="52"/>
                  <a:pt x="23" y="46"/>
                  <a:pt x="17" y="42"/>
                </a:cubicBezTo>
                <a:cubicBezTo>
                  <a:pt x="11" y="37"/>
                  <a:pt x="7" y="30"/>
                  <a:pt x="6" y="22"/>
                </a:cubicBezTo>
                <a:cubicBezTo>
                  <a:pt x="5" y="19"/>
                  <a:pt x="6" y="15"/>
                  <a:pt x="4" y="13"/>
                </a:cubicBezTo>
                <a:cubicBezTo>
                  <a:pt x="3" y="12"/>
                  <a:pt x="2" y="11"/>
                  <a:pt x="0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0" name="Freeform 535"/>
          <p:cNvSpPr>
            <a:spLocks/>
          </p:cNvSpPr>
          <p:nvPr userDrawn="1"/>
        </p:nvSpPr>
        <p:spPr bwMode="auto">
          <a:xfrm>
            <a:off x="5902730" y="3641122"/>
            <a:ext cx="160809" cy="100505"/>
          </a:xfrm>
          <a:custGeom>
            <a:avLst/>
            <a:gdLst>
              <a:gd name="T0" fmla="*/ 2147483646 w 173"/>
              <a:gd name="T1" fmla="*/ 2147483646 h 109"/>
              <a:gd name="T2" fmla="*/ 2147483646 w 173"/>
              <a:gd name="T3" fmla="*/ 2147483646 h 109"/>
              <a:gd name="T4" fmla="*/ 2147483646 w 173"/>
              <a:gd name="T5" fmla="*/ 2147483646 h 109"/>
              <a:gd name="T6" fmla="*/ 2147483646 w 173"/>
              <a:gd name="T7" fmla="*/ 2147483646 h 109"/>
              <a:gd name="T8" fmla="*/ 2147483646 w 173"/>
              <a:gd name="T9" fmla="*/ 2147483646 h 109"/>
              <a:gd name="T10" fmla="*/ 2147483646 w 173"/>
              <a:gd name="T11" fmla="*/ 2147483646 h 109"/>
              <a:gd name="T12" fmla="*/ 2147483646 w 173"/>
              <a:gd name="T13" fmla="*/ 2147483646 h 109"/>
              <a:gd name="T14" fmla="*/ 0 w 173"/>
              <a:gd name="T15" fmla="*/ 2147483646 h 109"/>
              <a:gd name="T16" fmla="*/ 0 w 173"/>
              <a:gd name="T17" fmla="*/ 2147483646 h 109"/>
              <a:gd name="T18" fmla="*/ 2147483646 w 173"/>
              <a:gd name="T19" fmla="*/ 2147483646 h 109"/>
              <a:gd name="T20" fmla="*/ 2147483646 w 173"/>
              <a:gd name="T21" fmla="*/ 2147483646 h 109"/>
              <a:gd name="T22" fmla="*/ 2147483646 w 173"/>
              <a:gd name="T23" fmla="*/ 2147483646 h 109"/>
              <a:gd name="T24" fmla="*/ 2147483646 w 173"/>
              <a:gd name="T25" fmla="*/ 2147483646 h 109"/>
              <a:gd name="T26" fmla="*/ 2147483646 w 173"/>
              <a:gd name="T27" fmla="*/ 2147483646 h 109"/>
              <a:gd name="T28" fmla="*/ 2147483646 w 173"/>
              <a:gd name="T29" fmla="*/ 2147483646 h 109"/>
              <a:gd name="T30" fmla="*/ 2147483646 w 173"/>
              <a:gd name="T31" fmla="*/ 2147483646 h 109"/>
              <a:gd name="T32" fmla="*/ 2147483646 w 173"/>
              <a:gd name="T33" fmla="*/ 2147483646 h 109"/>
              <a:gd name="T34" fmla="*/ 2147483646 w 173"/>
              <a:gd name="T35" fmla="*/ 2147483646 h 109"/>
              <a:gd name="T36" fmla="*/ 2147483646 w 173"/>
              <a:gd name="T37" fmla="*/ 2147483646 h 109"/>
              <a:gd name="T38" fmla="*/ 2147483646 w 173"/>
              <a:gd name="T39" fmla="*/ 2147483646 h 109"/>
              <a:gd name="T40" fmla="*/ 2147483646 w 173"/>
              <a:gd name="T41" fmla="*/ 2147483646 h 109"/>
              <a:gd name="T42" fmla="*/ 2147483646 w 173"/>
              <a:gd name="T43" fmla="*/ 0 h 109"/>
              <a:gd name="T44" fmla="*/ 2147483646 w 173"/>
              <a:gd name="T45" fmla="*/ 2147483646 h 109"/>
              <a:gd name="T46" fmla="*/ 2147483646 w 173"/>
              <a:gd name="T47" fmla="*/ 2147483646 h 109"/>
              <a:gd name="T48" fmla="*/ 2147483646 w 173"/>
              <a:gd name="T49" fmla="*/ 2147483646 h 109"/>
              <a:gd name="T50" fmla="*/ 2147483646 w 173"/>
              <a:gd name="T51" fmla="*/ 2147483646 h 109"/>
              <a:gd name="T52" fmla="*/ 2147483646 w 173"/>
              <a:gd name="T53" fmla="*/ 2147483646 h 109"/>
              <a:gd name="T54" fmla="*/ 2147483646 w 173"/>
              <a:gd name="T55" fmla="*/ 2147483646 h 109"/>
              <a:gd name="T56" fmla="*/ 2147483646 w 173"/>
              <a:gd name="T57" fmla="*/ 2147483646 h 109"/>
              <a:gd name="T58" fmla="*/ 2147483646 w 173"/>
              <a:gd name="T59" fmla="*/ 2147483646 h 109"/>
              <a:gd name="T60" fmla="*/ 2147483646 w 173"/>
              <a:gd name="T61" fmla="*/ 2147483646 h 109"/>
              <a:gd name="T62" fmla="*/ 2147483646 w 173"/>
              <a:gd name="T63" fmla="*/ 2147483646 h 109"/>
              <a:gd name="T64" fmla="*/ 2147483646 w 173"/>
              <a:gd name="T65" fmla="*/ 2147483646 h 109"/>
              <a:gd name="T66" fmla="*/ 2147483646 w 173"/>
              <a:gd name="T67" fmla="*/ 2147483646 h 109"/>
              <a:gd name="T68" fmla="*/ 2147483646 w 173"/>
              <a:gd name="T69" fmla="*/ 2147483646 h 109"/>
              <a:gd name="T70" fmla="*/ 2147483646 w 173"/>
              <a:gd name="T71" fmla="*/ 2147483646 h 10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73"/>
              <a:gd name="T109" fmla="*/ 0 h 109"/>
              <a:gd name="T110" fmla="*/ 173 w 173"/>
              <a:gd name="T111" fmla="*/ 109 h 10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73" h="109">
                <a:moveTo>
                  <a:pt x="98" y="97"/>
                </a:moveTo>
                <a:cubicBezTo>
                  <a:pt x="95" y="97"/>
                  <a:pt x="89" y="96"/>
                  <a:pt x="86" y="97"/>
                </a:cubicBezTo>
                <a:cubicBezTo>
                  <a:pt x="82" y="100"/>
                  <a:pt x="82" y="104"/>
                  <a:pt x="76" y="105"/>
                </a:cubicBezTo>
                <a:cubicBezTo>
                  <a:pt x="71" y="106"/>
                  <a:pt x="64" y="109"/>
                  <a:pt x="59" y="109"/>
                </a:cubicBezTo>
                <a:cubicBezTo>
                  <a:pt x="55" y="109"/>
                  <a:pt x="48" y="100"/>
                  <a:pt x="45" y="109"/>
                </a:cubicBezTo>
                <a:cubicBezTo>
                  <a:pt x="36" y="104"/>
                  <a:pt x="29" y="97"/>
                  <a:pt x="22" y="90"/>
                </a:cubicBezTo>
                <a:cubicBezTo>
                  <a:pt x="18" y="86"/>
                  <a:pt x="15" y="84"/>
                  <a:pt x="11" y="80"/>
                </a:cubicBezTo>
                <a:cubicBezTo>
                  <a:pt x="7" y="76"/>
                  <a:pt x="4" y="70"/>
                  <a:pt x="0" y="65"/>
                </a:cubicBezTo>
                <a:cubicBezTo>
                  <a:pt x="0" y="65"/>
                  <a:pt x="0" y="65"/>
                  <a:pt x="0" y="65"/>
                </a:cubicBezTo>
                <a:cubicBezTo>
                  <a:pt x="3" y="60"/>
                  <a:pt x="9" y="57"/>
                  <a:pt x="12" y="52"/>
                </a:cubicBezTo>
                <a:cubicBezTo>
                  <a:pt x="14" y="48"/>
                  <a:pt x="11" y="46"/>
                  <a:pt x="11" y="43"/>
                </a:cubicBezTo>
                <a:cubicBezTo>
                  <a:pt x="12" y="39"/>
                  <a:pt x="17" y="37"/>
                  <a:pt x="19" y="33"/>
                </a:cubicBezTo>
                <a:cubicBezTo>
                  <a:pt x="21" y="28"/>
                  <a:pt x="18" y="23"/>
                  <a:pt x="17" y="18"/>
                </a:cubicBezTo>
                <a:cubicBezTo>
                  <a:pt x="18" y="18"/>
                  <a:pt x="18" y="18"/>
                  <a:pt x="18" y="18"/>
                </a:cubicBezTo>
                <a:cubicBezTo>
                  <a:pt x="26" y="21"/>
                  <a:pt x="33" y="29"/>
                  <a:pt x="40" y="34"/>
                </a:cubicBezTo>
                <a:cubicBezTo>
                  <a:pt x="48" y="39"/>
                  <a:pt x="60" y="36"/>
                  <a:pt x="70" y="35"/>
                </a:cubicBezTo>
                <a:cubicBezTo>
                  <a:pt x="69" y="31"/>
                  <a:pt x="71" y="24"/>
                  <a:pt x="75" y="22"/>
                </a:cubicBezTo>
                <a:cubicBezTo>
                  <a:pt x="76" y="21"/>
                  <a:pt x="79" y="22"/>
                  <a:pt x="81" y="21"/>
                </a:cubicBezTo>
                <a:cubicBezTo>
                  <a:pt x="84" y="21"/>
                  <a:pt x="86" y="19"/>
                  <a:pt x="88" y="18"/>
                </a:cubicBezTo>
                <a:cubicBezTo>
                  <a:pt x="91" y="16"/>
                  <a:pt x="94" y="13"/>
                  <a:pt x="96" y="14"/>
                </a:cubicBezTo>
                <a:cubicBezTo>
                  <a:pt x="100" y="15"/>
                  <a:pt x="104" y="21"/>
                  <a:pt x="107" y="23"/>
                </a:cubicBezTo>
                <a:cubicBezTo>
                  <a:pt x="107" y="15"/>
                  <a:pt x="112" y="6"/>
                  <a:pt x="115" y="0"/>
                </a:cubicBezTo>
                <a:cubicBezTo>
                  <a:pt x="117" y="3"/>
                  <a:pt x="120" y="6"/>
                  <a:pt x="122" y="10"/>
                </a:cubicBezTo>
                <a:cubicBezTo>
                  <a:pt x="126" y="8"/>
                  <a:pt x="126" y="7"/>
                  <a:pt x="130" y="7"/>
                </a:cubicBezTo>
                <a:cubicBezTo>
                  <a:pt x="134" y="8"/>
                  <a:pt x="137" y="9"/>
                  <a:pt x="141" y="9"/>
                </a:cubicBezTo>
                <a:cubicBezTo>
                  <a:pt x="145" y="8"/>
                  <a:pt x="146" y="8"/>
                  <a:pt x="149" y="9"/>
                </a:cubicBezTo>
                <a:cubicBezTo>
                  <a:pt x="152" y="10"/>
                  <a:pt x="154" y="11"/>
                  <a:pt x="158" y="11"/>
                </a:cubicBezTo>
                <a:cubicBezTo>
                  <a:pt x="159" y="13"/>
                  <a:pt x="159" y="13"/>
                  <a:pt x="159" y="13"/>
                </a:cubicBezTo>
                <a:cubicBezTo>
                  <a:pt x="163" y="21"/>
                  <a:pt x="170" y="28"/>
                  <a:pt x="173" y="36"/>
                </a:cubicBezTo>
                <a:cubicBezTo>
                  <a:pt x="173" y="37"/>
                  <a:pt x="173" y="37"/>
                  <a:pt x="173" y="37"/>
                </a:cubicBezTo>
                <a:cubicBezTo>
                  <a:pt x="169" y="40"/>
                  <a:pt x="162" y="37"/>
                  <a:pt x="157" y="42"/>
                </a:cubicBezTo>
                <a:cubicBezTo>
                  <a:pt x="149" y="48"/>
                  <a:pt x="145" y="60"/>
                  <a:pt x="141" y="70"/>
                </a:cubicBezTo>
                <a:cubicBezTo>
                  <a:pt x="138" y="76"/>
                  <a:pt x="136" y="89"/>
                  <a:pt x="130" y="92"/>
                </a:cubicBezTo>
                <a:cubicBezTo>
                  <a:pt x="126" y="94"/>
                  <a:pt x="119" y="94"/>
                  <a:pt x="115" y="96"/>
                </a:cubicBezTo>
                <a:cubicBezTo>
                  <a:pt x="111" y="97"/>
                  <a:pt x="109" y="97"/>
                  <a:pt x="105" y="97"/>
                </a:cubicBezTo>
                <a:lnTo>
                  <a:pt x="98" y="97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1" name="Freeform 536"/>
          <p:cNvSpPr>
            <a:spLocks/>
          </p:cNvSpPr>
          <p:nvPr userDrawn="1"/>
        </p:nvSpPr>
        <p:spPr bwMode="auto">
          <a:xfrm>
            <a:off x="5919480" y="3602593"/>
            <a:ext cx="134008" cy="73704"/>
          </a:xfrm>
          <a:custGeom>
            <a:avLst/>
            <a:gdLst>
              <a:gd name="T0" fmla="*/ 2147483646 w 143"/>
              <a:gd name="T1" fmla="*/ 2147483646 h 79"/>
              <a:gd name="T2" fmla="*/ 2147483646 w 143"/>
              <a:gd name="T3" fmla="*/ 2147483646 h 79"/>
              <a:gd name="T4" fmla="*/ 2147483646 w 143"/>
              <a:gd name="T5" fmla="*/ 2147483646 h 79"/>
              <a:gd name="T6" fmla="*/ 2147483646 w 143"/>
              <a:gd name="T7" fmla="*/ 2147483646 h 79"/>
              <a:gd name="T8" fmla="*/ 2147483646 w 143"/>
              <a:gd name="T9" fmla="*/ 2147483646 h 79"/>
              <a:gd name="T10" fmla="*/ 2147483646 w 143"/>
              <a:gd name="T11" fmla="*/ 2147483646 h 79"/>
              <a:gd name="T12" fmla="*/ 2147483646 w 143"/>
              <a:gd name="T13" fmla="*/ 2147483646 h 79"/>
              <a:gd name="T14" fmla="*/ 2147483646 w 143"/>
              <a:gd name="T15" fmla="*/ 2147483646 h 79"/>
              <a:gd name="T16" fmla="*/ 2147483646 w 143"/>
              <a:gd name="T17" fmla="*/ 2147483646 h 79"/>
              <a:gd name="T18" fmla="*/ 2147483646 w 143"/>
              <a:gd name="T19" fmla="*/ 2147483646 h 79"/>
              <a:gd name="T20" fmla="*/ 2147483646 w 143"/>
              <a:gd name="T21" fmla="*/ 2147483646 h 79"/>
              <a:gd name="T22" fmla="*/ 2147483646 w 143"/>
              <a:gd name="T23" fmla="*/ 2147483646 h 79"/>
              <a:gd name="T24" fmla="*/ 2147483646 w 143"/>
              <a:gd name="T25" fmla="*/ 2147483646 h 79"/>
              <a:gd name="T26" fmla="*/ 2147483646 w 143"/>
              <a:gd name="T27" fmla="*/ 2147483646 h 79"/>
              <a:gd name="T28" fmla="*/ 2147483646 w 143"/>
              <a:gd name="T29" fmla="*/ 2147483646 h 79"/>
              <a:gd name="T30" fmla="*/ 2147483646 w 143"/>
              <a:gd name="T31" fmla="*/ 2147483646 h 79"/>
              <a:gd name="T32" fmla="*/ 2147483646 w 143"/>
              <a:gd name="T33" fmla="*/ 2147483646 h 79"/>
              <a:gd name="T34" fmla="*/ 2147483646 w 143"/>
              <a:gd name="T35" fmla="*/ 2147483646 h 79"/>
              <a:gd name="T36" fmla="*/ 2147483646 w 143"/>
              <a:gd name="T37" fmla="*/ 2147483646 h 79"/>
              <a:gd name="T38" fmla="*/ 2147483646 w 143"/>
              <a:gd name="T39" fmla="*/ 2147483646 h 79"/>
              <a:gd name="T40" fmla="*/ 2147483646 w 143"/>
              <a:gd name="T41" fmla="*/ 2147483646 h 79"/>
              <a:gd name="T42" fmla="*/ 2147483646 w 143"/>
              <a:gd name="T43" fmla="*/ 2147483646 h 79"/>
              <a:gd name="T44" fmla="*/ 2147483646 w 143"/>
              <a:gd name="T45" fmla="*/ 2147483646 h 79"/>
              <a:gd name="T46" fmla="*/ 2147483646 w 143"/>
              <a:gd name="T47" fmla="*/ 2147483646 h 79"/>
              <a:gd name="T48" fmla="*/ 2147483646 w 143"/>
              <a:gd name="T49" fmla="*/ 2147483646 h 79"/>
              <a:gd name="T50" fmla="*/ 2147483646 w 143"/>
              <a:gd name="T51" fmla="*/ 2147483646 h 79"/>
              <a:gd name="T52" fmla="*/ 2147483646 w 143"/>
              <a:gd name="T53" fmla="*/ 2147483646 h 79"/>
              <a:gd name="T54" fmla="*/ 2147483646 w 143"/>
              <a:gd name="T55" fmla="*/ 2147483646 h 79"/>
              <a:gd name="T56" fmla="*/ 2147483646 w 143"/>
              <a:gd name="T57" fmla="*/ 2147483646 h 79"/>
              <a:gd name="T58" fmla="*/ 2147483646 w 143"/>
              <a:gd name="T59" fmla="*/ 2147483646 h 79"/>
              <a:gd name="T60" fmla="*/ 2147483646 w 143"/>
              <a:gd name="T61" fmla="*/ 2147483646 h 79"/>
              <a:gd name="T62" fmla="*/ 2147483646 w 143"/>
              <a:gd name="T63" fmla="*/ 2147483646 h 79"/>
              <a:gd name="T64" fmla="*/ 2147483646 w 143"/>
              <a:gd name="T65" fmla="*/ 2147483646 h 79"/>
              <a:gd name="T66" fmla="*/ 2147483646 w 143"/>
              <a:gd name="T67" fmla="*/ 2147483646 h 79"/>
              <a:gd name="T68" fmla="*/ 0 w 143"/>
              <a:gd name="T69" fmla="*/ 2147483646 h 79"/>
              <a:gd name="T70" fmla="*/ 2147483646 w 143"/>
              <a:gd name="T71" fmla="*/ 2147483646 h 7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43"/>
              <a:gd name="T109" fmla="*/ 0 h 79"/>
              <a:gd name="T110" fmla="*/ 143 w 143"/>
              <a:gd name="T111" fmla="*/ 79 h 7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43" h="79">
                <a:moveTo>
                  <a:pt x="1" y="36"/>
                </a:moveTo>
                <a:cubicBezTo>
                  <a:pt x="1" y="34"/>
                  <a:pt x="3" y="28"/>
                  <a:pt x="5" y="26"/>
                </a:cubicBezTo>
                <a:cubicBezTo>
                  <a:pt x="8" y="22"/>
                  <a:pt x="15" y="24"/>
                  <a:pt x="20" y="24"/>
                </a:cubicBezTo>
                <a:cubicBezTo>
                  <a:pt x="23" y="24"/>
                  <a:pt x="24" y="24"/>
                  <a:pt x="27" y="22"/>
                </a:cubicBezTo>
                <a:cubicBezTo>
                  <a:pt x="30" y="19"/>
                  <a:pt x="29" y="13"/>
                  <a:pt x="31" y="9"/>
                </a:cubicBezTo>
                <a:cubicBezTo>
                  <a:pt x="35" y="4"/>
                  <a:pt x="47" y="12"/>
                  <a:pt x="50" y="6"/>
                </a:cubicBezTo>
                <a:cubicBezTo>
                  <a:pt x="50" y="6"/>
                  <a:pt x="50" y="6"/>
                  <a:pt x="50" y="6"/>
                </a:cubicBezTo>
                <a:cubicBezTo>
                  <a:pt x="53" y="9"/>
                  <a:pt x="57" y="12"/>
                  <a:pt x="58" y="12"/>
                </a:cubicBezTo>
                <a:cubicBezTo>
                  <a:pt x="64" y="14"/>
                  <a:pt x="63" y="2"/>
                  <a:pt x="69" y="1"/>
                </a:cubicBezTo>
                <a:cubicBezTo>
                  <a:pt x="71" y="4"/>
                  <a:pt x="71" y="13"/>
                  <a:pt x="74" y="15"/>
                </a:cubicBezTo>
                <a:cubicBezTo>
                  <a:pt x="78" y="17"/>
                  <a:pt x="79" y="13"/>
                  <a:pt x="82" y="12"/>
                </a:cubicBezTo>
                <a:cubicBezTo>
                  <a:pt x="86" y="10"/>
                  <a:pt x="90" y="11"/>
                  <a:pt x="94" y="10"/>
                </a:cubicBezTo>
                <a:cubicBezTo>
                  <a:pt x="100" y="8"/>
                  <a:pt x="103" y="10"/>
                  <a:pt x="108" y="10"/>
                </a:cubicBezTo>
                <a:cubicBezTo>
                  <a:pt x="107" y="2"/>
                  <a:pt x="117" y="8"/>
                  <a:pt x="120" y="7"/>
                </a:cubicBezTo>
                <a:cubicBezTo>
                  <a:pt x="124" y="5"/>
                  <a:pt x="125" y="0"/>
                  <a:pt x="129" y="3"/>
                </a:cubicBezTo>
                <a:cubicBezTo>
                  <a:pt x="129" y="3"/>
                  <a:pt x="130" y="7"/>
                  <a:pt x="131" y="8"/>
                </a:cubicBezTo>
                <a:cubicBezTo>
                  <a:pt x="133" y="10"/>
                  <a:pt x="136" y="13"/>
                  <a:pt x="139" y="16"/>
                </a:cubicBezTo>
                <a:cubicBezTo>
                  <a:pt x="140" y="16"/>
                  <a:pt x="141" y="18"/>
                  <a:pt x="143" y="19"/>
                </a:cubicBezTo>
                <a:cubicBezTo>
                  <a:pt x="142" y="20"/>
                  <a:pt x="142" y="20"/>
                  <a:pt x="142" y="20"/>
                </a:cubicBezTo>
                <a:cubicBezTo>
                  <a:pt x="142" y="22"/>
                  <a:pt x="141" y="25"/>
                  <a:pt x="140" y="27"/>
                </a:cubicBezTo>
                <a:cubicBezTo>
                  <a:pt x="138" y="34"/>
                  <a:pt x="137" y="42"/>
                  <a:pt x="140" y="51"/>
                </a:cubicBezTo>
                <a:cubicBezTo>
                  <a:pt x="139" y="51"/>
                  <a:pt x="139" y="51"/>
                  <a:pt x="139" y="51"/>
                </a:cubicBezTo>
                <a:cubicBezTo>
                  <a:pt x="136" y="51"/>
                  <a:pt x="134" y="50"/>
                  <a:pt x="131" y="49"/>
                </a:cubicBezTo>
                <a:cubicBezTo>
                  <a:pt x="128" y="48"/>
                  <a:pt x="127" y="48"/>
                  <a:pt x="123" y="49"/>
                </a:cubicBezTo>
                <a:cubicBezTo>
                  <a:pt x="118" y="49"/>
                  <a:pt x="116" y="48"/>
                  <a:pt x="112" y="47"/>
                </a:cubicBezTo>
                <a:cubicBezTo>
                  <a:pt x="108" y="47"/>
                  <a:pt x="107" y="48"/>
                  <a:pt x="104" y="50"/>
                </a:cubicBezTo>
                <a:cubicBezTo>
                  <a:pt x="102" y="46"/>
                  <a:pt x="99" y="43"/>
                  <a:pt x="97" y="40"/>
                </a:cubicBezTo>
                <a:cubicBezTo>
                  <a:pt x="94" y="46"/>
                  <a:pt x="89" y="55"/>
                  <a:pt x="89" y="63"/>
                </a:cubicBezTo>
                <a:cubicBezTo>
                  <a:pt x="86" y="61"/>
                  <a:pt x="82" y="55"/>
                  <a:pt x="78" y="54"/>
                </a:cubicBezTo>
                <a:cubicBezTo>
                  <a:pt x="76" y="53"/>
                  <a:pt x="73" y="56"/>
                  <a:pt x="70" y="58"/>
                </a:cubicBezTo>
                <a:cubicBezTo>
                  <a:pt x="68" y="59"/>
                  <a:pt x="66" y="61"/>
                  <a:pt x="63" y="61"/>
                </a:cubicBezTo>
                <a:cubicBezTo>
                  <a:pt x="61" y="62"/>
                  <a:pt x="58" y="61"/>
                  <a:pt x="57" y="62"/>
                </a:cubicBezTo>
                <a:cubicBezTo>
                  <a:pt x="53" y="64"/>
                  <a:pt x="51" y="71"/>
                  <a:pt x="51" y="75"/>
                </a:cubicBezTo>
                <a:cubicBezTo>
                  <a:pt x="42" y="76"/>
                  <a:pt x="30" y="79"/>
                  <a:pt x="22" y="74"/>
                </a:cubicBezTo>
                <a:cubicBezTo>
                  <a:pt x="15" y="69"/>
                  <a:pt x="8" y="61"/>
                  <a:pt x="0" y="58"/>
                </a:cubicBezTo>
                <a:cubicBezTo>
                  <a:pt x="2" y="52"/>
                  <a:pt x="1" y="43"/>
                  <a:pt x="1" y="3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2" name="Freeform 537"/>
          <p:cNvSpPr>
            <a:spLocks/>
          </p:cNvSpPr>
          <p:nvPr userDrawn="1"/>
        </p:nvSpPr>
        <p:spPr bwMode="auto">
          <a:xfrm>
            <a:off x="5919480" y="3602593"/>
            <a:ext cx="134008" cy="73704"/>
          </a:xfrm>
          <a:custGeom>
            <a:avLst/>
            <a:gdLst>
              <a:gd name="T0" fmla="*/ 2147483646 w 143"/>
              <a:gd name="T1" fmla="*/ 2147483646 h 79"/>
              <a:gd name="T2" fmla="*/ 2147483646 w 143"/>
              <a:gd name="T3" fmla="*/ 2147483646 h 79"/>
              <a:gd name="T4" fmla="*/ 2147483646 w 143"/>
              <a:gd name="T5" fmla="*/ 2147483646 h 79"/>
              <a:gd name="T6" fmla="*/ 2147483646 w 143"/>
              <a:gd name="T7" fmla="*/ 2147483646 h 79"/>
              <a:gd name="T8" fmla="*/ 2147483646 w 143"/>
              <a:gd name="T9" fmla="*/ 2147483646 h 79"/>
              <a:gd name="T10" fmla="*/ 2147483646 w 143"/>
              <a:gd name="T11" fmla="*/ 2147483646 h 79"/>
              <a:gd name="T12" fmla="*/ 2147483646 w 143"/>
              <a:gd name="T13" fmla="*/ 2147483646 h 79"/>
              <a:gd name="T14" fmla="*/ 2147483646 w 143"/>
              <a:gd name="T15" fmla="*/ 2147483646 h 79"/>
              <a:gd name="T16" fmla="*/ 2147483646 w 143"/>
              <a:gd name="T17" fmla="*/ 2147483646 h 79"/>
              <a:gd name="T18" fmla="*/ 2147483646 w 143"/>
              <a:gd name="T19" fmla="*/ 2147483646 h 79"/>
              <a:gd name="T20" fmla="*/ 2147483646 w 143"/>
              <a:gd name="T21" fmla="*/ 2147483646 h 79"/>
              <a:gd name="T22" fmla="*/ 2147483646 w 143"/>
              <a:gd name="T23" fmla="*/ 2147483646 h 79"/>
              <a:gd name="T24" fmla="*/ 2147483646 w 143"/>
              <a:gd name="T25" fmla="*/ 2147483646 h 79"/>
              <a:gd name="T26" fmla="*/ 2147483646 w 143"/>
              <a:gd name="T27" fmla="*/ 2147483646 h 79"/>
              <a:gd name="T28" fmla="*/ 2147483646 w 143"/>
              <a:gd name="T29" fmla="*/ 2147483646 h 79"/>
              <a:gd name="T30" fmla="*/ 2147483646 w 143"/>
              <a:gd name="T31" fmla="*/ 2147483646 h 79"/>
              <a:gd name="T32" fmla="*/ 2147483646 w 143"/>
              <a:gd name="T33" fmla="*/ 2147483646 h 79"/>
              <a:gd name="T34" fmla="*/ 2147483646 w 143"/>
              <a:gd name="T35" fmla="*/ 2147483646 h 79"/>
              <a:gd name="T36" fmla="*/ 2147483646 w 143"/>
              <a:gd name="T37" fmla="*/ 2147483646 h 79"/>
              <a:gd name="T38" fmla="*/ 2147483646 w 143"/>
              <a:gd name="T39" fmla="*/ 2147483646 h 79"/>
              <a:gd name="T40" fmla="*/ 2147483646 w 143"/>
              <a:gd name="T41" fmla="*/ 2147483646 h 79"/>
              <a:gd name="T42" fmla="*/ 2147483646 w 143"/>
              <a:gd name="T43" fmla="*/ 2147483646 h 79"/>
              <a:gd name="T44" fmla="*/ 2147483646 w 143"/>
              <a:gd name="T45" fmla="*/ 2147483646 h 79"/>
              <a:gd name="T46" fmla="*/ 2147483646 w 143"/>
              <a:gd name="T47" fmla="*/ 2147483646 h 79"/>
              <a:gd name="T48" fmla="*/ 2147483646 w 143"/>
              <a:gd name="T49" fmla="*/ 2147483646 h 79"/>
              <a:gd name="T50" fmla="*/ 2147483646 w 143"/>
              <a:gd name="T51" fmla="*/ 2147483646 h 79"/>
              <a:gd name="T52" fmla="*/ 2147483646 w 143"/>
              <a:gd name="T53" fmla="*/ 2147483646 h 79"/>
              <a:gd name="T54" fmla="*/ 2147483646 w 143"/>
              <a:gd name="T55" fmla="*/ 2147483646 h 79"/>
              <a:gd name="T56" fmla="*/ 2147483646 w 143"/>
              <a:gd name="T57" fmla="*/ 2147483646 h 79"/>
              <a:gd name="T58" fmla="*/ 2147483646 w 143"/>
              <a:gd name="T59" fmla="*/ 2147483646 h 79"/>
              <a:gd name="T60" fmla="*/ 2147483646 w 143"/>
              <a:gd name="T61" fmla="*/ 2147483646 h 79"/>
              <a:gd name="T62" fmla="*/ 2147483646 w 143"/>
              <a:gd name="T63" fmla="*/ 2147483646 h 79"/>
              <a:gd name="T64" fmla="*/ 2147483646 w 143"/>
              <a:gd name="T65" fmla="*/ 2147483646 h 79"/>
              <a:gd name="T66" fmla="*/ 2147483646 w 143"/>
              <a:gd name="T67" fmla="*/ 2147483646 h 79"/>
              <a:gd name="T68" fmla="*/ 0 w 143"/>
              <a:gd name="T69" fmla="*/ 2147483646 h 79"/>
              <a:gd name="T70" fmla="*/ 2147483646 w 143"/>
              <a:gd name="T71" fmla="*/ 2147483646 h 7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43"/>
              <a:gd name="T109" fmla="*/ 0 h 79"/>
              <a:gd name="T110" fmla="*/ 143 w 143"/>
              <a:gd name="T111" fmla="*/ 79 h 7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43" h="79">
                <a:moveTo>
                  <a:pt x="1" y="36"/>
                </a:moveTo>
                <a:cubicBezTo>
                  <a:pt x="1" y="34"/>
                  <a:pt x="3" y="28"/>
                  <a:pt x="5" y="26"/>
                </a:cubicBezTo>
                <a:cubicBezTo>
                  <a:pt x="8" y="22"/>
                  <a:pt x="15" y="24"/>
                  <a:pt x="20" y="24"/>
                </a:cubicBezTo>
                <a:cubicBezTo>
                  <a:pt x="23" y="24"/>
                  <a:pt x="24" y="24"/>
                  <a:pt x="27" y="22"/>
                </a:cubicBezTo>
                <a:cubicBezTo>
                  <a:pt x="30" y="19"/>
                  <a:pt x="29" y="13"/>
                  <a:pt x="31" y="9"/>
                </a:cubicBezTo>
                <a:cubicBezTo>
                  <a:pt x="35" y="4"/>
                  <a:pt x="47" y="12"/>
                  <a:pt x="50" y="6"/>
                </a:cubicBezTo>
                <a:cubicBezTo>
                  <a:pt x="50" y="6"/>
                  <a:pt x="50" y="6"/>
                  <a:pt x="50" y="6"/>
                </a:cubicBezTo>
                <a:cubicBezTo>
                  <a:pt x="53" y="9"/>
                  <a:pt x="57" y="12"/>
                  <a:pt x="58" y="12"/>
                </a:cubicBezTo>
                <a:cubicBezTo>
                  <a:pt x="64" y="14"/>
                  <a:pt x="63" y="2"/>
                  <a:pt x="69" y="1"/>
                </a:cubicBezTo>
                <a:cubicBezTo>
                  <a:pt x="71" y="4"/>
                  <a:pt x="71" y="13"/>
                  <a:pt x="74" y="15"/>
                </a:cubicBezTo>
                <a:cubicBezTo>
                  <a:pt x="78" y="17"/>
                  <a:pt x="79" y="13"/>
                  <a:pt x="82" y="12"/>
                </a:cubicBezTo>
                <a:cubicBezTo>
                  <a:pt x="86" y="10"/>
                  <a:pt x="90" y="11"/>
                  <a:pt x="94" y="10"/>
                </a:cubicBezTo>
                <a:cubicBezTo>
                  <a:pt x="100" y="8"/>
                  <a:pt x="103" y="10"/>
                  <a:pt x="108" y="10"/>
                </a:cubicBezTo>
                <a:cubicBezTo>
                  <a:pt x="107" y="2"/>
                  <a:pt x="117" y="8"/>
                  <a:pt x="120" y="7"/>
                </a:cubicBezTo>
                <a:cubicBezTo>
                  <a:pt x="124" y="5"/>
                  <a:pt x="125" y="0"/>
                  <a:pt x="129" y="3"/>
                </a:cubicBezTo>
                <a:cubicBezTo>
                  <a:pt x="129" y="3"/>
                  <a:pt x="130" y="7"/>
                  <a:pt x="131" y="8"/>
                </a:cubicBezTo>
                <a:cubicBezTo>
                  <a:pt x="133" y="10"/>
                  <a:pt x="136" y="13"/>
                  <a:pt x="139" y="16"/>
                </a:cubicBezTo>
                <a:cubicBezTo>
                  <a:pt x="140" y="16"/>
                  <a:pt x="141" y="18"/>
                  <a:pt x="143" y="19"/>
                </a:cubicBezTo>
                <a:cubicBezTo>
                  <a:pt x="142" y="20"/>
                  <a:pt x="142" y="20"/>
                  <a:pt x="142" y="20"/>
                </a:cubicBezTo>
                <a:cubicBezTo>
                  <a:pt x="142" y="22"/>
                  <a:pt x="141" y="25"/>
                  <a:pt x="140" y="27"/>
                </a:cubicBezTo>
                <a:cubicBezTo>
                  <a:pt x="138" y="34"/>
                  <a:pt x="137" y="42"/>
                  <a:pt x="140" y="51"/>
                </a:cubicBezTo>
                <a:cubicBezTo>
                  <a:pt x="139" y="51"/>
                  <a:pt x="139" y="51"/>
                  <a:pt x="139" y="51"/>
                </a:cubicBezTo>
                <a:cubicBezTo>
                  <a:pt x="136" y="51"/>
                  <a:pt x="134" y="50"/>
                  <a:pt x="131" y="49"/>
                </a:cubicBezTo>
                <a:cubicBezTo>
                  <a:pt x="128" y="48"/>
                  <a:pt x="127" y="48"/>
                  <a:pt x="123" y="49"/>
                </a:cubicBezTo>
                <a:cubicBezTo>
                  <a:pt x="118" y="49"/>
                  <a:pt x="116" y="48"/>
                  <a:pt x="112" y="47"/>
                </a:cubicBezTo>
                <a:cubicBezTo>
                  <a:pt x="108" y="47"/>
                  <a:pt x="107" y="48"/>
                  <a:pt x="104" y="50"/>
                </a:cubicBezTo>
                <a:cubicBezTo>
                  <a:pt x="102" y="46"/>
                  <a:pt x="99" y="43"/>
                  <a:pt x="97" y="40"/>
                </a:cubicBezTo>
                <a:cubicBezTo>
                  <a:pt x="94" y="46"/>
                  <a:pt x="89" y="55"/>
                  <a:pt x="89" y="63"/>
                </a:cubicBezTo>
                <a:cubicBezTo>
                  <a:pt x="86" y="61"/>
                  <a:pt x="82" y="55"/>
                  <a:pt x="78" y="54"/>
                </a:cubicBezTo>
                <a:cubicBezTo>
                  <a:pt x="76" y="53"/>
                  <a:pt x="73" y="56"/>
                  <a:pt x="70" y="58"/>
                </a:cubicBezTo>
                <a:cubicBezTo>
                  <a:pt x="68" y="59"/>
                  <a:pt x="66" y="61"/>
                  <a:pt x="63" y="61"/>
                </a:cubicBezTo>
                <a:cubicBezTo>
                  <a:pt x="61" y="62"/>
                  <a:pt x="58" y="61"/>
                  <a:pt x="57" y="62"/>
                </a:cubicBezTo>
                <a:cubicBezTo>
                  <a:pt x="53" y="64"/>
                  <a:pt x="51" y="71"/>
                  <a:pt x="51" y="75"/>
                </a:cubicBezTo>
                <a:cubicBezTo>
                  <a:pt x="42" y="76"/>
                  <a:pt x="30" y="79"/>
                  <a:pt x="22" y="74"/>
                </a:cubicBezTo>
                <a:cubicBezTo>
                  <a:pt x="15" y="69"/>
                  <a:pt x="8" y="61"/>
                  <a:pt x="0" y="58"/>
                </a:cubicBezTo>
                <a:cubicBezTo>
                  <a:pt x="2" y="52"/>
                  <a:pt x="1" y="43"/>
                  <a:pt x="1" y="3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3" name="Freeform 538"/>
          <p:cNvSpPr>
            <a:spLocks/>
          </p:cNvSpPr>
          <p:nvPr userDrawn="1"/>
        </p:nvSpPr>
        <p:spPr bwMode="auto">
          <a:xfrm>
            <a:off x="5854152" y="3391532"/>
            <a:ext cx="242888" cy="229488"/>
          </a:xfrm>
          <a:custGeom>
            <a:avLst/>
            <a:gdLst>
              <a:gd name="T0" fmla="*/ 2147483646 w 261"/>
              <a:gd name="T1" fmla="*/ 2147483646 h 245"/>
              <a:gd name="T2" fmla="*/ 2147483646 w 261"/>
              <a:gd name="T3" fmla="*/ 2147483646 h 245"/>
              <a:gd name="T4" fmla="*/ 2147483646 w 261"/>
              <a:gd name="T5" fmla="*/ 2147483646 h 245"/>
              <a:gd name="T6" fmla="*/ 2147483646 w 261"/>
              <a:gd name="T7" fmla="*/ 2147483646 h 245"/>
              <a:gd name="T8" fmla="*/ 2147483646 w 261"/>
              <a:gd name="T9" fmla="*/ 2147483646 h 245"/>
              <a:gd name="T10" fmla="*/ 2147483646 w 261"/>
              <a:gd name="T11" fmla="*/ 2147483646 h 245"/>
              <a:gd name="T12" fmla="*/ 2147483646 w 261"/>
              <a:gd name="T13" fmla="*/ 2147483646 h 245"/>
              <a:gd name="T14" fmla="*/ 2147483646 w 261"/>
              <a:gd name="T15" fmla="*/ 2147483646 h 245"/>
              <a:gd name="T16" fmla="*/ 2147483646 w 261"/>
              <a:gd name="T17" fmla="*/ 2147483646 h 245"/>
              <a:gd name="T18" fmla="*/ 2147483646 w 261"/>
              <a:gd name="T19" fmla="*/ 2147483646 h 245"/>
              <a:gd name="T20" fmla="*/ 2147483646 w 261"/>
              <a:gd name="T21" fmla="*/ 2147483646 h 245"/>
              <a:gd name="T22" fmla="*/ 2147483646 w 261"/>
              <a:gd name="T23" fmla="*/ 2147483646 h 245"/>
              <a:gd name="T24" fmla="*/ 2147483646 w 261"/>
              <a:gd name="T25" fmla="*/ 2147483646 h 245"/>
              <a:gd name="T26" fmla="*/ 2147483646 w 261"/>
              <a:gd name="T27" fmla="*/ 2147483646 h 245"/>
              <a:gd name="T28" fmla="*/ 2147483646 w 261"/>
              <a:gd name="T29" fmla="*/ 2147483646 h 245"/>
              <a:gd name="T30" fmla="*/ 2147483646 w 261"/>
              <a:gd name="T31" fmla="*/ 2147483646 h 245"/>
              <a:gd name="T32" fmla="*/ 2147483646 w 261"/>
              <a:gd name="T33" fmla="*/ 2147483646 h 245"/>
              <a:gd name="T34" fmla="*/ 2147483646 w 261"/>
              <a:gd name="T35" fmla="*/ 2147483646 h 245"/>
              <a:gd name="T36" fmla="*/ 2147483646 w 261"/>
              <a:gd name="T37" fmla="*/ 2147483646 h 245"/>
              <a:gd name="T38" fmla="*/ 2147483646 w 261"/>
              <a:gd name="T39" fmla="*/ 2147483646 h 245"/>
              <a:gd name="T40" fmla="*/ 2147483646 w 261"/>
              <a:gd name="T41" fmla="*/ 2147483646 h 245"/>
              <a:gd name="T42" fmla="*/ 2147483646 w 261"/>
              <a:gd name="T43" fmla="*/ 2147483646 h 245"/>
              <a:gd name="T44" fmla="*/ 2147483646 w 261"/>
              <a:gd name="T45" fmla="*/ 2147483646 h 245"/>
              <a:gd name="T46" fmla="*/ 2147483646 w 261"/>
              <a:gd name="T47" fmla="*/ 2147483646 h 245"/>
              <a:gd name="T48" fmla="*/ 2147483646 w 261"/>
              <a:gd name="T49" fmla="*/ 2147483646 h 245"/>
              <a:gd name="T50" fmla="*/ 2147483646 w 261"/>
              <a:gd name="T51" fmla="*/ 2147483646 h 245"/>
              <a:gd name="T52" fmla="*/ 2147483646 w 261"/>
              <a:gd name="T53" fmla="*/ 2147483646 h 245"/>
              <a:gd name="T54" fmla="*/ 2147483646 w 261"/>
              <a:gd name="T55" fmla="*/ 2147483646 h 245"/>
              <a:gd name="T56" fmla="*/ 2147483646 w 261"/>
              <a:gd name="T57" fmla="*/ 2147483646 h 245"/>
              <a:gd name="T58" fmla="*/ 2147483646 w 261"/>
              <a:gd name="T59" fmla="*/ 2147483646 h 245"/>
              <a:gd name="T60" fmla="*/ 2147483646 w 261"/>
              <a:gd name="T61" fmla="*/ 2147483646 h 245"/>
              <a:gd name="T62" fmla="*/ 2147483646 w 261"/>
              <a:gd name="T63" fmla="*/ 2147483646 h 245"/>
              <a:gd name="T64" fmla="*/ 2147483646 w 261"/>
              <a:gd name="T65" fmla="*/ 2147483646 h 245"/>
              <a:gd name="T66" fmla="*/ 2147483646 w 261"/>
              <a:gd name="T67" fmla="*/ 2147483646 h 245"/>
              <a:gd name="T68" fmla="*/ 2147483646 w 261"/>
              <a:gd name="T69" fmla="*/ 2147483646 h 24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61"/>
              <a:gd name="T106" fmla="*/ 0 h 245"/>
              <a:gd name="T107" fmla="*/ 261 w 261"/>
              <a:gd name="T108" fmla="*/ 245 h 24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61" h="245">
                <a:moveTo>
                  <a:pt x="8" y="55"/>
                </a:moveTo>
                <a:cubicBezTo>
                  <a:pt x="9" y="54"/>
                  <a:pt x="9" y="50"/>
                  <a:pt x="9" y="49"/>
                </a:cubicBezTo>
                <a:cubicBezTo>
                  <a:pt x="10" y="48"/>
                  <a:pt x="10" y="45"/>
                  <a:pt x="12" y="44"/>
                </a:cubicBezTo>
                <a:cubicBezTo>
                  <a:pt x="14" y="43"/>
                  <a:pt x="18" y="39"/>
                  <a:pt x="18" y="39"/>
                </a:cubicBezTo>
                <a:cubicBezTo>
                  <a:pt x="18" y="39"/>
                  <a:pt x="33" y="31"/>
                  <a:pt x="42" y="32"/>
                </a:cubicBezTo>
                <a:cubicBezTo>
                  <a:pt x="52" y="32"/>
                  <a:pt x="56" y="27"/>
                  <a:pt x="58" y="22"/>
                </a:cubicBezTo>
                <a:cubicBezTo>
                  <a:pt x="61" y="17"/>
                  <a:pt x="67" y="15"/>
                  <a:pt x="73" y="12"/>
                </a:cubicBezTo>
                <a:cubicBezTo>
                  <a:pt x="79" y="9"/>
                  <a:pt x="82" y="5"/>
                  <a:pt x="89" y="5"/>
                </a:cubicBezTo>
                <a:cubicBezTo>
                  <a:pt x="96" y="4"/>
                  <a:pt x="99" y="1"/>
                  <a:pt x="102" y="2"/>
                </a:cubicBezTo>
                <a:cubicBezTo>
                  <a:pt x="106" y="2"/>
                  <a:pt x="106" y="0"/>
                  <a:pt x="112" y="4"/>
                </a:cubicBezTo>
                <a:cubicBezTo>
                  <a:pt x="117" y="7"/>
                  <a:pt x="113" y="2"/>
                  <a:pt x="115" y="9"/>
                </a:cubicBezTo>
                <a:cubicBezTo>
                  <a:pt x="116" y="17"/>
                  <a:pt x="115" y="24"/>
                  <a:pt x="124" y="24"/>
                </a:cubicBezTo>
                <a:cubicBezTo>
                  <a:pt x="134" y="24"/>
                  <a:pt x="139" y="24"/>
                  <a:pt x="143" y="19"/>
                </a:cubicBezTo>
                <a:cubicBezTo>
                  <a:pt x="158" y="19"/>
                  <a:pt x="158" y="19"/>
                  <a:pt x="158" y="19"/>
                </a:cubicBezTo>
                <a:cubicBezTo>
                  <a:pt x="164" y="18"/>
                  <a:pt x="171" y="19"/>
                  <a:pt x="177" y="21"/>
                </a:cubicBezTo>
                <a:cubicBezTo>
                  <a:pt x="187" y="24"/>
                  <a:pt x="200" y="31"/>
                  <a:pt x="211" y="29"/>
                </a:cubicBezTo>
                <a:cubicBezTo>
                  <a:pt x="217" y="29"/>
                  <a:pt x="221" y="25"/>
                  <a:pt x="227" y="28"/>
                </a:cubicBezTo>
                <a:cubicBezTo>
                  <a:pt x="231" y="29"/>
                  <a:pt x="242" y="36"/>
                  <a:pt x="244" y="40"/>
                </a:cubicBezTo>
                <a:cubicBezTo>
                  <a:pt x="246" y="46"/>
                  <a:pt x="241" y="56"/>
                  <a:pt x="244" y="63"/>
                </a:cubicBezTo>
                <a:cubicBezTo>
                  <a:pt x="247" y="69"/>
                  <a:pt x="251" y="73"/>
                  <a:pt x="253" y="80"/>
                </a:cubicBezTo>
                <a:cubicBezTo>
                  <a:pt x="255" y="87"/>
                  <a:pt x="255" y="96"/>
                  <a:pt x="251" y="101"/>
                </a:cubicBezTo>
                <a:cubicBezTo>
                  <a:pt x="248" y="105"/>
                  <a:pt x="242" y="106"/>
                  <a:pt x="238" y="110"/>
                </a:cubicBezTo>
                <a:cubicBezTo>
                  <a:pt x="234" y="114"/>
                  <a:pt x="235" y="115"/>
                  <a:pt x="234" y="121"/>
                </a:cubicBezTo>
                <a:cubicBezTo>
                  <a:pt x="243" y="120"/>
                  <a:pt x="245" y="125"/>
                  <a:pt x="244" y="133"/>
                </a:cubicBezTo>
                <a:cubicBezTo>
                  <a:pt x="244" y="144"/>
                  <a:pt x="243" y="150"/>
                  <a:pt x="247" y="159"/>
                </a:cubicBezTo>
                <a:cubicBezTo>
                  <a:pt x="252" y="171"/>
                  <a:pt x="261" y="187"/>
                  <a:pt x="257" y="199"/>
                </a:cubicBezTo>
                <a:cubicBezTo>
                  <a:pt x="254" y="206"/>
                  <a:pt x="251" y="204"/>
                  <a:pt x="246" y="209"/>
                </a:cubicBezTo>
                <a:cubicBezTo>
                  <a:pt x="240" y="214"/>
                  <a:pt x="237" y="220"/>
                  <a:pt x="231" y="225"/>
                </a:cubicBezTo>
                <a:cubicBezTo>
                  <a:pt x="226" y="229"/>
                  <a:pt x="219" y="233"/>
                  <a:pt x="216" y="238"/>
                </a:cubicBezTo>
                <a:cubicBezTo>
                  <a:pt x="213" y="245"/>
                  <a:pt x="213" y="245"/>
                  <a:pt x="213" y="245"/>
                </a:cubicBezTo>
                <a:cubicBezTo>
                  <a:pt x="210" y="243"/>
                  <a:pt x="210" y="243"/>
                  <a:pt x="209" y="242"/>
                </a:cubicBezTo>
                <a:cubicBezTo>
                  <a:pt x="206" y="239"/>
                  <a:pt x="203" y="236"/>
                  <a:pt x="201" y="234"/>
                </a:cubicBezTo>
                <a:cubicBezTo>
                  <a:pt x="200" y="233"/>
                  <a:pt x="199" y="229"/>
                  <a:pt x="199" y="229"/>
                </a:cubicBezTo>
                <a:cubicBezTo>
                  <a:pt x="195" y="226"/>
                  <a:pt x="194" y="231"/>
                  <a:pt x="190" y="233"/>
                </a:cubicBezTo>
                <a:cubicBezTo>
                  <a:pt x="187" y="234"/>
                  <a:pt x="177" y="228"/>
                  <a:pt x="178" y="236"/>
                </a:cubicBezTo>
                <a:cubicBezTo>
                  <a:pt x="173" y="236"/>
                  <a:pt x="170" y="234"/>
                  <a:pt x="164" y="236"/>
                </a:cubicBezTo>
                <a:cubicBezTo>
                  <a:pt x="160" y="237"/>
                  <a:pt x="156" y="236"/>
                  <a:pt x="152" y="238"/>
                </a:cubicBezTo>
                <a:cubicBezTo>
                  <a:pt x="149" y="239"/>
                  <a:pt x="148" y="243"/>
                  <a:pt x="144" y="241"/>
                </a:cubicBezTo>
                <a:cubicBezTo>
                  <a:pt x="141" y="239"/>
                  <a:pt x="141" y="230"/>
                  <a:pt x="139" y="227"/>
                </a:cubicBezTo>
                <a:cubicBezTo>
                  <a:pt x="133" y="228"/>
                  <a:pt x="134" y="240"/>
                  <a:pt x="128" y="238"/>
                </a:cubicBezTo>
                <a:cubicBezTo>
                  <a:pt x="126" y="238"/>
                  <a:pt x="115" y="227"/>
                  <a:pt x="115" y="225"/>
                </a:cubicBezTo>
                <a:cubicBezTo>
                  <a:pt x="114" y="223"/>
                  <a:pt x="119" y="218"/>
                  <a:pt x="116" y="215"/>
                </a:cubicBezTo>
                <a:cubicBezTo>
                  <a:pt x="115" y="213"/>
                  <a:pt x="112" y="214"/>
                  <a:pt x="110" y="214"/>
                </a:cubicBezTo>
                <a:cubicBezTo>
                  <a:pt x="107" y="215"/>
                  <a:pt x="105" y="218"/>
                  <a:pt x="102" y="216"/>
                </a:cubicBezTo>
                <a:cubicBezTo>
                  <a:pt x="100" y="214"/>
                  <a:pt x="99" y="205"/>
                  <a:pt x="98" y="202"/>
                </a:cubicBezTo>
                <a:cubicBezTo>
                  <a:pt x="94" y="202"/>
                  <a:pt x="92" y="208"/>
                  <a:pt x="88" y="208"/>
                </a:cubicBezTo>
                <a:cubicBezTo>
                  <a:pt x="89" y="206"/>
                  <a:pt x="91" y="198"/>
                  <a:pt x="89" y="196"/>
                </a:cubicBezTo>
                <a:cubicBezTo>
                  <a:pt x="88" y="194"/>
                  <a:pt x="84" y="196"/>
                  <a:pt x="82" y="196"/>
                </a:cubicBezTo>
                <a:cubicBezTo>
                  <a:pt x="80" y="196"/>
                  <a:pt x="73" y="195"/>
                  <a:pt x="71" y="197"/>
                </a:cubicBezTo>
                <a:cubicBezTo>
                  <a:pt x="70" y="199"/>
                  <a:pt x="71" y="207"/>
                  <a:pt x="71" y="209"/>
                </a:cubicBezTo>
                <a:cubicBezTo>
                  <a:pt x="67" y="208"/>
                  <a:pt x="63" y="204"/>
                  <a:pt x="59" y="202"/>
                </a:cubicBezTo>
                <a:cubicBezTo>
                  <a:pt x="60" y="198"/>
                  <a:pt x="61" y="193"/>
                  <a:pt x="60" y="189"/>
                </a:cubicBezTo>
                <a:cubicBezTo>
                  <a:pt x="56" y="189"/>
                  <a:pt x="54" y="191"/>
                  <a:pt x="50" y="192"/>
                </a:cubicBezTo>
                <a:cubicBezTo>
                  <a:pt x="50" y="189"/>
                  <a:pt x="48" y="191"/>
                  <a:pt x="47" y="190"/>
                </a:cubicBezTo>
                <a:cubicBezTo>
                  <a:pt x="46" y="189"/>
                  <a:pt x="45" y="186"/>
                  <a:pt x="44" y="185"/>
                </a:cubicBezTo>
                <a:cubicBezTo>
                  <a:pt x="41" y="183"/>
                  <a:pt x="37" y="186"/>
                  <a:pt x="34" y="188"/>
                </a:cubicBezTo>
                <a:cubicBezTo>
                  <a:pt x="31" y="183"/>
                  <a:pt x="35" y="176"/>
                  <a:pt x="30" y="171"/>
                </a:cubicBezTo>
                <a:cubicBezTo>
                  <a:pt x="27" y="169"/>
                  <a:pt x="24" y="170"/>
                  <a:pt x="23" y="168"/>
                </a:cubicBezTo>
                <a:cubicBezTo>
                  <a:pt x="23" y="166"/>
                  <a:pt x="23" y="166"/>
                  <a:pt x="23" y="166"/>
                </a:cubicBezTo>
                <a:cubicBezTo>
                  <a:pt x="24" y="162"/>
                  <a:pt x="22" y="157"/>
                  <a:pt x="22" y="153"/>
                </a:cubicBezTo>
                <a:cubicBezTo>
                  <a:pt x="22" y="144"/>
                  <a:pt x="14" y="139"/>
                  <a:pt x="15" y="131"/>
                </a:cubicBezTo>
                <a:cubicBezTo>
                  <a:pt x="15" y="127"/>
                  <a:pt x="15" y="126"/>
                  <a:pt x="15" y="123"/>
                </a:cubicBezTo>
                <a:cubicBezTo>
                  <a:pt x="14" y="122"/>
                  <a:pt x="13" y="121"/>
                  <a:pt x="13" y="119"/>
                </a:cubicBezTo>
                <a:cubicBezTo>
                  <a:pt x="13" y="118"/>
                  <a:pt x="15" y="116"/>
                  <a:pt x="14" y="115"/>
                </a:cubicBezTo>
                <a:cubicBezTo>
                  <a:pt x="14" y="113"/>
                  <a:pt x="12" y="113"/>
                  <a:pt x="11" y="111"/>
                </a:cubicBezTo>
                <a:cubicBezTo>
                  <a:pt x="10" y="109"/>
                  <a:pt x="12" y="106"/>
                  <a:pt x="12" y="103"/>
                </a:cubicBezTo>
                <a:cubicBezTo>
                  <a:pt x="12" y="97"/>
                  <a:pt x="3" y="96"/>
                  <a:pt x="0" y="91"/>
                </a:cubicBezTo>
                <a:cubicBezTo>
                  <a:pt x="5" y="86"/>
                  <a:pt x="10" y="79"/>
                  <a:pt x="11" y="72"/>
                </a:cubicBezTo>
                <a:cubicBezTo>
                  <a:pt x="11" y="69"/>
                  <a:pt x="12" y="66"/>
                  <a:pt x="12" y="64"/>
                </a:cubicBezTo>
                <a:cubicBezTo>
                  <a:pt x="12" y="61"/>
                  <a:pt x="7" y="57"/>
                  <a:pt x="8" y="5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4" name="Freeform 539"/>
          <p:cNvSpPr>
            <a:spLocks/>
          </p:cNvSpPr>
          <p:nvPr userDrawn="1"/>
        </p:nvSpPr>
        <p:spPr bwMode="auto">
          <a:xfrm>
            <a:off x="5988160" y="3374782"/>
            <a:ext cx="78729" cy="45228"/>
          </a:xfrm>
          <a:custGeom>
            <a:avLst/>
            <a:gdLst>
              <a:gd name="T0" fmla="*/ 2147483646 w 86"/>
              <a:gd name="T1" fmla="*/ 0 h 48"/>
              <a:gd name="T2" fmla="*/ 2147483646 w 86"/>
              <a:gd name="T3" fmla="*/ 2147483646 h 48"/>
              <a:gd name="T4" fmla="*/ 2147483646 w 86"/>
              <a:gd name="T5" fmla="*/ 2147483646 h 48"/>
              <a:gd name="T6" fmla="*/ 2147483646 w 86"/>
              <a:gd name="T7" fmla="*/ 2147483646 h 48"/>
              <a:gd name="T8" fmla="*/ 2147483646 w 86"/>
              <a:gd name="T9" fmla="*/ 2147483646 h 48"/>
              <a:gd name="T10" fmla="*/ 2147483646 w 86"/>
              <a:gd name="T11" fmla="*/ 2147483646 h 48"/>
              <a:gd name="T12" fmla="*/ 2147483646 w 86"/>
              <a:gd name="T13" fmla="*/ 2147483646 h 48"/>
              <a:gd name="T14" fmla="*/ 2147483646 w 86"/>
              <a:gd name="T15" fmla="*/ 2147483646 h 48"/>
              <a:gd name="T16" fmla="*/ 2147483646 w 86"/>
              <a:gd name="T17" fmla="*/ 2147483646 h 48"/>
              <a:gd name="T18" fmla="*/ 2147483646 w 86"/>
              <a:gd name="T19" fmla="*/ 2147483646 h 48"/>
              <a:gd name="T20" fmla="*/ 2147483646 w 86"/>
              <a:gd name="T21" fmla="*/ 2147483646 h 48"/>
              <a:gd name="T22" fmla="*/ 0 w 86"/>
              <a:gd name="T23" fmla="*/ 2147483646 h 48"/>
              <a:gd name="T24" fmla="*/ 2147483646 w 86"/>
              <a:gd name="T25" fmla="*/ 2147483646 h 48"/>
              <a:gd name="T26" fmla="*/ 2147483646 w 86"/>
              <a:gd name="T27" fmla="*/ 2147483646 h 48"/>
              <a:gd name="T28" fmla="*/ 2147483646 w 86"/>
              <a:gd name="T29" fmla="*/ 2147483646 h 48"/>
              <a:gd name="T30" fmla="*/ 2147483646 w 86"/>
              <a:gd name="T31" fmla="*/ 2147483646 h 48"/>
              <a:gd name="T32" fmla="*/ 2147483646 w 86"/>
              <a:gd name="T33" fmla="*/ 2147483646 h 48"/>
              <a:gd name="T34" fmla="*/ 2147483646 w 86"/>
              <a:gd name="T35" fmla="*/ 2147483646 h 48"/>
              <a:gd name="T36" fmla="*/ 2147483646 w 86"/>
              <a:gd name="T37" fmla="*/ 2147483646 h 48"/>
              <a:gd name="T38" fmla="*/ 2147483646 w 86"/>
              <a:gd name="T39" fmla="*/ 2147483646 h 48"/>
              <a:gd name="T40" fmla="*/ 2147483646 w 86"/>
              <a:gd name="T41" fmla="*/ 2147483646 h 48"/>
              <a:gd name="T42" fmla="*/ 2147483646 w 86"/>
              <a:gd name="T43" fmla="*/ 2147483646 h 48"/>
              <a:gd name="T44" fmla="*/ 2147483646 w 86"/>
              <a:gd name="T45" fmla="*/ 2147483646 h 48"/>
              <a:gd name="T46" fmla="*/ 2147483646 w 86"/>
              <a:gd name="T47" fmla="*/ 0 h 4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6"/>
              <a:gd name="T73" fmla="*/ 0 h 48"/>
              <a:gd name="T74" fmla="*/ 86 w 86"/>
              <a:gd name="T75" fmla="*/ 48 h 4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6" h="48">
                <a:moveTo>
                  <a:pt x="41" y="0"/>
                </a:moveTo>
                <a:cubicBezTo>
                  <a:pt x="45" y="3"/>
                  <a:pt x="49" y="3"/>
                  <a:pt x="52" y="5"/>
                </a:cubicBezTo>
                <a:cubicBezTo>
                  <a:pt x="54" y="6"/>
                  <a:pt x="56" y="9"/>
                  <a:pt x="58" y="10"/>
                </a:cubicBezTo>
                <a:cubicBezTo>
                  <a:pt x="65" y="13"/>
                  <a:pt x="72" y="7"/>
                  <a:pt x="78" y="11"/>
                </a:cubicBezTo>
                <a:cubicBezTo>
                  <a:pt x="86" y="17"/>
                  <a:pt x="79" y="21"/>
                  <a:pt x="78" y="28"/>
                </a:cubicBezTo>
                <a:cubicBezTo>
                  <a:pt x="78" y="32"/>
                  <a:pt x="80" y="41"/>
                  <a:pt x="82" y="45"/>
                </a:cubicBezTo>
                <a:cubicBezTo>
                  <a:pt x="81" y="45"/>
                  <a:pt x="81" y="45"/>
                  <a:pt x="81" y="45"/>
                </a:cubicBezTo>
                <a:cubicBezTo>
                  <a:pt x="77" y="44"/>
                  <a:pt x="73" y="47"/>
                  <a:pt x="68" y="47"/>
                </a:cubicBezTo>
                <a:cubicBezTo>
                  <a:pt x="57" y="48"/>
                  <a:pt x="44" y="42"/>
                  <a:pt x="34" y="39"/>
                </a:cubicBezTo>
                <a:cubicBezTo>
                  <a:pt x="28" y="37"/>
                  <a:pt x="21" y="36"/>
                  <a:pt x="15" y="36"/>
                </a:cubicBezTo>
                <a:cubicBezTo>
                  <a:pt x="10" y="37"/>
                  <a:pt x="6" y="39"/>
                  <a:pt x="1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4" y="32"/>
                  <a:pt x="5" y="29"/>
                  <a:pt x="13" y="30"/>
                </a:cubicBezTo>
                <a:cubicBezTo>
                  <a:pt x="20" y="30"/>
                  <a:pt x="20" y="25"/>
                  <a:pt x="17" y="25"/>
                </a:cubicBezTo>
                <a:cubicBezTo>
                  <a:pt x="14" y="24"/>
                  <a:pt x="10" y="23"/>
                  <a:pt x="8" y="24"/>
                </a:cubicBezTo>
                <a:cubicBezTo>
                  <a:pt x="5" y="26"/>
                  <a:pt x="6" y="18"/>
                  <a:pt x="9" y="16"/>
                </a:cubicBezTo>
                <a:cubicBezTo>
                  <a:pt x="11" y="14"/>
                  <a:pt x="12" y="12"/>
                  <a:pt x="16" y="14"/>
                </a:cubicBezTo>
                <a:cubicBezTo>
                  <a:pt x="21" y="16"/>
                  <a:pt x="23" y="13"/>
                  <a:pt x="26" y="13"/>
                </a:cubicBezTo>
                <a:cubicBezTo>
                  <a:pt x="29" y="13"/>
                  <a:pt x="29" y="15"/>
                  <a:pt x="32" y="16"/>
                </a:cubicBezTo>
                <a:cubicBezTo>
                  <a:pt x="34" y="18"/>
                  <a:pt x="37" y="17"/>
                  <a:pt x="37" y="17"/>
                </a:cubicBezTo>
                <a:cubicBezTo>
                  <a:pt x="37" y="17"/>
                  <a:pt x="40" y="15"/>
                  <a:pt x="39" y="10"/>
                </a:cubicBezTo>
                <a:cubicBezTo>
                  <a:pt x="38" y="5"/>
                  <a:pt x="38" y="2"/>
                  <a:pt x="38" y="2"/>
                </a:cubicBezTo>
                <a:cubicBezTo>
                  <a:pt x="41" y="1"/>
                  <a:pt x="41" y="1"/>
                  <a:pt x="41" y="1"/>
                </a:cubicBezTo>
                <a:lnTo>
                  <a:pt x="41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5" name="Freeform 540"/>
          <p:cNvSpPr>
            <a:spLocks/>
          </p:cNvSpPr>
          <p:nvPr userDrawn="1"/>
        </p:nvSpPr>
        <p:spPr bwMode="auto">
          <a:xfrm>
            <a:off x="6019985" y="3326204"/>
            <a:ext cx="134008" cy="113907"/>
          </a:xfrm>
          <a:custGeom>
            <a:avLst/>
            <a:gdLst>
              <a:gd name="T0" fmla="*/ 2147483646 w 144"/>
              <a:gd name="T1" fmla="*/ 2147483646 h 122"/>
              <a:gd name="T2" fmla="*/ 2147483646 w 144"/>
              <a:gd name="T3" fmla="*/ 2147483646 h 122"/>
              <a:gd name="T4" fmla="*/ 2147483646 w 144"/>
              <a:gd name="T5" fmla="*/ 2147483646 h 122"/>
              <a:gd name="T6" fmla="*/ 2147483646 w 144"/>
              <a:gd name="T7" fmla="*/ 2147483646 h 122"/>
              <a:gd name="T8" fmla="*/ 2147483646 w 144"/>
              <a:gd name="T9" fmla="*/ 2147483646 h 122"/>
              <a:gd name="T10" fmla="*/ 2147483646 w 144"/>
              <a:gd name="T11" fmla="*/ 2147483646 h 122"/>
              <a:gd name="T12" fmla="*/ 2147483646 w 144"/>
              <a:gd name="T13" fmla="*/ 2147483646 h 122"/>
              <a:gd name="T14" fmla="*/ 2147483646 w 144"/>
              <a:gd name="T15" fmla="*/ 2147483646 h 122"/>
              <a:gd name="T16" fmla="*/ 2147483646 w 144"/>
              <a:gd name="T17" fmla="*/ 2147483646 h 122"/>
              <a:gd name="T18" fmla="*/ 2147483646 w 144"/>
              <a:gd name="T19" fmla="*/ 2147483646 h 122"/>
              <a:gd name="T20" fmla="*/ 2147483646 w 144"/>
              <a:gd name="T21" fmla="*/ 2147483646 h 122"/>
              <a:gd name="T22" fmla="*/ 2147483646 w 144"/>
              <a:gd name="T23" fmla="*/ 2147483646 h 122"/>
              <a:gd name="T24" fmla="*/ 2147483646 w 144"/>
              <a:gd name="T25" fmla="*/ 2147483646 h 122"/>
              <a:gd name="T26" fmla="*/ 2147483646 w 144"/>
              <a:gd name="T27" fmla="*/ 2147483646 h 122"/>
              <a:gd name="T28" fmla="*/ 2147483646 w 144"/>
              <a:gd name="T29" fmla="*/ 2147483646 h 122"/>
              <a:gd name="T30" fmla="*/ 2147483646 w 144"/>
              <a:gd name="T31" fmla="*/ 2147483646 h 122"/>
              <a:gd name="T32" fmla="*/ 2147483646 w 144"/>
              <a:gd name="T33" fmla="*/ 2147483646 h 122"/>
              <a:gd name="T34" fmla="*/ 2147483646 w 144"/>
              <a:gd name="T35" fmla="*/ 2147483646 h 122"/>
              <a:gd name="T36" fmla="*/ 2147483646 w 144"/>
              <a:gd name="T37" fmla="*/ 2147483646 h 122"/>
              <a:gd name="T38" fmla="*/ 2147483646 w 144"/>
              <a:gd name="T39" fmla="*/ 2147483646 h 122"/>
              <a:gd name="T40" fmla="*/ 2147483646 w 144"/>
              <a:gd name="T41" fmla="*/ 2147483646 h 122"/>
              <a:gd name="T42" fmla="*/ 0 w 144"/>
              <a:gd name="T43" fmla="*/ 2147483646 h 122"/>
              <a:gd name="T44" fmla="*/ 0 w 144"/>
              <a:gd name="T45" fmla="*/ 2147483646 h 122"/>
              <a:gd name="T46" fmla="*/ 0 w 144"/>
              <a:gd name="T47" fmla="*/ 2147483646 h 122"/>
              <a:gd name="T48" fmla="*/ 2147483646 w 144"/>
              <a:gd name="T49" fmla="*/ 2147483646 h 122"/>
              <a:gd name="T50" fmla="*/ 2147483646 w 144"/>
              <a:gd name="T51" fmla="*/ 2147483646 h 122"/>
              <a:gd name="T52" fmla="*/ 2147483646 w 144"/>
              <a:gd name="T53" fmla="*/ 2147483646 h 122"/>
              <a:gd name="T54" fmla="*/ 2147483646 w 144"/>
              <a:gd name="T55" fmla="*/ 2147483646 h 122"/>
              <a:gd name="T56" fmla="*/ 2147483646 w 144"/>
              <a:gd name="T57" fmla="*/ 2147483646 h 122"/>
              <a:gd name="T58" fmla="*/ 2147483646 w 144"/>
              <a:gd name="T59" fmla="*/ 2147483646 h 122"/>
              <a:gd name="T60" fmla="*/ 2147483646 w 144"/>
              <a:gd name="T61" fmla="*/ 2147483646 h 122"/>
              <a:gd name="T62" fmla="*/ 2147483646 w 144"/>
              <a:gd name="T63" fmla="*/ 2147483646 h 122"/>
              <a:gd name="T64" fmla="*/ 2147483646 w 144"/>
              <a:gd name="T65" fmla="*/ 2147483646 h 122"/>
              <a:gd name="T66" fmla="*/ 2147483646 w 144"/>
              <a:gd name="T67" fmla="*/ 2147483646 h 122"/>
              <a:gd name="T68" fmla="*/ 2147483646 w 144"/>
              <a:gd name="T69" fmla="*/ 2147483646 h 122"/>
              <a:gd name="T70" fmla="*/ 2147483646 w 144"/>
              <a:gd name="T71" fmla="*/ 2147483646 h 122"/>
              <a:gd name="T72" fmla="*/ 2147483646 w 144"/>
              <a:gd name="T73" fmla="*/ 2147483646 h 122"/>
              <a:gd name="T74" fmla="*/ 2147483646 w 144"/>
              <a:gd name="T75" fmla="*/ 2147483646 h 12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44"/>
              <a:gd name="T115" fmla="*/ 0 h 122"/>
              <a:gd name="T116" fmla="*/ 144 w 144"/>
              <a:gd name="T117" fmla="*/ 122 h 122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44" h="122">
                <a:moveTo>
                  <a:pt x="66" y="122"/>
                </a:moveTo>
                <a:cubicBezTo>
                  <a:pt x="72" y="118"/>
                  <a:pt x="79" y="122"/>
                  <a:pt x="86" y="119"/>
                </a:cubicBezTo>
                <a:cubicBezTo>
                  <a:pt x="88" y="118"/>
                  <a:pt x="92" y="113"/>
                  <a:pt x="93" y="112"/>
                </a:cubicBezTo>
                <a:cubicBezTo>
                  <a:pt x="96" y="109"/>
                  <a:pt x="99" y="105"/>
                  <a:pt x="101" y="103"/>
                </a:cubicBezTo>
                <a:cubicBezTo>
                  <a:pt x="111" y="106"/>
                  <a:pt x="112" y="107"/>
                  <a:pt x="113" y="94"/>
                </a:cubicBezTo>
                <a:cubicBezTo>
                  <a:pt x="113" y="88"/>
                  <a:pt x="110" y="73"/>
                  <a:pt x="120" y="76"/>
                </a:cubicBezTo>
                <a:cubicBezTo>
                  <a:pt x="120" y="70"/>
                  <a:pt x="123" y="65"/>
                  <a:pt x="128" y="63"/>
                </a:cubicBezTo>
                <a:cubicBezTo>
                  <a:pt x="131" y="62"/>
                  <a:pt x="134" y="64"/>
                  <a:pt x="137" y="61"/>
                </a:cubicBezTo>
                <a:cubicBezTo>
                  <a:pt x="139" y="60"/>
                  <a:pt x="140" y="56"/>
                  <a:pt x="142" y="53"/>
                </a:cubicBezTo>
                <a:cubicBezTo>
                  <a:pt x="141" y="50"/>
                  <a:pt x="138" y="49"/>
                  <a:pt x="135" y="48"/>
                </a:cubicBezTo>
                <a:cubicBezTo>
                  <a:pt x="138" y="43"/>
                  <a:pt x="144" y="35"/>
                  <a:pt x="141" y="29"/>
                </a:cubicBezTo>
                <a:cubicBezTo>
                  <a:pt x="139" y="26"/>
                  <a:pt x="128" y="17"/>
                  <a:pt x="125" y="15"/>
                </a:cubicBezTo>
                <a:cubicBezTo>
                  <a:pt x="119" y="11"/>
                  <a:pt x="110" y="13"/>
                  <a:pt x="103" y="10"/>
                </a:cubicBezTo>
                <a:cubicBezTo>
                  <a:pt x="99" y="8"/>
                  <a:pt x="99" y="6"/>
                  <a:pt x="96" y="4"/>
                </a:cubicBezTo>
                <a:cubicBezTo>
                  <a:pt x="91" y="0"/>
                  <a:pt x="93" y="2"/>
                  <a:pt x="90" y="2"/>
                </a:cubicBezTo>
                <a:cubicBezTo>
                  <a:pt x="89" y="2"/>
                  <a:pt x="86" y="4"/>
                  <a:pt x="85" y="4"/>
                </a:cubicBezTo>
                <a:cubicBezTo>
                  <a:pt x="84" y="5"/>
                  <a:pt x="82" y="3"/>
                  <a:pt x="81" y="3"/>
                </a:cubicBezTo>
                <a:cubicBezTo>
                  <a:pt x="78" y="2"/>
                  <a:pt x="75" y="2"/>
                  <a:pt x="72" y="2"/>
                </a:cubicBezTo>
                <a:cubicBezTo>
                  <a:pt x="64" y="2"/>
                  <a:pt x="56" y="3"/>
                  <a:pt x="47" y="3"/>
                </a:cubicBezTo>
                <a:cubicBezTo>
                  <a:pt x="43" y="3"/>
                  <a:pt x="38" y="5"/>
                  <a:pt x="34" y="4"/>
                </a:cubicBezTo>
                <a:cubicBezTo>
                  <a:pt x="31" y="4"/>
                  <a:pt x="29" y="2"/>
                  <a:pt x="26" y="2"/>
                </a:cubicBezTo>
                <a:cubicBezTo>
                  <a:pt x="17" y="2"/>
                  <a:pt x="9" y="14"/>
                  <a:pt x="0" y="12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22"/>
                  <a:pt x="1" y="26"/>
                  <a:pt x="5" y="31"/>
                </a:cubicBezTo>
                <a:cubicBezTo>
                  <a:pt x="9" y="36"/>
                  <a:pt x="7" y="37"/>
                  <a:pt x="7" y="37"/>
                </a:cubicBezTo>
                <a:cubicBezTo>
                  <a:pt x="7" y="37"/>
                  <a:pt x="5" y="42"/>
                  <a:pt x="5" y="46"/>
                </a:cubicBezTo>
                <a:cubicBezTo>
                  <a:pt x="5" y="50"/>
                  <a:pt x="7" y="53"/>
                  <a:pt x="7" y="53"/>
                </a:cubicBezTo>
                <a:cubicBezTo>
                  <a:pt x="6" y="53"/>
                  <a:pt x="6" y="53"/>
                  <a:pt x="6" y="53"/>
                </a:cubicBezTo>
                <a:cubicBezTo>
                  <a:pt x="10" y="55"/>
                  <a:pt x="14" y="56"/>
                  <a:pt x="17" y="58"/>
                </a:cubicBezTo>
                <a:cubicBezTo>
                  <a:pt x="19" y="59"/>
                  <a:pt x="21" y="62"/>
                  <a:pt x="23" y="63"/>
                </a:cubicBezTo>
                <a:cubicBezTo>
                  <a:pt x="30" y="65"/>
                  <a:pt x="37" y="60"/>
                  <a:pt x="43" y="64"/>
                </a:cubicBezTo>
                <a:cubicBezTo>
                  <a:pt x="51" y="70"/>
                  <a:pt x="44" y="74"/>
                  <a:pt x="43" y="81"/>
                </a:cubicBezTo>
                <a:cubicBezTo>
                  <a:pt x="43" y="85"/>
                  <a:pt x="45" y="94"/>
                  <a:pt x="47" y="98"/>
                </a:cubicBezTo>
                <a:cubicBezTo>
                  <a:pt x="49" y="99"/>
                  <a:pt x="49" y="99"/>
                  <a:pt x="49" y="99"/>
                </a:cubicBezTo>
                <a:cubicBezTo>
                  <a:pt x="53" y="100"/>
                  <a:pt x="64" y="107"/>
                  <a:pt x="66" y="111"/>
                </a:cubicBezTo>
                <a:cubicBezTo>
                  <a:pt x="66" y="113"/>
                  <a:pt x="66" y="116"/>
                  <a:pt x="66" y="119"/>
                </a:cubicBezTo>
                <a:lnTo>
                  <a:pt x="66" y="1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6" name="Freeform 541"/>
          <p:cNvSpPr>
            <a:spLocks/>
          </p:cNvSpPr>
          <p:nvPr userDrawn="1"/>
        </p:nvSpPr>
        <p:spPr bwMode="auto">
          <a:xfrm>
            <a:off x="6013286" y="3244125"/>
            <a:ext cx="184260" cy="108881"/>
          </a:xfrm>
          <a:custGeom>
            <a:avLst/>
            <a:gdLst>
              <a:gd name="T0" fmla="*/ 2147483646 w 198"/>
              <a:gd name="T1" fmla="*/ 2147483646 h 117"/>
              <a:gd name="T2" fmla="*/ 2147483646 w 198"/>
              <a:gd name="T3" fmla="*/ 2147483646 h 117"/>
              <a:gd name="T4" fmla="*/ 2147483646 w 198"/>
              <a:gd name="T5" fmla="*/ 2147483646 h 117"/>
              <a:gd name="T6" fmla="*/ 2147483646 w 198"/>
              <a:gd name="T7" fmla="*/ 2147483646 h 117"/>
              <a:gd name="T8" fmla="*/ 2147483646 w 198"/>
              <a:gd name="T9" fmla="*/ 2147483646 h 117"/>
              <a:gd name="T10" fmla="*/ 2147483646 w 198"/>
              <a:gd name="T11" fmla="*/ 2147483646 h 117"/>
              <a:gd name="T12" fmla="*/ 2147483646 w 198"/>
              <a:gd name="T13" fmla="*/ 2147483646 h 117"/>
              <a:gd name="T14" fmla="*/ 2147483646 w 198"/>
              <a:gd name="T15" fmla="*/ 2147483646 h 117"/>
              <a:gd name="T16" fmla="*/ 2147483646 w 198"/>
              <a:gd name="T17" fmla="*/ 2147483646 h 117"/>
              <a:gd name="T18" fmla="*/ 2147483646 w 198"/>
              <a:gd name="T19" fmla="*/ 2147483646 h 117"/>
              <a:gd name="T20" fmla="*/ 2147483646 w 198"/>
              <a:gd name="T21" fmla="*/ 2147483646 h 117"/>
              <a:gd name="T22" fmla="*/ 2147483646 w 198"/>
              <a:gd name="T23" fmla="*/ 2147483646 h 117"/>
              <a:gd name="T24" fmla="*/ 2147483646 w 198"/>
              <a:gd name="T25" fmla="*/ 2147483646 h 117"/>
              <a:gd name="T26" fmla="*/ 2147483646 w 198"/>
              <a:gd name="T27" fmla="*/ 2147483646 h 117"/>
              <a:gd name="T28" fmla="*/ 2147483646 w 198"/>
              <a:gd name="T29" fmla="*/ 2147483646 h 117"/>
              <a:gd name="T30" fmla="*/ 2147483646 w 198"/>
              <a:gd name="T31" fmla="*/ 2147483646 h 117"/>
              <a:gd name="T32" fmla="*/ 2147483646 w 198"/>
              <a:gd name="T33" fmla="*/ 2147483646 h 117"/>
              <a:gd name="T34" fmla="*/ 2147483646 w 198"/>
              <a:gd name="T35" fmla="*/ 2147483646 h 117"/>
              <a:gd name="T36" fmla="*/ 2147483646 w 198"/>
              <a:gd name="T37" fmla="*/ 2147483646 h 117"/>
              <a:gd name="T38" fmla="*/ 2147483646 w 198"/>
              <a:gd name="T39" fmla="*/ 2147483646 h 117"/>
              <a:gd name="T40" fmla="*/ 2147483646 w 198"/>
              <a:gd name="T41" fmla="*/ 2147483646 h 117"/>
              <a:gd name="T42" fmla="*/ 2147483646 w 198"/>
              <a:gd name="T43" fmla="*/ 2147483646 h 117"/>
              <a:gd name="T44" fmla="*/ 2147483646 w 198"/>
              <a:gd name="T45" fmla="*/ 2147483646 h 117"/>
              <a:gd name="T46" fmla="*/ 2147483646 w 198"/>
              <a:gd name="T47" fmla="*/ 2147483646 h 117"/>
              <a:gd name="T48" fmla="*/ 2147483646 w 198"/>
              <a:gd name="T49" fmla="*/ 2147483646 h 117"/>
              <a:gd name="T50" fmla="*/ 2147483646 w 198"/>
              <a:gd name="T51" fmla="*/ 2147483646 h 117"/>
              <a:gd name="T52" fmla="*/ 2147483646 w 198"/>
              <a:gd name="T53" fmla="*/ 2147483646 h 117"/>
              <a:gd name="T54" fmla="*/ 2147483646 w 198"/>
              <a:gd name="T55" fmla="*/ 2147483646 h 117"/>
              <a:gd name="T56" fmla="*/ 2147483646 w 198"/>
              <a:gd name="T57" fmla="*/ 2147483646 h 117"/>
              <a:gd name="T58" fmla="*/ 2147483646 w 198"/>
              <a:gd name="T59" fmla="*/ 2147483646 h 117"/>
              <a:gd name="T60" fmla="*/ 2147483646 w 198"/>
              <a:gd name="T61" fmla="*/ 2147483646 h 117"/>
              <a:gd name="T62" fmla="*/ 2147483646 w 198"/>
              <a:gd name="T63" fmla="*/ 2147483646 h 117"/>
              <a:gd name="T64" fmla="*/ 2147483646 w 198"/>
              <a:gd name="T65" fmla="*/ 2147483646 h 117"/>
              <a:gd name="T66" fmla="*/ 2147483646 w 198"/>
              <a:gd name="T67" fmla="*/ 2147483646 h 117"/>
              <a:gd name="T68" fmla="*/ 2147483646 w 198"/>
              <a:gd name="T69" fmla="*/ 2147483646 h 117"/>
              <a:gd name="T70" fmla="*/ 2147483646 w 198"/>
              <a:gd name="T71" fmla="*/ 2147483646 h 117"/>
              <a:gd name="T72" fmla="*/ 2147483646 w 198"/>
              <a:gd name="T73" fmla="*/ 2147483646 h 117"/>
              <a:gd name="T74" fmla="*/ 2147483646 w 198"/>
              <a:gd name="T75" fmla="*/ 2147483646 h 117"/>
              <a:gd name="T76" fmla="*/ 2147483646 w 198"/>
              <a:gd name="T77" fmla="*/ 2147483646 h 117"/>
              <a:gd name="T78" fmla="*/ 2147483646 w 198"/>
              <a:gd name="T79" fmla="*/ 2147483646 h 117"/>
              <a:gd name="T80" fmla="*/ 2147483646 w 198"/>
              <a:gd name="T81" fmla="*/ 2147483646 h 117"/>
              <a:gd name="T82" fmla="*/ 2147483646 w 198"/>
              <a:gd name="T83" fmla="*/ 2147483646 h 11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98"/>
              <a:gd name="T127" fmla="*/ 0 h 117"/>
              <a:gd name="T128" fmla="*/ 198 w 198"/>
              <a:gd name="T129" fmla="*/ 117 h 11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98" h="117">
                <a:moveTo>
                  <a:pt x="149" y="117"/>
                </a:moveTo>
                <a:cubicBezTo>
                  <a:pt x="154" y="116"/>
                  <a:pt x="159" y="112"/>
                  <a:pt x="164" y="112"/>
                </a:cubicBezTo>
                <a:cubicBezTo>
                  <a:pt x="168" y="112"/>
                  <a:pt x="170" y="117"/>
                  <a:pt x="174" y="117"/>
                </a:cubicBezTo>
                <a:cubicBezTo>
                  <a:pt x="181" y="116"/>
                  <a:pt x="184" y="104"/>
                  <a:pt x="189" y="99"/>
                </a:cubicBezTo>
                <a:cubicBezTo>
                  <a:pt x="192" y="97"/>
                  <a:pt x="192" y="96"/>
                  <a:pt x="193" y="96"/>
                </a:cubicBezTo>
                <a:cubicBezTo>
                  <a:pt x="188" y="89"/>
                  <a:pt x="183" y="80"/>
                  <a:pt x="185" y="71"/>
                </a:cubicBezTo>
                <a:cubicBezTo>
                  <a:pt x="187" y="63"/>
                  <a:pt x="194" y="63"/>
                  <a:pt x="198" y="57"/>
                </a:cubicBezTo>
                <a:cubicBezTo>
                  <a:pt x="194" y="53"/>
                  <a:pt x="193" y="43"/>
                  <a:pt x="191" y="37"/>
                </a:cubicBezTo>
                <a:cubicBezTo>
                  <a:pt x="189" y="31"/>
                  <a:pt x="197" y="7"/>
                  <a:pt x="189" y="4"/>
                </a:cubicBezTo>
                <a:cubicBezTo>
                  <a:pt x="183" y="3"/>
                  <a:pt x="181" y="21"/>
                  <a:pt x="176" y="24"/>
                </a:cubicBezTo>
                <a:cubicBezTo>
                  <a:pt x="172" y="27"/>
                  <a:pt x="171" y="27"/>
                  <a:pt x="167" y="27"/>
                </a:cubicBezTo>
                <a:cubicBezTo>
                  <a:pt x="164" y="27"/>
                  <a:pt x="162" y="24"/>
                  <a:pt x="158" y="25"/>
                </a:cubicBezTo>
                <a:cubicBezTo>
                  <a:pt x="155" y="26"/>
                  <a:pt x="155" y="30"/>
                  <a:pt x="150" y="29"/>
                </a:cubicBezTo>
                <a:cubicBezTo>
                  <a:pt x="147" y="28"/>
                  <a:pt x="144" y="24"/>
                  <a:pt x="141" y="22"/>
                </a:cubicBezTo>
                <a:cubicBezTo>
                  <a:pt x="138" y="21"/>
                  <a:pt x="135" y="20"/>
                  <a:pt x="132" y="18"/>
                </a:cubicBezTo>
                <a:cubicBezTo>
                  <a:pt x="126" y="15"/>
                  <a:pt x="122" y="10"/>
                  <a:pt x="117" y="7"/>
                </a:cubicBezTo>
                <a:cubicBezTo>
                  <a:pt x="106" y="0"/>
                  <a:pt x="102" y="9"/>
                  <a:pt x="93" y="15"/>
                </a:cubicBezTo>
                <a:cubicBezTo>
                  <a:pt x="93" y="18"/>
                  <a:pt x="93" y="18"/>
                  <a:pt x="93" y="18"/>
                </a:cubicBezTo>
                <a:cubicBezTo>
                  <a:pt x="93" y="22"/>
                  <a:pt x="94" y="27"/>
                  <a:pt x="94" y="33"/>
                </a:cubicBezTo>
                <a:cubicBezTo>
                  <a:pt x="94" y="45"/>
                  <a:pt x="93" y="44"/>
                  <a:pt x="89" y="52"/>
                </a:cubicBezTo>
                <a:cubicBezTo>
                  <a:pt x="84" y="60"/>
                  <a:pt x="76" y="57"/>
                  <a:pt x="68" y="56"/>
                </a:cubicBezTo>
                <a:cubicBezTo>
                  <a:pt x="60" y="55"/>
                  <a:pt x="63" y="49"/>
                  <a:pt x="62" y="44"/>
                </a:cubicBezTo>
                <a:cubicBezTo>
                  <a:pt x="61" y="39"/>
                  <a:pt x="56" y="38"/>
                  <a:pt x="52" y="35"/>
                </a:cubicBezTo>
                <a:cubicBezTo>
                  <a:pt x="49" y="32"/>
                  <a:pt x="49" y="31"/>
                  <a:pt x="47" y="27"/>
                </a:cubicBezTo>
                <a:cubicBezTo>
                  <a:pt x="45" y="22"/>
                  <a:pt x="42" y="25"/>
                  <a:pt x="37" y="28"/>
                </a:cubicBezTo>
                <a:cubicBezTo>
                  <a:pt x="32" y="31"/>
                  <a:pt x="30" y="30"/>
                  <a:pt x="24" y="34"/>
                </a:cubicBezTo>
                <a:cubicBezTo>
                  <a:pt x="18" y="38"/>
                  <a:pt x="16" y="42"/>
                  <a:pt x="16" y="50"/>
                </a:cubicBezTo>
                <a:cubicBezTo>
                  <a:pt x="16" y="58"/>
                  <a:pt x="13" y="64"/>
                  <a:pt x="7" y="71"/>
                </a:cubicBezTo>
                <a:cubicBezTo>
                  <a:pt x="0" y="78"/>
                  <a:pt x="3" y="85"/>
                  <a:pt x="4" y="90"/>
                </a:cubicBezTo>
                <a:cubicBezTo>
                  <a:pt x="5" y="94"/>
                  <a:pt x="8" y="98"/>
                  <a:pt x="8" y="98"/>
                </a:cubicBezTo>
                <a:cubicBezTo>
                  <a:pt x="8" y="99"/>
                  <a:pt x="8" y="99"/>
                  <a:pt x="8" y="99"/>
                </a:cubicBezTo>
                <a:cubicBezTo>
                  <a:pt x="17" y="101"/>
                  <a:pt x="25" y="89"/>
                  <a:pt x="34" y="89"/>
                </a:cubicBezTo>
                <a:cubicBezTo>
                  <a:pt x="37" y="89"/>
                  <a:pt x="39" y="91"/>
                  <a:pt x="42" y="91"/>
                </a:cubicBezTo>
                <a:cubicBezTo>
                  <a:pt x="46" y="92"/>
                  <a:pt x="51" y="90"/>
                  <a:pt x="55" y="90"/>
                </a:cubicBezTo>
                <a:cubicBezTo>
                  <a:pt x="64" y="90"/>
                  <a:pt x="72" y="89"/>
                  <a:pt x="80" y="89"/>
                </a:cubicBezTo>
                <a:cubicBezTo>
                  <a:pt x="83" y="89"/>
                  <a:pt x="86" y="90"/>
                  <a:pt x="89" y="90"/>
                </a:cubicBezTo>
                <a:cubicBezTo>
                  <a:pt x="90" y="90"/>
                  <a:pt x="92" y="92"/>
                  <a:pt x="93" y="91"/>
                </a:cubicBezTo>
                <a:cubicBezTo>
                  <a:pt x="95" y="91"/>
                  <a:pt x="97" y="89"/>
                  <a:pt x="98" y="89"/>
                </a:cubicBezTo>
                <a:cubicBezTo>
                  <a:pt x="101" y="89"/>
                  <a:pt x="99" y="87"/>
                  <a:pt x="104" y="91"/>
                </a:cubicBezTo>
                <a:cubicBezTo>
                  <a:pt x="107" y="94"/>
                  <a:pt x="107" y="96"/>
                  <a:pt x="111" y="97"/>
                </a:cubicBezTo>
                <a:cubicBezTo>
                  <a:pt x="118" y="100"/>
                  <a:pt x="127" y="98"/>
                  <a:pt x="133" y="102"/>
                </a:cubicBezTo>
                <a:cubicBezTo>
                  <a:pt x="136" y="104"/>
                  <a:pt x="147" y="113"/>
                  <a:pt x="149" y="117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7" name="Freeform 542"/>
          <p:cNvSpPr>
            <a:spLocks/>
          </p:cNvSpPr>
          <p:nvPr userDrawn="1"/>
        </p:nvSpPr>
        <p:spPr bwMode="auto">
          <a:xfrm>
            <a:off x="6013286" y="3244125"/>
            <a:ext cx="184260" cy="108881"/>
          </a:xfrm>
          <a:custGeom>
            <a:avLst/>
            <a:gdLst>
              <a:gd name="T0" fmla="*/ 2147483646 w 198"/>
              <a:gd name="T1" fmla="*/ 2147483646 h 117"/>
              <a:gd name="T2" fmla="*/ 2147483646 w 198"/>
              <a:gd name="T3" fmla="*/ 2147483646 h 117"/>
              <a:gd name="T4" fmla="*/ 2147483646 w 198"/>
              <a:gd name="T5" fmla="*/ 2147483646 h 117"/>
              <a:gd name="T6" fmla="*/ 2147483646 w 198"/>
              <a:gd name="T7" fmla="*/ 2147483646 h 117"/>
              <a:gd name="T8" fmla="*/ 2147483646 w 198"/>
              <a:gd name="T9" fmla="*/ 2147483646 h 117"/>
              <a:gd name="T10" fmla="*/ 2147483646 w 198"/>
              <a:gd name="T11" fmla="*/ 2147483646 h 117"/>
              <a:gd name="T12" fmla="*/ 2147483646 w 198"/>
              <a:gd name="T13" fmla="*/ 2147483646 h 117"/>
              <a:gd name="T14" fmla="*/ 2147483646 w 198"/>
              <a:gd name="T15" fmla="*/ 2147483646 h 117"/>
              <a:gd name="T16" fmla="*/ 2147483646 w 198"/>
              <a:gd name="T17" fmla="*/ 2147483646 h 117"/>
              <a:gd name="T18" fmla="*/ 2147483646 w 198"/>
              <a:gd name="T19" fmla="*/ 2147483646 h 117"/>
              <a:gd name="T20" fmla="*/ 2147483646 w 198"/>
              <a:gd name="T21" fmla="*/ 2147483646 h 117"/>
              <a:gd name="T22" fmla="*/ 2147483646 w 198"/>
              <a:gd name="T23" fmla="*/ 2147483646 h 117"/>
              <a:gd name="T24" fmla="*/ 2147483646 w 198"/>
              <a:gd name="T25" fmla="*/ 2147483646 h 117"/>
              <a:gd name="T26" fmla="*/ 2147483646 w 198"/>
              <a:gd name="T27" fmla="*/ 2147483646 h 117"/>
              <a:gd name="T28" fmla="*/ 2147483646 w 198"/>
              <a:gd name="T29" fmla="*/ 2147483646 h 117"/>
              <a:gd name="T30" fmla="*/ 2147483646 w 198"/>
              <a:gd name="T31" fmla="*/ 2147483646 h 117"/>
              <a:gd name="T32" fmla="*/ 2147483646 w 198"/>
              <a:gd name="T33" fmla="*/ 2147483646 h 117"/>
              <a:gd name="T34" fmla="*/ 2147483646 w 198"/>
              <a:gd name="T35" fmla="*/ 2147483646 h 117"/>
              <a:gd name="T36" fmla="*/ 2147483646 w 198"/>
              <a:gd name="T37" fmla="*/ 2147483646 h 117"/>
              <a:gd name="T38" fmla="*/ 2147483646 w 198"/>
              <a:gd name="T39" fmla="*/ 2147483646 h 117"/>
              <a:gd name="T40" fmla="*/ 2147483646 w 198"/>
              <a:gd name="T41" fmla="*/ 2147483646 h 117"/>
              <a:gd name="T42" fmla="*/ 2147483646 w 198"/>
              <a:gd name="T43" fmla="*/ 2147483646 h 117"/>
              <a:gd name="T44" fmla="*/ 2147483646 w 198"/>
              <a:gd name="T45" fmla="*/ 2147483646 h 117"/>
              <a:gd name="T46" fmla="*/ 2147483646 w 198"/>
              <a:gd name="T47" fmla="*/ 2147483646 h 117"/>
              <a:gd name="T48" fmla="*/ 2147483646 w 198"/>
              <a:gd name="T49" fmla="*/ 2147483646 h 117"/>
              <a:gd name="T50" fmla="*/ 2147483646 w 198"/>
              <a:gd name="T51" fmla="*/ 2147483646 h 117"/>
              <a:gd name="T52" fmla="*/ 2147483646 w 198"/>
              <a:gd name="T53" fmla="*/ 2147483646 h 117"/>
              <a:gd name="T54" fmla="*/ 2147483646 w 198"/>
              <a:gd name="T55" fmla="*/ 2147483646 h 117"/>
              <a:gd name="T56" fmla="*/ 2147483646 w 198"/>
              <a:gd name="T57" fmla="*/ 2147483646 h 117"/>
              <a:gd name="T58" fmla="*/ 2147483646 w 198"/>
              <a:gd name="T59" fmla="*/ 2147483646 h 117"/>
              <a:gd name="T60" fmla="*/ 2147483646 w 198"/>
              <a:gd name="T61" fmla="*/ 2147483646 h 117"/>
              <a:gd name="T62" fmla="*/ 2147483646 w 198"/>
              <a:gd name="T63" fmla="*/ 2147483646 h 117"/>
              <a:gd name="T64" fmla="*/ 2147483646 w 198"/>
              <a:gd name="T65" fmla="*/ 2147483646 h 117"/>
              <a:gd name="T66" fmla="*/ 2147483646 w 198"/>
              <a:gd name="T67" fmla="*/ 2147483646 h 117"/>
              <a:gd name="T68" fmla="*/ 2147483646 w 198"/>
              <a:gd name="T69" fmla="*/ 2147483646 h 117"/>
              <a:gd name="T70" fmla="*/ 2147483646 w 198"/>
              <a:gd name="T71" fmla="*/ 2147483646 h 117"/>
              <a:gd name="T72" fmla="*/ 2147483646 w 198"/>
              <a:gd name="T73" fmla="*/ 2147483646 h 117"/>
              <a:gd name="T74" fmla="*/ 2147483646 w 198"/>
              <a:gd name="T75" fmla="*/ 2147483646 h 117"/>
              <a:gd name="T76" fmla="*/ 2147483646 w 198"/>
              <a:gd name="T77" fmla="*/ 2147483646 h 117"/>
              <a:gd name="T78" fmla="*/ 2147483646 w 198"/>
              <a:gd name="T79" fmla="*/ 2147483646 h 117"/>
              <a:gd name="T80" fmla="*/ 2147483646 w 198"/>
              <a:gd name="T81" fmla="*/ 2147483646 h 117"/>
              <a:gd name="T82" fmla="*/ 2147483646 w 198"/>
              <a:gd name="T83" fmla="*/ 2147483646 h 11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98"/>
              <a:gd name="T127" fmla="*/ 0 h 117"/>
              <a:gd name="T128" fmla="*/ 198 w 198"/>
              <a:gd name="T129" fmla="*/ 117 h 11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98" h="117">
                <a:moveTo>
                  <a:pt x="149" y="117"/>
                </a:moveTo>
                <a:cubicBezTo>
                  <a:pt x="154" y="116"/>
                  <a:pt x="159" y="112"/>
                  <a:pt x="164" y="112"/>
                </a:cubicBezTo>
                <a:cubicBezTo>
                  <a:pt x="168" y="112"/>
                  <a:pt x="170" y="117"/>
                  <a:pt x="174" y="117"/>
                </a:cubicBezTo>
                <a:cubicBezTo>
                  <a:pt x="181" y="116"/>
                  <a:pt x="184" y="104"/>
                  <a:pt x="189" y="99"/>
                </a:cubicBezTo>
                <a:cubicBezTo>
                  <a:pt x="192" y="97"/>
                  <a:pt x="192" y="96"/>
                  <a:pt x="193" y="96"/>
                </a:cubicBezTo>
                <a:cubicBezTo>
                  <a:pt x="188" y="89"/>
                  <a:pt x="183" y="80"/>
                  <a:pt x="185" y="71"/>
                </a:cubicBezTo>
                <a:cubicBezTo>
                  <a:pt x="187" y="63"/>
                  <a:pt x="194" y="63"/>
                  <a:pt x="198" y="57"/>
                </a:cubicBezTo>
                <a:cubicBezTo>
                  <a:pt x="194" y="53"/>
                  <a:pt x="193" y="43"/>
                  <a:pt x="191" y="37"/>
                </a:cubicBezTo>
                <a:cubicBezTo>
                  <a:pt x="189" y="31"/>
                  <a:pt x="197" y="7"/>
                  <a:pt x="189" y="4"/>
                </a:cubicBezTo>
                <a:cubicBezTo>
                  <a:pt x="183" y="3"/>
                  <a:pt x="181" y="21"/>
                  <a:pt x="176" y="24"/>
                </a:cubicBezTo>
                <a:cubicBezTo>
                  <a:pt x="172" y="27"/>
                  <a:pt x="171" y="27"/>
                  <a:pt x="167" y="27"/>
                </a:cubicBezTo>
                <a:cubicBezTo>
                  <a:pt x="164" y="27"/>
                  <a:pt x="162" y="24"/>
                  <a:pt x="158" y="25"/>
                </a:cubicBezTo>
                <a:cubicBezTo>
                  <a:pt x="155" y="26"/>
                  <a:pt x="155" y="30"/>
                  <a:pt x="150" y="29"/>
                </a:cubicBezTo>
                <a:cubicBezTo>
                  <a:pt x="147" y="28"/>
                  <a:pt x="144" y="24"/>
                  <a:pt x="141" y="22"/>
                </a:cubicBezTo>
                <a:cubicBezTo>
                  <a:pt x="138" y="21"/>
                  <a:pt x="135" y="20"/>
                  <a:pt x="132" y="18"/>
                </a:cubicBezTo>
                <a:cubicBezTo>
                  <a:pt x="126" y="15"/>
                  <a:pt x="122" y="10"/>
                  <a:pt x="117" y="7"/>
                </a:cubicBezTo>
                <a:cubicBezTo>
                  <a:pt x="106" y="0"/>
                  <a:pt x="102" y="9"/>
                  <a:pt x="93" y="15"/>
                </a:cubicBezTo>
                <a:cubicBezTo>
                  <a:pt x="93" y="18"/>
                  <a:pt x="93" y="18"/>
                  <a:pt x="93" y="18"/>
                </a:cubicBezTo>
                <a:cubicBezTo>
                  <a:pt x="93" y="22"/>
                  <a:pt x="94" y="27"/>
                  <a:pt x="94" y="33"/>
                </a:cubicBezTo>
                <a:cubicBezTo>
                  <a:pt x="94" y="45"/>
                  <a:pt x="93" y="44"/>
                  <a:pt x="89" y="52"/>
                </a:cubicBezTo>
                <a:cubicBezTo>
                  <a:pt x="84" y="60"/>
                  <a:pt x="76" y="57"/>
                  <a:pt x="68" y="56"/>
                </a:cubicBezTo>
                <a:cubicBezTo>
                  <a:pt x="60" y="55"/>
                  <a:pt x="63" y="49"/>
                  <a:pt x="62" y="44"/>
                </a:cubicBezTo>
                <a:cubicBezTo>
                  <a:pt x="61" y="39"/>
                  <a:pt x="56" y="38"/>
                  <a:pt x="52" y="35"/>
                </a:cubicBezTo>
                <a:cubicBezTo>
                  <a:pt x="49" y="32"/>
                  <a:pt x="49" y="31"/>
                  <a:pt x="47" y="27"/>
                </a:cubicBezTo>
                <a:cubicBezTo>
                  <a:pt x="45" y="22"/>
                  <a:pt x="42" y="25"/>
                  <a:pt x="37" y="28"/>
                </a:cubicBezTo>
                <a:cubicBezTo>
                  <a:pt x="32" y="31"/>
                  <a:pt x="30" y="30"/>
                  <a:pt x="24" y="34"/>
                </a:cubicBezTo>
                <a:cubicBezTo>
                  <a:pt x="18" y="38"/>
                  <a:pt x="16" y="42"/>
                  <a:pt x="16" y="50"/>
                </a:cubicBezTo>
                <a:cubicBezTo>
                  <a:pt x="16" y="58"/>
                  <a:pt x="13" y="64"/>
                  <a:pt x="7" y="71"/>
                </a:cubicBezTo>
                <a:cubicBezTo>
                  <a:pt x="0" y="78"/>
                  <a:pt x="3" y="85"/>
                  <a:pt x="4" y="90"/>
                </a:cubicBezTo>
                <a:cubicBezTo>
                  <a:pt x="5" y="94"/>
                  <a:pt x="8" y="98"/>
                  <a:pt x="8" y="98"/>
                </a:cubicBezTo>
                <a:cubicBezTo>
                  <a:pt x="8" y="99"/>
                  <a:pt x="8" y="99"/>
                  <a:pt x="8" y="99"/>
                </a:cubicBezTo>
                <a:cubicBezTo>
                  <a:pt x="17" y="101"/>
                  <a:pt x="25" y="89"/>
                  <a:pt x="34" y="89"/>
                </a:cubicBezTo>
                <a:cubicBezTo>
                  <a:pt x="37" y="89"/>
                  <a:pt x="39" y="91"/>
                  <a:pt x="42" y="91"/>
                </a:cubicBezTo>
                <a:cubicBezTo>
                  <a:pt x="46" y="92"/>
                  <a:pt x="51" y="90"/>
                  <a:pt x="55" y="90"/>
                </a:cubicBezTo>
                <a:cubicBezTo>
                  <a:pt x="64" y="90"/>
                  <a:pt x="72" y="89"/>
                  <a:pt x="80" y="89"/>
                </a:cubicBezTo>
                <a:cubicBezTo>
                  <a:pt x="83" y="89"/>
                  <a:pt x="86" y="90"/>
                  <a:pt x="89" y="90"/>
                </a:cubicBezTo>
                <a:cubicBezTo>
                  <a:pt x="90" y="90"/>
                  <a:pt x="92" y="92"/>
                  <a:pt x="93" y="91"/>
                </a:cubicBezTo>
                <a:cubicBezTo>
                  <a:pt x="95" y="91"/>
                  <a:pt x="97" y="89"/>
                  <a:pt x="98" y="89"/>
                </a:cubicBezTo>
                <a:cubicBezTo>
                  <a:pt x="101" y="89"/>
                  <a:pt x="99" y="87"/>
                  <a:pt x="104" y="91"/>
                </a:cubicBezTo>
                <a:cubicBezTo>
                  <a:pt x="107" y="94"/>
                  <a:pt x="107" y="96"/>
                  <a:pt x="111" y="97"/>
                </a:cubicBezTo>
                <a:cubicBezTo>
                  <a:pt x="118" y="100"/>
                  <a:pt x="127" y="98"/>
                  <a:pt x="133" y="102"/>
                </a:cubicBezTo>
                <a:cubicBezTo>
                  <a:pt x="136" y="104"/>
                  <a:pt x="147" y="113"/>
                  <a:pt x="149" y="117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8" name="Freeform 543"/>
          <p:cNvSpPr>
            <a:spLocks/>
          </p:cNvSpPr>
          <p:nvPr userDrawn="1"/>
        </p:nvSpPr>
        <p:spPr bwMode="auto">
          <a:xfrm>
            <a:off x="6071913" y="3173771"/>
            <a:ext cx="117256" cy="98831"/>
          </a:xfrm>
          <a:custGeom>
            <a:avLst/>
            <a:gdLst>
              <a:gd name="T0" fmla="*/ 2147483646 w 125"/>
              <a:gd name="T1" fmla="*/ 2147483646 h 105"/>
              <a:gd name="T2" fmla="*/ 2147483646 w 125"/>
              <a:gd name="T3" fmla="*/ 2147483646 h 105"/>
              <a:gd name="T4" fmla="*/ 2147483646 w 125"/>
              <a:gd name="T5" fmla="*/ 2147483646 h 105"/>
              <a:gd name="T6" fmla="*/ 2147483646 w 125"/>
              <a:gd name="T7" fmla="*/ 2147483646 h 105"/>
              <a:gd name="T8" fmla="*/ 2147483646 w 125"/>
              <a:gd name="T9" fmla="*/ 2147483646 h 105"/>
              <a:gd name="T10" fmla="*/ 2147483646 w 125"/>
              <a:gd name="T11" fmla="*/ 2147483646 h 105"/>
              <a:gd name="T12" fmla="*/ 2147483646 w 125"/>
              <a:gd name="T13" fmla="*/ 2147483646 h 105"/>
              <a:gd name="T14" fmla="*/ 2147483646 w 125"/>
              <a:gd name="T15" fmla="*/ 2147483646 h 105"/>
              <a:gd name="T16" fmla="*/ 2147483646 w 125"/>
              <a:gd name="T17" fmla="*/ 2147483646 h 105"/>
              <a:gd name="T18" fmla="*/ 2147483646 w 125"/>
              <a:gd name="T19" fmla="*/ 2147483646 h 105"/>
              <a:gd name="T20" fmla="*/ 2147483646 w 125"/>
              <a:gd name="T21" fmla="*/ 2147483646 h 105"/>
              <a:gd name="T22" fmla="*/ 2147483646 w 125"/>
              <a:gd name="T23" fmla="*/ 2147483646 h 105"/>
              <a:gd name="T24" fmla="*/ 2147483646 w 125"/>
              <a:gd name="T25" fmla="*/ 2147483646 h 105"/>
              <a:gd name="T26" fmla="*/ 2147483646 w 125"/>
              <a:gd name="T27" fmla="*/ 2147483646 h 105"/>
              <a:gd name="T28" fmla="*/ 2147483646 w 125"/>
              <a:gd name="T29" fmla="*/ 2147483646 h 105"/>
              <a:gd name="T30" fmla="*/ 2147483646 w 125"/>
              <a:gd name="T31" fmla="*/ 2147483646 h 105"/>
              <a:gd name="T32" fmla="*/ 2147483646 w 125"/>
              <a:gd name="T33" fmla="*/ 2147483646 h 105"/>
              <a:gd name="T34" fmla="*/ 2147483646 w 125"/>
              <a:gd name="T35" fmla="*/ 2147483646 h 105"/>
              <a:gd name="T36" fmla="*/ 2147483646 w 125"/>
              <a:gd name="T37" fmla="*/ 2147483646 h 105"/>
              <a:gd name="T38" fmla="*/ 2147483646 w 125"/>
              <a:gd name="T39" fmla="*/ 2147483646 h 105"/>
              <a:gd name="T40" fmla="*/ 2147483646 w 125"/>
              <a:gd name="T41" fmla="*/ 2147483646 h 105"/>
              <a:gd name="T42" fmla="*/ 2147483646 w 125"/>
              <a:gd name="T43" fmla="*/ 2147483646 h 105"/>
              <a:gd name="T44" fmla="*/ 2147483646 w 125"/>
              <a:gd name="T45" fmla="*/ 2147483646 h 105"/>
              <a:gd name="T46" fmla="*/ 2147483646 w 125"/>
              <a:gd name="T47" fmla="*/ 2147483646 h 105"/>
              <a:gd name="T48" fmla="*/ 2147483646 w 125"/>
              <a:gd name="T49" fmla="*/ 2147483646 h 105"/>
              <a:gd name="T50" fmla="*/ 2147483646 w 125"/>
              <a:gd name="T51" fmla="*/ 2147483646 h 105"/>
              <a:gd name="T52" fmla="*/ 2147483646 w 125"/>
              <a:gd name="T53" fmla="*/ 2147483646 h 105"/>
              <a:gd name="T54" fmla="*/ 2147483646 w 125"/>
              <a:gd name="T55" fmla="*/ 2147483646 h 105"/>
              <a:gd name="T56" fmla="*/ 2147483646 w 125"/>
              <a:gd name="T57" fmla="*/ 2147483646 h 105"/>
              <a:gd name="T58" fmla="*/ 2147483646 w 125"/>
              <a:gd name="T59" fmla="*/ 2147483646 h 105"/>
              <a:gd name="T60" fmla="*/ 2147483646 w 125"/>
              <a:gd name="T61" fmla="*/ 2147483646 h 105"/>
              <a:gd name="T62" fmla="*/ 2147483646 w 125"/>
              <a:gd name="T63" fmla="*/ 2147483646 h 105"/>
              <a:gd name="T64" fmla="*/ 2147483646 w 125"/>
              <a:gd name="T65" fmla="*/ 2147483646 h 105"/>
              <a:gd name="T66" fmla="*/ 2147483646 w 125"/>
              <a:gd name="T67" fmla="*/ 2147483646 h 105"/>
              <a:gd name="T68" fmla="*/ 2147483646 w 125"/>
              <a:gd name="T69" fmla="*/ 2147483646 h 105"/>
              <a:gd name="T70" fmla="*/ 2147483646 w 125"/>
              <a:gd name="T71" fmla="*/ 2147483646 h 105"/>
              <a:gd name="T72" fmla="*/ 2147483646 w 125"/>
              <a:gd name="T73" fmla="*/ 2147483646 h 105"/>
              <a:gd name="T74" fmla="*/ 2147483646 w 125"/>
              <a:gd name="T75" fmla="*/ 2147483646 h 105"/>
              <a:gd name="T76" fmla="*/ 2147483646 w 125"/>
              <a:gd name="T77" fmla="*/ 2147483646 h 105"/>
              <a:gd name="T78" fmla="*/ 2147483646 w 125"/>
              <a:gd name="T79" fmla="*/ 2147483646 h 105"/>
              <a:gd name="T80" fmla="*/ 2147483646 w 125"/>
              <a:gd name="T81" fmla="*/ 2147483646 h 105"/>
              <a:gd name="T82" fmla="*/ 2147483646 w 125"/>
              <a:gd name="T83" fmla="*/ 2147483646 h 105"/>
              <a:gd name="T84" fmla="*/ 2147483646 w 125"/>
              <a:gd name="T85" fmla="*/ 2147483646 h 105"/>
              <a:gd name="T86" fmla="*/ 2147483646 w 125"/>
              <a:gd name="T87" fmla="*/ 2147483646 h 105"/>
              <a:gd name="T88" fmla="*/ 2147483646 w 125"/>
              <a:gd name="T89" fmla="*/ 2147483646 h 105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5"/>
              <a:gd name="T136" fmla="*/ 0 h 105"/>
              <a:gd name="T137" fmla="*/ 125 w 125"/>
              <a:gd name="T138" fmla="*/ 105 h 105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5" h="105">
                <a:moveTo>
                  <a:pt x="29" y="90"/>
                </a:moveTo>
                <a:cubicBezTo>
                  <a:pt x="29" y="87"/>
                  <a:pt x="29" y="82"/>
                  <a:pt x="30" y="79"/>
                </a:cubicBezTo>
                <a:cubicBezTo>
                  <a:pt x="32" y="72"/>
                  <a:pt x="36" y="71"/>
                  <a:pt x="33" y="66"/>
                </a:cubicBezTo>
                <a:cubicBezTo>
                  <a:pt x="29" y="61"/>
                  <a:pt x="27" y="68"/>
                  <a:pt x="26" y="72"/>
                </a:cubicBezTo>
                <a:cubicBezTo>
                  <a:pt x="24" y="76"/>
                  <a:pt x="21" y="71"/>
                  <a:pt x="18" y="68"/>
                </a:cubicBezTo>
                <a:cubicBezTo>
                  <a:pt x="16" y="66"/>
                  <a:pt x="13" y="69"/>
                  <a:pt x="12" y="66"/>
                </a:cubicBezTo>
                <a:cubicBezTo>
                  <a:pt x="10" y="63"/>
                  <a:pt x="9" y="55"/>
                  <a:pt x="9" y="55"/>
                </a:cubicBezTo>
                <a:cubicBezTo>
                  <a:pt x="9" y="55"/>
                  <a:pt x="0" y="55"/>
                  <a:pt x="3" y="53"/>
                </a:cubicBezTo>
                <a:cubicBezTo>
                  <a:pt x="5" y="51"/>
                  <a:pt x="9" y="51"/>
                  <a:pt x="11" y="49"/>
                </a:cubicBezTo>
                <a:cubicBezTo>
                  <a:pt x="13" y="48"/>
                  <a:pt x="7" y="48"/>
                  <a:pt x="6" y="46"/>
                </a:cubicBezTo>
                <a:cubicBezTo>
                  <a:pt x="5" y="43"/>
                  <a:pt x="9" y="40"/>
                  <a:pt x="8" y="36"/>
                </a:cubicBezTo>
                <a:cubicBezTo>
                  <a:pt x="7" y="33"/>
                  <a:pt x="2" y="29"/>
                  <a:pt x="6" y="26"/>
                </a:cubicBezTo>
                <a:cubicBezTo>
                  <a:pt x="9" y="23"/>
                  <a:pt x="13" y="19"/>
                  <a:pt x="18" y="18"/>
                </a:cubicBezTo>
                <a:cubicBezTo>
                  <a:pt x="23" y="16"/>
                  <a:pt x="28" y="13"/>
                  <a:pt x="29" y="10"/>
                </a:cubicBezTo>
                <a:cubicBezTo>
                  <a:pt x="31" y="8"/>
                  <a:pt x="30" y="4"/>
                  <a:pt x="36" y="7"/>
                </a:cubicBezTo>
                <a:cubicBezTo>
                  <a:pt x="41" y="10"/>
                  <a:pt x="39" y="7"/>
                  <a:pt x="45" y="8"/>
                </a:cubicBezTo>
                <a:cubicBezTo>
                  <a:pt x="50" y="8"/>
                  <a:pt x="50" y="6"/>
                  <a:pt x="53" y="8"/>
                </a:cubicBezTo>
                <a:cubicBezTo>
                  <a:pt x="57" y="9"/>
                  <a:pt x="58" y="0"/>
                  <a:pt x="63" y="2"/>
                </a:cubicBezTo>
                <a:cubicBezTo>
                  <a:pt x="69" y="3"/>
                  <a:pt x="70" y="3"/>
                  <a:pt x="73" y="3"/>
                </a:cubicBezTo>
                <a:cubicBezTo>
                  <a:pt x="77" y="3"/>
                  <a:pt x="76" y="1"/>
                  <a:pt x="81" y="3"/>
                </a:cubicBezTo>
                <a:cubicBezTo>
                  <a:pt x="86" y="5"/>
                  <a:pt x="84" y="7"/>
                  <a:pt x="88" y="7"/>
                </a:cubicBezTo>
                <a:cubicBezTo>
                  <a:pt x="92" y="8"/>
                  <a:pt x="99" y="9"/>
                  <a:pt x="105" y="10"/>
                </a:cubicBezTo>
                <a:cubicBezTo>
                  <a:pt x="111" y="10"/>
                  <a:pt x="110" y="12"/>
                  <a:pt x="115" y="10"/>
                </a:cubicBezTo>
                <a:cubicBezTo>
                  <a:pt x="116" y="10"/>
                  <a:pt x="117" y="9"/>
                  <a:pt x="117" y="9"/>
                </a:cubicBezTo>
                <a:cubicBezTo>
                  <a:pt x="119" y="9"/>
                  <a:pt x="119" y="9"/>
                  <a:pt x="119" y="9"/>
                </a:cubicBezTo>
                <a:cubicBezTo>
                  <a:pt x="122" y="14"/>
                  <a:pt x="125" y="19"/>
                  <a:pt x="122" y="25"/>
                </a:cubicBezTo>
                <a:cubicBezTo>
                  <a:pt x="122" y="27"/>
                  <a:pt x="121" y="29"/>
                  <a:pt x="120" y="31"/>
                </a:cubicBezTo>
                <a:cubicBezTo>
                  <a:pt x="117" y="32"/>
                  <a:pt x="117" y="32"/>
                  <a:pt x="117" y="32"/>
                </a:cubicBezTo>
                <a:cubicBezTo>
                  <a:pt x="114" y="33"/>
                  <a:pt x="113" y="35"/>
                  <a:pt x="110" y="33"/>
                </a:cubicBezTo>
                <a:cubicBezTo>
                  <a:pt x="107" y="31"/>
                  <a:pt x="104" y="26"/>
                  <a:pt x="101" y="32"/>
                </a:cubicBezTo>
                <a:cubicBezTo>
                  <a:pt x="98" y="38"/>
                  <a:pt x="93" y="37"/>
                  <a:pt x="98" y="43"/>
                </a:cubicBezTo>
                <a:cubicBezTo>
                  <a:pt x="102" y="49"/>
                  <a:pt x="102" y="45"/>
                  <a:pt x="104" y="54"/>
                </a:cubicBezTo>
                <a:cubicBezTo>
                  <a:pt x="106" y="63"/>
                  <a:pt x="106" y="61"/>
                  <a:pt x="111" y="68"/>
                </a:cubicBezTo>
                <a:cubicBezTo>
                  <a:pt x="116" y="76"/>
                  <a:pt x="115" y="68"/>
                  <a:pt x="121" y="76"/>
                </a:cubicBezTo>
                <a:cubicBezTo>
                  <a:pt x="122" y="77"/>
                  <a:pt x="123" y="77"/>
                  <a:pt x="123" y="78"/>
                </a:cubicBezTo>
                <a:cubicBezTo>
                  <a:pt x="125" y="79"/>
                  <a:pt x="125" y="79"/>
                  <a:pt x="125" y="79"/>
                </a:cubicBezTo>
                <a:cubicBezTo>
                  <a:pt x="119" y="78"/>
                  <a:pt x="117" y="96"/>
                  <a:pt x="112" y="99"/>
                </a:cubicBezTo>
                <a:cubicBezTo>
                  <a:pt x="108" y="102"/>
                  <a:pt x="107" y="102"/>
                  <a:pt x="103" y="102"/>
                </a:cubicBezTo>
                <a:cubicBezTo>
                  <a:pt x="100" y="102"/>
                  <a:pt x="98" y="99"/>
                  <a:pt x="94" y="100"/>
                </a:cubicBezTo>
                <a:cubicBezTo>
                  <a:pt x="91" y="101"/>
                  <a:pt x="91" y="105"/>
                  <a:pt x="86" y="104"/>
                </a:cubicBezTo>
                <a:cubicBezTo>
                  <a:pt x="83" y="103"/>
                  <a:pt x="80" y="99"/>
                  <a:pt x="77" y="97"/>
                </a:cubicBezTo>
                <a:cubicBezTo>
                  <a:pt x="74" y="96"/>
                  <a:pt x="71" y="95"/>
                  <a:pt x="68" y="93"/>
                </a:cubicBezTo>
                <a:cubicBezTo>
                  <a:pt x="62" y="90"/>
                  <a:pt x="58" y="85"/>
                  <a:pt x="54" y="82"/>
                </a:cubicBezTo>
                <a:cubicBezTo>
                  <a:pt x="42" y="75"/>
                  <a:pt x="38" y="83"/>
                  <a:pt x="30" y="89"/>
                </a:cubicBezTo>
                <a:lnTo>
                  <a:pt x="29" y="9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9" name="Freeform 544"/>
          <p:cNvSpPr>
            <a:spLocks/>
          </p:cNvSpPr>
          <p:nvPr userDrawn="1"/>
        </p:nvSpPr>
        <p:spPr bwMode="auto">
          <a:xfrm>
            <a:off x="6046788" y="3497065"/>
            <a:ext cx="433849" cy="269689"/>
          </a:xfrm>
          <a:custGeom>
            <a:avLst/>
            <a:gdLst>
              <a:gd name="T0" fmla="*/ 2147483646 w 464"/>
              <a:gd name="T1" fmla="*/ 2147483646 h 288"/>
              <a:gd name="T2" fmla="*/ 2147483646 w 464"/>
              <a:gd name="T3" fmla="*/ 2147483646 h 288"/>
              <a:gd name="T4" fmla="*/ 2147483646 w 464"/>
              <a:gd name="T5" fmla="*/ 2147483646 h 288"/>
              <a:gd name="T6" fmla="*/ 2147483646 w 464"/>
              <a:gd name="T7" fmla="*/ 2147483646 h 288"/>
              <a:gd name="T8" fmla="*/ 2147483646 w 464"/>
              <a:gd name="T9" fmla="*/ 2147483646 h 288"/>
              <a:gd name="T10" fmla="*/ 2147483646 w 464"/>
              <a:gd name="T11" fmla="*/ 2147483646 h 288"/>
              <a:gd name="T12" fmla="*/ 2147483646 w 464"/>
              <a:gd name="T13" fmla="*/ 2147483646 h 288"/>
              <a:gd name="T14" fmla="*/ 2147483646 w 464"/>
              <a:gd name="T15" fmla="*/ 2147483646 h 288"/>
              <a:gd name="T16" fmla="*/ 2147483646 w 464"/>
              <a:gd name="T17" fmla="*/ 2147483646 h 288"/>
              <a:gd name="T18" fmla="*/ 2147483646 w 464"/>
              <a:gd name="T19" fmla="*/ 2147483646 h 288"/>
              <a:gd name="T20" fmla="*/ 2147483646 w 464"/>
              <a:gd name="T21" fmla="*/ 2147483646 h 288"/>
              <a:gd name="T22" fmla="*/ 2147483646 w 464"/>
              <a:gd name="T23" fmla="*/ 2147483646 h 288"/>
              <a:gd name="T24" fmla="*/ 2147483646 w 464"/>
              <a:gd name="T25" fmla="*/ 2147483646 h 288"/>
              <a:gd name="T26" fmla="*/ 2147483646 w 464"/>
              <a:gd name="T27" fmla="*/ 2147483646 h 288"/>
              <a:gd name="T28" fmla="*/ 2147483646 w 464"/>
              <a:gd name="T29" fmla="*/ 2147483646 h 288"/>
              <a:gd name="T30" fmla="*/ 2147483646 w 464"/>
              <a:gd name="T31" fmla="*/ 2147483646 h 288"/>
              <a:gd name="T32" fmla="*/ 2147483646 w 464"/>
              <a:gd name="T33" fmla="*/ 2147483646 h 288"/>
              <a:gd name="T34" fmla="*/ 2147483646 w 464"/>
              <a:gd name="T35" fmla="*/ 2147483646 h 288"/>
              <a:gd name="T36" fmla="*/ 2147483646 w 464"/>
              <a:gd name="T37" fmla="*/ 2147483646 h 288"/>
              <a:gd name="T38" fmla="*/ 2147483646 w 464"/>
              <a:gd name="T39" fmla="*/ 2147483646 h 288"/>
              <a:gd name="T40" fmla="*/ 2147483646 w 464"/>
              <a:gd name="T41" fmla="*/ 2147483646 h 288"/>
              <a:gd name="T42" fmla="*/ 2147483646 w 464"/>
              <a:gd name="T43" fmla="*/ 2147483646 h 288"/>
              <a:gd name="T44" fmla="*/ 2147483646 w 464"/>
              <a:gd name="T45" fmla="*/ 2147483646 h 288"/>
              <a:gd name="T46" fmla="*/ 2147483646 w 464"/>
              <a:gd name="T47" fmla="*/ 2147483646 h 288"/>
              <a:gd name="T48" fmla="*/ 2147483646 w 464"/>
              <a:gd name="T49" fmla="*/ 2147483646 h 288"/>
              <a:gd name="T50" fmla="*/ 2147483646 w 464"/>
              <a:gd name="T51" fmla="*/ 2147483646 h 288"/>
              <a:gd name="T52" fmla="*/ 2147483646 w 464"/>
              <a:gd name="T53" fmla="*/ 2147483646 h 288"/>
              <a:gd name="T54" fmla="*/ 2147483646 w 464"/>
              <a:gd name="T55" fmla="*/ 2147483646 h 288"/>
              <a:gd name="T56" fmla="*/ 2147483646 w 464"/>
              <a:gd name="T57" fmla="*/ 2147483646 h 288"/>
              <a:gd name="T58" fmla="*/ 2147483646 w 464"/>
              <a:gd name="T59" fmla="*/ 2147483646 h 288"/>
              <a:gd name="T60" fmla="*/ 2147483646 w 464"/>
              <a:gd name="T61" fmla="*/ 2147483646 h 288"/>
              <a:gd name="T62" fmla="*/ 2147483646 w 464"/>
              <a:gd name="T63" fmla="*/ 2147483646 h 288"/>
              <a:gd name="T64" fmla="*/ 2147483646 w 464"/>
              <a:gd name="T65" fmla="*/ 2147483646 h 288"/>
              <a:gd name="T66" fmla="*/ 2147483646 w 464"/>
              <a:gd name="T67" fmla="*/ 2147483646 h 288"/>
              <a:gd name="T68" fmla="*/ 2147483646 w 464"/>
              <a:gd name="T69" fmla="*/ 2147483646 h 288"/>
              <a:gd name="T70" fmla="*/ 2147483646 w 464"/>
              <a:gd name="T71" fmla="*/ 2147483646 h 288"/>
              <a:gd name="T72" fmla="*/ 2147483646 w 464"/>
              <a:gd name="T73" fmla="*/ 2147483646 h 288"/>
              <a:gd name="T74" fmla="*/ 2147483646 w 464"/>
              <a:gd name="T75" fmla="*/ 2147483646 h 288"/>
              <a:gd name="T76" fmla="*/ 2147483646 w 464"/>
              <a:gd name="T77" fmla="*/ 2147483646 h 288"/>
              <a:gd name="T78" fmla="*/ 2147483646 w 464"/>
              <a:gd name="T79" fmla="*/ 2147483646 h 288"/>
              <a:gd name="T80" fmla="*/ 2147483646 w 464"/>
              <a:gd name="T81" fmla="*/ 2147483646 h 288"/>
              <a:gd name="T82" fmla="*/ 2147483646 w 464"/>
              <a:gd name="T83" fmla="*/ 2147483646 h 288"/>
              <a:gd name="T84" fmla="*/ 2147483646 w 464"/>
              <a:gd name="T85" fmla="*/ 2147483646 h 288"/>
              <a:gd name="T86" fmla="*/ 2147483646 w 464"/>
              <a:gd name="T87" fmla="*/ 2147483646 h 288"/>
              <a:gd name="T88" fmla="*/ 2147483646 w 464"/>
              <a:gd name="T89" fmla="*/ 2147483646 h 288"/>
              <a:gd name="T90" fmla="*/ 2147483646 w 464"/>
              <a:gd name="T91" fmla="*/ 2147483646 h 288"/>
              <a:gd name="T92" fmla="*/ 2147483646 w 464"/>
              <a:gd name="T93" fmla="*/ 2147483646 h 288"/>
              <a:gd name="T94" fmla="*/ 2147483646 w 464"/>
              <a:gd name="T95" fmla="*/ 2147483646 h 288"/>
              <a:gd name="T96" fmla="*/ 2147483646 w 464"/>
              <a:gd name="T97" fmla="*/ 2147483646 h 28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64"/>
              <a:gd name="T148" fmla="*/ 0 h 288"/>
              <a:gd name="T149" fmla="*/ 464 w 464"/>
              <a:gd name="T150" fmla="*/ 288 h 28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64" h="288">
                <a:moveTo>
                  <a:pt x="19" y="189"/>
                </a:moveTo>
                <a:cubicBezTo>
                  <a:pt x="22" y="185"/>
                  <a:pt x="22" y="182"/>
                  <a:pt x="26" y="180"/>
                </a:cubicBezTo>
                <a:cubicBezTo>
                  <a:pt x="29" y="178"/>
                  <a:pt x="34" y="177"/>
                  <a:pt x="37" y="177"/>
                </a:cubicBezTo>
                <a:cubicBezTo>
                  <a:pt x="46" y="177"/>
                  <a:pt x="54" y="182"/>
                  <a:pt x="62" y="184"/>
                </a:cubicBezTo>
                <a:cubicBezTo>
                  <a:pt x="67" y="186"/>
                  <a:pt x="71" y="184"/>
                  <a:pt x="76" y="186"/>
                </a:cubicBezTo>
                <a:cubicBezTo>
                  <a:pt x="85" y="189"/>
                  <a:pt x="91" y="183"/>
                  <a:pt x="99" y="179"/>
                </a:cubicBezTo>
                <a:cubicBezTo>
                  <a:pt x="101" y="179"/>
                  <a:pt x="102" y="178"/>
                  <a:pt x="104" y="178"/>
                </a:cubicBezTo>
                <a:cubicBezTo>
                  <a:pt x="106" y="169"/>
                  <a:pt x="105" y="168"/>
                  <a:pt x="113" y="168"/>
                </a:cubicBezTo>
                <a:cubicBezTo>
                  <a:pt x="121" y="168"/>
                  <a:pt x="121" y="168"/>
                  <a:pt x="121" y="168"/>
                </a:cubicBezTo>
                <a:cubicBezTo>
                  <a:pt x="122" y="167"/>
                  <a:pt x="122" y="163"/>
                  <a:pt x="123" y="162"/>
                </a:cubicBezTo>
                <a:cubicBezTo>
                  <a:pt x="125" y="160"/>
                  <a:pt x="127" y="160"/>
                  <a:pt x="129" y="160"/>
                </a:cubicBezTo>
                <a:cubicBezTo>
                  <a:pt x="138" y="158"/>
                  <a:pt x="139" y="157"/>
                  <a:pt x="146" y="161"/>
                </a:cubicBezTo>
                <a:cubicBezTo>
                  <a:pt x="153" y="165"/>
                  <a:pt x="161" y="166"/>
                  <a:pt x="167" y="169"/>
                </a:cubicBezTo>
                <a:cubicBezTo>
                  <a:pt x="172" y="171"/>
                  <a:pt x="179" y="173"/>
                  <a:pt x="181" y="177"/>
                </a:cubicBezTo>
                <a:cubicBezTo>
                  <a:pt x="182" y="180"/>
                  <a:pt x="183" y="185"/>
                  <a:pt x="184" y="188"/>
                </a:cubicBezTo>
                <a:cubicBezTo>
                  <a:pt x="185" y="192"/>
                  <a:pt x="187" y="196"/>
                  <a:pt x="188" y="200"/>
                </a:cubicBezTo>
                <a:cubicBezTo>
                  <a:pt x="190" y="206"/>
                  <a:pt x="193" y="211"/>
                  <a:pt x="198" y="216"/>
                </a:cubicBezTo>
                <a:cubicBezTo>
                  <a:pt x="201" y="220"/>
                  <a:pt x="203" y="221"/>
                  <a:pt x="203" y="226"/>
                </a:cubicBezTo>
                <a:cubicBezTo>
                  <a:pt x="204" y="230"/>
                  <a:pt x="205" y="235"/>
                  <a:pt x="205" y="239"/>
                </a:cubicBezTo>
                <a:cubicBezTo>
                  <a:pt x="199" y="241"/>
                  <a:pt x="196" y="239"/>
                  <a:pt x="190" y="238"/>
                </a:cubicBezTo>
                <a:cubicBezTo>
                  <a:pt x="185" y="238"/>
                  <a:pt x="179" y="237"/>
                  <a:pt x="176" y="242"/>
                </a:cubicBezTo>
                <a:cubicBezTo>
                  <a:pt x="174" y="246"/>
                  <a:pt x="175" y="255"/>
                  <a:pt x="171" y="259"/>
                </a:cubicBezTo>
                <a:cubicBezTo>
                  <a:pt x="168" y="262"/>
                  <a:pt x="161" y="262"/>
                  <a:pt x="157" y="263"/>
                </a:cubicBezTo>
                <a:cubicBezTo>
                  <a:pt x="157" y="265"/>
                  <a:pt x="157" y="265"/>
                  <a:pt x="157" y="265"/>
                </a:cubicBezTo>
                <a:cubicBezTo>
                  <a:pt x="155" y="268"/>
                  <a:pt x="154" y="272"/>
                  <a:pt x="155" y="274"/>
                </a:cubicBezTo>
                <a:cubicBezTo>
                  <a:pt x="155" y="277"/>
                  <a:pt x="161" y="282"/>
                  <a:pt x="164" y="284"/>
                </a:cubicBezTo>
                <a:cubicBezTo>
                  <a:pt x="168" y="281"/>
                  <a:pt x="175" y="282"/>
                  <a:pt x="179" y="282"/>
                </a:cubicBezTo>
                <a:cubicBezTo>
                  <a:pt x="185" y="282"/>
                  <a:pt x="189" y="281"/>
                  <a:pt x="194" y="283"/>
                </a:cubicBezTo>
                <a:cubicBezTo>
                  <a:pt x="195" y="285"/>
                  <a:pt x="196" y="286"/>
                  <a:pt x="197" y="288"/>
                </a:cubicBezTo>
                <a:cubicBezTo>
                  <a:pt x="198" y="285"/>
                  <a:pt x="198" y="285"/>
                  <a:pt x="198" y="285"/>
                </a:cubicBezTo>
                <a:cubicBezTo>
                  <a:pt x="197" y="283"/>
                  <a:pt x="196" y="282"/>
                  <a:pt x="194" y="276"/>
                </a:cubicBezTo>
                <a:cubicBezTo>
                  <a:pt x="192" y="269"/>
                  <a:pt x="193" y="259"/>
                  <a:pt x="196" y="259"/>
                </a:cubicBezTo>
                <a:cubicBezTo>
                  <a:pt x="199" y="258"/>
                  <a:pt x="200" y="276"/>
                  <a:pt x="205" y="273"/>
                </a:cubicBezTo>
                <a:cubicBezTo>
                  <a:pt x="209" y="269"/>
                  <a:pt x="211" y="263"/>
                  <a:pt x="215" y="262"/>
                </a:cubicBezTo>
                <a:cubicBezTo>
                  <a:pt x="218" y="261"/>
                  <a:pt x="222" y="255"/>
                  <a:pt x="219" y="255"/>
                </a:cubicBezTo>
                <a:cubicBezTo>
                  <a:pt x="217" y="255"/>
                  <a:pt x="209" y="251"/>
                  <a:pt x="211" y="249"/>
                </a:cubicBezTo>
                <a:cubicBezTo>
                  <a:pt x="213" y="248"/>
                  <a:pt x="227" y="248"/>
                  <a:pt x="229" y="245"/>
                </a:cubicBezTo>
                <a:cubicBezTo>
                  <a:pt x="232" y="242"/>
                  <a:pt x="233" y="233"/>
                  <a:pt x="237" y="234"/>
                </a:cubicBezTo>
                <a:cubicBezTo>
                  <a:pt x="241" y="235"/>
                  <a:pt x="243" y="239"/>
                  <a:pt x="245" y="239"/>
                </a:cubicBezTo>
                <a:cubicBezTo>
                  <a:pt x="248" y="239"/>
                  <a:pt x="246" y="231"/>
                  <a:pt x="251" y="233"/>
                </a:cubicBezTo>
                <a:cubicBezTo>
                  <a:pt x="255" y="235"/>
                  <a:pt x="254" y="237"/>
                  <a:pt x="259" y="236"/>
                </a:cubicBezTo>
                <a:cubicBezTo>
                  <a:pt x="265" y="235"/>
                  <a:pt x="266" y="230"/>
                  <a:pt x="270" y="231"/>
                </a:cubicBezTo>
                <a:cubicBezTo>
                  <a:pt x="274" y="232"/>
                  <a:pt x="261" y="248"/>
                  <a:pt x="261" y="248"/>
                </a:cubicBezTo>
                <a:cubicBezTo>
                  <a:pt x="261" y="248"/>
                  <a:pt x="258" y="247"/>
                  <a:pt x="257" y="249"/>
                </a:cubicBezTo>
                <a:cubicBezTo>
                  <a:pt x="255" y="251"/>
                  <a:pt x="255" y="253"/>
                  <a:pt x="263" y="252"/>
                </a:cubicBezTo>
                <a:cubicBezTo>
                  <a:pt x="271" y="250"/>
                  <a:pt x="269" y="243"/>
                  <a:pt x="273" y="252"/>
                </a:cubicBezTo>
                <a:cubicBezTo>
                  <a:pt x="277" y="260"/>
                  <a:pt x="274" y="253"/>
                  <a:pt x="280" y="253"/>
                </a:cubicBezTo>
                <a:cubicBezTo>
                  <a:pt x="285" y="254"/>
                  <a:pt x="284" y="251"/>
                  <a:pt x="288" y="251"/>
                </a:cubicBezTo>
                <a:cubicBezTo>
                  <a:pt x="292" y="252"/>
                  <a:pt x="293" y="245"/>
                  <a:pt x="296" y="249"/>
                </a:cubicBezTo>
                <a:cubicBezTo>
                  <a:pt x="298" y="254"/>
                  <a:pt x="293" y="259"/>
                  <a:pt x="298" y="257"/>
                </a:cubicBezTo>
                <a:cubicBezTo>
                  <a:pt x="304" y="255"/>
                  <a:pt x="297" y="253"/>
                  <a:pt x="304" y="251"/>
                </a:cubicBezTo>
                <a:cubicBezTo>
                  <a:pt x="310" y="249"/>
                  <a:pt x="309" y="253"/>
                  <a:pt x="313" y="255"/>
                </a:cubicBezTo>
                <a:cubicBezTo>
                  <a:pt x="317" y="257"/>
                  <a:pt x="314" y="253"/>
                  <a:pt x="319" y="255"/>
                </a:cubicBezTo>
                <a:cubicBezTo>
                  <a:pt x="323" y="256"/>
                  <a:pt x="326" y="251"/>
                  <a:pt x="328" y="252"/>
                </a:cubicBezTo>
                <a:cubicBezTo>
                  <a:pt x="331" y="253"/>
                  <a:pt x="334" y="251"/>
                  <a:pt x="337" y="249"/>
                </a:cubicBezTo>
                <a:cubicBezTo>
                  <a:pt x="341" y="248"/>
                  <a:pt x="339" y="235"/>
                  <a:pt x="346" y="238"/>
                </a:cubicBezTo>
                <a:cubicBezTo>
                  <a:pt x="354" y="241"/>
                  <a:pt x="348" y="232"/>
                  <a:pt x="357" y="235"/>
                </a:cubicBezTo>
                <a:cubicBezTo>
                  <a:pt x="366" y="238"/>
                  <a:pt x="365" y="238"/>
                  <a:pt x="367" y="234"/>
                </a:cubicBezTo>
                <a:cubicBezTo>
                  <a:pt x="369" y="229"/>
                  <a:pt x="373" y="230"/>
                  <a:pt x="376" y="231"/>
                </a:cubicBezTo>
                <a:cubicBezTo>
                  <a:pt x="380" y="233"/>
                  <a:pt x="384" y="230"/>
                  <a:pt x="388" y="227"/>
                </a:cubicBezTo>
                <a:cubicBezTo>
                  <a:pt x="391" y="224"/>
                  <a:pt x="388" y="214"/>
                  <a:pt x="396" y="215"/>
                </a:cubicBezTo>
                <a:cubicBezTo>
                  <a:pt x="404" y="216"/>
                  <a:pt x="406" y="214"/>
                  <a:pt x="411" y="214"/>
                </a:cubicBezTo>
                <a:cubicBezTo>
                  <a:pt x="414" y="214"/>
                  <a:pt x="414" y="211"/>
                  <a:pt x="415" y="209"/>
                </a:cubicBezTo>
                <a:cubicBezTo>
                  <a:pt x="415" y="207"/>
                  <a:pt x="415" y="207"/>
                  <a:pt x="415" y="207"/>
                </a:cubicBezTo>
                <a:cubicBezTo>
                  <a:pt x="424" y="197"/>
                  <a:pt x="431" y="185"/>
                  <a:pt x="446" y="192"/>
                </a:cubicBezTo>
                <a:cubicBezTo>
                  <a:pt x="448" y="183"/>
                  <a:pt x="457" y="182"/>
                  <a:pt x="460" y="174"/>
                </a:cubicBezTo>
                <a:cubicBezTo>
                  <a:pt x="463" y="167"/>
                  <a:pt x="455" y="162"/>
                  <a:pt x="461" y="155"/>
                </a:cubicBezTo>
                <a:cubicBezTo>
                  <a:pt x="461" y="154"/>
                  <a:pt x="460" y="152"/>
                  <a:pt x="460" y="151"/>
                </a:cubicBezTo>
                <a:cubicBezTo>
                  <a:pt x="458" y="151"/>
                  <a:pt x="456" y="151"/>
                  <a:pt x="455" y="151"/>
                </a:cubicBezTo>
                <a:cubicBezTo>
                  <a:pt x="456" y="143"/>
                  <a:pt x="464" y="129"/>
                  <a:pt x="460" y="122"/>
                </a:cubicBezTo>
                <a:cubicBezTo>
                  <a:pt x="455" y="111"/>
                  <a:pt x="437" y="114"/>
                  <a:pt x="428" y="113"/>
                </a:cubicBezTo>
                <a:cubicBezTo>
                  <a:pt x="428" y="108"/>
                  <a:pt x="429" y="103"/>
                  <a:pt x="429" y="98"/>
                </a:cubicBezTo>
                <a:cubicBezTo>
                  <a:pt x="423" y="96"/>
                  <a:pt x="416" y="92"/>
                  <a:pt x="409" y="92"/>
                </a:cubicBezTo>
                <a:cubicBezTo>
                  <a:pt x="405" y="91"/>
                  <a:pt x="401" y="97"/>
                  <a:pt x="397" y="95"/>
                </a:cubicBezTo>
                <a:cubicBezTo>
                  <a:pt x="393" y="93"/>
                  <a:pt x="395" y="86"/>
                  <a:pt x="393" y="85"/>
                </a:cubicBezTo>
                <a:cubicBezTo>
                  <a:pt x="384" y="77"/>
                  <a:pt x="385" y="83"/>
                  <a:pt x="372" y="84"/>
                </a:cubicBezTo>
                <a:cubicBezTo>
                  <a:pt x="364" y="85"/>
                  <a:pt x="359" y="82"/>
                  <a:pt x="350" y="86"/>
                </a:cubicBezTo>
                <a:cubicBezTo>
                  <a:pt x="349" y="70"/>
                  <a:pt x="337" y="60"/>
                  <a:pt x="341" y="46"/>
                </a:cubicBezTo>
                <a:cubicBezTo>
                  <a:pt x="333" y="40"/>
                  <a:pt x="315" y="44"/>
                  <a:pt x="309" y="38"/>
                </a:cubicBezTo>
                <a:cubicBezTo>
                  <a:pt x="303" y="32"/>
                  <a:pt x="308" y="9"/>
                  <a:pt x="307" y="1"/>
                </a:cubicBezTo>
                <a:cubicBezTo>
                  <a:pt x="299" y="0"/>
                  <a:pt x="285" y="2"/>
                  <a:pt x="281" y="11"/>
                </a:cubicBezTo>
                <a:cubicBezTo>
                  <a:pt x="271" y="0"/>
                  <a:pt x="268" y="7"/>
                  <a:pt x="257" y="9"/>
                </a:cubicBezTo>
                <a:cubicBezTo>
                  <a:pt x="248" y="11"/>
                  <a:pt x="237" y="10"/>
                  <a:pt x="228" y="8"/>
                </a:cubicBezTo>
                <a:cubicBezTo>
                  <a:pt x="222" y="22"/>
                  <a:pt x="217" y="36"/>
                  <a:pt x="212" y="51"/>
                </a:cubicBezTo>
                <a:cubicBezTo>
                  <a:pt x="197" y="42"/>
                  <a:pt x="196" y="19"/>
                  <a:pt x="175" y="41"/>
                </a:cubicBezTo>
                <a:cubicBezTo>
                  <a:pt x="171" y="39"/>
                  <a:pt x="169" y="34"/>
                  <a:pt x="168" y="30"/>
                </a:cubicBezTo>
                <a:cubicBezTo>
                  <a:pt x="151" y="28"/>
                  <a:pt x="133" y="30"/>
                  <a:pt x="116" y="30"/>
                </a:cubicBezTo>
                <a:cubicBezTo>
                  <a:pt x="103" y="29"/>
                  <a:pt x="72" y="7"/>
                  <a:pt x="70" y="32"/>
                </a:cubicBezTo>
                <a:cubicBezTo>
                  <a:pt x="57" y="20"/>
                  <a:pt x="50" y="46"/>
                  <a:pt x="39" y="41"/>
                </a:cubicBezTo>
                <a:cubicBezTo>
                  <a:pt x="40" y="46"/>
                  <a:pt x="40" y="46"/>
                  <a:pt x="40" y="46"/>
                </a:cubicBezTo>
                <a:cubicBezTo>
                  <a:pt x="45" y="58"/>
                  <a:pt x="54" y="74"/>
                  <a:pt x="50" y="86"/>
                </a:cubicBezTo>
                <a:cubicBezTo>
                  <a:pt x="48" y="93"/>
                  <a:pt x="44" y="91"/>
                  <a:pt x="39" y="96"/>
                </a:cubicBezTo>
                <a:cubicBezTo>
                  <a:pt x="33" y="101"/>
                  <a:pt x="30" y="107"/>
                  <a:pt x="24" y="112"/>
                </a:cubicBezTo>
                <a:cubicBezTo>
                  <a:pt x="20" y="116"/>
                  <a:pt x="12" y="120"/>
                  <a:pt x="9" y="125"/>
                </a:cubicBezTo>
                <a:cubicBezTo>
                  <a:pt x="6" y="129"/>
                  <a:pt x="5" y="136"/>
                  <a:pt x="3" y="140"/>
                </a:cubicBezTo>
                <a:cubicBezTo>
                  <a:pt x="1" y="148"/>
                  <a:pt x="0" y="159"/>
                  <a:pt x="4" y="166"/>
                </a:cubicBezTo>
                <a:cubicBezTo>
                  <a:pt x="8" y="174"/>
                  <a:pt x="17" y="187"/>
                  <a:pt x="18" y="190"/>
                </a:cubicBezTo>
                <a:cubicBezTo>
                  <a:pt x="18" y="190"/>
                  <a:pt x="19" y="189"/>
                  <a:pt x="19" y="18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0" name="Freeform 545"/>
          <p:cNvSpPr>
            <a:spLocks/>
          </p:cNvSpPr>
          <p:nvPr userDrawn="1"/>
        </p:nvSpPr>
        <p:spPr bwMode="auto">
          <a:xfrm>
            <a:off x="6071914" y="3334579"/>
            <a:ext cx="229487" cy="211061"/>
          </a:xfrm>
          <a:custGeom>
            <a:avLst/>
            <a:gdLst>
              <a:gd name="T0" fmla="*/ 2147483646 w 246"/>
              <a:gd name="T1" fmla="*/ 2147483646 h 225"/>
              <a:gd name="T2" fmla="*/ 2147483646 w 246"/>
              <a:gd name="T3" fmla="*/ 2147483646 h 225"/>
              <a:gd name="T4" fmla="*/ 2147483646 w 246"/>
              <a:gd name="T5" fmla="*/ 2147483646 h 225"/>
              <a:gd name="T6" fmla="*/ 2147483646 w 246"/>
              <a:gd name="T7" fmla="*/ 2147483646 h 225"/>
              <a:gd name="T8" fmla="*/ 2147483646 w 246"/>
              <a:gd name="T9" fmla="*/ 2147483646 h 225"/>
              <a:gd name="T10" fmla="*/ 2147483646 w 246"/>
              <a:gd name="T11" fmla="*/ 2147483646 h 225"/>
              <a:gd name="T12" fmla="*/ 2147483646 w 246"/>
              <a:gd name="T13" fmla="*/ 2147483646 h 225"/>
              <a:gd name="T14" fmla="*/ 2147483646 w 246"/>
              <a:gd name="T15" fmla="*/ 2147483646 h 225"/>
              <a:gd name="T16" fmla="*/ 2147483646 w 246"/>
              <a:gd name="T17" fmla="*/ 2147483646 h 225"/>
              <a:gd name="T18" fmla="*/ 2147483646 w 246"/>
              <a:gd name="T19" fmla="*/ 2147483646 h 225"/>
              <a:gd name="T20" fmla="*/ 2147483646 w 246"/>
              <a:gd name="T21" fmla="*/ 2147483646 h 225"/>
              <a:gd name="T22" fmla="*/ 2147483646 w 246"/>
              <a:gd name="T23" fmla="*/ 2147483646 h 225"/>
              <a:gd name="T24" fmla="*/ 2147483646 w 246"/>
              <a:gd name="T25" fmla="*/ 2147483646 h 225"/>
              <a:gd name="T26" fmla="*/ 2147483646 w 246"/>
              <a:gd name="T27" fmla="*/ 2147483646 h 225"/>
              <a:gd name="T28" fmla="*/ 2147483646 w 246"/>
              <a:gd name="T29" fmla="*/ 2147483646 h 225"/>
              <a:gd name="T30" fmla="*/ 2147483646 w 246"/>
              <a:gd name="T31" fmla="*/ 2147483646 h 225"/>
              <a:gd name="T32" fmla="*/ 0 w 246"/>
              <a:gd name="T33" fmla="*/ 2147483646 h 225"/>
              <a:gd name="T34" fmla="*/ 2147483646 w 246"/>
              <a:gd name="T35" fmla="*/ 2147483646 h 225"/>
              <a:gd name="T36" fmla="*/ 2147483646 w 246"/>
              <a:gd name="T37" fmla="*/ 2147483646 h 225"/>
              <a:gd name="T38" fmla="*/ 2147483646 w 246"/>
              <a:gd name="T39" fmla="*/ 2147483646 h 225"/>
              <a:gd name="T40" fmla="*/ 2147483646 w 246"/>
              <a:gd name="T41" fmla="*/ 2147483646 h 225"/>
              <a:gd name="T42" fmla="*/ 2147483646 w 246"/>
              <a:gd name="T43" fmla="*/ 2147483646 h 225"/>
              <a:gd name="T44" fmla="*/ 2147483646 w 246"/>
              <a:gd name="T45" fmla="*/ 2147483646 h 225"/>
              <a:gd name="T46" fmla="*/ 2147483646 w 246"/>
              <a:gd name="T47" fmla="*/ 2147483646 h 225"/>
              <a:gd name="T48" fmla="*/ 2147483646 w 246"/>
              <a:gd name="T49" fmla="*/ 2147483646 h 225"/>
              <a:gd name="T50" fmla="*/ 2147483646 w 246"/>
              <a:gd name="T51" fmla="*/ 2147483646 h 225"/>
              <a:gd name="T52" fmla="*/ 2147483646 w 246"/>
              <a:gd name="T53" fmla="*/ 2147483646 h 225"/>
              <a:gd name="T54" fmla="*/ 2147483646 w 246"/>
              <a:gd name="T55" fmla="*/ 2147483646 h 225"/>
              <a:gd name="T56" fmla="*/ 2147483646 w 246"/>
              <a:gd name="T57" fmla="*/ 2147483646 h 225"/>
              <a:gd name="T58" fmla="*/ 2147483646 w 246"/>
              <a:gd name="T59" fmla="*/ 2147483646 h 225"/>
              <a:gd name="T60" fmla="*/ 2147483646 w 246"/>
              <a:gd name="T61" fmla="*/ 2147483646 h 225"/>
              <a:gd name="T62" fmla="*/ 2147483646 w 246"/>
              <a:gd name="T63" fmla="*/ 2147483646 h 225"/>
              <a:gd name="T64" fmla="*/ 2147483646 w 246"/>
              <a:gd name="T65" fmla="*/ 2147483646 h 225"/>
              <a:gd name="T66" fmla="*/ 2147483646 w 246"/>
              <a:gd name="T67" fmla="*/ 2147483646 h 225"/>
              <a:gd name="T68" fmla="*/ 2147483646 w 246"/>
              <a:gd name="T69" fmla="*/ 2147483646 h 225"/>
              <a:gd name="T70" fmla="*/ 2147483646 w 246"/>
              <a:gd name="T71" fmla="*/ 2147483646 h 225"/>
              <a:gd name="T72" fmla="*/ 2147483646 w 246"/>
              <a:gd name="T73" fmla="*/ 0 h 225"/>
              <a:gd name="T74" fmla="*/ 2147483646 w 246"/>
              <a:gd name="T75" fmla="*/ 2147483646 h 225"/>
              <a:gd name="T76" fmla="*/ 2147483646 w 246"/>
              <a:gd name="T77" fmla="*/ 0 h 225"/>
              <a:gd name="T78" fmla="*/ 2147483646 w 246"/>
              <a:gd name="T79" fmla="*/ 2147483646 h 225"/>
              <a:gd name="T80" fmla="*/ 2147483646 w 246"/>
              <a:gd name="T81" fmla="*/ 2147483646 h 225"/>
              <a:gd name="T82" fmla="*/ 2147483646 w 246"/>
              <a:gd name="T83" fmla="*/ 2147483646 h 225"/>
              <a:gd name="T84" fmla="*/ 2147483646 w 246"/>
              <a:gd name="T85" fmla="*/ 2147483646 h 22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46"/>
              <a:gd name="T130" fmla="*/ 0 h 225"/>
              <a:gd name="T131" fmla="*/ 246 w 246"/>
              <a:gd name="T132" fmla="*/ 225 h 22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46" h="225">
                <a:moveTo>
                  <a:pt x="85" y="19"/>
                </a:moveTo>
                <a:cubicBezTo>
                  <a:pt x="88" y="25"/>
                  <a:pt x="82" y="33"/>
                  <a:pt x="79" y="38"/>
                </a:cubicBezTo>
                <a:cubicBezTo>
                  <a:pt x="82" y="39"/>
                  <a:pt x="85" y="40"/>
                  <a:pt x="86" y="43"/>
                </a:cubicBezTo>
                <a:cubicBezTo>
                  <a:pt x="84" y="46"/>
                  <a:pt x="83" y="50"/>
                  <a:pt x="81" y="51"/>
                </a:cubicBezTo>
                <a:cubicBezTo>
                  <a:pt x="78" y="54"/>
                  <a:pt x="75" y="52"/>
                  <a:pt x="72" y="53"/>
                </a:cubicBezTo>
                <a:cubicBezTo>
                  <a:pt x="67" y="55"/>
                  <a:pt x="64" y="60"/>
                  <a:pt x="64" y="66"/>
                </a:cubicBezTo>
                <a:cubicBezTo>
                  <a:pt x="54" y="63"/>
                  <a:pt x="57" y="78"/>
                  <a:pt x="57" y="84"/>
                </a:cubicBezTo>
                <a:cubicBezTo>
                  <a:pt x="56" y="97"/>
                  <a:pt x="55" y="96"/>
                  <a:pt x="45" y="93"/>
                </a:cubicBezTo>
                <a:cubicBezTo>
                  <a:pt x="43" y="95"/>
                  <a:pt x="40" y="99"/>
                  <a:pt x="37" y="102"/>
                </a:cubicBezTo>
                <a:cubicBezTo>
                  <a:pt x="36" y="104"/>
                  <a:pt x="32" y="108"/>
                  <a:pt x="30" y="109"/>
                </a:cubicBezTo>
                <a:cubicBezTo>
                  <a:pt x="23" y="112"/>
                  <a:pt x="16" y="108"/>
                  <a:pt x="10" y="112"/>
                </a:cubicBezTo>
                <a:cubicBezTo>
                  <a:pt x="10" y="112"/>
                  <a:pt x="8" y="119"/>
                  <a:pt x="10" y="124"/>
                </a:cubicBezTo>
                <a:cubicBezTo>
                  <a:pt x="12" y="128"/>
                  <a:pt x="10" y="124"/>
                  <a:pt x="10" y="124"/>
                </a:cubicBezTo>
                <a:cubicBezTo>
                  <a:pt x="13" y="130"/>
                  <a:pt x="17" y="134"/>
                  <a:pt x="19" y="141"/>
                </a:cubicBezTo>
                <a:cubicBezTo>
                  <a:pt x="21" y="148"/>
                  <a:pt x="21" y="157"/>
                  <a:pt x="17" y="162"/>
                </a:cubicBezTo>
                <a:cubicBezTo>
                  <a:pt x="14" y="166"/>
                  <a:pt x="8" y="167"/>
                  <a:pt x="4" y="171"/>
                </a:cubicBezTo>
                <a:cubicBezTo>
                  <a:pt x="0" y="175"/>
                  <a:pt x="1" y="176"/>
                  <a:pt x="0" y="182"/>
                </a:cubicBezTo>
                <a:cubicBezTo>
                  <a:pt x="9" y="181"/>
                  <a:pt x="11" y="186"/>
                  <a:pt x="10" y="194"/>
                </a:cubicBezTo>
                <a:cubicBezTo>
                  <a:pt x="10" y="202"/>
                  <a:pt x="9" y="208"/>
                  <a:pt x="11" y="215"/>
                </a:cubicBezTo>
                <a:cubicBezTo>
                  <a:pt x="12" y="215"/>
                  <a:pt x="12" y="215"/>
                  <a:pt x="12" y="215"/>
                </a:cubicBezTo>
                <a:cubicBezTo>
                  <a:pt x="23" y="220"/>
                  <a:pt x="30" y="193"/>
                  <a:pt x="43" y="206"/>
                </a:cubicBezTo>
                <a:cubicBezTo>
                  <a:pt x="45" y="181"/>
                  <a:pt x="76" y="203"/>
                  <a:pt x="89" y="204"/>
                </a:cubicBezTo>
                <a:cubicBezTo>
                  <a:pt x="106" y="204"/>
                  <a:pt x="124" y="202"/>
                  <a:pt x="141" y="204"/>
                </a:cubicBezTo>
                <a:cubicBezTo>
                  <a:pt x="141" y="208"/>
                  <a:pt x="144" y="213"/>
                  <a:pt x="148" y="215"/>
                </a:cubicBezTo>
                <a:cubicBezTo>
                  <a:pt x="169" y="193"/>
                  <a:pt x="170" y="216"/>
                  <a:pt x="185" y="225"/>
                </a:cubicBezTo>
                <a:cubicBezTo>
                  <a:pt x="190" y="210"/>
                  <a:pt x="195" y="196"/>
                  <a:pt x="201" y="182"/>
                </a:cubicBezTo>
                <a:cubicBezTo>
                  <a:pt x="207" y="183"/>
                  <a:pt x="214" y="184"/>
                  <a:pt x="220" y="184"/>
                </a:cubicBezTo>
                <a:cubicBezTo>
                  <a:pt x="221" y="182"/>
                  <a:pt x="221" y="182"/>
                  <a:pt x="221" y="182"/>
                </a:cubicBezTo>
                <a:cubicBezTo>
                  <a:pt x="221" y="180"/>
                  <a:pt x="219" y="179"/>
                  <a:pt x="220" y="176"/>
                </a:cubicBezTo>
                <a:cubicBezTo>
                  <a:pt x="211" y="172"/>
                  <a:pt x="215" y="157"/>
                  <a:pt x="212" y="148"/>
                </a:cubicBezTo>
                <a:cubicBezTo>
                  <a:pt x="224" y="143"/>
                  <a:pt x="239" y="134"/>
                  <a:pt x="246" y="123"/>
                </a:cubicBezTo>
                <a:cubicBezTo>
                  <a:pt x="246" y="122"/>
                  <a:pt x="245" y="121"/>
                  <a:pt x="245" y="120"/>
                </a:cubicBezTo>
                <a:cubicBezTo>
                  <a:pt x="234" y="121"/>
                  <a:pt x="239" y="113"/>
                  <a:pt x="235" y="110"/>
                </a:cubicBezTo>
                <a:cubicBezTo>
                  <a:pt x="229" y="106"/>
                  <a:pt x="220" y="110"/>
                  <a:pt x="215" y="107"/>
                </a:cubicBezTo>
                <a:cubicBezTo>
                  <a:pt x="206" y="102"/>
                  <a:pt x="203" y="75"/>
                  <a:pt x="201" y="65"/>
                </a:cubicBezTo>
                <a:cubicBezTo>
                  <a:pt x="196" y="40"/>
                  <a:pt x="203" y="0"/>
                  <a:pt x="168" y="23"/>
                </a:cubicBezTo>
                <a:cubicBezTo>
                  <a:pt x="163" y="9"/>
                  <a:pt x="160" y="8"/>
                  <a:pt x="150" y="0"/>
                </a:cubicBezTo>
                <a:cubicBezTo>
                  <a:pt x="146" y="2"/>
                  <a:pt x="142" y="4"/>
                  <a:pt x="139" y="8"/>
                </a:cubicBezTo>
                <a:cubicBezTo>
                  <a:pt x="135" y="5"/>
                  <a:pt x="131" y="1"/>
                  <a:pt x="127" y="0"/>
                </a:cubicBezTo>
                <a:cubicBezTo>
                  <a:pt x="125" y="2"/>
                  <a:pt x="125" y="2"/>
                  <a:pt x="125" y="2"/>
                </a:cubicBezTo>
                <a:cubicBezTo>
                  <a:pt x="120" y="8"/>
                  <a:pt x="116" y="19"/>
                  <a:pt x="110" y="20"/>
                </a:cubicBezTo>
                <a:cubicBezTo>
                  <a:pt x="106" y="20"/>
                  <a:pt x="104" y="15"/>
                  <a:pt x="100" y="15"/>
                </a:cubicBezTo>
                <a:cubicBezTo>
                  <a:pt x="95" y="15"/>
                  <a:pt x="90" y="19"/>
                  <a:pt x="85" y="2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1" name="Freeform 546"/>
          <p:cNvSpPr>
            <a:spLocks/>
          </p:cNvSpPr>
          <p:nvPr userDrawn="1"/>
        </p:nvSpPr>
        <p:spPr bwMode="auto">
          <a:xfrm>
            <a:off x="6071914" y="3334579"/>
            <a:ext cx="229487" cy="211061"/>
          </a:xfrm>
          <a:custGeom>
            <a:avLst/>
            <a:gdLst>
              <a:gd name="T0" fmla="*/ 2147483646 w 246"/>
              <a:gd name="T1" fmla="*/ 2147483646 h 225"/>
              <a:gd name="T2" fmla="*/ 2147483646 w 246"/>
              <a:gd name="T3" fmla="*/ 2147483646 h 225"/>
              <a:gd name="T4" fmla="*/ 2147483646 w 246"/>
              <a:gd name="T5" fmla="*/ 2147483646 h 225"/>
              <a:gd name="T6" fmla="*/ 2147483646 w 246"/>
              <a:gd name="T7" fmla="*/ 2147483646 h 225"/>
              <a:gd name="T8" fmla="*/ 2147483646 w 246"/>
              <a:gd name="T9" fmla="*/ 2147483646 h 225"/>
              <a:gd name="T10" fmla="*/ 2147483646 w 246"/>
              <a:gd name="T11" fmla="*/ 2147483646 h 225"/>
              <a:gd name="T12" fmla="*/ 2147483646 w 246"/>
              <a:gd name="T13" fmla="*/ 2147483646 h 225"/>
              <a:gd name="T14" fmla="*/ 2147483646 w 246"/>
              <a:gd name="T15" fmla="*/ 2147483646 h 225"/>
              <a:gd name="T16" fmla="*/ 2147483646 w 246"/>
              <a:gd name="T17" fmla="*/ 2147483646 h 225"/>
              <a:gd name="T18" fmla="*/ 2147483646 w 246"/>
              <a:gd name="T19" fmla="*/ 2147483646 h 225"/>
              <a:gd name="T20" fmla="*/ 2147483646 w 246"/>
              <a:gd name="T21" fmla="*/ 2147483646 h 225"/>
              <a:gd name="T22" fmla="*/ 2147483646 w 246"/>
              <a:gd name="T23" fmla="*/ 2147483646 h 225"/>
              <a:gd name="T24" fmla="*/ 2147483646 w 246"/>
              <a:gd name="T25" fmla="*/ 2147483646 h 225"/>
              <a:gd name="T26" fmla="*/ 2147483646 w 246"/>
              <a:gd name="T27" fmla="*/ 2147483646 h 225"/>
              <a:gd name="T28" fmla="*/ 2147483646 w 246"/>
              <a:gd name="T29" fmla="*/ 2147483646 h 225"/>
              <a:gd name="T30" fmla="*/ 2147483646 w 246"/>
              <a:gd name="T31" fmla="*/ 2147483646 h 225"/>
              <a:gd name="T32" fmla="*/ 0 w 246"/>
              <a:gd name="T33" fmla="*/ 2147483646 h 225"/>
              <a:gd name="T34" fmla="*/ 2147483646 w 246"/>
              <a:gd name="T35" fmla="*/ 2147483646 h 225"/>
              <a:gd name="T36" fmla="*/ 2147483646 w 246"/>
              <a:gd name="T37" fmla="*/ 2147483646 h 225"/>
              <a:gd name="T38" fmla="*/ 2147483646 w 246"/>
              <a:gd name="T39" fmla="*/ 2147483646 h 225"/>
              <a:gd name="T40" fmla="*/ 2147483646 w 246"/>
              <a:gd name="T41" fmla="*/ 2147483646 h 225"/>
              <a:gd name="T42" fmla="*/ 2147483646 w 246"/>
              <a:gd name="T43" fmla="*/ 2147483646 h 225"/>
              <a:gd name="T44" fmla="*/ 2147483646 w 246"/>
              <a:gd name="T45" fmla="*/ 2147483646 h 225"/>
              <a:gd name="T46" fmla="*/ 2147483646 w 246"/>
              <a:gd name="T47" fmla="*/ 2147483646 h 225"/>
              <a:gd name="T48" fmla="*/ 2147483646 w 246"/>
              <a:gd name="T49" fmla="*/ 2147483646 h 225"/>
              <a:gd name="T50" fmla="*/ 2147483646 w 246"/>
              <a:gd name="T51" fmla="*/ 2147483646 h 225"/>
              <a:gd name="T52" fmla="*/ 2147483646 w 246"/>
              <a:gd name="T53" fmla="*/ 2147483646 h 225"/>
              <a:gd name="T54" fmla="*/ 2147483646 w 246"/>
              <a:gd name="T55" fmla="*/ 2147483646 h 225"/>
              <a:gd name="T56" fmla="*/ 2147483646 w 246"/>
              <a:gd name="T57" fmla="*/ 2147483646 h 225"/>
              <a:gd name="T58" fmla="*/ 2147483646 w 246"/>
              <a:gd name="T59" fmla="*/ 2147483646 h 225"/>
              <a:gd name="T60" fmla="*/ 2147483646 w 246"/>
              <a:gd name="T61" fmla="*/ 2147483646 h 225"/>
              <a:gd name="T62" fmla="*/ 2147483646 w 246"/>
              <a:gd name="T63" fmla="*/ 2147483646 h 225"/>
              <a:gd name="T64" fmla="*/ 2147483646 w 246"/>
              <a:gd name="T65" fmla="*/ 2147483646 h 225"/>
              <a:gd name="T66" fmla="*/ 2147483646 w 246"/>
              <a:gd name="T67" fmla="*/ 2147483646 h 225"/>
              <a:gd name="T68" fmla="*/ 2147483646 w 246"/>
              <a:gd name="T69" fmla="*/ 2147483646 h 225"/>
              <a:gd name="T70" fmla="*/ 2147483646 w 246"/>
              <a:gd name="T71" fmla="*/ 2147483646 h 225"/>
              <a:gd name="T72" fmla="*/ 2147483646 w 246"/>
              <a:gd name="T73" fmla="*/ 0 h 225"/>
              <a:gd name="T74" fmla="*/ 2147483646 w 246"/>
              <a:gd name="T75" fmla="*/ 2147483646 h 225"/>
              <a:gd name="T76" fmla="*/ 2147483646 w 246"/>
              <a:gd name="T77" fmla="*/ 0 h 225"/>
              <a:gd name="T78" fmla="*/ 2147483646 w 246"/>
              <a:gd name="T79" fmla="*/ 2147483646 h 225"/>
              <a:gd name="T80" fmla="*/ 2147483646 w 246"/>
              <a:gd name="T81" fmla="*/ 2147483646 h 225"/>
              <a:gd name="T82" fmla="*/ 2147483646 w 246"/>
              <a:gd name="T83" fmla="*/ 2147483646 h 225"/>
              <a:gd name="T84" fmla="*/ 2147483646 w 246"/>
              <a:gd name="T85" fmla="*/ 2147483646 h 22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46"/>
              <a:gd name="T130" fmla="*/ 0 h 225"/>
              <a:gd name="T131" fmla="*/ 246 w 246"/>
              <a:gd name="T132" fmla="*/ 225 h 22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46" h="225">
                <a:moveTo>
                  <a:pt x="85" y="19"/>
                </a:moveTo>
                <a:cubicBezTo>
                  <a:pt x="88" y="25"/>
                  <a:pt x="82" y="33"/>
                  <a:pt x="79" y="38"/>
                </a:cubicBezTo>
                <a:cubicBezTo>
                  <a:pt x="82" y="39"/>
                  <a:pt x="85" y="40"/>
                  <a:pt x="86" y="43"/>
                </a:cubicBezTo>
                <a:cubicBezTo>
                  <a:pt x="84" y="46"/>
                  <a:pt x="83" y="50"/>
                  <a:pt x="81" y="51"/>
                </a:cubicBezTo>
                <a:cubicBezTo>
                  <a:pt x="78" y="54"/>
                  <a:pt x="75" y="52"/>
                  <a:pt x="72" y="53"/>
                </a:cubicBezTo>
                <a:cubicBezTo>
                  <a:pt x="67" y="55"/>
                  <a:pt x="64" y="60"/>
                  <a:pt x="64" y="66"/>
                </a:cubicBezTo>
                <a:cubicBezTo>
                  <a:pt x="54" y="63"/>
                  <a:pt x="57" y="78"/>
                  <a:pt x="57" y="84"/>
                </a:cubicBezTo>
                <a:cubicBezTo>
                  <a:pt x="56" y="97"/>
                  <a:pt x="55" y="96"/>
                  <a:pt x="45" y="93"/>
                </a:cubicBezTo>
                <a:cubicBezTo>
                  <a:pt x="43" y="95"/>
                  <a:pt x="40" y="99"/>
                  <a:pt x="37" y="102"/>
                </a:cubicBezTo>
                <a:cubicBezTo>
                  <a:pt x="36" y="104"/>
                  <a:pt x="32" y="108"/>
                  <a:pt x="30" y="109"/>
                </a:cubicBezTo>
                <a:cubicBezTo>
                  <a:pt x="23" y="112"/>
                  <a:pt x="16" y="108"/>
                  <a:pt x="10" y="112"/>
                </a:cubicBezTo>
                <a:cubicBezTo>
                  <a:pt x="10" y="112"/>
                  <a:pt x="8" y="119"/>
                  <a:pt x="10" y="124"/>
                </a:cubicBezTo>
                <a:cubicBezTo>
                  <a:pt x="12" y="128"/>
                  <a:pt x="10" y="124"/>
                  <a:pt x="10" y="124"/>
                </a:cubicBezTo>
                <a:cubicBezTo>
                  <a:pt x="13" y="130"/>
                  <a:pt x="17" y="134"/>
                  <a:pt x="19" y="141"/>
                </a:cubicBezTo>
                <a:cubicBezTo>
                  <a:pt x="21" y="148"/>
                  <a:pt x="21" y="157"/>
                  <a:pt x="17" y="162"/>
                </a:cubicBezTo>
                <a:cubicBezTo>
                  <a:pt x="14" y="166"/>
                  <a:pt x="8" y="167"/>
                  <a:pt x="4" y="171"/>
                </a:cubicBezTo>
                <a:cubicBezTo>
                  <a:pt x="0" y="175"/>
                  <a:pt x="1" y="176"/>
                  <a:pt x="0" y="182"/>
                </a:cubicBezTo>
                <a:cubicBezTo>
                  <a:pt x="9" y="181"/>
                  <a:pt x="11" y="186"/>
                  <a:pt x="10" y="194"/>
                </a:cubicBezTo>
                <a:cubicBezTo>
                  <a:pt x="10" y="202"/>
                  <a:pt x="9" y="208"/>
                  <a:pt x="11" y="215"/>
                </a:cubicBezTo>
                <a:cubicBezTo>
                  <a:pt x="12" y="215"/>
                  <a:pt x="12" y="215"/>
                  <a:pt x="12" y="215"/>
                </a:cubicBezTo>
                <a:cubicBezTo>
                  <a:pt x="23" y="220"/>
                  <a:pt x="30" y="193"/>
                  <a:pt x="43" y="206"/>
                </a:cubicBezTo>
                <a:cubicBezTo>
                  <a:pt x="45" y="181"/>
                  <a:pt x="76" y="203"/>
                  <a:pt x="89" y="204"/>
                </a:cubicBezTo>
                <a:cubicBezTo>
                  <a:pt x="106" y="204"/>
                  <a:pt x="124" y="202"/>
                  <a:pt x="141" y="204"/>
                </a:cubicBezTo>
                <a:cubicBezTo>
                  <a:pt x="141" y="208"/>
                  <a:pt x="144" y="213"/>
                  <a:pt x="148" y="215"/>
                </a:cubicBezTo>
                <a:cubicBezTo>
                  <a:pt x="169" y="193"/>
                  <a:pt x="170" y="216"/>
                  <a:pt x="185" y="225"/>
                </a:cubicBezTo>
                <a:cubicBezTo>
                  <a:pt x="190" y="210"/>
                  <a:pt x="195" y="196"/>
                  <a:pt x="201" y="182"/>
                </a:cubicBezTo>
                <a:cubicBezTo>
                  <a:pt x="207" y="183"/>
                  <a:pt x="214" y="184"/>
                  <a:pt x="220" y="184"/>
                </a:cubicBezTo>
                <a:cubicBezTo>
                  <a:pt x="221" y="182"/>
                  <a:pt x="221" y="182"/>
                  <a:pt x="221" y="182"/>
                </a:cubicBezTo>
                <a:cubicBezTo>
                  <a:pt x="221" y="180"/>
                  <a:pt x="219" y="179"/>
                  <a:pt x="220" y="176"/>
                </a:cubicBezTo>
                <a:cubicBezTo>
                  <a:pt x="211" y="172"/>
                  <a:pt x="215" y="157"/>
                  <a:pt x="212" y="148"/>
                </a:cubicBezTo>
                <a:cubicBezTo>
                  <a:pt x="224" y="143"/>
                  <a:pt x="239" y="134"/>
                  <a:pt x="246" y="123"/>
                </a:cubicBezTo>
                <a:cubicBezTo>
                  <a:pt x="246" y="122"/>
                  <a:pt x="245" y="121"/>
                  <a:pt x="245" y="120"/>
                </a:cubicBezTo>
                <a:cubicBezTo>
                  <a:pt x="234" y="121"/>
                  <a:pt x="239" y="113"/>
                  <a:pt x="235" y="110"/>
                </a:cubicBezTo>
                <a:cubicBezTo>
                  <a:pt x="229" y="106"/>
                  <a:pt x="220" y="110"/>
                  <a:pt x="215" y="107"/>
                </a:cubicBezTo>
                <a:cubicBezTo>
                  <a:pt x="206" y="102"/>
                  <a:pt x="203" y="75"/>
                  <a:pt x="201" y="65"/>
                </a:cubicBezTo>
                <a:cubicBezTo>
                  <a:pt x="196" y="40"/>
                  <a:pt x="203" y="0"/>
                  <a:pt x="168" y="23"/>
                </a:cubicBezTo>
                <a:cubicBezTo>
                  <a:pt x="163" y="9"/>
                  <a:pt x="160" y="8"/>
                  <a:pt x="150" y="0"/>
                </a:cubicBezTo>
                <a:cubicBezTo>
                  <a:pt x="146" y="2"/>
                  <a:pt x="142" y="4"/>
                  <a:pt x="139" y="8"/>
                </a:cubicBezTo>
                <a:cubicBezTo>
                  <a:pt x="135" y="5"/>
                  <a:pt x="131" y="1"/>
                  <a:pt x="127" y="0"/>
                </a:cubicBezTo>
                <a:cubicBezTo>
                  <a:pt x="125" y="2"/>
                  <a:pt x="125" y="2"/>
                  <a:pt x="125" y="2"/>
                </a:cubicBezTo>
                <a:cubicBezTo>
                  <a:pt x="120" y="8"/>
                  <a:pt x="116" y="19"/>
                  <a:pt x="110" y="20"/>
                </a:cubicBezTo>
                <a:cubicBezTo>
                  <a:pt x="106" y="20"/>
                  <a:pt x="104" y="15"/>
                  <a:pt x="100" y="15"/>
                </a:cubicBezTo>
                <a:cubicBezTo>
                  <a:pt x="95" y="15"/>
                  <a:pt x="90" y="19"/>
                  <a:pt x="85" y="2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2" name="Freeform 547"/>
          <p:cNvSpPr>
            <a:spLocks/>
          </p:cNvSpPr>
          <p:nvPr userDrawn="1"/>
        </p:nvSpPr>
        <p:spPr bwMode="auto">
          <a:xfrm>
            <a:off x="5679943" y="3701425"/>
            <a:ext cx="286440" cy="316592"/>
          </a:xfrm>
          <a:custGeom>
            <a:avLst/>
            <a:gdLst>
              <a:gd name="T0" fmla="*/ 2147483646 w 308"/>
              <a:gd name="T1" fmla="*/ 2147483646 h 338"/>
              <a:gd name="T2" fmla="*/ 2147483646 w 308"/>
              <a:gd name="T3" fmla="*/ 2147483646 h 338"/>
              <a:gd name="T4" fmla="*/ 2147483646 w 308"/>
              <a:gd name="T5" fmla="*/ 2147483646 h 338"/>
              <a:gd name="T6" fmla="*/ 2147483646 w 308"/>
              <a:gd name="T7" fmla="*/ 2147483646 h 338"/>
              <a:gd name="T8" fmla="*/ 2147483646 w 308"/>
              <a:gd name="T9" fmla="*/ 2147483646 h 338"/>
              <a:gd name="T10" fmla="*/ 2147483646 w 308"/>
              <a:gd name="T11" fmla="*/ 2147483646 h 338"/>
              <a:gd name="T12" fmla="*/ 2147483646 w 308"/>
              <a:gd name="T13" fmla="*/ 2147483646 h 338"/>
              <a:gd name="T14" fmla="*/ 2147483646 w 308"/>
              <a:gd name="T15" fmla="*/ 2147483646 h 338"/>
              <a:gd name="T16" fmla="*/ 2147483646 w 308"/>
              <a:gd name="T17" fmla="*/ 2147483646 h 338"/>
              <a:gd name="T18" fmla="*/ 2147483646 w 308"/>
              <a:gd name="T19" fmla="*/ 2147483646 h 338"/>
              <a:gd name="T20" fmla="*/ 2147483646 w 308"/>
              <a:gd name="T21" fmla="*/ 2147483646 h 338"/>
              <a:gd name="T22" fmla="*/ 2147483646 w 308"/>
              <a:gd name="T23" fmla="*/ 2147483646 h 338"/>
              <a:gd name="T24" fmla="*/ 2147483646 w 308"/>
              <a:gd name="T25" fmla="*/ 2147483646 h 338"/>
              <a:gd name="T26" fmla="*/ 2147483646 w 308"/>
              <a:gd name="T27" fmla="*/ 2147483646 h 338"/>
              <a:gd name="T28" fmla="*/ 2147483646 w 308"/>
              <a:gd name="T29" fmla="*/ 2147483646 h 338"/>
              <a:gd name="T30" fmla="*/ 2147483646 w 308"/>
              <a:gd name="T31" fmla="*/ 2147483646 h 338"/>
              <a:gd name="T32" fmla="*/ 2147483646 w 308"/>
              <a:gd name="T33" fmla="*/ 2147483646 h 338"/>
              <a:gd name="T34" fmla="*/ 2147483646 w 308"/>
              <a:gd name="T35" fmla="*/ 2147483646 h 338"/>
              <a:gd name="T36" fmla="*/ 2147483646 w 308"/>
              <a:gd name="T37" fmla="*/ 2147483646 h 338"/>
              <a:gd name="T38" fmla="*/ 2147483646 w 308"/>
              <a:gd name="T39" fmla="*/ 2147483646 h 338"/>
              <a:gd name="T40" fmla="*/ 2147483646 w 308"/>
              <a:gd name="T41" fmla="*/ 2147483646 h 338"/>
              <a:gd name="T42" fmla="*/ 2147483646 w 308"/>
              <a:gd name="T43" fmla="*/ 2147483646 h 338"/>
              <a:gd name="T44" fmla="*/ 2147483646 w 308"/>
              <a:gd name="T45" fmla="*/ 2147483646 h 338"/>
              <a:gd name="T46" fmla="*/ 2147483646 w 308"/>
              <a:gd name="T47" fmla="*/ 2147483646 h 338"/>
              <a:gd name="T48" fmla="*/ 2147483646 w 308"/>
              <a:gd name="T49" fmla="*/ 2147483646 h 338"/>
              <a:gd name="T50" fmla="*/ 2147483646 w 308"/>
              <a:gd name="T51" fmla="*/ 2147483646 h 338"/>
              <a:gd name="T52" fmla="*/ 2147483646 w 308"/>
              <a:gd name="T53" fmla="*/ 2147483646 h 338"/>
              <a:gd name="T54" fmla="*/ 2147483646 w 308"/>
              <a:gd name="T55" fmla="*/ 2147483646 h 338"/>
              <a:gd name="T56" fmla="*/ 2147483646 w 308"/>
              <a:gd name="T57" fmla="*/ 2147483646 h 338"/>
              <a:gd name="T58" fmla="*/ 2147483646 w 308"/>
              <a:gd name="T59" fmla="*/ 2147483646 h 338"/>
              <a:gd name="T60" fmla="*/ 2147483646 w 308"/>
              <a:gd name="T61" fmla="*/ 2147483646 h 338"/>
              <a:gd name="T62" fmla="*/ 2147483646 w 308"/>
              <a:gd name="T63" fmla="*/ 2147483646 h 338"/>
              <a:gd name="T64" fmla="*/ 2147483646 w 308"/>
              <a:gd name="T65" fmla="*/ 2147483646 h 338"/>
              <a:gd name="T66" fmla="*/ 2147483646 w 308"/>
              <a:gd name="T67" fmla="*/ 2147483646 h 338"/>
              <a:gd name="T68" fmla="*/ 2147483646 w 308"/>
              <a:gd name="T69" fmla="*/ 2147483646 h 338"/>
              <a:gd name="T70" fmla="*/ 2147483646 w 308"/>
              <a:gd name="T71" fmla="*/ 2147483646 h 338"/>
              <a:gd name="T72" fmla="*/ 2147483646 w 308"/>
              <a:gd name="T73" fmla="*/ 2147483646 h 338"/>
              <a:gd name="T74" fmla="*/ 2147483646 w 308"/>
              <a:gd name="T75" fmla="*/ 2147483646 h 338"/>
              <a:gd name="T76" fmla="*/ 2147483646 w 308"/>
              <a:gd name="T77" fmla="*/ 2147483646 h 338"/>
              <a:gd name="T78" fmla="*/ 2147483646 w 308"/>
              <a:gd name="T79" fmla="*/ 2147483646 h 338"/>
              <a:gd name="T80" fmla="*/ 2147483646 w 308"/>
              <a:gd name="T81" fmla="*/ 2147483646 h 338"/>
              <a:gd name="T82" fmla="*/ 2147483646 w 308"/>
              <a:gd name="T83" fmla="*/ 2147483646 h 338"/>
              <a:gd name="T84" fmla="*/ 2147483646 w 308"/>
              <a:gd name="T85" fmla="*/ 2147483646 h 338"/>
              <a:gd name="T86" fmla="*/ 2147483646 w 308"/>
              <a:gd name="T87" fmla="*/ 2147483646 h 338"/>
              <a:gd name="T88" fmla="*/ 2147483646 w 308"/>
              <a:gd name="T89" fmla="*/ 2147483646 h 33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08"/>
              <a:gd name="T136" fmla="*/ 0 h 338"/>
              <a:gd name="T137" fmla="*/ 308 w 308"/>
              <a:gd name="T138" fmla="*/ 338 h 33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08" h="338">
                <a:moveTo>
                  <a:pt x="175" y="47"/>
                </a:moveTo>
                <a:cubicBezTo>
                  <a:pt x="174" y="44"/>
                  <a:pt x="172" y="41"/>
                  <a:pt x="173" y="39"/>
                </a:cubicBezTo>
                <a:cubicBezTo>
                  <a:pt x="173" y="37"/>
                  <a:pt x="176" y="36"/>
                  <a:pt x="176" y="34"/>
                </a:cubicBezTo>
                <a:cubicBezTo>
                  <a:pt x="170" y="33"/>
                  <a:pt x="172" y="26"/>
                  <a:pt x="173" y="23"/>
                </a:cubicBezTo>
                <a:cubicBezTo>
                  <a:pt x="174" y="20"/>
                  <a:pt x="175" y="20"/>
                  <a:pt x="174" y="19"/>
                </a:cubicBezTo>
                <a:cubicBezTo>
                  <a:pt x="173" y="18"/>
                  <a:pt x="171" y="18"/>
                  <a:pt x="169" y="17"/>
                </a:cubicBezTo>
                <a:cubicBezTo>
                  <a:pt x="167" y="16"/>
                  <a:pt x="165" y="14"/>
                  <a:pt x="163" y="13"/>
                </a:cubicBezTo>
                <a:cubicBezTo>
                  <a:pt x="160" y="12"/>
                  <a:pt x="160" y="12"/>
                  <a:pt x="158" y="12"/>
                </a:cubicBezTo>
                <a:cubicBezTo>
                  <a:pt x="154" y="13"/>
                  <a:pt x="152" y="14"/>
                  <a:pt x="148" y="13"/>
                </a:cubicBezTo>
                <a:cubicBezTo>
                  <a:pt x="143" y="12"/>
                  <a:pt x="140" y="6"/>
                  <a:pt x="137" y="2"/>
                </a:cubicBezTo>
                <a:cubicBezTo>
                  <a:pt x="136" y="1"/>
                  <a:pt x="135" y="0"/>
                  <a:pt x="134" y="0"/>
                </a:cubicBezTo>
                <a:cubicBezTo>
                  <a:pt x="133" y="0"/>
                  <a:pt x="132" y="1"/>
                  <a:pt x="131" y="1"/>
                </a:cubicBezTo>
                <a:cubicBezTo>
                  <a:pt x="129" y="1"/>
                  <a:pt x="128" y="0"/>
                  <a:pt x="126" y="0"/>
                </a:cubicBezTo>
                <a:cubicBezTo>
                  <a:pt x="121" y="0"/>
                  <a:pt x="117" y="4"/>
                  <a:pt x="113" y="6"/>
                </a:cubicBezTo>
                <a:cubicBezTo>
                  <a:pt x="108" y="9"/>
                  <a:pt x="105" y="8"/>
                  <a:pt x="101" y="6"/>
                </a:cubicBezTo>
                <a:cubicBezTo>
                  <a:pt x="98" y="5"/>
                  <a:pt x="96" y="5"/>
                  <a:pt x="94" y="5"/>
                </a:cubicBezTo>
                <a:cubicBezTo>
                  <a:pt x="93" y="5"/>
                  <a:pt x="93" y="5"/>
                  <a:pt x="93" y="5"/>
                </a:cubicBezTo>
                <a:cubicBezTo>
                  <a:pt x="95" y="7"/>
                  <a:pt x="99" y="11"/>
                  <a:pt x="98" y="12"/>
                </a:cubicBezTo>
                <a:cubicBezTo>
                  <a:pt x="98" y="13"/>
                  <a:pt x="95" y="15"/>
                  <a:pt x="95" y="15"/>
                </a:cubicBezTo>
                <a:cubicBezTo>
                  <a:pt x="92" y="18"/>
                  <a:pt x="90" y="22"/>
                  <a:pt x="88" y="25"/>
                </a:cubicBezTo>
                <a:cubicBezTo>
                  <a:pt x="87" y="26"/>
                  <a:pt x="86" y="27"/>
                  <a:pt x="85" y="28"/>
                </a:cubicBezTo>
                <a:cubicBezTo>
                  <a:pt x="85" y="28"/>
                  <a:pt x="84" y="30"/>
                  <a:pt x="84" y="30"/>
                </a:cubicBezTo>
                <a:cubicBezTo>
                  <a:pt x="81" y="32"/>
                  <a:pt x="74" y="28"/>
                  <a:pt x="71" y="28"/>
                </a:cubicBezTo>
                <a:cubicBezTo>
                  <a:pt x="68" y="28"/>
                  <a:pt x="66" y="29"/>
                  <a:pt x="63" y="30"/>
                </a:cubicBezTo>
                <a:cubicBezTo>
                  <a:pt x="61" y="30"/>
                  <a:pt x="59" y="30"/>
                  <a:pt x="57" y="29"/>
                </a:cubicBezTo>
                <a:cubicBezTo>
                  <a:pt x="60" y="32"/>
                  <a:pt x="59" y="40"/>
                  <a:pt x="56" y="42"/>
                </a:cubicBezTo>
                <a:cubicBezTo>
                  <a:pt x="53" y="40"/>
                  <a:pt x="51" y="34"/>
                  <a:pt x="48" y="31"/>
                </a:cubicBezTo>
                <a:cubicBezTo>
                  <a:pt x="45" y="27"/>
                  <a:pt x="42" y="26"/>
                  <a:pt x="38" y="25"/>
                </a:cubicBezTo>
                <a:cubicBezTo>
                  <a:pt x="37" y="30"/>
                  <a:pt x="36" y="37"/>
                  <a:pt x="30" y="38"/>
                </a:cubicBezTo>
                <a:cubicBezTo>
                  <a:pt x="28" y="39"/>
                  <a:pt x="26" y="38"/>
                  <a:pt x="24" y="38"/>
                </a:cubicBezTo>
                <a:cubicBezTo>
                  <a:pt x="22" y="39"/>
                  <a:pt x="20" y="40"/>
                  <a:pt x="18" y="40"/>
                </a:cubicBezTo>
                <a:cubicBezTo>
                  <a:pt x="17" y="41"/>
                  <a:pt x="16" y="41"/>
                  <a:pt x="15" y="41"/>
                </a:cubicBezTo>
                <a:cubicBezTo>
                  <a:pt x="13" y="41"/>
                  <a:pt x="14" y="40"/>
                  <a:pt x="13" y="41"/>
                </a:cubicBezTo>
                <a:cubicBezTo>
                  <a:pt x="11" y="43"/>
                  <a:pt x="10" y="44"/>
                  <a:pt x="9" y="46"/>
                </a:cubicBezTo>
                <a:cubicBezTo>
                  <a:pt x="9" y="47"/>
                  <a:pt x="9" y="47"/>
                  <a:pt x="9" y="47"/>
                </a:cubicBezTo>
                <a:cubicBezTo>
                  <a:pt x="9" y="48"/>
                  <a:pt x="10" y="48"/>
                  <a:pt x="10" y="49"/>
                </a:cubicBezTo>
                <a:cubicBezTo>
                  <a:pt x="12" y="56"/>
                  <a:pt x="12" y="59"/>
                  <a:pt x="9" y="66"/>
                </a:cubicBezTo>
                <a:cubicBezTo>
                  <a:pt x="6" y="76"/>
                  <a:pt x="0" y="83"/>
                  <a:pt x="7" y="93"/>
                </a:cubicBezTo>
                <a:cubicBezTo>
                  <a:pt x="8" y="94"/>
                  <a:pt x="10" y="94"/>
                  <a:pt x="11" y="97"/>
                </a:cubicBezTo>
                <a:cubicBezTo>
                  <a:pt x="12" y="99"/>
                  <a:pt x="9" y="101"/>
                  <a:pt x="10" y="103"/>
                </a:cubicBezTo>
                <a:cubicBezTo>
                  <a:pt x="12" y="106"/>
                  <a:pt x="18" y="104"/>
                  <a:pt x="21" y="106"/>
                </a:cubicBezTo>
                <a:cubicBezTo>
                  <a:pt x="28" y="110"/>
                  <a:pt x="26" y="120"/>
                  <a:pt x="22" y="125"/>
                </a:cubicBezTo>
                <a:cubicBezTo>
                  <a:pt x="23" y="125"/>
                  <a:pt x="23" y="125"/>
                  <a:pt x="23" y="125"/>
                </a:cubicBezTo>
                <a:cubicBezTo>
                  <a:pt x="24" y="125"/>
                  <a:pt x="25" y="125"/>
                  <a:pt x="26" y="125"/>
                </a:cubicBezTo>
                <a:cubicBezTo>
                  <a:pt x="32" y="125"/>
                  <a:pt x="40" y="117"/>
                  <a:pt x="44" y="110"/>
                </a:cubicBezTo>
                <a:cubicBezTo>
                  <a:pt x="48" y="103"/>
                  <a:pt x="56" y="105"/>
                  <a:pt x="61" y="104"/>
                </a:cubicBezTo>
                <a:cubicBezTo>
                  <a:pt x="67" y="104"/>
                  <a:pt x="65" y="100"/>
                  <a:pt x="72" y="108"/>
                </a:cubicBezTo>
                <a:cubicBezTo>
                  <a:pt x="78" y="115"/>
                  <a:pt x="85" y="114"/>
                  <a:pt x="87" y="116"/>
                </a:cubicBezTo>
                <a:cubicBezTo>
                  <a:pt x="90" y="118"/>
                  <a:pt x="90" y="118"/>
                  <a:pt x="92" y="130"/>
                </a:cubicBezTo>
                <a:cubicBezTo>
                  <a:pt x="94" y="142"/>
                  <a:pt x="101" y="144"/>
                  <a:pt x="96" y="151"/>
                </a:cubicBezTo>
                <a:cubicBezTo>
                  <a:pt x="91" y="159"/>
                  <a:pt x="88" y="164"/>
                  <a:pt x="95" y="162"/>
                </a:cubicBezTo>
                <a:cubicBezTo>
                  <a:pt x="101" y="161"/>
                  <a:pt x="107" y="163"/>
                  <a:pt x="111" y="168"/>
                </a:cubicBezTo>
                <a:cubicBezTo>
                  <a:pt x="115" y="173"/>
                  <a:pt x="144" y="212"/>
                  <a:pt x="161" y="216"/>
                </a:cubicBezTo>
                <a:cubicBezTo>
                  <a:pt x="178" y="220"/>
                  <a:pt x="174" y="209"/>
                  <a:pt x="181" y="218"/>
                </a:cubicBezTo>
                <a:cubicBezTo>
                  <a:pt x="188" y="227"/>
                  <a:pt x="199" y="226"/>
                  <a:pt x="197" y="232"/>
                </a:cubicBezTo>
                <a:cubicBezTo>
                  <a:pt x="195" y="239"/>
                  <a:pt x="206" y="231"/>
                  <a:pt x="205" y="238"/>
                </a:cubicBezTo>
                <a:cubicBezTo>
                  <a:pt x="203" y="245"/>
                  <a:pt x="205" y="250"/>
                  <a:pt x="213" y="254"/>
                </a:cubicBezTo>
                <a:cubicBezTo>
                  <a:pt x="220" y="258"/>
                  <a:pt x="226" y="251"/>
                  <a:pt x="229" y="260"/>
                </a:cubicBezTo>
                <a:cubicBezTo>
                  <a:pt x="232" y="269"/>
                  <a:pt x="235" y="274"/>
                  <a:pt x="240" y="282"/>
                </a:cubicBezTo>
                <a:cubicBezTo>
                  <a:pt x="244" y="290"/>
                  <a:pt x="247" y="293"/>
                  <a:pt x="242" y="296"/>
                </a:cubicBezTo>
                <a:cubicBezTo>
                  <a:pt x="237" y="300"/>
                  <a:pt x="231" y="299"/>
                  <a:pt x="234" y="305"/>
                </a:cubicBezTo>
                <a:cubicBezTo>
                  <a:pt x="238" y="310"/>
                  <a:pt x="235" y="309"/>
                  <a:pt x="232" y="314"/>
                </a:cubicBezTo>
                <a:cubicBezTo>
                  <a:pt x="229" y="319"/>
                  <a:pt x="233" y="338"/>
                  <a:pt x="240" y="329"/>
                </a:cubicBezTo>
                <a:cubicBezTo>
                  <a:pt x="247" y="321"/>
                  <a:pt x="248" y="319"/>
                  <a:pt x="252" y="315"/>
                </a:cubicBezTo>
                <a:cubicBezTo>
                  <a:pt x="257" y="310"/>
                  <a:pt x="257" y="304"/>
                  <a:pt x="257" y="298"/>
                </a:cubicBezTo>
                <a:cubicBezTo>
                  <a:pt x="257" y="292"/>
                  <a:pt x="263" y="291"/>
                  <a:pt x="267" y="289"/>
                </a:cubicBezTo>
                <a:cubicBezTo>
                  <a:pt x="272" y="288"/>
                  <a:pt x="276" y="287"/>
                  <a:pt x="267" y="276"/>
                </a:cubicBezTo>
                <a:cubicBezTo>
                  <a:pt x="259" y="265"/>
                  <a:pt x="250" y="267"/>
                  <a:pt x="251" y="262"/>
                </a:cubicBezTo>
                <a:cubicBezTo>
                  <a:pt x="253" y="257"/>
                  <a:pt x="259" y="255"/>
                  <a:pt x="257" y="249"/>
                </a:cubicBezTo>
                <a:cubicBezTo>
                  <a:pt x="256" y="243"/>
                  <a:pt x="259" y="244"/>
                  <a:pt x="265" y="240"/>
                </a:cubicBezTo>
                <a:cubicBezTo>
                  <a:pt x="270" y="237"/>
                  <a:pt x="276" y="231"/>
                  <a:pt x="275" y="238"/>
                </a:cubicBezTo>
                <a:cubicBezTo>
                  <a:pt x="274" y="245"/>
                  <a:pt x="275" y="244"/>
                  <a:pt x="281" y="245"/>
                </a:cubicBezTo>
                <a:cubicBezTo>
                  <a:pt x="286" y="247"/>
                  <a:pt x="288" y="242"/>
                  <a:pt x="290" y="250"/>
                </a:cubicBezTo>
                <a:cubicBezTo>
                  <a:pt x="293" y="258"/>
                  <a:pt x="293" y="263"/>
                  <a:pt x="298" y="261"/>
                </a:cubicBezTo>
                <a:cubicBezTo>
                  <a:pt x="303" y="258"/>
                  <a:pt x="308" y="256"/>
                  <a:pt x="300" y="245"/>
                </a:cubicBezTo>
                <a:cubicBezTo>
                  <a:pt x="292" y="235"/>
                  <a:pt x="284" y="229"/>
                  <a:pt x="281" y="230"/>
                </a:cubicBezTo>
                <a:cubicBezTo>
                  <a:pt x="278" y="230"/>
                  <a:pt x="275" y="223"/>
                  <a:pt x="267" y="218"/>
                </a:cubicBezTo>
                <a:cubicBezTo>
                  <a:pt x="260" y="213"/>
                  <a:pt x="251" y="212"/>
                  <a:pt x="245" y="209"/>
                </a:cubicBezTo>
                <a:cubicBezTo>
                  <a:pt x="240" y="206"/>
                  <a:pt x="235" y="205"/>
                  <a:pt x="239" y="199"/>
                </a:cubicBezTo>
                <a:cubicBezTo>
                  <a:pt x="242" y="193"/>
                  <a:pt x="245" y="182"/>
                  <a:pt x="239" y="185"/>
                </a:cubicBezTo>
                <a:cubicBezTo>
                  <a:pt x="233" y="187"/>
                  <a:pt x="233" y="182"/>
                  <a:pt x="229" y="186"/>
                </a:cubicBezTo>
                <a:cubicBezTo>
                  <a:pt x="225" y="190"/>
                  <a:pt x="224" y="195"/>
                  <a:pt x="217" y="188"/>
                </a:cubicBezTo>
                <a:cubicBezTo>
                  <a:pt x="210" y="181"/>
                  <a:pt x="192" y="171"/>
                  <a:pt x="181" y="141"/>
                </a:cubicBezTo>
                <a:cubicBezTo>
                  <a:pt x="178" y="132"/>
                  <a:pt x="168" y="129"/>
                  <a:pt x="161" y="121"/>
                </a:cubicBezTo>
                <a:cubicBezTo>
                  <a:pt x="153" y="112"/>
                  <a:pt x="140" y="93"/>
                  <a:pt x="145" y="87"/>
                </a:cubicBezTo>
                <a:cubicBezTo>
                  <a:pt x="151" y="81"/>
                  <a:pt x="148" y="81"/>
                  <a:pt x="145" y="73"/>
                </a:cubicBezTo>
                <a:cubicBezTo>
                  <a:pt x="141" y="64"/>
                  <a:pt x="141" y="61"/>
                  <a:pt x="148" y="59"/>
                </a:cubicBezTo>
                <a:cubicBezTo>
                  <a:pt x="155" y="57"/>
                  <a:pt x="157" y="55"/>
                  <a:pt x="163" y="54"/>
                </a:cubicBezTo>
                <a:cubicBezTo>
                  <a:pt x="167" y="53"/>
                  <a:pt x="171" y="49"/>
                  <a:pt x="174" y="47"/>
                </a:cubicBezTo>
                <a:lnTo>
                  <a:pt x="175" y="47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3" name="Freeform 548"/>
          <p:cNvSpPr>
            <a:spLocks/>
          </p:cNvSpPr>
          <p:nvPr userDrawn="1"/>
        </p:nvSpPr>
        <p:spPr bwMode="auto">
          <a:xfrm>
            <a:off x="5658165" y="3671273"/>
            <a:ext cx="113907" cy="73704"/>
          </a:xfrm>
          <a:custGeom>
            <a:avLst/>
            <a:gdLst>
              <a:gd name="T0" fmla="*/ 2147483646 w 121"/>
              <a:gd name="T1" fmla="*/ 2147483646 h 78"/>
              <a:gd name="T2" fmla="*/ 2147483646 w 121"/>
              <a:gd name="T3" fmla="*/ 2147483646 h 78"/>
              <a:gd name="T4" fmla="*/ 2147483646 w 121"/>
              <a:gd name="T5" fmla="*/ 2147483646 h 78"/>
              <a:gd name="T6" fmla="*/ 2147483646 w 121"/>
              <a:gd name="T7" fmla="*/ 2147483646 h 78"/>
              <a:gd name="T8" fmla="*/ 2147483646 w 121"/>
              <a:gd name="T9" fmla="*/ 2147483646 h 78"/>
              <a:gd name="T10" fmla="*/ 2147483646 w 121"/>
              <a:gd name="T11" fmla="*/ 2147483646 h 78"/>
              <a:gd name="T12" fmla="*/ 2147483646 w 121"/>
              <a:gd name="T13" fmla="*/ 2147483646 h 78"/>
              <a:gd name="T14" fmla="*/ 2147483646 w 121"/>
              <a:gd name="T15" fmla="*/ 2147483646 h 78"/>
              <a:gd name="T16" fmla="*/ 2147483646 w 121"/>
              <a:gd name="T17" fmla="*/ 2147483646 h 78"/>
              <a:gd name="T18" fmla="*/ 2147483646 w 121"/>
              <a:gd name="T19" fmla="*/ 2147483646 h 78"/>
              <a:gd name="T20" fmla="*/ 2147483646 w 121"/>
              <a:gd name="T21" fmla="*/ 2147483646 h 78"/>
              <a:gd name="T22" fmla="*/ 2147483646 w 121"/>
              <a:gd name="T23" fmla="*/ 2147483646 h 78"/>
              <a:gd name="T24" fmla="*/ 2147483646 w 121"/>
              <a:gd name="T25" fmla="*/ 2147483646 h 78"/>
              <a:gd name="T26" fmla="*/ 2147483646 w 121"/>
              <a:gd name="T27" fmla="*/ 2147483646 h 78"/>
              <a:gd name="T28" fmla="*/ 2147483646 w 121"/>
              <a:gd name="T29" fmla="*/ 2147483646 h 78"/>
              <a:gd name="T30" fmla="*/ 2147483646 w 121"/>
              <a:gd name="T31" fmla="*/ 2147483646 h 78"/>
              <a:gd name="T32" fmla="*/ 2147483646 w 121"/>
              <a:gd name="T33" fmla="*/ 2147483646 h 78"/>
              <a:gd name="T34" fmla="*/ 2147483646 w 121"/>
              <a:gd name="T35" fmla="*/ 2147483646 h 78"/>
              <a:gd name="T36" fmla="*/ 2147483646 w 121"/>
              <a:gd name="T37" fmla="*/ 2147483646 h 78"/>
              <a:gd name="T38" fmla="*/ 2147483646 w 121"/>
              <a:gd name="T39" fmla="*/ 2147483646 h 78"/>
              <a:gd name="T40" fmla="*/ 2147483646 w 121"/>
              <a:gd name="T41" fmla="*/ 2147483646 h 78"/>
              <a:gd name="T42" fmla="*/ 2147483646 w 121"/>
              <a:gd name="T43" fmla="*/ 2147483646 h 78"/>
              <a:gd name="T44" fmla="*/ 2147483646 w 121"/>
              <a:gd name="T45" fmla="*/ 2147483646 h 78"/>
              <a:gd name="T46" fmla="*/ 2147483646 w 121"/>
              <a:gd name="T47" fmla="*/ 2147483646 h 78"/>
              <a:gd name="T48" fmla="*/ 2147483646 w 121"/>
              <a:gd name="T49" fmla="*/ 2147483646 h 78"/>
              <a:gd name="T50" fmla="*/ 2147483646 w 121"/>
              <a:gd name="T51" fmla="*/ 2147483646 h 78"/>
              <a:gd name="T52" fmla="*/ 2147483646 w 121"/>
              <a:gd name="T53" fmla="*/ 2147483646 h 78"/>
              <a:gd name="T54" fmla="*/ 2147483646 w 121"/>
              <a:gd name="T55" fmla="*/ 2147483646 h 78"/>
              <a:gd name="T56" fmla="*/ 2147483646 w 121"/>
              <a:gd name="T57" fmla="*/ 2147483646 h 78"/>
              <a:gd name="T58" fmla="*/ 2147483646 w 121"/>
              <a:gd name="T59" fmla="*/ 2147483646 h 78"/>
              <a:gd name="T60" fmla="*/ 2147483646 w 121"/>
              <a:gd name="T61" fmla="*/ 2147483646 h 78"/>
              <a:gd name="T62" fmla="*/ 2147483646 w 121"/>
              <a:gd name="T63" fmla="*/ 2147483646 h 78"/>
              <a:gd name="T64" fmla="*/ 2147483646 w 121"/>
              <a:gd name="T65" fmla="*/ 2147483646 h 78"/>
              <a:gd name="T66" fmla="*/ 2147483646 w 121"/>
              <a:gd name="T67" fmla="*/ 2147483646 h 78"/>
              <a:gd name="T68" fmla="*/ 2147483646 w 121"/>
              <a:gd name="T69" fmla="*/ 2147483646 h 78"/>
              <a:gd name="T70" fmla="*/ 2147483646 w 121"/>
              <a:gd name="T71" fmla="*/ 2147483646 h 78"/>
              <a:gd name="T72" fmla="*/ 2147483646 w 121"/>
              <a:gd name="T73" fmla="*/ 2147483646 h 78"/>
              <a:gd name="T74" fmla="*/ 2147483646 w 121"/>
              <a:gd name="T75" fmla="*/ 2147483646 h 78"/>
              <a:gd name="T76" fmla="*/ 2147483646 w 121"/>
              <a:gd name="T77" fmla="*/ 2147483646 h 78"/>
              <a:gd name="T78" fmla="*/ 2147483646 w 121"/>
              <a:gd name="T79" fmla="*/ 2147483646 h 78"/>
              <a:gd name="T80" fmla="*/ 2147483646 w 121"/>
              <a:gd name="T81" fmla="*/ 2147483646 h 7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21"/>
              <a:gd name="T124" fmla="*/ 0 h 78"/>
              <a:gd name="T125" fmla="*/ 121 w 121"/>
              <a:gd name="T126" fmla="*/ 78 h 7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21" h="78">
                <a:moveTo>
                  <a:pt x="38" y="10"/>
                </a:moveTo>
                <a:cubicBezTo>
                  <a:pt x="37" y="12"/>
                  <a:pt x="36" y="13"/>
                  <a:pt x="33" y="14"/>
                </a:cubicBezTo>
                <a:cubicBezTo>
                  <a:pt x="30" y="16"/>
                  <a:pt x="27" y="15"/>
                  <a:pt x="24" y="18"/>
                </a:cubicBezTo>
                <a:cubicBezTo>
                  <a:pt x="21" y="21"/>
                  <a:pt x="21" y="27"/>
                  <a:pt x="20" y="31"/>
                </a:cubicBezTo>
                <a:cubicBezTo>
                  <a:pt x="17" y="38"/>
                  <a:pt x="12" y="45"/>
                  <a:pt x="8" y="51"/>
                </a:cubicBezTo>
                <a:cubicBezTo>
                  <a:pt x="4" y="56"/>
                  <a:pt x="0" y="63"/>
                  <a:pt x="9" y="65"/>
                </a:cubicBezTo>
                <a:cubicBezTo>
                  <a:pt x="15" y="66"/>
                  <a:pt x="24" y="55"/>
                  <a:pt x="29" y="62"/>
                </a:cubicBezTo>
                <a:cubicBezTo>
                  <a:pt x="31" y="65"/>
                  <a:pt x="31" y="72"/>
                  <a:pt x="31" y="77"/>
                </a:cubicBezTo>
                <a:cubicBezTo>
                  <a:pt x="31" y="78"/>
                  <a:pt x="31" y="78"/>
                  <a:pt x="31" y="78"/>
                </a:cubicBezTo>
                <a:cubicBezTo>
                  <a:pt x="33" y="76"/>
                  <a:pt x="33" y="75"/>
                  <a:pt x="35" y="73"/>
                </a:cubicBezTo>
                <a:cubicBezTo>
                  <a:pt x="36" y="72"/>
                  <a:pt x="35" y="73"/>
                  <a:pt x="37" y="73"/>
                </a:cubicBezTo>
                <a:cubicBezTo>
                  <a:pt x="38" y="73"/>
                  <a:pt x="39" y="73"/>
                  <a:pt x="40" y="72"/>
                </a:cubicBezTo>
                <a:cubicBezTo>
                  <a:pt x="42" y="72"/>
                  <a:pt x="44" y="71"/>
                  <a:pt x="46" y="70"/>
                </a:cubicBezTo>
                <a:cubicBezTo>
                  <a:pt x="48" y="70"/>
                  <a:pt x="50" y="71"/>
                  <a:pt x="52" y="70"/>
                </a:cubicBezTo>
                <a:cubicBezTo>
                  <a:pt x="58" y="69"/>
                  <a:pt x="59" y="62"/>
                  <a:pt x="60" y="57"/>
                </a:cubicBezTo>
                <a:cubicBezTo>
                  <a:pt x="64" y="58"/>
                  <a:pt x="67" y="59"/>
                  <a:pt x="70" y="63"/>
                </a:cubicBezTo>
                <a:cubicBezTo>
                  <a:pt x="73" y="66"/>
                  <a:pt x="75" y="72"/>
                  <a:pt x="78" y="74"/>
                </a:cubicBezTo>
                <a:cubicBezTo>
                  <a:pt x="81" y="72"/>
                  <a:pt x="82" y="64"/>
                  <a:pt x="79" y="62"/>
                </a:cubicBezTo>
                <a:cubicBezTo>
                  <a:pt x="81" y="62"/>
                  <a:pt x="83" y="62"/>
                  <a:pt x="85" y="62"/>
                </a:cubicBezTo>
                <a:cubicBezTo>
                  <a:pt x="88" y="61"/>
                  <a:pt x="90" y="60"/>
                  <a:pt x="93" y="60"/>
                </a:cubicBezTo>
                <a:cubicBezTo>
                  <a:pt x="96" y="60"/>
                  <a:pt x="103" y="64"/>
                  <a:pt x="106" y="62"/>
                </a:cubicBezTo>
                <a:cubicBezTo>
                  <a:pt x="106" y="62"/>
                  <a:pt x="107" y="60"/>
                  <a:pt x="107" y="60"/>
                </a:cubicBezTo>
                <a:cubicBezTo>
                  <a:pt x="108" y="59"/>
                  <a:pt x="109" y="58"/>
                  <a:pt x="110" y="57"/>
                </a:cubicBezTo>
                <a:cubicBezTo>
                  <a:pt x="112" y="54"/>
                  <a:pt x="114" y="50"/>
                  <a:pt x="117" y="47"/>
                </a:cubicBezTo>
                <a:cubicBezTo>
                  <a:pt x="117" y="47"/>
                  <a:pt x="120" y="45"/>
                  <a:pt x="120" y="44"/>
                </a:cubicBezTo>
                <a:cubicBezTo>
                  <a:pt x="121" y="42"/>
                  <a:pt x="115" y="36"/>
                  <a:pt x="114" y="36"/>
                </a:cubicBezTo>
                <a:cubicBezTo>
                  <a:pt x="111" y="36"/>
                  <a:pt x="110" y="42"/>
                  <a:pt x="107" y="41"/>
                </a:cubicBezTo>
                <a:cubicBezTo>
                  <a:pt x="105" y="41"/>
                  <a:pt x="104" y="36"/>
                  <a:pt x="103" y="35"/>
                </a:cubicBezTo>
                <a:cubicBezTo>
                  <a:pt x="101" y="32"/>
                  <a:pt x="97" y="33"/>
                  <a:pt x="94" y="33"/>
                </a:cubicBezTo>
                <a:cubicBezTo>
                  <a:pt x="94" y="28"/>
                  <a:pt x="98" y="23"/>
                  <a:pt x="99" y="18"/>
                </a:cubicBezTo>
                <a:cubicBezTo>
                  <a:pt x="100" y="15"/>
                  <a:pt x="99" y="15"/>
                  <a:pt x="96" y="14"/>
                </a:cubicBezTo>
                <a:cubicBezTo>
                  <a:pt x="93" y="12"/>
                  <a:pt x="90" y="13"/>
                  <a:pt x="87" y="11"/>
                </a:cubicBezTo>
                <a:cubicBezTo>
                  <a:pt x="84" y="10"/>
                  <a:pt x="84" y="6"/>
                  <a:pt x="82" y="3"/>
                </a:cubicBezTo>
                <a:cubicBezTo>
                  <a:pt x="80" y="0"/>
                  <a:pt x="78" y="4"/>
                  <a:pt x="75" y="5"/>
                </a:cubicBezTo>
                <a:cubicBezTo>
                  <a:pt x="74" y="6"/>
                  <a:pt x="71" y="8"/>
                  <a:pt x="70" y="8"/>
                </a:cubicBezTo>
                <a:cubicBezTo>
                  <a:pt x="68" y="8"/>
                  <a:pt x="66" y="7"/>
                  <a:pt x="64" y="8"/>
                </a:cubicBezTo>
                <a:cubicBezTo>
                  <a:pt x="61" y="9"/>
                  <a:pt x="59" y="12"/>
                  <a:pt x="55" y="11"/>
                </a:cubicBezTo>
                <a:cubicBezTo>
                  <a:pt x="53" y="10"/>
                  <a:pt x="48" y="9"/>
                  <a:pt x="47" y="13"/>
                </a:cubicBezTo>
                <a:cubicBezTo>
                  <a:pt x="44" y="11"/>
                  <a:pt x="41" y="10"/>
                  <a:pt x="38" y="8"/>
                </a:cubicBezTo>
                <a:cubicBezTo>
                  <a:pt x="37" y="8"/>
                  <a:pt x="38" y="8"/>
                  <a:pt x="38" y="8"/>
                </a:cubicBezTo>
                <a:lnTo>
                  <a:pt x="38" y="1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4" name="Freeform 549"/>
          <p:cNvSpPr>
            <a:spLocks/>
          </p:cNvSpPr>
          <p:nvPr userDrawn="1"/>
        </p:nvSpPr>
        <p:spPr bwMode="auto">
          <a:xfrm>
            <a:off x="5653141" y="3587519"/>
            <a:ext cx="23451" cy="31827"/>
          </a:xfrm>
          <a:custGeom>
            <a:avLst/>
            <a:gdLst>
              <a:gd name="T0" fmla="*/ 2147483646 w 25"/>
              <a:gd name="T1" fmla="*/ 2147483646 h 34"/>
              <a:gd name="T2" fmla="*/ 2147483646 w 25"/>
              <a:gd name="T3" fmla="*/ 2147483646 h 34"/>
              <a:gd name="T4" fmla="*/ 2147483646 w 25"/>
              <a:gd name="T5" fmla="*/ 2147483646 h 34"/>
              <a:gd name="T6" fmla="*/ 2147483646 w 25"/>
              <a:gd name="T7" fmla="*/ 2147483646 h 34"/>
              <a:gd name="T8" fmla="*/ 2147483646 w 25"/>
              <a:gd name="T9" fmla="*/ 0 h 34"/>
              <a:gd name="T10" fmla="*/ 2147483646 w 25"/>
              <a:gd name="T11" fmla="*/ 2147483646 h 34"/>
              <a:gd name="T12" fmla="*/ 2147483646 w 25"/>
              <a:gd name="T13" fmla="*/ 2147483646 h 34"/>
              <a:gd name="T14" fmla="*/ 0 w 25"/>
              <a:gd name="T15" fmla="*/ 2147483646 h 34"/>
              <a:gd name="T16" fmla="*/ 2147483646 w 25"/>
              <a:gd name="T17" fmla="*/ 2147483646 h 34"/>
              <a:gd name="T18" fmla="*/ 2147483646 w 25"/>
              <a:gd name="T19" fmla="*/ 2147483646 h 34"/>
              <a:gd name="T20" fmla="*/ 2147483646 w 25"/>
              <a:gd name="T21" fmla="*/ 2147483646 h 34"/>
              <a:gd name="T22" fmla="*/ 2147483646 w 25"/>
              <a:gd name="T23" fmla="*/ 2147483646 h 34"/>
              <a:gd name="T24" fmla="*/ 2147483646 w 25"/>
              <a:gd name="T25" fmla="*/ 2147483646 h 34"/>
              <a:gd name="T26" fmla="*/ 2147483646 w 25"/>
              <a:gd name="T27" fmla="*/ 2147483646 h 3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5"/>
              <a:gd name="T43" fmla="*/ 0 h 34"/>
              <a:gd name="T44" fmla="*/ 25 w 25"/>
              <a:gd name="T45" fmla="*/ 34 h 3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5" h="34">
                <a:moveTo>
                  <a:pt x="25" y="32"/>
                </a:moveTo>
                <a:cubicBezTo>
                  <a:pt x="25" y="30"/>
                  <a:pt x="25" y="29"/>
                  <a:pt x="25" y="27"/>
                </a:cubicBezTo>
                <a:cubicBezTo>
                  <a:pt x="25" y="23"/>
                  <a:pt x="24" y="23"/>
                  <a:pt x="22" y="18"/>
                </a:cubicBezTo>
                <a:cubicBezTo>
                  <a:pt x="21" y="15"/>
                  <a:pt x="23" y="12"/>
                  <a:pt x="21" y="8"/>
                </a:cubicBezTo>
                <a:cubicBezTo>
                  <a:pt x="20" y="5"/>
                  <a:pt x="16" y="3"/>
                  <a:pt x="13" y="0"/>
                </a:cubicBezTo>
                <a:cubicBezTo>
                  <a:pt x="9" y="4"/>
                  <a:pt x="5" y="8"/>
                  <a:pt x="2" y="13"/>
                </a:cubicBezTo>
                <a:cubicBezTo>
                  <a:pt x="1" y="16"/>
                  <a:pt x="1" y="19"/>
                  <a:pt x="1" y="22"/>
                </a:cubicBezTo>
                <a:cubicBezTo>
                  <a:pt x="2" y="25"/>
                  <a:pt x="1" y="25"/>
                  <a:pt x="0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7" y="28"/>
                  <a:pt x="11" y="26"/>
                  <a:pt x="16" y="27"/>
                </a:cubicBezTo>
                <a:cubicBezTo>
                  <a:pt x="20" y="28"/>
                  <a:pt x="20" y="30"/>
                  <a:pt x="23" y="33"/>
                </a:cubicBezTo>
                <a:cubicBezTo>
                  <a:pt x="23" y="33"/>
                  <a:pt x="23" y="33"/>
                  <a:pt x="24" y="33"/>
                </a:cubicBezTo>
                <a:cubicBezTo>
                  <a:pt x="25" y="34"/>
                  <a:pt x="25" y="34"/>
                  <a:pt x="25" y="34"/>
                </a:cubicBezTo>
                <a:lnTo>
                  <a:pt x="25" y="3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5" name="Freeform 550"/>
          <p:cNvSpPr>
            <a:spLocks/>
          </p:cNvSpPr>
          <p:nvPr userDrawn="1"/>
        </p:nvSpPr>
        <p:spPr bwMode="auto">
          <a:xfrm>
            <a:off x="5706745" y="3299403"/>
            <a:ext cx="72028" cy="90455"/>
          </a:xfrm>
          <a:custGeom>
            <a:avLst/>
            <a:gdLst>
              <a:gd name="T0" fmla="*/ 2147483646 w 77"/>
              <a:gd name="T1" fmla="*/ 2147483646 h 96"/>
              <a:gd name="T2" fmla="*/ 2147483646 w 77"/>
              <a:gd name="T3" fmla="*/ 2147483646 h 96"/>
              <a:gd name="T4" fmla="*/ 2147483646 w 77"/>
              <a:gd name="T5" fmla="*/ 2147483646 h 96"/>
              <a:gd name="T6" fmla="*/ 2147483646 w 77"/>
              <a:gd name="T7" fmla="*/ 2147483646 h 96"/>
              <a:gd name="T8" fmla="*/ 2147483646 w 77"/>
              <a:gd name="T9" fmla="*/ 2147483646 h 96"/>
              <a:gd name="T10" fmla="*/ 2147483646 w 77"/>
              <a:gd name="T11" fmla="*/ 2147483646 h 96"/>
              <a:gd name="T12" fmla="*/ 2147483646 w 77"/>
              <a:gd name="T13" fmla="*/ 2147483646 h 96"/>
              <a:gd name="T14" fmla="*/ 2147483646 w 77"/>
              <a:gd name="T15" fmla="*/ 2147483646 h 96"/>
              <a:gd name="T16" fmla="*/ 2147483646 w 77"/>
              <a:gd name="T17" fmla="*/ 2147483646 h 96"/>
              <a:gd name="T18" fmla="*/ 2147483646 w 77"/>
              <a:gd name="T19" fmla="*/ 2147483646 h 96"/>
              <a:gd name="T20" fmla="*/ 2147483646 w 77"/>
              <a:gd name="T21" fmla="*/ 2147483646 h 96"/>
              <a:gd name="T22" fmla="*/ 2147483646 w 77"/>
              <a:gd name="T23" fmla="*/ 2147483646 h 96"/>
              <a:gd name="T24" fmla="*/ 2147483646 w 77"/>
              <a:gd name="T25" fmla="*/ 2147483646 h 96"/>
              <a:gd name="T26" fmla="*/ 2147483646 w 77"/>
              <a:gd name="T27" fmla="*/ 2147483646 h 96"/>
              <a:gd name="T28" fmla="*/ 2147483646 w 77"/>
              <a:gd name="T29" fmla="*/ 2147483646 h 96"/>
              <a:gd name="T30" fmla="*/ 2147483646 w 77"/>
              <a:gd name="T31" fmla="*/ 2147483646 h 96"/>
              <a:gd name="T32" fmla="*/ 2147483646 w 77"/>
              <a:gd name="T33" fmla="*/ 2147483646 h 96"/>
              <a:gd name="T34" fmla="*/ 2147483646 w 77"/>
              <a:gd name="T35" fmla="*/ 2147483646 h 96"/>
              <a:gd name="T36" fmla="*/ 2147483646 w 77"/>
              <a:gd name="T37" fmla="*/ 2147483646 h 96"/>
              <a:gd name="T38" fmla="*/ 2147483646 w 77"/>
              <a:gd name="T39" fmla="*/ 2147483646 h 96"/>
              <a:gd name="T40" fmla="*/ 2147483646 w 77"/>
              <a:gd name="T41" fmla="*/ 2147483646 h 96"/>
              <a:gd name="T42" fmla="*/ 2147483646 w 77"/>
              <a:gd name="T43" fmla="*/ 2147483646 h 96"/>
              <a:gd name="T44" fmla="*/ 2147483646 w 77"/>
              <a:gd name="T45" fmla="*/ 2147483646 h 96"/>
              <a:gd name="T46" fmla="*/ 2147483646 w 77"/>
              <a:gd name="T47" fmla="*/ 2147483646 h 96"/>
              <a:gd name="T48" fmla="*/ 2147483646 w 77"/>
              <a:gd name="T49" fmla="*/ 2147483646 h 96"/>
              <a:gd name="T50" fmla="*/ 2147483646 w 77"/>
              <a:gd name="T51" fmla="*/ 2147483646 h 96"/>
              <a:gd name="T52" fmla="*/ 2147483646 w 77"/>
              <a:gd name="T53" fmla="*/ 2147483646 h 96"/>
              <a:gd name="T54" fmla="*/ 2147483646 w 77"/>
              <a:gd name="T55" fmla="*/ 2147483646 h 96"/>
              <a:gd name="T56" fmla="*/ 2147483646 w 77"/>
              <a:gd name="T57" fmla="*/ 2147483646 h 96"/>
              <a:gd name="T58" fmla="*/ 2147483646 w 77"/>
              <a:gd name="T59" fmla="*/ 2147483646 h 96"/>
              <a:gd name="T60" fmla="*/ 2147483646 w 77"/>
              <a:gd name="T61" fmla="*/ 2147483646 h 96"/>
              <a:gd name="T62" fmla="*/ 2147483646 w 77"/>
              <a:gd name="T63" fmla="*/ 2147483646 h 96"/>
              <a:gd name="T64" fmla="*/ 2147483646 w 77"/>
              <a:gd name="T65" fmla="*/ 2147483646 h 96"/>
              <a:gd name="T66" fmla="*/ 2147483646 w 77"/>
              <a:gd name="T67" fmla="*/ 2147483646 h 96"/>
              <a:gd name="T68" fmla="*/ 2147483646 w 77"/>
              <a:gd name="T69" fmla="*/ 2147483646 h 96"/>
              <a:gd name="T70" fmla="*/ 2147483646 w 77"/>
              <a:gd name="T71" fmla="*/ 2147483646 h 96"/>
              <a:gd name="T72" fmla="*/ 2147483646 w 77"/>
              <a:gd name="T73" fmla="*/ 2147483646 h 96"/>
              <a:gd name="T74" fmla="*/ 2147483646 w 77"/>
              <a:gd name="T75" fmla="*/ 2147483646 h 96"/>
              <a:gd name="T76" fmla="*/ 2147483646 w 77"/>
              <a:gd name="T77" fmla="*/ 2147483646 h 96"/>
              <a:gd name="T78" fmla="*/ 2147483646 w 77"/>
              <a:gd name="T79" fmla="*/ 2147483646 h 96"/>
              <a:gd name="T80" fmla="*/ 2147483646 w 77"/>
              <a:gd name="T81" fmla="*/ 2147483646 h 96"/>
              <a:gd name="T82" fmla="*/ 2147483646 w 77"/>
              <a:gd name="T83" fmla="*/ 2147483646 h 96"/>
              <a:gd name="T84" fmla="*/ 2147483646 w 77"/>
              <a:gd name="T85" fmla="*/ 2147483646 h 96"/>
              <a:gd name="T86" fmla="*/ 2147483646 w 77"/>
              <a:gd name="T87" fmla="*/ 2147483646 h 96"/>
              <a:gd name="T88" fmla="*/ 2147483646 w 77"/>
              <a:gd name="T89" fmla="*/ 2147483646 h 96"/>
              <a:gd name="T90" fmla="*/ 2147483646 w 77"/>
              <a:gd name="T91" fmla="*/ 2147483646 h 96"/>
              <a:gd name="T92" fmla="*/ 2147483646 w 77"/>
              <a:gd name="T93" fmla="*/ 2147483646 h 96"/>
              <a:gd name="T94" fmla="*/ 2147483646 w 77"/>
              <a:gd name="T95" fmla="*/ 2147483646 h 96"/>
              <a:gd name="T96" fmla="*/ 2147483646 w 77"/>
              <a:gd name="T97" fmla="*/ 2147483646 h 96"/>
              <a:gd name="T98" fmla="*/ 2147483646 w 77"/>
              <a:gd name="T99" fmla="*/ 2147483646 h 96"/>
              <a:gd name="T100" fmla="*/ 2147483646 w 77"/>
              <a:gd name="T101" fmla="*/ 2147483646 h 96"/>
              <a:gd name="T102" fmla="*/ 2147483646 w 77"/>
              <a:gd name="T103" fmla="*/ 2147483646 h 9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77"/>
              <a:gd name="T157" fmla="*/ 0 h 96"/>
              <a:gd name="T158" fmla="*/ 77 w 77"/>
              <a:gd name="T159" fmla="*/ 96 h 9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77" h="96">
                <a:moveTo>
                  <a:pt x="34" y="94"/>
                </a:moveTo>
                <a:cubicBezTo>
                  <a:pt x="33" y="94"/>
                  <a:pt x="30" y="95"/>
                  <a:pt x="29" y="96"/>
                </a:cubicBezTo>
                <a:cubicBezTo>
                  <a:pt x="27" y="96"/>
                  <a:pt x="25" y="96"/>
                  <a:pt x="23" y="96"/>
                </a:cubicBezTo>
                <a:cubicBezTo>
                  <a:pt x="22" y="96"/>
                  <a:pt x="20" y="96"/>
                  <a:pt x="19" y="96"/>
                </a:cubicBezTo>
                <a:cubicBezTo>
                  <a:pt x="18" y="95"/>
                  <a:pt x="18" y="95"/>
                  <a:pt x="18" y="95"/>
                </a:cubicBezTo>
                <a:cubicBezTo>
                  <a:pt x="19" y="95"/>
                  <a:pt x="19" y="95"/>
                  <a:pt x="19" y="95"/>
                </a:cubicBezTo>
                <a:cubicBezTo>
                  <a:pt x="20" y="92"/>
                  <a:pt x="21" y="90"/>
                  <a:pt x="20" y="88"/>
                </a:cubicBezTo>
                <a:cubicBezTo>
                  <a:pt x="18" y="86"/>
                  <a:pt x="14" y="87"/>
                  <a:pt x="15" y="83"/>
                </a:cubicBezTo>
                <a:cubicBezTo>
                  <a:pt x="15" y="78"/>
                  <a:pt x="18" y="73"/>
                  <a:pt x="15" y="75"/>
                </a:cubicBezTo>
                <a:cubicBezTo>
                  <a:pt x="12" y="76"/>
                  <a:pt x="9" y="79"/>
                  <a:pt x="9" y="78"/>
                </a:cubicBezTo>
                <a:cubicBezTo>
                  <a:pt x="8" y="77"/>
                  <a:pt x="8" y="68"/>
                  <a:pt x="7" y="71"/>
                </a:cubicBezTo>
                <a:cubicBezTo>
                  <a:pt x="5" y="74"/>
                  <a:pt x="2" y="76"/>
                  <a:pt x="2" y="72"/>
                </a:cubicBezTo>
                <a:cubicBezTo>
                  <a:pt x="3" y="69"/>
                  <a:pt x="5" y="68"/>
                  <a:pt x="4" y="66"/>
                </a:cubicBezTo>
                <a:cubicBezTo>
                  <a:pt x="3" y="63"/>
                  <a:pt x="2" y="61"/>
                  <a:pt x="3" y="59"/>
                </a:cubicBezTo>
                <a:cubicBezTo>
                  <a:pt x="4" y="58"/>
                  <a:pt x="2" y="54"/>
                  <a:pt x="3" y="53"/>
                </a:cubicBezTo>
                <a:cubicBezTo>
                  <a:pt x="5" y="52"/>
                  <a:pt x="8" y="50"/>
                  <a:pt x="7" y="48"/>
                </a:cubicBezTo>
                <a:cubicBezTo>
                  <a:pt x="7" y="45"/>
                  <a:pt x="8" y="44"/>
                  <a:pt x="5" y="43"/>
                </a:cubicBezTo>
                <a:cubicBezTo>
                  <a:pt x="3" y="41"/>
                  <a:pt x="2" y="38"/>
                  <a:pt x="2" y="38"/>
                </a:cubicBezTo>
                <a:cubicBezTo>
                  <a:pt x="2" y="38"/>
                  <a:pt x="3" y="34"/>
                  <a:pt x="2" y="29"/>
                </a:cubicBezTo>
                <a:cubicBezTo>
                  <a:pt x="0" y="24"/>
                  <a:pt x="0" y="15"/>
                  <a:pt x="3" y="17"/>
                </a:cubicBezTo>
                <a:cubicBezTo>
                  <a:pt x="6" y="18"/>
                  <a:pt x="5" y="17"/>
                  <a:pt x="9" y="21"/>
                </a:cubicBezTo>
                <a:cubicBezTo>
                  <a:pt x="12" y="24"/>
                  <a:pt x="7" y="31"/>
                  <a:pt x="16" y="26"/>
                </a:cubicBezTo>
                <a:cubicBezTo>
                  <a:pt x="25" y="21"/>
                  <a:pt x="26" y="12"/>
                  <a:pt x="27" y="19"/>
                </a:cubicBezTo>
                <a:cubicBezTo>
                  <a:pt x="28" y="26"/>
                  <a:pt x="31" y="28"/>
                  <a:pt x="32" y="26"/>
                </a:cubicBezTo>
                <a:cubicBezTo>
                  <a:pt x="34" y="24"/>
                  <a:pt x="38" y="20"/>
                  <a:pt x="35" y="18"/>
                </a:cubicBezTo>
                <a:cubicBezTo>
                  <a:pt x="32" y="16"/>
                  <a:pt x="31" y="12"/>
                  <a:pt x="31" y="12"/>
                </a:cubicBezTo>
                <a:cubicBezTo>
                  <a:pt x="31" y="12"/>
                  <a:pt x="31" y="6"/>
                  <a:pt x="34" y="6"/>
                </a:cubicBezTo>
                <a:cubicBezTo>
                  <a:pt x="36" y="6"/>
                  <a:pt x="35" y="5"/>
                  <a:pt x="38" y="6"/>
                </a:cubicBezTo>
                <a:cubicBezTo>
                  <a:pt x="40" y="8"/>
                  <a:pt x="41" y="6"/>
                  <a:pt x="43" y="5"/>
                </a:cubicBezTo>
                <a:cubicBezTo>
                  <a:pt x="45" y="5"/>
                  <a:pt x="44" y="0"/>
                  <a:pt x="47" y="3"/>
                </a:cubicBezTo>
                <a:cubicBezTo>
                  <a:pt x="50" y="5"/>
                  <a:pt x="51" y="5"/>
                  <a:pt x="51" y="5"/>
                </a:cubicBezTo>
                <a:cubicBezTo>
                  <a:pt x="54" y="4"/>
                  <a:pt x="54" y="4"/>
                  <a:pt x="54" y="4"/>
                </a:cubicBezTo>
                <a:cubicBezTo>
                  <a:pt x="54" y="4"/>
                  <a:pt x="54" y="8"/>
                  <a:pt x="57" y="11"/>
                </a:cubicBezTo>
                <a:cubicBezTo>
                  <a:pt x="60" y="14"/>
                  <a:pt x="55" y="22"/>
                  <a:pt x="55" y="24"/>
                </a:cubicBezTo>
                <a:cubicBezTo>
                  <a:pt x="54" y="25"/>
                  <a:pt x="49" y="27"/>
                  <a:pt x="54" y="27"/>
                </a:cubicBezTo>
                <a:cubicBezTo>
                  <a:pt x="60" y="26"/>
                  <a:pt x="56" y="21"/>
                  <a:pt x="63" y="25"/>
                </a:cubicBezTo>
                <a:cubicBezTo>
                  <a:pt x="70" y="28"/>
                  <a:pt x="66" y="29"/>
                  <a:pt x="70" y="29"/>
                </a:cubicBezTo>
                <a:cubicBezTo>
                  <a:pt x="75" y="29"/>
                  <a:pt x="74" y="25"/>
                  <a:pt x="75" y="29"/>
                </a:cubicBezTo>
                <a:cubicBezTo>
                  <a:pt x="76" y="33"/>
                  <a:pt x="77" y="36"/>
                  <a:pt x="74" y="38"/>
                </a:cubicBezTo>
                <a:cubicBezTo>
                  <a:pt x="71" y="40"/>
                  <a:pt x="67" y="42"/>
                  <a:pt x="67" y="42"/>
                </a:cubicBezTo>
                <a:cubicBezTo>
                  <a:pt x="60" y="44"/>
                  <a:pt x="60" y="44"/>
                  <a:pt x="60" y="44"/>
                </a:cubicBezTo>
                <a:cubicBezTo>
                  <a:pt x="60" y="44"/>
                  <a:pt x="54" y="41"/>
                  <a:pt x="57" y="46"/>
                </a:cubicBezTo>
                <a:cubicBezTo>
                  <a:pt x="60" y="50"/>
                  <a:pt x="66" y="50"/>
                  <a:pt x="58" y="54"/>
                </a:cubicBezTo>
                <a:cubicBezTo>
                  <a:pt x="51" y="58"/>
                  <a:pt x="48" y="52"/>
                  <a:pt x="48" y="56"/>
                </a:cubicBezTo>
                <a:cubicBezTo>
                  <a:pt x="49" y="60"/>
                  <a:pt x="47" y="60"/>
                  <a:pt x="45" y="62"/>
                </a:cubicBezTo>
                <a:cubicBezTo>
                  <a:pt x="43" y="64"/>
                  <a:pt x="42" y="58"/>
                  <a:pt x="44" y="63"/>
                </a:cubicBezTo>
                <a:cubicBezTo>
                  <a:pt x="46" y="68"/>
                  <a:pt x="49" y="68"/>
                  <a:pt x="46" y="72"/>
                </a:cubicBezTo>
                <a:cubicBezTo>
                  <a:pt x="42" y="76"/>
                  <a:pt x="36" y="75"/>
                  <a:pt x="37" y="79"/>
                </a:cubicBezTo>
                <a:cubicBezTo>
                  <a:pt x="39" y="82"/>
                  <a:pt x="45" y="77"/>
                  <a:pt x="40" y="84"/>
                </a:cubicBezTo>
                <a:cubicBezTo>
                  <a:pt x="38" y="89"/>
                  <a:pt x="36" y="90"/>
                  <a:pt x="36" y="92"/>
                </a:cubicBezTo>
                <a:cubicBezTo>
                  <a:pt x="36" y="92"/>
                  <a:pt x="36" y="92"/>
                  <a:pt x="36" y="93"/>
                </a:cubicBezTo>
                <a:lnTo>
                  <a:pt x="34" y="9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6" name="Freeform 551"/>
          <p:cNvSpPr>
            <a:spLocks/>
          </p:cNvSpPr>
          <p:nvPr userDrawn="1"/>
        </p:nvSpPr>
        <p:spPr bwMode="auto">
          <a:xfrm>
            <a:off x="5659842" y="3384832"/>
            <a:ext cx="216087" cy="306543"/>
          </a:xfrm>
          <a:custGeom>
            <a:avLst/>
            <a:gdLst>
              <a:gd name="T0" fmla="*/ 2147483646 w 232"/>
              <a:gd name="T1" fmla="*/ 2147483646 h 327"/>
              <a:gd name="T2" fmla="*/ 2147483646 w 232"/>
              <a:gd name="T3" fmla="*/ 2147483646 h 327"/>
              <a:gd name="T4" fmla="*/ 2147483646 w 232"/>
              <a:gd name="T5" fmla="*/ 2147483646 h 327"/>
              <a:gd name="T6" fmla="*/ 0 w 232"/>
              <a:gd name="T7" fmla="*/ 2147483646 h 327"/>
              <a:gd name="T8" fmla="*/ 2147483646 w 232"/>
              <a:gd name="T9" fmla="*/ 2147483646 h 327"/>
              <a:gd name="T10" fmla="*/ 2147483646 w 232"/>
              <a:gd name="T11" fmla="*/ 2147483646 h 327"/>
              <a:gd name="T12" fmla="*/ 2147483646 w 232"/>
              <a:gd name="T13" fmla="*/ 2147483646 h 327"/>
              <a:gd name="T14" fmla="*/ 2147483646 w 232"/>
              <a:gd name="T15" fmla="*/ 2147483646 h 327"/>
              <a:gd name="T16" fmla="*/ 2147483646 w 232"/>
              <a:gd name="T17" fmla="*/ 2147483646 h 327"/>
              <a:gd name="T18" fmla="*/ 2147483646 w 232"/>
              <a:gd name="T19" fmla="*/ 2147483646 h 327"/>
              <a:gd name="T20" fmla="*/ 2147483646 w 232"/>
              <a:gd name="T21" fmla="*/ 2147483646 h 327"/>
              <a:gd name="T22" fmla="*/ 2147483646 w 232"/>
              <a:gd name="T23" fmla="*/ 2147483646 h 327"/>
              <a:gd name="T24" fmla="*/ 2147483646 w 232"/>
              <a:gd name="T25" fmla="*/ 2147483646 h 327"/>
              <a:gd name="T26" fmla="*/ 2147483646 w 232"/>
              <a:gd name="T27" fmla="*/ 2147483646 h 327"/>
              <a:gd name="T28" fmla="*/ 2147483646 w 232"/>
              <a:gd name="T29" fmla="*/ 2147483646 h 327"/>
              <a:gd name="T30" fmla="*/ 2147483646 w 232"/>
              <a:gd name="T31" fmla="*/ 2147483646 h 327"/>
              <a:gd name="T32" fmla="*/ 2147483646 w 232"/>
              <a:gd name="T33" fmla="*/ 2147483646 h 327"/>
              <a:gd name="T34" fmla="*/ 2147483646 w 232"/>
              <a:gd name="T35" fmla="*/ 2147483646 h 327"/>
              <a:gd name="T36" fmla="*/ 2147483646 w 232"/>
              <a:gd name="T37" fmla="*/ 2147483646 h 327"/>
              <a:gd name="T38" fmla="*/ 2147483646 w 232"/>
              <a:gd name="T39" fmla="*/ 2147483646 h 327"/>
              <a:gd name="T40" fmla="*/ 2147483646 w 232"/>
              <a:gd name="T41" fmla="*/ 2147483646 h 327"/>
              <a:gd name="T42" fmla="*/ 2147483646 w 232"/>
              <a:gd name="T43" fmla="*/ 2147483646 h 327"/>
              <a:gd name="T44" fmla="*/ 2147483646 w 232"/>
              <a:gd name="T45" fmla="*/ 2147483646 h 327"/>
              <a:gd name="T46" fmla="*/ 2147483646 w 232"/>
              <a:gd name="T47" fmla="*/ 2147483646 h 327"/>
              <a:gd name="T48" fmla="*/ 2147483646 w 232"/>
              <a:gd name="T49" fmla="*/ 2147483646 h 327"/>
              <a:gd name="T50" fmla="*/ 2147483646 w 232"/>
              <a:gd name="T51" fmla="*/ 2147483646 h 327"/>
              <a:gd name="T52" fmla="*/ 2147483646 w 232"/>
              <a:gd name="T53" fmla="*/ 2147483646 h 327"/>
              <a:gd name="T54" fmla="*/ 2147483646 w 232"/>
              <a:gd name="T55" fmla="*/ 2147483646 h 327"/>
              <a:gd name="T56" fmla="*/ 2147483646 w 232"/>
              <a:gd name="T57" fmla="*/ 2147483646 h 327"/>
              <a:gd name="T58" fmla="*/ 2147483646 w 232"/>
              <a:gd name="T59" fmla="*/ 2147483646 h 327"/>
              <a:gd name="T60" fmla="*/ 2147483646 w 232"/>
              <a:gd name="T61" fmla="*/ 2147483646 h 327"/>
              <a:gd name="T62" fmla="*/ 2147483646 w 232"/>
              <a:gd name="T63" fmla="*/ 2147483646 h 327"/>
              <a:gd name="T64" fmla="*/ 2147483646 w 232"/>
              <a:gd name="T65" fmla="*/ 2147483646 h 327"/>
              <a:gd name="T66" fmla="*/ 2147483646 w 232"/>
              <a:gd name="T67" fmla="*/ 2147483646 h 327"/>
              <a:gd name="T68" fmla="*/ 2147483646 w 232"/>
              <a:gd name="T69" fmla="*/ 2147483646 h 327"/>
              <a:gd name="T70" fmla="*/ 2147483646 w 232"/>
              <a:gd name="T71" fmla="*/ 2147483646 h 327"/>
              <a:gd name="T72" fmla="*/ 2147483646 w 232"/>
              <a:gd name="T73" fmla="*/ 2147483646 h 327"/>
              <a:gd name="T74" fmla="*/ 2147483646 w 232"/>
              <a:gd name="T75" fmla="*/ 2147483646 h 327"/>
              <a:gd name="T76" fmla="*/ 2147483646 w 232"/>
              <a:gd name="T77" fmla="*/ 2147483646 h 327"/>
              <a:gd name="T78" fmla="*/ 2147483646 w 232"/>
              <a:gd name="T79" fmla="*/ 2147483646 h 327"/>
              <a:gd name="T80" fmla="*/ 2147483646 w 232"/>
              <a:gd name="T81" fmla="*/ 2147483646 h 327"/>
              <a:gd name="T82" fmla="*/ 2147483646 w 232"/>
              <a:gd name="T83" fmla="*/ 2147483646 h 327"/>
              <a:gd name="T84" fmla="*/ 2147483646 w 232"/>
              <a:gd name="T85" fmla="*/ 2147483646 h 327"/>
              <a:gd name="T86" fmla="*/ 2147483646 w 232"/>
              <a:gd name="T87" fmla="*/ 2147483646 h 327"/>
              <a:gd name="T88" fmla="*/ 2147483646 w 232"/>
              <a:gd name="T89" fmla="*/ 2147483646 h 327"/>
              <a:gd name="T90" fmla="*/ 2147483646 w 232"/>
              <a:gd name="T91" fmla="*/ 2147483646 h 327"/>
              <a:gd name="T92" fmla="*/ 2147483646 w 232"/>
              <a:gd name="T93" fmla="*/ 2147483646 h 327"/>
              <a:gd name="T94" fmla="*/ 2147483646 w 232"/>
              <a:gd name="T95" fmla="*/ 2147483646 h 327"/>
              <a:gd name="T96" fmla="*/ 2147483646 w 232"/>
              <a:gd name="T97" fmla="*/ 2147483646 h 327"/>
              <a:gd name="T98" fmla="*/ 2147483646 w 232"/>
              <a:gd name="T99" fmla="*/ 2147483646 h 327"/>
              <a:gd name="T100" fmla="*/ 2147483646 w 232"/>
              <a:gd name="T101" fmla="*/ 2147483646 h 327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32"/>
              <a:gd name="T154" fmla="*/ 0 h 327"/>
              <a:gd name="T155" fmla="*/ 232 w 232"/>
              <a:gd name="T156" fmla="*/ 327 h 327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32" h="327">
                <a:moveTo>
                  <a:pt x="18" y="248"/>
                </a:moveTo>
                <a:cubicBezTo>
                  <a:pt x="18" y="248"/>
                  <a:pt x="18" y="245"/>
                  <a:pt x="18" y="243"/>
                </a:cubicBezTo>
                <a:cubicBezTo>
                  <a:pt x="18" y="239"/>
                  <a:pt x="17" y="239"/>
                  <a:pt x="15" y="234"/>
                </a:cubicBezTo>
                <a:cubicBezTo>
                  <a:pt x="14" y="231"/>
                  <a:pt x="16" y="228"/>
                  <a:pt x="14" y="224"/>
                </a:cubicBezTo>
                <a:cubicBezTo>
                  <a:pt x="13" y="221"/>
                  <a:pt x="9" y="219"/>
                  <a:pt x="6" y="216"/>
                </a:cubicBezTo>
                <a:cubicBezTo>
                  <a:pt x="6" y="216"/>
                  <a:pt x="6" y="216"/>
                  <a:pt x="6" y="216"/>
                </a:cubicBezTo>
                <a:cubicBezTo>
                  <a:pt x="5" y="210"/>
                  <a:pt x="6" y="209"/>
                  <a:pt x="9" y="204"/>
                </a:cubicBezTo>
                <a:cubicBezTo>
                  <a:pt x="12" y="200"/>
                  <a:pt x="6" y="193"/>
                  <a:pt x="6" y="193"/>
                </a:cubicBezTo>
                <a:cubicBezTo>
                  <a:pt x="6" y="193"/>
                  <a:pt x="6" y="193"/>
                  <a:pt x="6" y="193"/>
                </a:cubicBezTo>
                <a:cubicBezTo>
                  <a:pt x="6" y="193"/>
                  <a:pt x="6" y="193"/>
                  <a:pt x="6" y="193"/>
                </a:cubicBezTo>
                <a:cubicBezTo>
                  <a:pt x="6" y="189"/>
                  <a:pt x="4" y="186"/>
                  <a:pt x="3" y="183"/>
                </a:cubicBezTo>
                <a:cubicBezTo>
                  <a:pt x="2" y="181"/>
                  <a:pt x="0" y="179"/>
                  <a:pt x="0" y="177"/>
                </a:cubicBezTo>
                <a:cubicBezTo>
                  <a:pt x="3" y="175"/>
                  <a:pt x="5" y="173"/>
                  <a:pt x="6" y="171"/>
                </a:cubicBezTo>
                <a:cubicBezTo>
                  <a:pt x="4" y="168"/>
                  <a:pt x="2" y="160"/>
                  <a:pt x="1" y="156"/>
                </a:cubicBezTo>
                <a:cubicBezTo>
                  <a:pt x="0" y="153"/>
                  <a:pt x="3" y="148"/>
                  <a:pt x="7" y="150"/>
                </a:cubicBezTo>
                <a:cubicBezTo>
                  <a:pt x="7" y="148"/>
                  <a:pt x="6" y="145"/>
                  <a:pt x="7" y="145"/>
                </a:cubicBezTo>
                <a:cubicBezTo>
                  <a:pt x="9" y="144"/>
                  <a:pt x="9" y="146"/>
                  <a:pt x="11" y="146"/>
                </a:cubicBezTo>
                <a:cubicBezTo>
                  <a:pt x="12" y="146"/>
                  <a:pt x="13" y="143"/>
                  <a:pt x="15" y="143"/>
                </a:cubicBezTo>
                <a:cubicBezTo>
                  <a:pt x="17" y="142"/>
                  <a:pt x="18" y="144"/>
                  <a:pt x="19" y="145"/>
                </a:cubicBezTo>
                <a:cubicBezTo>
                  <a:pt x="22" y="138"/>
                  <a:pt x="26" y="130"/>
                  <a:pt x="31" y="125"/>
                </a:cubicBezTo>
                <a:cubicBezTo>
                  <a:pt x="28" y="122"/>
                  <a:pt x="24" y="118"/>
                  <a:pt x="25" y="114"/>
                </a:cubicBezTo>
                <a:cubicBezTo>
                  <a:pt x="25" y="110"/>
                  <a:pt x="29" y="107"/>
                  <a:pt x="30" y="103"/>
                </a:cubicBezTo>
                <a:cubicBezTo>
                  <a:pt x="32" y="100"/>
                  <a:pt x="31" y="101"/>
                  <a:pt x="30" y="98"/>
                </a:cubicBezTo>
                <a:cubicBezTo>
                  <a:pt x="28" y="92"/>
                  <a:pt x="31" y="91"/>
                  <a:pt x="34" y="86"/>
                </a:cubicBezTo>
                <a:cubicBezTo>
                  <a:pt x="34" y="86"/>
                  <a:pt x="34" y="84"/>
                  <a:pt x="35" y="83"/>
                </a:cubicBezTo>
                <a:cubicBezTo>
                  <a:pt x="35" y="80"/>
                  <a:pt x="35" y="80"/>
                  <a:pt x="35" y="80"/>
                </a:cubicBezTo>
                <a:cubicBezTo>
                  <a:pt x="36" y="80"/>
                  <a:pt x="36" y="80"/>
                  <a:pt x="36" y="80"/>
                </a:cubicBezTo>
                <a:cubicBezTo>
                  <a:pt x="34" y="79"/>
                  <a:pt x="34" y="79"/>
                  <a:pt x="34" y="79"/>
                </a:cubicBezTo>
                <a:cubicBezTo>
                  <a:pt x="32" y="77"/>
                  <a:pt x="30" y="78"/>
                  <a:pt x="30" y="75"/>
                </a:cubicBezTo>
                <a:cubicBezTo>
                  <a:pt x="30" y="72"/>
                  <a:pt x="29" y="69"/>
                  <a:pt x="33" y="67"/>
                </a:cubicBezTo>
                <a:cubicBezTo>
                  <a:pt x="37" y="65"/>
                  <a:pt x="36" y="65"/>
                  <a:pt x="40" y="64"/>
                </a:cubicBezTo>
                <a:cubicBezTo>
                  <a:pt x="44" y="63"/>
                  <a:pt x="46" y="63"/>
                  <a:pt x="49" y="64"/>
                </a:cubicBezTo>
                <a:cubicBezTo>
                  <a:pt x="52" y="64"/>
                  <a:pt x="55" y="61"/>
                  <a:pt x="55" y="65"/>
                </a:cubicBezTo>
                <a:cubicBezTo>
                  <a:pt x="55" y="69"/>
                  <a:pt x="50" y="74"/>
                  <a:pt x="54" y="76"/>
                </a:cubicBezTo>
                <a:cubicBezTo>
                  <a:pt x="58" y="78"/>
                  <a:pt x="61" y="75"/>
                  <a:pt x="62" y="74"/>
                </a:cubicBezTo>
                <a:cubicBezTo>
                  <a:pt x="64" y="72"/>
                  <a:pt x="62" y="65"/>
                  <a:pt x="62" y="65"/>
                </a:cubicBezTo>
                <a:cubicBezTo>
                  <a:pt x="70" y="59"/>
                  <a:pt x="70" y="59"/>
                  <a:pt x="70" y="59"/>
                </a:cubicBezTo>
                <a:cubicBezTo>
                  <a:pt x="70" y="59"/>
                  <a:pt x="66" y="53"/>
                  <a:pt x="74" y="54"/>
                </a:cubicBezTo>
                <a:cubicBezTo>
                  <a:pt x="82" y="55"/>
                  <a:pt x="81" y="48"/>
                  <a:pt x="79" y="46"/>
                </a:cubicBezTo>
                <a:cubicBezTo>
                  <a:pt x="78" y="45"/>
                  <a:pt x="72" y="43"/>
                  <a:pt x="71" y="40"/>
                </a:cubicBezTo>
                <a:cubicBezTo>
                  <a:pt x="70" y="37"/>
                  <a:pt x="72" y="28"/>
                  <a:pt x="75" y="29"/>
                </a:cubicBezTo>
                <a:cubicBezTo>
                  <a:pt x="79" y="30"/>
                  <a:pt x="81" y="27"/>
                  <a:pt x="79" y="26"/>
                </a:cubicBezTo>
                <a:cubicBezTo>
                  <a:pt x="78" y="24"/>
                  <a:pt x="75" y="17"/>
                  <a:pt x="72" y="15"/>
                </a:cubicBezTo>
                <a:cubicBezTo>
                  <a:pt x="69" y="12"/>
                  <a:pt x="65" y="8"/>
                  <a:pt x="67" y="6"/>
                </a:cubicBezTo>
                <a:cubicBezTo>
                  <a:pt x="67" y="5"/>
                  <a:pt x="68" y="5"/>
                  <a:pt x="68" y="4"/>
                </a:cubicBezTo>
                <a:cubicBezTo>
                  <a:pt x="69" y="3"/>
                  <a:pt x="69" y="3"/>
                  <a:pt x="69" y="3"/>
                </a:cubicBezTo>
                <a:cubicBezTo>
                  <a:pt x="69" y="3"/>
                  <a:pt x="78" y="6"/>
                  <a:pt x="87" y="1"/>
                </a:cubicBezTo>
                <a:cubicBezTo>
                  <a:pt x="87" y="1"/>
                  <a:pt x="87" y="1"/>
                  <a:pt x="88" y="2"/>
                </a:cubicBezTo>
                <a:cubicBezTo>
                  <a:pt x="89" y="2"/>
                  <a:pt x="88" y="1"/>
                  <a:pt x="90" y="2"/>
                </a:cubicBezTo>
                <a:cubicBezTo>
                  <a:pt x="92" y="3"/>
                  <a:pt x="94" y="0"/>
                  <a:pt x="94" y="0"/>
                </a:cubicBezTo>
                <a:cubicBezTo>
                  <a:pt x="94" y="0"/>
                  <a:pt x="94" y="0"/>
                  <a:pt x="97" y="1"/>
                </a:cubicBezTo>
                <a:cubicBezTo>
                  <a:pt x="100" y="3"/>
                  <a:pt x="99" y="8"/>
                  <a:pt x="99" y="8"/>
                </a:cubicBezTo>
                <a:cubicBezTo>
                  <a:pt x="94" y="9"/>
                  <a:pt x="94" y="9"/>
                  <a:pt x="94" y="9"/>
                </a:cubicBezTo>
                <a:cubicBezTo>
                  <a:pt x="91" y="11"/>
                  <a:pt x="91" y="11"/>
                  <a:pt x="91" y="11"/>
                </a:cubicBezTo>
                <a:cubicBezTo>
                  <a:pt x="91" y="11"/>
                  <a:pt x="95" y="10"/>
                  <a:pt x="98" y="12"/>
                </a:cubicBezTo>
                <a:cubicBezTo>
                  <a:pt x="101" y="14"/>
                  <a:pt x="100" y="17"/>
                  <a:pt x="100" y="17"/>
                </a:cubicBezTo>
                <a:cubicBezTo>
                  <a:pt x="101" y="23"/>
                  <a:pt x="101" y="23"/>
                  <a:pt x="101" y="23"/>
                </a:cubicBezTo>
                <a:cubicBezTo>
                  <a:pt x="101" y="23"/>
                  <a:pt x="97" y="29"/>
                  <a:pt x="100" y="28"/>
                </a:cubicBezTo>
                <a:cubicBezTo>
                  <a:pt x="103" y="27"/>
                  <a:pt x="104" y="26"/>
                  <a:pt x="106" y="30"/>
                </a:cubicBezTo>
                <a:cubicBezTo>
                  <a:pt x="107" y="33"/>
                  <a:pt x="110" y="36"/>
                  <a:pt x="111" y="34"/>
                </a:cubicBezTo>
                <a:cubicBezTo>
                  <a:pt x="113" y="32"/>
                  <a:pt x="115" y="31"/>
                  <a:pt x="117" y="33"/>
                </a:cubicBezTo>
                <a:cubicBezTo>
                  <a:pt x="119" y="36"/>
                  <a:pt x="118" y="40"/>
                  <a:pt x="121" y="37"/>
                </a:cubicBezTo>
                <a:cubicBezTo>
                  <a:pt x="123" y="35"/>
                  <a:pt x="123" y="33"/>
                  <a:pt x="126" y="33"/>
                </a:cubicBezTo>
                <a:cubicBezTo>
                  <a:pt x="128" y="33"/>
                  <a:pt x="129" y="32"/>
                  <a:pt x="130" y="34"/>
                </a:cubicBezTo>
                <a:cubicBezTo>
                  <a:pt x="131" y="36"/>
                  <a:pt x="131" y="39"/>
                  <a:pt x="127" y="42"/>
                </a:cubicBezTo>
                <a:cubicBezTo>
                  <a:pt x="123" y="45"/>
                  <a:pt x="121" y="44"/>
                  <a:pt x="122" y="49"/>
                </a:cubicBezTo>
                <a:cubicBezTo>
                  <a:pt x="123" y="54"/>
                  <a:pt x="119" y="59"/>
                  <a:pt x="124" y="55"/>
                </a:cubicBezTo>
                <a:cubicBezTo>
                  <a:pt x="128" y="52"/>
                  <a:pt x="130" y="50"/>
                  <a:pt x="130" y="50"/>
                </a:cubicBezTo>
                <a:cubicBezTo>
                  <a:pt x="130" y="50"/>
                  <a:pt x="132" y="49"/>
                  <a:pt x="135" y="51"/>
                </a:cubicBezTo>
                <a:cubicBezTo>
                  <a:pt x="138" y="52"/>
                  <a:pt x="140" y="58"/>
                  <a:pt x="142" y="52"/>
                </a:cubicBezTo>
                <a:cubicBezTo>
                  <a:pt x="144" y="47"/>
                  <a:pt x="145" y="44"/>
                  <a:pt x="147" y="42"/>
                </a:cubicBezTo>
                <a:cubicBezTo>
                  <a:pt x="149" y="41"/>
                  <a:pt x="152" y="40"/>
                  <a:pt x="154" y="39"/>
                </a:cubicBezTo>
                <a:cubicBezTo>
                  <a:pt x="156" y="38"/>
                  <a:pt x="161" y="40"/>
                  <a:pt x="162" y="35"/>
                </a:cubicBezTo>
                <a:cubicBezTo>
                  <a:pt x="164" y="31"/>
                  <a:pt x="166" y="29"/>
                  <a:pt x="169" y="31"/>
                </a:cubicBezTo>
                <a:cubicBezTo>
                  <a:pt x="172" y="32"/>
                  <a:pt x="167" y="34"/>
                  <a:pt x="167" y="35"/>
                </a:cubicBezTo>
                <a:cubicBezTo>
                  <a:pt x="168" y="37"/>
                  <a:pt x="171" y="38"/>
                  <a:pt x="173" y="36"/>
                </a:cubicBezTo>
                <a:cubicBezTo>
                  <a:pt x="175" y="35"/>
                  <a:pt x="179" y="33"/>
                  <a:pt x="180" y="32"/>
                </a:cubicBezTo>
                <a:cubicBezTo>
                  <a:pt x="181" y="32"/>
                  <a:pt x="181" y="34"/>
                  <a:pt x="184" y="37"/>
                </a:cubicBezTo>
                <a:cubicBezTo>
                  <a:pt x="187" y="39"/>
                  <a:pt x="190" y="40"/>
                  <a:pt x="191" y="40"/>
                </a:cubicBezTo>
                <a:cubicBezTo>
                  <a:pt x="192" y="40"/>
                  <a:pt x="189" y="42"/>
                  <a:pt x="193" y="43"/>
                </a:cubicBezTo>
                <a:cubicBezTo>
                  <a:pt x="197" y="44"/>
                  <a:pt x="200" y="49"/>
                  <a:pt x="200" y="51"/>
                </a:cubicBezTo>
                <a:cubicBezTo>
                  <a:pt x="199" y="54"/>
                  <a:pt x="196" y="54"/>
                  <a:pt x="197" y="56"/>
                </a:cubicBezTo>
                <a:cubicBezTo>
                  <a:pt x="198" y="58"/>
                  <a:pt x="201" y="60"/>
                  <a:pt x="204" y="59"/>
                </a:cubicBezTo>
                <a:cubicBezTo>
                  <a:pt x="207" y="58"/>
                  <a:pt x="210" y="57"/>
                  <a:pt x="211" y="59"/>
                </a:cubicBezTo>
                <a:cubicBezTo>
                  <a:pt x="212" y="60"/>
                  <a:pt x="213" y="62"/>
                  <a:pt x="214" y="62"/>
                </a:cubicBezTo>
                <a:cubicBezTo>
                  <a:pt x="215" y="62"/>
                  <a:pt x="215" y="62"/>
                  <a:pt x="215" y="62"/>
                </a:cubicBezTo>
                <a:cubicBezTo>
                  <a:pt x="216" y="63"/>
                  <a:pt x="216" y="63"/>
                  <a:pt x="216" y="63"/>
                </a:cubicBezTo>
                <a:cubicBezTo>
                  <a:pt x="217" y="65"/>
                  <a:pt x="220" y="69"/>
                  <a:pt x="220" y="71"/>
                </a:cubicBezTo>
                <a:cubicBezTo>
                  <a:pt x="220" y="73"/>
                  <a:pt x="219" y="76"/>
                  <a:pt x="219" y="78"/>
                </a:cubicBezTo>
                <a:cubicBezTo>
                  <a:pt x="219" y="86"/>
                  <a:pt x="213" y="93"/>
                  <a:pt x="208" y="98"/>
                </a:cubicBezTo>
                <a:cubicBezTo>
                  <a:pt x="211" y="103"/>
                  <a:pt x="221" y="104"/>
                  <a:pt x="220" y="110"/>
                </a:cubicBezTo>
                <a:cubicBezTo>
                  <a:pt x="220" y="113"/>
                  <a:pt x="218" y="116"/>
                  <a:pt x="219" y="118"/>
                </a:cubicBezTo>
                <a:cubicBezTo>
                  <a:pt x="220" y="120"/>
                  <a:pt x="222" y="120"/>
                  <a:pt x="223" y="122"/>
                </a:cubicBezTo>
                <a:cubicBezTo>
                  <a:pt x="223" y="123"/>
                  <a:pt x="221" y="125"/>
                  <a:pt x="221" y="126"/>
                </a:cubicBezTo>
                <a:cubicBezTo>
                  <a:pt x="221" y="128"/>
                  <a:pt x="222" y="129"/>
                  <a:pt x="223" y="130"/>
                </a:cubicBezTo>
                <a:cubicBezTo>
                  <a:pt x="223" y="133"/>
                  <a:pt x="223" y="134"/>
                  <a:pt x="223" y="138"/>
                </a:cubicBezTo>
                <a:cubicBezTo>
                  <a:pt x="222" y="146"/>
                  <a:pt x="230" y="151"/>
                  <a:pt x="231" y="160"/>
                </a:cubicBezTo>
                <a:cubicBezTo>
                  <a:pt x="231" y="164"/>
                  <a:pt x="232" y="169"/>
                  <a:pt x="232" y="173"/>
                </a:cubicBezTo>
                <a:cubicBezTo>
                  <a:pt x="231" y="176"/>
                  <a:pt x="229" y="177"/>
                  <a:pt x="227" y="179"/>
                </a:cubicBezTo>
                <a:cubicBezTo>
                  <a:pt x="225" y="182"/>
                  <a:pt x="224" y="185"/>
                  <a:pt x="223" y="189"/>
                </a:cubicBezTo>
                <a:cubicBezTo>
                  <a:pt x="218" y="186"/>
                  <a:pt x="215" y="182"/>
                  <a:pt x="210" y="180"/>
                </a:cubicBezTo>
                <a:cubicBezTo>
                  <a:pt x="206" y="188"/>
                  <a:pt x="199" y="195"/>
                  <a:pt x="191" y="198"/>
                </a:cubicBezTo>
                <a:cubicBezTo>
                  <a:pt x="185" y="200"/>
                  <a:pt x="180" y="206"/>
                  <a:pt x="173" y="208"/>
                </a:cubicBezTo>
                <a:cubicBezTo>
                  <a:pt x="169" y="210"/>
                  <a:pt x="164" y="211"/>
                  <a:pt x="160" y="212"/>
                </a:cubicBezTo>
                <a:cubicBezTo>
                  <a:pt x="164" y="219"/>
                  <a:pt x="168" y="227"/>
                  <a:pt x="171" y="235"/>
                </a:cubicBezTo>
                <a:cubicBezTo>
                  <a:pt x="174" y="240"/>
                  <a:pt x="177" y="242"/>
                  <a:pt x="183" y="243"/>
                </a:cubicBezTo>
                <a:cubicBezTo>
                  <a:pt x="183" y="247"/>
                  <a:pt x="181" y="252"/>
                  <a:pt x="182" y="257"/>
                </a:cubicBezTo>
                <a:cubicBezTo>
                  <a:pt x="184" y="255"/>
                  <a:pt x="188" y="253"/>
                  <a:pt x="191" y="253"/>
                </a:cubicBezTo>
                <a:cubicBezTo>
                  <a:pt x="192" y="257"/>
                  <a:pt x="191" y="263"/>
                  <a:pt x="194" y="265"/>
                </a:cubicBezTo>
                <a:cubicBezTo>
                  <a:pt x="195" y="266"/>
                  <a:pt x="197" y="267"/>
                  <a:pt x="199" y="268"/>
                </a:cubicBezTo>
                <a:cubicBezTo>
                  <a:pt x="200" y="270"/>
                  <a:pt x="200" y="271"/>
                  <a:pt x="201" y="272"/>
                </a:cubicBezTo>
                <a:cubicBezTo>
                  <a:pt x="201" y="273"/>
                  <a:pt x="201" y="273"/>
                  <a:pt x="201" y="273"/>
                </a:cubicBezTo>
                <a:cubicBezTo>
                  <a:pt x="201" y="273"/>
                  <a:pt x="201" y="273"/>
                  <a:pt x="201" y="273"/>
                </a:cubicBezTo>
                <a:cubicBezTo>
                  <a:pt x="198" y="277"/>
                  <a:pt x="195" y="282"/>
                  <a:pt x="195" y="287"/>
                </a:cubicBezTo>
                <a:cubicBezTo>
                  <a:pt x="195" y="286"/>
                  <a:pt x="194" y="285"/>
                  <a:pt x="193" y="285"/>
                </a:cubicBezTo>
                <a:cubicBezTo>
                  <a:pt x="191" y="284"/>
                  <a:pt x="190" y="285"/>
                  <a:pt x="189" y="287"/>
                </a:cubicBezTo>
                <a:cubicBezTo>
                  <a:pt x="185" y="290"/>
                  <a:pt x="179" y="294"/>
                  <a:pt x="177" y="298"/>
                </a:cubicBezTo>
                <a:cubicBezTo>
                  <a:pt x="180" y="300"/>
                  <a:pt x="182" y="301"/>
                  <a:pt x="183" y="304"/>
                </a:cubicBezTo>
                <a:cubicBezTo>
                  <a:pt x="184" y="307"/>
                  <a:pt x="186" y="311"/>
                  <a:pt x="186" y="315"/>
                </a:cubicBezTo>
                <a:cubicBezTo>
                  <a:pt x="184" y="314"/>
                  <a:pt x="182" y="313"/>
                  <a:pt x="180" y="312"/>
                </a:cubicBezTo>
                <a:cubicBezTo>
                  <a:pt x="179" y="312"/>
                  <a:pt x="178" y="311"/>
                  <a:pt x="177" y="312"/>
                </a:cubicBezTo>
                <a:cubicBezTo>
                  <a:pt x="176" y="312"/>
                  <a:pt x="175" y="313"/>
                  <a:pt x="175" y="313"/>
                </a:cubicBezTo>
                <a:cubicBezTo>
                  <a:pt x="172" y="314"/>
                  <a:pt x="170" y="313"/>
                  <a:pt x="167" y="312"/>
                </a:cubicBezTo>
                <a:cubicBezTo>
                  <a:pt x="165" y="310"/>
                  <a:pt x="164" y="310"/>
                  <a:pt x="161" y="311"/>
                </a:cubicBezTo>
                <a:cubicBezTo>
                  <a:pt x="156" y="313"/>
                  <a:pt x="152" y="316"/>
                  <a:pt x="148" y="319"/>
                </a:cubicBezTo>
                <a:cubicBezTo>
                  <a:pt x="144" y="321"/>
                  <a:pt x="139" y="327"/>
                  <a:pt x="135" y="324"/>
                </a:cubicBezTo>
                <a:cubicBezTo>
                  <a:pt x="133" y="323"/>
                  <a:pt x="127" y="316"/>
                  <a:pt x="124" y="317"/>
                </a:cubicBezTo>
                <a:cubicBezTo>
                  <a:pt x="123" y="317"/>
                  <a:pt x="122" y="320"/>
                  <a:pt x="122" y="320"/>
                </a:cubicBezTo>
                <a:cubicBezTo>
                  <a:pt x="120" y="322"/>
                  <a:pt x="119" y="324"/>
                  <a:pt x="117" y="325"/>
                </a:cubicBezTo>
                <a:cubicBezTo>
                  <a:pt x="116" y="325"/>
                  <a:pt x="113" y="327"/>
                  <a:pt x="112" y="327"/>
                </a:cubicBezTo>
                <a:cubicBezTo>
                  <a:pt x="110" y="327"/>
                  <a:pt x="109" y="325"/>
                  <a:pt x="108" y="324"/>
                </a:cubicBezTo>
                <a:cubicBezTo>
                  <a:pt x="106" y="323"/>
                  <a:pt x="104" y="321"/>
                  <a:pt x="102" y="321"/>
                </a:cubicBezTo>
                <a:cubicBezTo>
                  <a:pt x="101" y="320"/>
                  <a:pt x="97" y="321"/>
                  <a:pt x="95" y="321"/>
                </a:cubicBezTo>
                <a:cubicBezTo>
                  <a:pt x="94" y="320"/>
                  <a:pt x="94" y="320"/>
                  <a:pt x="94" y="320"/>
                </a:cubicBezTo>
                <a:cubicBezTo>
                  <a:pt x="92" y="319"/>
                  <a:pt x="89" y="320"/>
                  <a:pt x="86" y="318"/>
                </a:cubicBezTo>
                <a:cubicBezTo>
                  <a:pt x="83" y="317"/>
                  <a:pt x="83" y="313"/>
                  <a:pt x="81" y="310"/>
                </a:cubicBezTo>
                <a:cubicBezTo>
                  <a:pt x="79" y="308"/>
                  <a:pt x="78" y="311"/>
                  <a:pt x="75" y="312"/>
                </a:cubicBezTo>
                <a:cubicBezTo>
                  <a:pt x="73" y="313"/>
                  <a:pt x="71" y="315"/>
                  <a:pt x="69" y="315"/>
                </a:cubicBezTo>
                <a:cubicBezTo>
                  <a:pt x="67" y="315"/>
                  <a:pt x="65" y="314"/>
                  <a:pt x="64" y="315"/>
                </a:cubicBezTo>
                <a:cubicBezTo>
                  <a:pt x="60" y="316"/>
                  <a:pt x="59" y="319"/>
                  <a:pt x="54" y="318"/>
                </a:cubicBezTo>
                <a:cubicBezTo>
                  <a:pt x="52" y="317"/>
                  <a:pt x="48" y="316"/>
                  <a:pt x="46" y="320"/>
                </a:cubicBezTo>
                <a:cubicBezTo>
                  <a:pt x="43" y="318"/>
                  <a:pt x="41" y="317"/>
                  <a:pt x="38" y="316"/>
                </a:cubicBezTo>
                <a:cubicBezTo>
                  <a:pt x="37" y="315"/>
                  <a:pt x="37" y="315"/>
                  <a:pt x="37" y="315"/>
                </a:cubicBezTo>
                <a:cubicBezTo>
                  <a:pt x="38" y="314"/>
                  <a:pt x="38" y="314"/>
                  <a:pt x="38" y="314"/>
                </a:cubicBezTo>
                <a:cubicBezTo>
                  <a:pt x="38" y="310"/>
                  <a:pt x="38" y="306"/>
                  <a:pt x="38" y="301"/>
                </a:cubicBezTo>
                <a:cubicBezTo>
                  <a:pt x="38" y="296"/>
                  <a:pt x="38" y="290"/>
                  <a:pt x="40" y="285"/>
                </a:cubicBezTo>
                <a:cubicBezTo>
                  <a:pt x="42" y="278"/>
                  <a:pt x="46" y="274"/>
                  <a:pt x="49" y="269"/>
                </a:cubicBezTo>
                <a:cubicBezTo>
                  <a:pt x="51" y="265"/>
                  <a:pt x="54" y="259"/>
                  <a:pt x="51" y="257"/>
                </a:cubicBezTo>
                <a:cubicBezTo>
                  <a:pt x="51" y="257"/>
                  <a:pt x="44" y="257"/>
                  <a:pt x="43" y="256"/>
                </a:cubicBezTo>
                <a:cubicBezTo>
                  <a:pt x="37" y="255"/>
                  <a:pt x="32" y="252"/>
                  <a:pt x="26" y="251"/>
                </a:cubicBezTo>
                <a:cubicBezTo>
                  <a:pt x="23" y="251"/>
                  <a:pt x="21" y="251"/>
                  <a:pt x="19" y="250"/>
                </a:cubicBezTo>
                <a:cubicBezTo>
                  <a:pt x="18" y="250"/>
                  <a:pt x="18" y="250"/>
                  <a:pt x="18" y="250"/>
                </a:cubicBezTo>
                <a:lnTo>
                  <a:pt x="18" y="24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7" name="Freeform 552"/>
          <p:cNvSpPr>
            <a:spLocks/>
          </p:cNvSpPr>
          <p:nvPr userDrawn="1"/>
        </p:nvSpPr>
        <p:spPr bwMode="auto">
          <a:xfrm>
            <a:off x="5780448" y="2631040"/>
            <a:ext cx="314917" cy="753792"/>
          </a:xfrm>
          <a:custGeom>
            <a:avLst/>
            <a:gdLst>
              <a:gd name="T0" fmla="*/ 2147483646 w 337"/>
              <a:gd name="T1" fmla="*/ 2147483646 h 809"/>
              <a:gd name="T2" fmla="*/ 2147483646 w 337"/>
              <a:gd name="T3" fmla="*/ 2147483646 h 809"/>
              <a:gd name="T4" fmla="*/ 2147483646 w 337"/>
              <a:gd name="T5" fmla="*/ 2147483646 h 809"/>
              <a:gd name="T6" fmla="*/ 2147483646 w 337"/>
              <a:gd name="T7" fmla="*/ 2147483646 h 809"/>
              <a:gd name="T8" fmla="*/ 2147483646 w 337"/>
              <a:gd name="T9" fmla="*/ 2147483646 h 809"/>
              <a:gd name="T10" fmla="*/ 2147483646 w 337"/>
              <a:gd name="T11" fmla="*/ 2147483646 h 809"/>
              <a:gd name="T12" fmla="*/ 2147483646 w 337"/>
              <a:gd name="T13" fmla="*/ 2147483646 h 809"/>
              <a:gd name="T14" fmla="*/ 2147483646 w 337"/>
              <a:gd name="T15" fmla="*/ 2147483646 h 809"/>
              <a:gd name="T16" fmla="*/ 2147483646 w 337"/>
              <a:gd name="T17" fmla="*/ 2147483646 h 809"/>
              <a:gd name="T18" fmla="*/ 2147483646 w 337"/>
              <a:gd name="T19" fmla="*/ 2147483646 h 809"/>
              <a:gd name="T20" fmla="*/ 2147483646 w 337"/>
              <a:gd name="T21" fmla="*/ 2147483646 h 809"/>
              <a:gd name="T22" fmla="*/ 2147483646 w 337"/>
              <a:gd name="T23" fmla="*/ 2147483646 h 809"/>
              <a:gd name="T24" fmla="*/ 2147483646 w 337"/>
              <a:gd name="T25" fmla="*/ 2147483646 h 809"/>
              <a:gd name="T26" fmla="*/ 2147483646 w 337"/>
              <a:gd name="T27" fmla="*/ 2147483646 h 809"/>
              <a:gd name="T28" fmla="*/ 2147483646 w 337"/>
              <a:gd name="T29" fmla="*/ 2147483646 h 809"/>
              <a:gd name="T30" fmla="*/ 2147483646 w 337"/>
              <a:gd name="T31" fmla="*/ 2147483646 h 809"/>
              <a:gd name="T32" fmla="*/ 2147483646 w 337"/>
              <a:gd name="T33" fmla="*/ 2147483646 h 809"/>
              <a:gd name="T34" fmla="*/ 2147483646 w 337"/>
              <a:gd name="T35" fmla="*/ 2147483646 h 809"/>
              <a:gd name="T36" fmla="*/ 2147483646 w 337"/>
              <a:gd name="T37" fmla="*/ 2147483646 h 809"/>
              <a:gd name="T38" fmla="*/ 2147483646 w 337"/>
              <a:gd name="T39" fmla="*/ 2147483646 h 809"/>
              <a:gd name="T40" fmla="*/ 2147483646 w 337"/>
              <a:gd name="T41" fmla="*/ 2147483646 h 809"/>
              <a:gd name="T42" fmla="*/ 2147483646 w 337"/>
              <a:gd name="T43" fmla="*/ 2147483646 h 809"/>
              <a:gd name="T44" fmla="*/ 2147483646 w 337"/>
              <a:gd name="T45" fmla="*/ 2147483646 h 809"/>
              <a:gd name="T46" fmla="*/ 2147483646 w 337"/>
              <a:gd name="T47" fmla="*/ 2147483646 h 809"/>
              <a:gd name="T48" fmla="*/ 2147483646 w 337"/>
              <a:gd name="T49" fmla="*/ 2147483646 h 809"/>
              <a:gd name="T50" fmla="*/ 2147483646 w 337"/>
              <a:gd name="T51" fmla="*/ 2147483646 h 809"/>
              <a:gd name="T52" fmla="*/ 2147483646 w 337"/>
              <a:gd name="T53" fmla="*/ 2147483646 h 809"/>
              <a:gd name="T54" fmla="*/ 2147483646 w 337"/>
              <a:gd name="T55" fmla="*/ 2147483646 h 809"/>
              <a:gd name="T56" fmla="*/ 2147483646 w 337"/>
              <a:gd name="T57" fmla="*/ 2147483646 h 809"/>
              <a:gd name="T58" fmla="*/ 2147483646 w 337"/>
              <a:gd name="T59" fmla="*/ 2147483646 h 809"/>
              <a:gd name="T60" fmla="*/ 2147483646 w 337"/>
              <a:gd name="T61" fmla="*/ 2147483646 h 809"/>
              <a:gd name="T62" fmla="*/ 2147483646 w 337"/>
              <a:gd name="T63" fmla="*/ 2147483646 h 809"/>
              <a:gd name="T64" fmla="*/ 2147483646 w 337"/>
              <a:gd name="T65" fmla="*/ 2147483646 h 809"/>
              <a:gd name="T66" fmla="*/ 2147483646 w 337"/>
              <a:gd name="T67" fmla="*/ 2147483646 h 809"/>
              <a:gd name="T68" fmla="*/ 2147483646 w 337"/>
              <a:gd name="T69" fmla="*/ 2147483646 h 809"/>
              <a:gd name="T70" fmla="*/ 2147483646 w 337"/>
              <a:gd name="T71" fmla="*/ 2147483646 h 809"/>
              <a:gd name="T72" fmla="*/ 2147483646 w 337"/>
              <a:gd name="T73" fmla="*/ 2147483646 h 809"/>
              <a:gd name="T74" fmla="*/ 2147483646 w 337"/>
              <a:gd name="T75" fmla="*/ 2147483646 h 809"/>
              <a:gd name="T76" fmla="*/ 2147483646 w 337"/>
              <a:gd name="T77" fmla="*/ 2147483646 h 809"/>
              <a:gd name="T78" fmla="*/ 2147483646 w 337"/>
              <a:gd name="T79" fmla="*/ 2147483646 h 809"/>
              <a:gd name="T80" fmla="*/ 2147483646 w 337"/>
              <a:gd name="T81" fmla="*/ 2147483646 h 809"/>
              <a:gd name="T82" fmla="*/ 2147483646 w 337"/>
              <a:gd name="T83" fmla="*/ 2147483646 h 809"/>
              <a:gd name="T84" fmla="*/ 2147483646 w 337"/>
              <a:gd name="T85" fmla="*/ 2147483646 h 809"/>
              <a:gd name="T86" fmla="*/ 2147483646 w 337"/>
              <a:gd name="T87" fmla="*/ 2147483646 h 809"/>
              <a:gd name="T88" fmla="*/ 2147483646 w 337"/>
              <a:gd name="T89" fmla="*/ 2147483646 h 809"/>
              <a:gd name="T90" fmla="*/ 2147483646 w 337"/>
              <a:gd name="T91" fmla="*/ 2147483646 h 809"/>
              <a:gd name="T92" fmla="*/ 2147483646 w 337"/>
              <a:gd name="T93" fmla="*/ 2147483646 h 809"/>
              <a:gd name="T94" fmla="*/ 2147483646 w 337"/>
              <a:gd name="T95" fmla="*/ 2147483646 h 809"/>
              <a:gd name="T96" fmla="*/ 2147483646 w 337"/>
              <a:gd name="T97" fmla="*/ 2147483646 h 80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37"/>
              <a:gd name="T148" fmla="*/ 0 h 809"/>
              <a:gd name="T149" fmla="*/ 337 w 337"/>
              <a:gd name="T150" fmla="*/ 809 h 80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37" h="809">
                <a:moveTo>
                  <a:pt x="1" y="617"/>
                </a:moveTo>
                <a:cubicBezTo>
                  <a:pt x="3" y="619"/>
                  <a:pt x="5" y="622"/>
                  <a:pt x="6" y="625"/>
                </a:cubicBezTo>
                <a:cubicBezTo>
                  <a:pt x="15" y="620"/>
                  <a:pt x="13" y="608"/>
                  <a:pt x="15" y="598"/>
                </a:cubicBezTo>
                <a:cubicBezTo>
                  <a:pt x="18" y="584"/>
                  <a:pt x="23" y="585"/>
                  <a:pt x="31" y="579"/>
                </a:cubicBezTo>
                <a:cubicBezTo>
                  <a:pt x="49" y="565"/>
                  <a:pt x="36" y="536"/>
                  <a:pt x="31" y="516"/>
                </a:cubicBezTo>
                <a:cubicBezTo>
                  <a:pt x="37" y="518"/>
                  <a:pt x="43" y="508"/>
                  <a:pt x="43" y="501"/>
                </a:cubicBezTo>
                <a:cubicBezTo>
                  <a:pt x="43" y="490"/>
                  <a:pt x="33" y="486"/>
                  <a:pt x="29" y="477"/>
                </a:cubicBezTo>
                <a:cubicBezTo>
                  <a:pt x="22" y="461"/>
                  <a:pt x="34" y="440"/>
                  <a:pt x="28" y="423"/>
                </a:cubicBezTo>
                <a:cubicBezTo>
                  <a:pt x="24" y="412"/>
                  <a:pt x="19" y="415"/>
                  <a:pt x="19" y="402"/>
                </a:cubicBezTo>
                <a:cubicBezTo>
                  <a:pt x="20" y="391"/>
                  <a:pt x="25" y="376"/>
                  <a:pt x="27" y="364"/>
                </a:cubicBezTo>
                <a:cubicBezTo>
                  <a:pt x="29" y="353"/>
                  <a:pt x="29" y="336"/>
                  <a:pt x="42" y="334"/>
                </a:cubicBezTo>
                <a:cubicBezTo>
                  <a:pt x="49" y="333"/>
                  <a:pt x="62" y="338"/>
                  <a:pt x="68" y="341"/>
                </a:cubicBezTo>
                <a:cubicBezTo>
                  <a:pt x="78" y="329"/>
                  <a:pt x="64" y="320"/>
                  <a:pt x="63" y="309"/>
                </a:cubicBezTo>
                <a:cubicBezTo>
                  <a:pt x="62" y="296"/>
                  <a:pt x="70" y="276"/>
                  <a:pt x="74" y="263"/>
                </a:cubicBezTo>
                <a:cubicBezTo>
                  <a:pt x="76" y="254"/>
                  <a:pt x="82" y="242"/>
                  <a:pt x="82" y="233"/>
                </a:cubicBezTo>
                <a:cubicBezTo>
                  <a:pt x="82" y="226"/>
                  <a:pt x="76" y="222"/>
                  <a:pt x="76" y="217"/>
                </a:cubicBezTo>
                <a:cubicBezTo>
                  <a:pt x="75" y="194"/>
                  <a:pt x="91" y="206"/>
                  <a:pt x="102" y="208"/>
                </a:cubicBezTo>
                <a:cubicBezTo>
                  <a:pt x="102" y="187"/>
                  <a:pt x="114" y="158"/>
                  <a:pt x="127" y="142"/>
                </a:cubicBezTo>
                <a:cubicBezTo>
                  <a:pt x="124" y="141"/>
                  <a:pt x="121" y="138"/>
                  <a:pt x="117" y="137"/>
                </a:cubicBezTo>
                <a:cubicBezTo>
                  <a:pt x="121" y="131"/>
                  <a:pt x="128" y="125"/>
                  <a:pt x="131" y="118"/>
                </a:cubicBezTo>
                <a:cubicBezTo>
                  <a:pt x="133" y="111"/>
                  <a:pt x="132" y="105"/>
                  <a:pt x="135" y="100"/>
                </a:cubicBezTo>
                <a:cubicBezTo>
                  <a:pt x="141" y="90"/>
                  <a:pt x="155" y="72"/>
                  <a:pt x="166" y="84"/>
                </a:cubicBezTo>
                <a:cubicBezTo>
                  <a:pt x="174" y="72"/>
                  <a:pt x="168" y="52"/>
                  <a:pt x="182" y="46"/>
                </a:cubicBezTo>
                <a:cubicBezTo>
                  <a:pt x="190" y="42"/>
                  <a:pt x="194" y="47"/>
                  <a:pt x="201" y="50"/>
                </a:cubicBezTo>
                <a:cubicBezTo>
                  <a:pt x="208" y="52"/>
                  <a:pt x="214" y="53"/>
                  <a:pt x="222" y="52"/>
                </a:cubicBezTo>
                <a:cubicBezTo>
                  <a:pt x="207" y="40"/>
                  <a:pt x="245" y="26"/>
                  <a:pt x="220" y="13"/>
                </a:cubicBezTo>
                <a:cubicBezTo>
                  <a:pt x="225" y="6"/>
                  <a:pt x="237" y="0"/>
                  <a:pt x="245" y="6"/>
                </a:cubicBezTo>
                <a:cubicBezTo>
                  <a:pt x="246" y="12"/>
                  <a:pt x="246" y="12"/>
                  <a:pt x="246" y="12"/>
                </a:cubicBezTo>
                <a:cubicBezTo>
                  <a:pt x="253" y="26"/>
                  <a:pt x="264" y="34"/>
                  <a:pt x="272" y="46"/>
                </a:cubicBezTo>
                <a:cubicBezTo>
                  <a:pt x="276" y="43"/>
                  <a:pt x="279" y="44"/>
                  <a:pt x="283" y="43"/>
                </a:cubicBezTo>
                <a:cubicBezTo>
                  <a:pt x="283" y="48"/>
                  <a:pt x="284" y="52"/>
                  <a:pt x="285" y="57"/>
                </a:cubicBezTo>
                <a:cubicBezTo>
                  <a:pt x="286" y="56"/>
                  <a:pt x="290" y="55"/>
                  <a:pt x="292" y="52"/>
                </a:cubicBezTo>
                <a:cubicBezTo>
                  <a:pt x="297" y="71"/>
                  <a:pt x="317" y="55"/>
                  <a:pt x="313" y="80"/>
                </a:cubicBezTo>
                <a:cubicBezTo>
                  <a:pt x="315" y="80"/>
                  <a:pt x="318" y="80"/>
                  <a:pt x="320" y="80"/>
                </a:cubicBezTo>
                <a:cubicBezTo>
                  <a:pt x="321" y="91"/>
                  <a:pt x="316" y="105"/>
                  <a:pt x="316" y="116"/>
                </a:cubicBezTo>
                <a:cubicBezTo>
                  <a:pt x="315" y="128"/>
                  <a:pt x="315" y="140"/>
                  <a:pt x="316" y="152"/>
                </a:cubicBezTo>
                <a:cubicBezTo>
                  <a:pt x="319" y="153"/>
                  <a:pt x="321" y="155"/>
                  <a:pt x="323" y="156"/>
                </a:cubicBezTo>
                <a:cubicBezTo>
                  <a:pt x="320" y="159"/>
                  <a:pt x="320" y="164"/>
                  <a:pt x="319" y="166"/>
                </a:cubicBezTo>
                <a:cubicBezTo>
                  <a:pt x="321" y="166"/>
                  <a:pt x="324" y="169"/>
                  <a:pt x="327" y="168"/>
                </a:cubicBezTo>
                <a:cubicBezTo>
                  <a:pt x="321" y="183"/>
                  <a:pt x="314" y="184"/>
                  <a:pt x="322" y="199"/>
                </a:cubicBezTo>
                <a:cubicBezTo>
                  <a:pt x="326" y="208"/>
                  <a:pt x="331" y="215"/>
                  <a:pt x="336" y="223"/>
                </a:cubicBezTo>
                <a:cubicBezTo>
                  <a:pt x="337" y="226"/>
                  <a:pt x="337" y="226"/>
                  <a:pt x="337" y="226"/>
                </a:cubicBezTo>
                <a:cubicBezTo>
                  <a:pt x="335" y="225"/>
                  <a:pt x="335" y="225"/>
                  <a:pt x="335" y="225"/>
                </a:cubicBezTo>
                <a:cubicBezTo>
                  <a:pt x="333" y="224"/>
                  <a:pt x="331" y="223"/>
                  <a:pt x="331" y="223"/>
                </a:cubicBezTo>
                <a:cubicBezTo>
                  <a:pt x="317" y="227"/>
                  <a:pt x="317" y="227"/>
                  <a:pt x="317" y="227"/>
                </a:cubicBezTo>
                <a:cubicBezTo>
                  <a:pt x="306" y="228"/>
                  <a:pt x="306" y="228"/>
                  <a:pt x="306" y="228"/>
                </a:cubicBezTo>
                <a:cubicBezTo>
                  <a:pt x="294" y="229"/>
                  <a:pt x="294" y="229"/>
                  <a:pt x="294" y="229"/>
                </a:cubicBezTo>
                <a:cubicBezTo>
                  <a:pt x="287" y="233"/>
                  <a:pt x="287" y="233"/>
                  <a:pt x="287" y="233"/>
                </a:cubicBezTo>
                <a:cubicBezTo>
                  <a:pt x="287" y="233"/>
                  <a:pt x="278" y="240"/>
                  <a:pt x="279" y="244"/>
                </a:cubicBezTo>
                <a:cubicBezTo>
                  <a:pt x="280" y="249"/>
                  <a:pt x="278" y="251"/>
                  <a:pt x="273" y="256"/>
                </a:cubicBezTo>
                <a:cubicBezTo>
                  <a:pt x="269" y="261"/>
                  <a:pt x="264" y="260"/>
                  <a:pt x="268" y="263"/>
                </a:cubicBezTo>
                <a:cubicBezTo>
                  <a:pt x="271" y="266"/>
                  <a:pt x="268" y="273"/>
                  <a:pt x="268" y="273"/>
                </a:cubicBezTo>
                <a:cubicBezTo>
                  <a:pt x="268" y="273"/>
                  <a:pt x="263" y="277"/>
                  <a:pt x="262" y="286"/>
                </a:cubicBezTo>
                <a:cubicBezTo>
                  <a:pt x="261" y="294"/>
                  <a:pt x="261" y="294"/>
                  <a:pt x="266" y="296"/>
                </a:cubicBezTo>
                <a:cubicBezTo>
                  <a:pt x="271" y="299"/>
                  <a:pt x="271" y="305"/>
                  <a:pt x="271" y="305"/>
                </a:cubicBezTo>
                <a:cubicBezTo>
                  <a:pt x="271" y="305"/>
                  <a:pt x="267" y="307"/>
                  <a:pt x="269" y="310"/>
                </a:cubicBezTo>
                <a:cubicBezTo>
                  <a:pt x="271" y="314"/>
                  <a:pt x="277" y="321"/>
                  <a:pt x="271" y="325"/>
                </a:cubicBezTo>
                <a:cubicBezTo>
                  <a:pt x="265" y="329"/>
                  <a:pt x="260" y="333"/>
                  <a:pt x="257" y="336"/>
                </a:cubicBezTo>
                <a:cubicBezTo>
                  <a:pt x="254" y="339"/>
                  <a:pt x="253" y="341"/>
                  <a:pt x="250" y="346"/>
                </a:cubicBezTo>
                <a:cubicBezTo>
                  <a:pt x="247" y="351"/>
                  <a:pt x="243" y="352"/>
                  <a:pt x="243" y="352"/>
                </a:cubicBezTo>
                <a:cubicBezTo>
                  <a:pt x="243" y="352"/>
                  <a:pt x="240" y="356"/>
                  <a:pt x="237" y="360"/>
                </a:cubicBezTo>
                <a:cubicBezTo>
                  <a:pt x="235" y="365"/>
                  <a:pt x="235" y="362"/>
                  <a:pt x="230" y="367"/>
                </a:cubicBezTo>
                <a:cubicBezTo>
                  <a:pt x="226" y="372"/>
                  <a:pt x="217" y="368"/>
                  <a:pt x="218" y="374"/>
                </a:cubicBezTo>
                <a:cubicBezTo>
                  <a:pt x="218" y="381"/>
                  <a:pt x="217" y="382"/>
                  <a:pt x="212" y="382"/>
                </a:cubicBezTo>
                <a:cubicBezTo>
                  <a:pt x="206" y="382"/>
                  <a:pt x="205" y="380"/>
                  <a:pt x="205" y="380"/>
                </a:cubicBezTo>
                <a:cubicBezTo>
                  <a:pt x="205" y="380"/>
                  <a:pt x="197" y="386"/>
                  <a:pt x="192" y="384"/>
                </a:cubicBezTo>
                <a:cubicBezTo>
                  <a:pt x="188" y="382"/>
                  <a:pt x="187" y="383"/>
                  <a:pt x="187" y="383"/>
                </a:cubicBezTo>
                <a:cubicBezTo>
                  <a:pt x="187" y="383"/>
                  <a:pt x="189" y="389"/>
                  <a:pt x="187" y="395"/>
                </a:cubicBezTo>
                <a:cubicBezTo>
                  <a:pt x="184" y="400"/>
                  <a:pt x="179" y="399"/>
                  <a:pt x="178" y="404"/>
                </a:cubicBezTo>
                <a:cubicBezTo>
                  <a:pt x="178" y="408"/>
                  <a:pt x="178" y="410"/>
                  <a:pt x="173" y="413"/>
                </a:cubicBezTo>
                <a:cubicBezTo>
                  <a:pt x="168" y="415"/>
                  <a:pt x="162" y="416"/>
                  <a:pt x="165" y="419"/>
                </a:cubicBezTo>
                <a:cubicBezTo>
                  <a:pt x="168" y="422"/>
                  <a:pt x="168" y="424"/>
                  <a:pt x="168" y="424"/>
                </a:cubicBezTo>
                <a:cubicBezTo>
                  <a:pt x="163" y="429"/>
                  <a:pt x="163" y="429"/>
                  <a:pt x="163" y="429"/>
                </a:cubicBezTo>
                <a:cubicBezTo>
                  <a:pt x="163" y="429"/>
                  <a:pt x="167" y="428"/>
                  <a:pt x="164" y="434"/>
                </a:cubicBezTo>
                <a:cubicBezTo>
                  <a:pt x="161" y="441"/>
                  <a:pt x="160" y="440"/>
                  <a:pt x="163" y="441"/>
                </a:cubicBezTo>
                <a:cubicBezTo>
                  <a:pt x="167" y="443"/>
                  <a:pt x="165" y="448"/>
                  <a:pt x="165" y="448"/>
                </a:cubicBezTo>
                <a:cubicBezTo>
                  <a:pt x="165" y="448"/>
                  <a:pt x="151" y="456"/>
                  <a:pt x="156" y="462"/>
                </a:cubicBezTo>
                <a:cubicBezTo>
                  <a:pt x="162" y="469"/>
                  <a:pt x="161" y="466"/>
                  <a:pt x="157" y="475"/>
                </a:cubicBezTo>
                <a:cubicBezTo>
                  <a:pt x="154" y="485"/>
                  <a:pt x="154" y="479"/>
                  <a:pt x="156" y="485"/>
                </a:cubicBezTo>
                <a:cubicBezTo>
                  <a:pt x="157" y="492"/>
                  <a:pt x="156" y="500"/>
                  <a:pt x="158" y="507"/>
                </a:cubicBezTo>
                <a:cubicBezTo>
                  <a:pt x="159" y="514"/>
                  <a:pt x="155" y="522"/>
                  <a:pt x="158" y="523"/>
                </a:cubicBezTo>
                <a:cubicBezTo>
                  <a:pt x="161" y="525"/>
                  <a:pt x="163" y="529"/>
                  <a:pt x="163" y="529"/>
                </a:cubicBezTo>
                <a:cubicBezTo>
                  <a:pt x="157" y="538"/>
                  <a:pt x="157" y="538"/>
                  <a:pt x="157" y="538"/>
                </a:cubicBezTo>
                <a:cubicBezTo>
                  <a:pt x="157" y="538"/>
                  <a:pt x="159" y="536"/>
                  <a:pt x="161" y="540"/>
                </a:cubicBezTo>
                <a:cubicBezTo>
                  <a:pt x="162" y="544"/>
                  <a:pt x="164" y="539"/>
                  <a:pt x="164" y="539"/>
                </a:cubicBezTo>
                <a:cubicBezTo>
                  <a:pt x="164" y="539"/>
                  <a:pt x="168" y="535"/>
                  <a:pt x="171" y="537"/>
                </a:cubicBezTo>
                <a:cubicBezTo>
                  <a:pt x="174" y="538"/>
                  <a:pt x="174" y="537"/>
                  <a:pt x="178" y="541"/>
                </a:cubicBezTo>
                <a:cubicBezTo>
                  <a:pt x="182" y="545"/>
                  <a:pt x="182" y="541"/>
                  <a:pt x="187" y="549"/>
                </a:cubicBezTo>
                <a:cubicBezTo>
                  <a:pt x="192" y="557"/>
                  <a:pt x="189" y="559"/>
                  <a:pt x="192" y="563"/>
                </a:cubicBezTo>
                <a:cubicBezTo>
                  <a:pt x="194" y="568"/>
                  <a:pt x="192" y="569"/>
                  <a:pt x="195" y="572"/>
                </a:cubicBezTo>
                <a:cubicBezTo>
                  <a:pt x="198" y="576"/>
                  <a:pt x="197" y="580"/>
                  <a:pt x="197" y="580"/>
                </a:cubicBezTo>
                <a:cubicBezTo>
                  <a:pt x="197" y="580"/>
                  <a:pt x="189" y="585"/>
                  <a:pt x="189" y="588"/>
                </a:cubicBezTo>
                <a:cubicBezTo>
                  <a:pt x="188" y="592"/>
                  <a:pt x="183" y="595"/>
                  <a:pt x="178" y="595"/>
                </a:cubicBezTo>
                <a:cubicBezTo>
                  <a:pt x="174" y="595"/>
                  <a:pt x="172" y="592"/>
                  <a:pt x="168" y="593"/>
                </a:cubicBezTo>
                <a:cubicBezTo>
                  <a:pt x="164" y="593"/>
                  <a:pt x="160" y="592"/>
                  <a:pt x="157" y="589"/>
                </a:cubicBezTo>
                <a:cubicBezTo>
                  <a:pt x="155" y="587"/>
                  <a:pt x="151" y="591"/>
                  <a:pt x="151" y="591"/>
                </a:cubicBezTo>
                <a:cubicBezTo>
                  <a:pt x="151" y="591"/>
                  <a:pt x="146" y="595"/>
                  <a:pt x="141" y="592"/>
                </a:cubicBezTo>
                <a:cubicBezTo>
                  <a:pt x="136" y="590"/>
                  <a:pt x="132" y="590"/>
                  <a:pt x="130" y="591"/>
                </a:cubicBezTo>
                <a:cubicBezTo>
                  <a:pt x="128" y="591"/>
                  <a:pt x="124" y="590"/>
                  <a:pt x="124" y="590"/>
                </a:cubicBezTo>
                <a:cubicBezTo>
                  <a:pt x="124" y="590"/>
                  <a:pt x="137" y="597"/>
                  <a:pt x="142" y="596"/>
                </a:cubicBezTo>
                <a:cubicBezTo>
                  <a:pt x="146" y="596"/>
                  <a:pt x="147" y="597"/>
                  <a:pt x="149" y="597"/>
                </a:cubicBezTo>
                <a:cubicBezTo>
                  <a:pt x="151" y="597"/>
                  <a:pt x="156" y="596"/>
                  <a:pt x="156" y="596"/>
                </a:cubicBezTo>
                <a:cubicBezTo>
                  <a:pt x="156" y="596"/>
                  <a:pt x="156" y="598"/>
                  <a:pt x="159" y="603"/>
                </a:cubicBezTo>
                <a:cubicBezTo>
                  <a:pt x="162" y="608"/>
                  <a:pt x="162" y="600"/>
                  <a:pt x="166" y="603"/>
                </a:cubicBezTo>
                <a:cubicBezTo>
                  <a:pt x="170" y="606"/>
                  <a:pt x="172" y="604"/>
                  <a:pt x="172" y="604"/>
                </a:cubicBezTo>
                <a:cubicBezTo>
                  <a:pt x="179" y="603"/>
                  <a:pt x="179" y="603"/>
                  <a:pt x="179" y="603"/>
                </a:cubicBezTo>
                <a:cubicBezTo>
                  <a:pt x="179" y="603"/>
                  <a:pt x="181" y="601"/>
                  <a:pt x="183" y="606"/>
                </a:cubicBezTo>
                <a:cubicBezTo>
                  <a:pt x="186" y="610"/>
                  <a:pt x="180" y="618"/>
                  <a:pt x="180" y="618"/>
                </a:cubicBezTo>
                <a:cubicBezTo>
                  <a:pt x="180" y="618"/>
                  <a:pt x="172" y="621"/>
                  <a:pt x="169" y="622"/>
                </a:cubicBezTo>
                <a:cubicBezTo>
                  <a:pt x="167" y="623"/>
                  <a:pt x="160" y="613"/>
                  <a:pt x="162" y="619"/>
                </a:cubicBezTo>
                <a:cubicBezTo>
                  <a:pt x="163" y="624"/>
                  <a:pt x="162" y="630"/>
                  <a:pt x="159" y="629"/>
                </a:cubicBezTo>
                <a:cubicBezTo>
                  <a:pt x="155" y="629"/>
                  <a:pt x="155" y="629"/>
                  <a:pt x="155" y="629"/>
                </a:cubicBezTo>
                <a:cubicBezTo>
                  <a:pt x="155" y="629"/>
                  <a:pt x="147" y="631"/>
                  <a:pt x="144" y="634"/>
                </a:cubicBezTo>
                <a:cubicBezTo>
                  <a:pt x="142" y="637"/>
                  <a:pt x="140" y="637"/>
                  <a:pt x="137" y="636"/>
                </a:cubicBezTo>
                <a:cubicBezTo>
                  <a:pt x="135" y="634"/>
                  <a:pt x="129" y="637"/>
                  <a:pt x="134" y="638"/>
                </a:cubicBezTo>
                <a:cubicBezTo>
                  <a:pt x="139" y="639"/>
                  <a:pt x="143" y="637"/>
                  <a:pt x="146" y="640"/>
                </a:cubicBezTo>
                <a:cubicBezTo>
                  <a:pt x="149" y="643"/>
                  <a:pt x="145" y="647"/>
                  <a:pt x="145" y="647"/>
                </a:cubicBezTo>
                <a:cubicBezTo>
                  <a:pt x="145" y="647"/>
                  <a:pt x="141" y="649"/>
                  <a:pt x="139" y="649"/>
                </a:cubicBezTo>
                <a:cubicBezTo>
                  <a:pt x="138" y="649"/>
                  <a:pt x="133" y="643"/>
                  <a:pt x="133" y="649"/>
                </a:cubicBezTo>
                <a:cubicBezTo>
                  <a:pt x="134" y="655"/>
                  <a:pt x="137" y="653"/>
                  <a:pt x="139" y="662"/>
                </a:cubicBezTo>
                <a:cubicBezTo>
                  <a:pt x="142" y="672"/>
                  <a:pt x="138" y="679"/>
                  <a:pt x="140" y="680"/>
                </a:cubicBezTo>
                <a:cubicBezTo>
                  <a:pt x="142" y="681"/>
                  <a:pt x="141" y="679"/>
                  <a:pt x="143" y="684"/>
                </a:cubicBezTo>
                <a:cubicBezTo>
                  <a:pt x="145" y="689"/>
                  <a:pt x="144" y="675"/>
                  <a:pt x="141" y="696"/>
                </a:cubicBezTo>
                <a:cubicBezTo>
                  <a:pt x="137" y="716"/>
                  <a:pt x="133" y="719"/>
                  <a:pt x="132" y="731"/>
                </a:cubicBezTo>
                <a:cubicBezTo>
                  <a:pt x="131" y="743"/>
                  <a:pt x="130" y="748"/>
                  <a:pt x="125" y="756"/>
                </a:cubicBezTo>
                <a:cubicBezTo>
                  <a:pt x="120" y="763"/>
                  <a:pt x="118" y="759"/>
                  <a:pt x="113" y="760"/>
                </a:cubicBezTo>
                <a:cubicBezTo>
                  <a:pt x="108" y="760"/>
                  <a:pt x="107" y="764"/>
                  <a:pt x="103" y="761"/>
                </a:cubicBezTo>
                <a:cubicBezTo>
                  <a:pt x="99" y="758"/>
                  <a:pt x="100" y="749"/>
                  <a:pt x="95" y="756"/>
                </a:cubicBezTo>
                <a:cubicBezTo>
                  <a:pt x="91" y="763"/>
                  <a:pt x="87" y="768"/>
                  <a:pt x="87" y="768"/>
                </a:cubicBezTo>
                <a:cubicBezTo>
                  <a:pt x="87" y="768"/>
                  <a:pt x="76" y="774"/>
                  <a:pt x="80" y="782"/>
                </a:cubicBezTo>
                <a:cubicBezTo>
                  <a:pt x="84" y="789"/>
                  <a:pt x="88" y="796"/>
                  <a:pt x="77" y="796"/>
                </a:cubicBezTo>
                <a:cubicBezTo>
                  <a:pt x="67" y="795"/>
                  <a:pt x="67" y="789"/>
                  <a:pt x="62" y="796"/>
                </a:cubicBezTo>
                <a:cubicBezTo>
                  <a:pt x="57" y="803"/>
                  <a:pt x="55" y="809"/>
                  <a:pt x="50" y="803"/>
                </a:cubicBezTo>
                <a:cubicBezTo>
                  <a:pt x="45" y="797"/>
                  <a:pt x="42" y="799"/>
                  <a:pt x="42" y="796"/>
                </a:cubicBezTo>
                <a:cubicBezTo>
                  <a:pt x="43" y="793"/>
                  <a:pt x="47" y="783"/>
                  <a:pt x="46" y="778"/>
                </a:cubicBezTo>
                <a:cubicBezTo>
                  <a:pt x="45" y="773"/>
                  <a:pt x="42" y="769"/>
                  <a:pt x="41" y="767"/>
                </a:cubicBezTo>
                <a:cubicBezTo>
                  <a:pt x="40" y="765"/>
                  <a:pt x="28" y="765"/>
                  <a:pt x="36" y="761"/>
                </a:cubicBezTo>
                <a:cubicBezTo>
                  <a:pt x="45" y="758"/>
                  <a:pt x="47" y="760"/>
                  <a:pt x="46" y="755"/>
                </a:cubicBezTo>
                <a:cubicBezTo>
                  <a:pt x="45" y="749"/>
                  <a:pt x="40" y="751"/>
                  <a:pt x="43" y="746"/>
                </a:cubicBezTo>
                <a:cubicBezTo>
                  <a:pt x="47" y="741"/>
                  <a:pt x="51" y="741"/>
                  <a:pt x="46" y="737"/>
                </a:cubicBezTo>
                <a:cubicBezTo>
                  <a:pt x="40" y="733"/>
                  <a:pt x="25" y="724"/>
                  <a:pt x="26" y="714"/>
                </a:cubicBezTo>
                <a:cubicBezTo>
                  <a:pt x="26" y="705"/>
                  <a:pt x="26" y="703"/>
                  <a:pt x="22" y="697"/>
                </a:cubicBezTo>
                <a:cubicBezTo>
                  <a:pt x="18" y="692"/>
                  <a:pt x="14" y="685"/>
                  <a:pt x="18" y="683"/>
                </a:cubicBezTo>
                <a:cubicBezTo>
                  <a:pt x="22" y="682"/>
                  <a:pt x="28" y="685"/>
                  <a:pt x="22" y="680"/>
                </a:cubicBezTo>
                <a:cubicBezTo>
                  <a:pt x="16" y="674"/>
                  <a:pt x="9" y="681"/>
                  <a:pt x="10" y="669"/>
                </a:cubicBezTo>
                <a:cubicBezTo>
                  <a:pt x="11" y="657"/>
                  <a:pt x="20" y="655"/>
                  <a:pt x="15" y="652"/>
                </a:cubicBezTo>
                <a:cubicBezTo>
                  <a:pt x="10" y="649"/>
                  <a:pt x="4" y="644"/>
                  <a:pt x="4" y="644"/>
                </a:cubicBezTo>
                <a:cubicBezTo>
                  <a:pt x="4" y="644"/>
                  <a:pt x="4" y="632"/>
                  <a:pt x="3" y="629"/>
                </a:cubicBezTo>
                <a:cubicBezTo>
                  <a:pt x="2" y="626"/>
                  <a:pt x="1" y="621"/>
                  <a:pt x="0" y="618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8" name="Freeform 553"/>
          <p:cNvSpPr>
            <a:spLocks/>
          </p:cNvSpPr>
          <p:nvPr userDrawn="1"/>
        </p:nvSpPr>
        <p:spPr bwMode="auto">
          <a:xfrm>
            <a:off x="5780448" y="2631040"/>
            <a:ext cx="314917" cy="753792"/>
          </a:xfrm>
          <a:custGeom>
            <a:avLst/>
            <a:gdLst>
              <a:gd name="T0" fmla="*/ 2147483646 w 337"/>
              <a:gd name="T1" fmla="*/ 2147483646 h 809"/>
              <a:gd name="T2" fmla="*/ 2147483646 w 337"/>
              <a:gd name="T3" fmla="*/ 2147483646 h 809"/>
              <a:gd name="T4" fmla="*/ 2147483646 w 337"/>
              <a:gd name="T5" fmla="*/ 2147483646 h 809"/>
              <a:gd name="T6" fmla="*/ 2147483646 w 337"/>
              <a:gd name="T7" fmla="*/ 2147483646 h 809"/>
              <a:gd name="T8" fmla="*/ 2147483646 w 337"/>
              <a:gd name="T9" fmla="*/ 2147483646 h 809"/>
              <a:gd name="T10" fmla="*/ 2147483646 w 337"/>
              <a:gd name="T11" fmla="*/ 2147483646 h 809"/>
              <a:gd name="T12" fmla="*/ 2147483646 w 337"/>
              <a:gd name="T13" fmla="*/ 2147483646 h 809"/>
              <a:gd name="T14" fmla="*/ 2147483646 w 337"/>
              <a:gd name="T15" fmla="*/ 2147483646 h 809"/>
              <a:gd name="T16" fmla="*/ 2147483646 w 337"/>
              <a:gd name="T17" fmla="*/ 2147483646 h 809"/>
              <a:gd name="T18" fmla="*/ 2147483646 w 337"/>
              <a:gd name="T19" fmla="*/ 2147483646 h 809"/>
              <a:gd name="T20" fmla="*/ 2147483646 w 337"/>
              <a:gd name="T21" fmla="*/ 2147483646 h 809"/>
              <a:gd name="T22" fmla="*/ 2147483646 w 337"/>
              <a:gd name="T23" fmla="*/ 2147483646 h 809"/>
              <a:gd name="T24" fmla="*/ 2147483646 w 337"/>
              <a:gd name="T25" fmla="*/ 2147483646 h 809"/>
              <a:gd name="T26" fmla="*/ 2147483646 w 337"/>
              <a:gd name="T27" fmla="*/ 2147483646 h 809"/>
              <a:gd name="T28" fmla="*/ 2147483646 w 337"/>
              <a:gd name="T29" fmla="*/ 2147483646 h 809"/>
              <a:gd name="T30" fmla="*/ 2147483646 w 337"/>
              <a:gd name="T31" fmla="*/ 2147483646 h 809"/>
              <a:gd name="T32" fmla="*/ 2147483646 w 337"/>
              <a:gd name="T33" fmla="*/ 2147483646 h 809"/>
              <a:gd name="T34" fmla="*/ 2147483646 w 337"/>
              <a:gd name="T35" fmla="*/ 2147483646 h 809"/>
              <a:gd name="T36" fmla="*/ 2147483646 w 337"/>
              <a:gd name="T37" fmla="*/ 2147483646 h 809"/>
              <a:gd name="T38" fmla="*/ 2147483646 w 337"/>
              <a:gd name="T39" fmla="*/ 2147483646 h 809"/>
              <a:gd name="T40" fmla="*/ 2147483646 w 337"/>
              <a:gd name="T41" fmla="*/ 2147483646 h 809"/>
              <a:gd name="T42" fmla="*/ 2147483646 w 337"/>
              <a:gd name="T43" fmla="*/ 2147483646 h 809"/>
              <a:gd name="T44" fmla="*/ 2147483646 w 337"/>
              <a:gd name="T45" fmla="*/ 2147483646 h 809"/>
              <a:gd name="T46" fmla="*/ 2147483646 w 337"/>
              <a:gd name="T47" fmla="*/ 2147483646 h 809"/>
              <a:gd name="T48" fmla="*/ 2147483646 w 337"/>
              <a:gd name="T49" fmla="*/ 2147483646 h 809"/>
              <a:gd name="T50" fmla="*/ 2147483646 w 337"/>
              <a:gd name="T51" fmla="*/ 2147483646 h 809"/>
              <a:gd name="T52" fmla="*/ 2147483646 w 337"/>
              <a:gd name="T53" fmla="*/ 2147483646 h 809"/>
              <a:gd name="T54" fmla="*/ 2147483646 w 337"/>
              <a:gd name="T55" fmla="*/ 2147483646 h 809"/>
              <a:gd name="T56" fmla="*/ 2147483646 w 337"/>
              <a:gd name="T57" fmla="*/ 2147483646 h 809"/>
              <a:gd name="T58" fmla="*/ 2147483646 w 337"/>
              <a:gd name="T59" fmla="*/ 2147483646 h 809"/>
              <a:gd name="T60" fmla="*/ 2147483646 w 337"/>
              <a:gd name="T61" fmla="*/ 2147483646 h 809"/>
              <a:gd name="T62" fmla="*/ 2147483646 w 337"/>
              <a:gd name="T63" fmla="*/ 2147483646 h 809"/>
              <a:gd name="T64" fmla="*/ 2147483646 w 337"/>
              <a:gd name="T65" fmla="*/ 2147483646 h 809"/>
              <a:gd name="T66" fmla="*/ 2147483646 w 337"/>
              <a:gd name="T67" fmla="*/ 2147483646 h 809"/>
              <a:gd name="T68" fmla="*/ 2147483646 w 337"/>
              <a:gd name="T69" fmla="*/ 2147483646 h 809"/>
              <a:gd name="T70" fmla="*/ 2147483646 w 337"/>
              <a:gd name="T71" fmla="*/ 2147483646 h 809"/>
              <a:gd name="T72" fmla="*/ 2147483646 w 337"/>
              <a:gd name="T73" fmla="*/ 2147483646 h 809"/>
              <a:gd name="T74" fmla="*/ 2147483646 w 337"/>
              <a:gd name="T75" fmla="*/ 2147483646 h 809"/>
              <a:gd name="T76" fmla="*/ 2147483646 w 337"/>
              <a:gd name="T77" fmla="*/ 2147483646 h 809"/>
              <a:gd name="T78" fmla="*/ 2147483646 w 337"/>
              <a:gd name="T79" fmla="*/ 2147483646 h 809"/>
              <a:gd name="T80" fmla="*/ 2147483646 w 337"/>
              <a:gd name="T81" fmla="*/ 2147483646 h 809"/>
              <a:gd name="T82" fmla="*/ 2147483646 w 337"/>
              <a:gd name="T83" fmla="*/ 2147483646 h 809"/>
              <a:gd name="T84" fmla="*/ 2147483646 w 337"/>
              <a:gd name="T85" fmla="*/ 2147483646 h 809"/>
              <a:gd name="T86" fmla="*/ 2147483646 w 337"/>
              <a:gd name="T87" fmla="*/ 2147483646 h 809"/>
              <a:gd name="T88" fmla="*/ 2147483646 w 337"/>
              <a:gd name="T89" fmla="*/ 2147483646 h 809"/>
              <a:gd name="T90" fmla="*/ 2147483646 w 337"/>
              <a:gd name="T91" fmla="*/ 2147483646 h 809"/>
              <a:gd name="T92" fmla="*/ 2147483646 w 337"/>
              <a:gd name="T93" fmla="*/ 2147483646 h 809"/>
              <a:gd name="T94" fmla="*/ 2147483646 w 337"/>
              <a:gd name="T95" fmla="*/ 2147483646 h 809"/>
              <a:gd name="T96" fmla="*/ 2147483646 w 337"/>
              <a:gd name="T97" fmla="*/ 2147483646 h 80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37"/>
              <a:gd name="T148" fmla="*/ 0 h 809"/>
              <a:gd name="T149" fmla="*/ 337 w 337"/>
              <a:gd name="T150" fmla="*/ 809 h 80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37" h="809">
                <a:moveTo>
                  <a:pt x="1" y="617"/>
                </a:moveTo>
                <a:cubicBezTo>
                  <a:pt x="3" y="619"/>
                  <a:pt x="5" y="622"/>
                  <a:pt x="6" y="625"/>
                </a:cubicBezTo>
                <a:cubicBezTo>
                  <a:pt x="15" y="620"/>
                  <a:pt x="13" y="608"/>
                  <a:pt x="15" y="598"/>
                </a:cubicBezTo>
                <a:cubicBezTo>
                  <a:pt x="18" y="584"/>
                  <a:pt x="23" y="585"/>
                  <a:pt x="31" y="579"/>
                </a:cubicBezTo>
                <a:cubicBezTo>
                  <a:pt x="49" y="565"/>
                  <a:pt x="36" y="536"/>
                  <a:pt x="31" y="516"/>
                </a:cubicBezTo>
                <a:cubicBezTo>
                  <a:pt x="37" y="518"/>
                  <a:pt x="43" y="508"/>
                  <a:pt x="43" y="501"/>
                </a:cubicBezTo>
                <a:cubicBezTo>
                  <a:pt x="43" y="490"/>
                  <a:pt x="33" y="486"/>
                  <a:pt x="29" y="477"/>
                </a:cubicBezTo>
                <a:cubicBezTo>
                  <a:pt x="22" y="461"/>
                  <a:pt x="34" y="440"/>
                  <a:pt x="28" y="423"/>
                </a:cubicBezTo>
                <a:cubicBezTo>
                  <a:pt x="24" y="412"/>
                  <a:pt x="19" y="415"/>
                  <a:pt x="19" y="402"/>
                </a:cubicBezTo>
                <a:cubicBezTo>
                  <a:pt x="20" y="391"/>
                  <a:pt x="25" y="376"/>
                  <a:pt x="27" y="364"/>
                </a:cubicBezTo>
                <a:cubicBezTo>
                  <a:pt x="29" y="353"/>
                  <a:pt x="29" y="336"/>
                  <a:pt x="42" y="334"/>
                </a:cubicBezTo>
                <a:cubicBezTo>
                  <a:pt x="49" y="333"/>
                  <a:pt x="62" y="338"/>
                  <a:pt x="68" y="341"/>
                </a:cubicBezTo>
                <a:cubicBezTo>
                  <a:pt x="78" y="329"/>
                  <a:pt x="64" y="320"/>
                  <a:pt x="63" y="309"/>
                </a:cubicBezTo>
                <a:cubicBezTo>
                  <a:pt x="62" y="296"/>
                  <a:pt x="70" y="276"/>
                  <a:pt x="74" y="263"/>
                </a:cubicBezTo>
                <a:cubicBezTo>
                  <a:pt x="76" y="254"/>
                  <a:pt x="82" y="242"/>
                  <a:pt x="82" y="233"/>
                </a:cubicBezTo>
                <a:cubicBezTo>
                  <a:pt x="82" y="226"/>
                  <a:pt x="76" y="222"/>
                  <a:pt x="76" y="217"/>
                </a:cubicBezTo>
                <a:cubicBezTo>
                  <a:pt x="75" y="194"/>
                  <a:pt x="91" y="206"/>
                  <a:pt x="102" y="208"/>
                </a:cubicBezTo>
                <a:cubicBezTo>
                  <a:pt x="102" y="187"/>
                  <a:pt x="114" y="158"/>
                  <a:pt x="127" y="142"/>
                </a:cubicBezTo>
                <a:cubicBezTo>
                  <a:pt x="124" y="141"/>
                  <a:pt x="121" y="138"/>
                  <a:pt x="117" y="137"/>
                </a:cubicBezTo>
                <a:cubicBezTo>
                  <a:pt x="121" y="131"/>
                  <a:pt x="128" y="125"/>
                  <a:pt x="131" y="118"/>
                </a:cubicBezTo>
                <a:cubicBezTo>
                  <a:pt x="133" y="111"/>
                  <a:pt x="132" y="105"/>
                  <a:pt x="135" y="100"/>
                </a:cubicBezTo>
                <a:cubicBezTo>
                  <a:pt x="141" y="90"/>
                  <a:pt x="155" y="72"/>
                  <a:pt x="166" y="84"/>
                </a:cubicBezTo>
                <a:cubicBezTo>
                  <a:pt x="174" y="72"/>
                  <a:pt x="168" y="52"/>
                  <a:pt x="182" y="46"/>
                </a:cubicBezTo>
                <a:cubicBezTo>
                  <a:pt x="190" y="42"/>
                  <a:pt x="194" y="47"/>
                  <a:pt x="201" y="50"/>
                </a:cubicBezTo>
                <a:cubicBezTo>
                  <a:pt x="208" y="52"/>
                  <a:pt x="214" y="53"/>
                  <a:pt x="222" y="52"/>
                </a:cubicBezTo>
                <a:cubicBezTo>
                  <a:pt x="207" y="40"/>
                  <a:pt x="245" y="26"/>
                  <a:pt x="220" y="13"/>
                </a:cubicBezTo>
                <a:cubicBezTo>
                  <a:pt x="225" y="6"/>
                  <a:pt x="237" y="0"/>
                  <a:pt x="245" y="6"/>
                </a:cubicBezTo>
                <a:cubicBezTo>
                  <a:pt x="246" y="12"/>
                  <a:pt x="246" y="12"/>
                  <a:pt x="246" y="12"/>
                </a:cubicBezTo>
                <a:cubicBezTo>
                  <a:pt x="253" y="26"/>
                  <a:pt x="264" y="34"/>
                  <a:pt x="272" y="46"/>
                </a:cubicBezTo>
                <a:cubicBezTo>
                  <a:pt x="276" y="43"/>
                  <a:pt x="279" y="44"/>
                  <a:pt x="283" y="43"/>
                </a:cubicBezTo>
                <a:cubicBezTo>
                  <a:pt x="283" y="48"/>
                  <a:pt x="284" y="52"/>
                  <a:pt x="285" y="57"/>
                </a:cubicBezTo>
                <a:cubicBezTo>
                  <a:pt x="286" y="56"/>
                  <a:pt x="290" y="55"/>
                  <a:pt x="292" y="52"/>
                </a:cubicBezTo>
                <a:cubicBezTo>
                  <a:pt x="297" y="71"/>
                  <a:pt x="317" y="55"/>
                  <a:pt x="313" y="80"/>
                </a:cubicBezTo>
                <a:cubicBezTo>
                  <a:pt x="315" y="80"/>
                  <a:pt x="318" y="80"/>
                  <a:pt x="320" y="80"/>
                </a:cubicBezTo>
                <a:cubicBezTo>
                  <a:pt x="321" y="91"/>
                  <a:pt x="316" y="105"/>
                  <a:pt x="316" y="116"/>
                </a:cubicBezTo>
                <a:cubicBezTo>
                  <a:pt x="315" y="128"/>
                  <a:pt x="315" y="140"/>
                  <a:pt x="316" y="152"/>
                </a:cubicBezTo>
                <a:cubicBezTo>
                  <a:pt x="319" y="153"/>
                  <a:pt x="321" y="155"/>
                  <a:pt x="323" y="156"/>
                </a:cubicBezTo>
                <a:cubicBezTo>
                  <a:pt x="320" y="159"/>
                  <a:pt x="320" y="164"/>
                  <a:pt x="319" y="166"/>
                </a:cubicBezTo>
                <a:cubicBezTo>
                  <a:pt x="321" y="166"/>
                  <a:pt x="324" y="169"/>
                  <a:pt x="327" y="168"/>
                </a:cubicBezTo>
                <a:cubicBezTo>
                  <a:pt x="321" y="183"/>
                  <a:pt x="314" y="184"/>
                  <a:pt x="322" y="199"/>
                </a:cubicBezTo>
                <a:cubicBezTo>
                  <a:pt x="326" y="208"/>
                  <a:pt x="331" y="215"/>
                  <a:pt x="336" y="223"/>
                </a:cubicBezTo>
                <a:cubicBezTo>
                  <a:pt x="337" y="226"/>
                  <a:pt x="337" y="226"/>
                  <a:pt x="337" y="226"/>
                </a:cubicBezTo>
                <a:cubicBezTo>
                  <a:pt x="335" y="225"/>
                  <a:pt x="335" y="225"/>
                  <a:pt x="335" y="225"/>
                </a:cubicBezTo>
                <a:cubicBezTo>
                  <a:pt x="333" y="224"/>
                  <a:pt x="331" y="223"/>
                  <a:pt x="331" y="223"/>
                </a:cubicBezTo>
                <a:cubicBezTo>
                  <a:pt x="317" y="227"/>
                  <a:pt x="317" y="227"/>
                  <a:pt x="317" y="227"/>
                </a:cubicBezTo>
                <a:cubicBezTo>
                  <a:pt x="306" y="228"/>
                  <a:pt x="306" y="228"/>
                  <a:pt x="306" y="228"/>
                </a:cubicBezTo>
                <a:cubicBezTo>
                  <a:pt x="294" y="229"/>
                  <a:pt x="294" y="229"/>
                  <a:pt x="294" y="229"/>
                </a:cubicBezTo>
                <a:cubicBezTo>
                  <a:pt x="287" y="233"/>
                  <a:pt x="287" y="233"/>
                  <a:pt x="287" y="233"/>
                </a:cubicBezTo>
                <a:cubicBezTo>
                  <a:pt x="287" y="233"/>
                  <a:pt x="278" y="240"/>
                  <a:pt x="279" y="244"/>
                </a:cubicBezTo>
                <a:cubicBezTo>
                  <a:pt x="280" y="249"/>
                  <a:pt x="278" y="251"/>
                  <a:pt x="273" y="256"/>
                </a:cubicBezTo>
                <a:cubicBezTo>
                  <a:pt x="269" y="261"/>
                  <a:pt x="264" y="260"/>
                  <a:pt x="268" y="263"/>
                </a:cubicBezTo>
                <a:cubicBezTo>
                  <a:pt x="271" y="266"/>
                  <a:pt x="268" y="273"/>
                  <a:pt x="268" y="273"/>
                </a:cubicBezTo>
                <a:cubicBezTo>
                  <a:pt x="268" y="273"/>
                  <a:pt x="263" y="277"/>
                  <a:pt x="262" y="286"/>
                </a:cubicBezTo>
                <a:cubicBezTo>
                  <a:pt x="261" y="294"/>
                  <a:pt x="261" y="294"/>
                  <a:pt x="266" y="296"/>
                </a:cubicBezTo>
                <a:cubicBezTo>
                  <a:pt x="271" y="299"/>
                  <a:pt x="271" y="305"/>
                  <a:pt x="271" y="305"/>
                </a:cubicBezTo>
                <a:cubicBezTo>
                  <a:pt x="271" y="305"/>
                  <a:pt x="267" y="307"/>
                  <a:pt x="269" y="310"/>
                </a:cubicBezTo>
                <a:cubicBezTo>
                  <a:pt x="271" y="314"/>
                  <a:pt x="277" y="321"/>
                  <a:pt x="271" y="325"/>
                </a:cubicBezTo>
                <a:cubicBezTo>
                  <a:pt x="265" y="329"/>
                  <a:pt x="260" y="333"/>
                  <a:pt x="257" y="336"/>
                </a:cubicBezTo>
                <a:cubicBezTo>
                  <a:pt x="254" y="339"/>
                  <a:pt x="253" y="341"/>
                  <a:pt x="250" y="346"/>
                </a:cubicBezTo>
                <a:cubicBezTo>
                  <a:pt x="247" y="351"/>
                  <a:pt x="243" y="352"/>
                  <a:pt x="243" y="352"/>
                </a:cubicBezTo>
                <a:cubicBezTo>
                  <a:pt x="243" y="352"/>
                  <a:pt x="240" y="356"/>
                  <a:pt x="237" y="360"/>
                </a:cubicBezTo>
                <a:cubicBezTo>
                  <a:pt x="235" y="365"/>
                  <a:pt x="235" y="362"/>
                  <a:pt x="230" y="367"/>
                </a:cubicBezTo>
                <a:cubicBezTo>
                  <a:pt x="226" y="372"/>
                  <a:pt x="217" y="368"/>
                  <a:pt x="218" y="374"/>
                </a:cubicBezTo>
                <a:cubicBezTo>
                  <a:pt x="218" y="381"/>
                  <a:pt x="217" y="382"/>
                  <a:pt x="212" y="382"/>
                </a:cubicBezTo>
                <a:cubicBezTo>
                  <a:pt x="206" y="382"/>
                  <a:pt x="205" y="380"/>
                  <a:pt x="205" y="380"/>
                </a:cubicBezTo>
                <a:cubicBezTo>
                  <a:pt x="205" y="380"/>
                  <a:pt x="197" y="386"/>
                  <a:pt x="192" y="384"/>
                </a:cubicBezTo>
                <a:cubicBezTo>
                  <a:pt x="188" y="382"/>
                  <a:pt x="187" y="383"/>
                  <a:pt x="187" y="383"/>
                </a:cubicBezTo>
                <a:cubicBezTo>
                  <a:pt x="187" y="383"/>
                  <a:pt x="189" y="389"/>
                  <a:pt x="187" y="395"/>
                </a:cubicBezTo>
                <a:cubicBezTo>
                  <a:pt x="184" y="400"/>
                  <a:pt x="179" y="399"/>
                  <a:pt x="178" y="404"/>
                </a:cubicBezTo>
                <a:cubicBezTo>
                  <a:pt x="178" y="408"/>
                  <a:pt x="178" y="410"/>
                  <a:pt x="173" y="413"/>
                </a:cubicBezTo>
                <a:cubicBezTo>
                  <a:pt x="168" y="415"/>
                  <a:pt x="162" y="416"/>
                  <a:pt x="165" y="419"/>
                </a:cubicBezTo>
                <a:cubicBezTo>
                  <a:pt x="168" y="422"/>
                  <a:pt x="168" y="424"/>
                  <a:pt x="168" y="424"/>
                </a:cubicBezTo>
                <a:cubicBezTo>
                  <a:pt x="163" y="429"/>
                  <a:pt x="163" y="429"/>
                  <a:pt x="163" y="429"/>
                </a:cubicBezTo>
                <a:cubicBezTo>
                  <a:pt x="163" y="429"/>
                  <a:pt x="167" y="428"/>
                  <a:pt x="164" y="434"/>
                </a:cubicBezTo>
                <a:cubicBezTo>
                  <a:pt x="161" y="441"/>
                  <a:pt x="160" y="440"/>
                  <a:pt x="163" y="441"/>
                </a:cubicBezTo>
                <a:cubicBezTo>
                  <a:pt x="167" y="443"/>
                  <a:pt x="165" y="448"/>
                  <a:pt x="165" y="448"/>
                </a:cubicBezTo>
                <a:cubicBezTo>
                  <a:pt x="165" y="448"/>
                  <a:pt x="151" y="456"/>
                  <a:pt x="156" y="462"/>
                </a:cubicBezTo>
                <a:cubicBezTo>
                  <a:pt x="162" y="469"/>
                  <a:pt x="161" y="466"/>
                  <a:pt x="157" y="475"/>
                </a:cubicBezTo>
                <a:cubicBezTo>
                  <a:pt x="154" y="485"/>
                  <a:pt x="154" y="479"/>
                  <a:pt x="156" y="485"/>
                </a:cubicBezTo>
                <a:cubicBezTo>
                  <a:pt x="157" y="492"/>
                  <a:pt x="156" y="500"/>
                  <a:pt x="158" y="507"/>
                </a:cubicBezTo>
                <a:cubicBezTo>
                  <a:pt x="159" y="514"/>
                  <a:pt x="155" y="522"/>
                  <a:pt x="158" y="523"/>
                </a:cubicBezTo>
                <a:cubicBezTo>
                  <a:pt x="161" y="525"/>
                  <a:pt x="163" y="529"/>
                  <a:pt x="163" y="529"/>
                </a:cubicBezTo>
                <a:cubicBezTo>
                  <a:pt x="157" y="538"/>
                  <a:pt x="157" y="538"/>
                  <a:pt x="157" y="538"/>
                </a:cubicBezTo>
                <a:cubicBezTo>
                  <a:pt x="157" y="538"/>
                  <a:pt x="159" y="536"/>
                  <a:pt x="161" y="540"/>
                </a:cubicBezTo>
                <a:cubicBezTo>
                  <a:pt x="162" y="544"/>
                  <a:pt x="164" y="539"/>
                  <a:pt x="164" y="539"/>
                </a:cubicBezTo>
                <a:cubicBezTo>
                  <a:pt x="164" y="539"/>
                  <a:pt x="168" y="535"/>
                  <a:pt x="171" y="537"/>
                </a:cubicBezTo>
                <a:cubicBezTo>
                  <a:pt x="174" y="538"/>
                  <a:pt x="174" y="537"/>
                  <a:pt x="178" y="541"/>
                </a:cubicBezTo>
                <a:cubicBezTo>
                  <a:pt x="182" y="545"/>
                  <a:pt x="182" y="541"/>
                  <a:pt x="187" y="549"/>
                </a:cubicBezTo>
                <a:cubicBezTo>
                  <a:pt x="192" y="557"/>
                  <a:pt x="189" y="559"/>
                  <a:pt x="192" y="563"/>
                </a:cubicBezTo>
                <a:cubicBezTo>
                  <a:pt x="194" y="568"/>
                  <a:pt x="192" y="569"/>
                  <a:pt x="195" y="572"/>
                </a:cubicBezTo>
                <a:cubicBezTo>
                  <a:pt x="198" y="576"/>
                  <a:pt x="197" y="580"/>
                  <a:pt x="197" y="580"/>
                </a:cubicBezTo>
                <a:cubicBezTo>
                  <a:pt x="197" y="580"/>
                  <a:pt x="189" y="585"/>
                  <a:pt x="189" y="588"/>
                </a:cubicBezTo>
                <a:cubicBezTo>
                  <a:pt x="188" y="592"/>
                  <a:pt x="183" y="595"/>
                  <a:pt x="178" y="595"/>
                </a:cubicBezTo>
                <a:cubicBezTo>
                  <a:pt x="174" y="595"/>
                  <a:pt x="172" y="592"/>
                  <a:pt x="168" y="593"/>
                </a:cubicBezTo>
                <a:cubicBezTo>
                  <a:pt x="164" y="593"/>
                  <a:pt x="160" y="592"/>
                  <a:pt x="157" y="589"/>
                </a:cubicBezTo>
                <a:cubicBezTo>
                  <a:pt x="155" y="587"/>
                  <a:pt x="151" y="591"/>
                  <a:pt x="151" y="591"/>
                </a:cubicBezTo>
                <a:cubicBezTo>
                  <a:pt x="151" y="591"/>
                  <a:pt x="146" y="595"/>
                  <a:pt x="141" y="592"/>
                </a:cubicBezTo>
                <a:cubicBezTo>
                  <a:pt x="136" y="590"/>
                  <a:pt x="132" y="590"/>
                  <a:pt x="130" y="591"/>
                </a:cubicBezTo>
                <a:cubicBezTo>
                  <a:pt x="128" y="591"/>
                  <a:pt x="124" y="590"/>
                  <a:pt x="124" y="590"/>
                </a:cubicBezTo>
                <a:cubicBezTo>
                  <a:pt x="124" y="590"/>
                  <a:pt x="137" y="597"/>
                  <a:pt x="142" y="596"/>
                </a:cubicBezTo>
                <a:cubicBezTo>
                  <a:pt x="146" y="596"/>
                  <a:pt x="147" y="597"/>
                  <a:pt x="149" y="597"/>
                </a:cubicBezTo>
                <a:cubicBezTo>
                  <a:pt x="151" y="597"/>
                  <a:pt x="156" y="596"/>
                  <a:pt x="156" y="596"/>
                </a:cubicBezTo>
                <a:cubicBezTo>
                  <a:pt x="156" y="596"/>
                  <a:pt x="156" y="598"/>
                  <a:pt x="159" y="603"/>
                </a:cubicBezTo>
                <a:cubicBezTo>
                  <a:pt x="162" y="608"/>
                  <a:pt x="162" y="600"/>
                  <a:pt x="166" y="603"/>
                </a:cubicBezTo>
                <a:cubicBezTo>
                  <a:pt x="170" y="606"/>
                  <a:pt x="172" y="604"/>
                  <a:pt x="172" y="604"/>
                </a:cubicBezTo>
                <a:cubicBezTo>
                  <a:pt x="179" y="603"/>
                  <a:pt x="179" y="603"/>
                  <a:pt x="179" y="603"/>
                </a:cubicBezTo>
                <a:cubicBezTo>
                  <a:pt x="179" y="603"/>
                  <a:pt x="181" y="601"/>
                  <a:pt x="183" y="606"/>
                </a:cubicBezTo>
                <a:cubicBezTo>
                  <a:pt x="186" y="610"/>
                  <a:pt x="180" y="618"/>
                  <a:pt x="180" y="618"/>
                </a:cubicBezTo>
                <a:cubicBezTo>
                  <a:pt x="180" y="618"/>
                  <a:pt x="172" y="621"/>
                  <a:pt x="169" y="622"/>
                </a:cubicBezTo>
                <a:cubicBezTo>
                  <a:pt x="167" y="623"/>
                  <a:pt x="160" y="613"/>
                  <a:pt x="162" y="619"/>
                </a:cubicBezTo>
                <a:cubicBezTo>
                  <a:pt x="163" y="624"/>
                  <a:pt x="162" y="630"/>
                  <a:pt x="159" y="629"/>
                </a:cubicBezTo>
                <a:cubicBezTo>
                  <a:pt x="155" y="629"/>
                  <a:pt x="155" y="629"/>
                  <a:pt x="155" y="629"/>
                </a:cubicBezTo>
                <a:cubicBezTo>
                  <a:pt x="155" y="629"/>
                  <a:pt x="147" y="631"/>
                  <a:pt x="144" y="634"/>
                </a:cubicBezTo>
                <a:cubicBezTo>
                  <a:pt x="142" y="637"/>
                  <a:pt x="140" y="637"/>
                  <a:pt x="137" y="636"/>
                </a:cubicBezTo>
                <a:cubicBezTo>
                  <a:pt x="135" y="634"/>
                  <a:pt x="129" y="637"/>
                  <a:pt x="134" y="638"/>
                </a:cubicBezTo>
                <a:cubicBezTo>
                  <a:pt x="139" y="639"/>
                  <a:pt x="143" y="637"/>
                  <a:pt x="146" y="640"/>
                </a:cubicBezTo>
                <a:cubicBezTo>
                  <a:pt x="149" y="643"/>
                  <a:pt x="145" y="647"/>
                  <a:pt x="145" y="647"/>
                </a:cubicBezTo>
                <a:cubicBezTo>
                  <a:pt x="145" y="647"/>
                  <a:pt x="141" y="649"/>
                  <a:pt x="139" y="649"/>
                </a:cubicBezTo>
                <a:cubicBezTo>
                  <a:pt x="138" y="649"/>
                  <a:pt x="133" y="643"/>
                  <a:pt x="133" y="649"/>
                </a:cubicBezTo>
                <a:cubicBezTo>
                  <a:pt x="134" y="655"/>
                  <a:pt x="137" y="653"/>
                  <a:pt x="139" y="662"/>
                </a:cubicBezTo>
                <a:cubicBezTo>
                  <a:pt x="142" y="672"/>
                  <a:pt x="138" y="679"/>
                  <a:pt x="140" y="680"/>
                </a:cubicBezTo>
                <a:cubicBezTo>
                  <a:pt x="142" y="681"/>
                  <a:pt x="141" y="679"/>
                  <a:pt x="143" y="684"/>
                </a:cubicBezTo>
                <a:cubicBezTo>
                  <a:pt x="145" y="689"/>
                  <a:pt x="144" y="675"/>
                  <a:pt x="141" y="696"/>
                </a:cubicBezTo>
                <a:cubicBezTo>
                  <a:pt x="137" y="716"/>
                  <a:pt x="133" y="719"/>
                  <a:pt x="132" y="731"/>
                </a:cubicBezTo>
                <a:cubicBezTo>
                  <a:pt x="131" y="743"/>
                  <a:pt x="130" y="748"/>
                  <a:pt x="125" y="756"/>
                </a:cubicBezTo>
                <a:cubicBezTo>
                  <a:pt x="120" y="763"/>
                  <a:pt x="118" y="759"/>
                  <a:pt x="113" y="760"/>
                </a:cubicBezTo>
                <a:cubicBezTo>
                  <a:pt x="108" y="760"/>
                  <a:pt x="107" y="764"/>
                  <a:pt x="103" y="761"/>
                </a:cubicBezTo>
                <a:cubicBezTo>
                  <a:pt x="99" y="758"/>
                  <a:pt x="100" y="749"/>
                  <a:pt x="95" y="756"/>
                </a:cubicBezTo>
                <a:cubicBezTo>
                  <a:pt x="91" y="763"/>
                  <a:pt x="87" y="768"/>
                  <a:pt x="87" y="768"/>
                </a:cubicBezTo>
                <a:cubicBezTo>
                  <a:pt x="87" y="768"/>
                  <a:pt x="76" y="774"/>
                  <a:pt x="80" y="782"/>
                </a:cubicBezTo>
                <a:cubicBezTo>
                  <a:pt x="84" y="789"/>
                  <a:pt x="88" y="796"/>
                  <a:pt x="77" y="796"/>
                </a:cubicBezTo>
                <a:cubicBezTo>
                  <a:pt x="67" y="795"/>
                  <a:pt x="67" y="789"/>
                  <a:pt x="62" y="796"/>
                </a:cubicBezTo>
                <a:cubicBezTo>
                  <a:pt x="57" y="803"/>
                  <a:pt x="55" y="809"/>
                  <a:pt x="50" y="803"/>
                </a:cubicBezTo>
                <a:cubicBezTo>
                  <a:pt x="45" y="797"/>
                  <a:pt x="42" y="799"/>
                  <a:pt x="42" y="796"/>
                </a:cubicBezTo>
                <a:cubicBezTo>
                  <a:pt x="43" y="793"/>
                  <a:pt x="47" y="783"/>
                  <a:pt x="46" y="778"/>
                </a:cubicBezTo>
                <a:cubicBezTo>
                  <a:pt x="45" y="773"/>
                  <a:pt x="42" y="769"/>
                  <a:pt x="41" y="767"/>
                </a:cubicBezTo>
                <a:cubicBezTo>
                  <a:pt x="40" y="765"/>
                  <a:pt x="28" y="765"/>
                  <a:pt x="36" y="761"/>
                </a:cubicBezTo>
                <a:cubicBezTo>
                  <a:pt x="45" y="758"/>
                  <a:pt x="47" y="760"/>
                  <a:pt x="46" y="755"/>
                </a:cubicBezTo>
                <a:cubicBezTo>
                  <a:pt x="45" y="749"/>
                  <a:pt x="40" y="751"/>
                  <a:pt x="43" y="746"/>
                </a:cubicBezTo>
                <a:cubicBezTo>
                  <a:pt x="47" y="741"/>
                  <a:pt x="51" y="741"/>
                  <a:pt x="46" y="737"/>
                </a:cubicBezTo>
                <a:cubicBezTo>
                  <a:pt x="40" y="733"/>
                  <a:pt x="25" y="724"/>
                  <a:pt x="26" y="714"/>
                </a:cubicBezTo>
                <a:cubicBezTo>
                  <a:pt x="26" y="705"/>
                  <a:pt x="26" y="703"/>
                  <a:pt x="22" y="697"/>
                </a:cubicBezTo>
                <a:cubicBezTo>
                  <a:pt x="18" y="692"/>
                  <a:pt x="14" y="685"/>
                  <a:pt x="18" y="683"/>
                </a:cubicBezTo>
                <a:cubicBezTo>
                  <a:pt x="22" y="682"/>
                  <a:pt x="28" y="685"/>
                  <a:pt x="22" y="680"/>
                </a:cubicBezTo>
                <a:cubicBezTo>
                  <a:pt x="16" y="674"/>
                  <a:pt x="9" y="681"/>
                  <a:pt x="10" y="669"/>
                </a:cubicBezTo>
                <a:cubicBezTo>
                  <a:pt x="11" y="657"/>
                  <a:pt x="20" y="655"/>
                  <a:pt x="15" y="652"/>
                </a:cubicBezTo>
                <a:cubicBezTo>
                  <a:pt x="10" y="649"/>
                  <a:pt x="4" y="644"/>
                  <a:pt x="4" y="644"/>
                </a:cubicBezTo>
                <a:cubicBezTo>
                  <a:pt x="4" y="644"/>
                  <a:pt x="4" y="632"/>
                  <a:pt x="3" y="629"/>
                </a:cubicBezTo>
                <a:cubicBezTo>
                  <a:pt x="2" y="626"/>
                  <a:pt x="1" y="621"/>
                  <a:pt x="0" y="618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9" name="Freeform 554"/>
          <p:cNvSpPr>
            <a:spLocks/>
          </p:cNvSpPr>
          <p:nvPr userDrawn="1"/>
        </p:nvSpPr>
        <p:spPr bwMode="auto">
          <a:xfrm>
            <a:off x="6008260" y="2567388"/>
            <a:ext cx="261315" cy="603033"/>
          </a:xfrm>
          <a:custGeom>
            <a:avLst/>
            <a:gdLst>
              <a:gd name="T0" fmla="*/ 2147483646 w 280"/>
              <a:gd name="T1" fmla="*/ 2147483646 h 646"/>
              <a:gd name="T2" fmla="*/ 2147483646 w 280"/>
              <a:gd name="T3" fmla="*/ 2147483646 h 646"/>
              <a:gd name="T4" fmla="*/ 2147483646 w 280"/>
              <a:gd name="T5" fmla="*/ 2147483646 h 646"/>
              <a:gd name="T6" fmla="*/ 2147483646 w 280"/>
              <a:gd name="T7" fmla="*/ 2147483646 h 646"/>
              <a:gd name="T8" fmla="*/ 2147483646 w 280"/>
              <a:gd name="T9" fmla="*/ 2147483646 h 646"/>
              <a:gd name="T10" fmla="*/ 2147483646 w 280"/>
              <a:gd name="T11" fmla="*/ 2147483646 h 646"/>
              <a:gd name="T12" fmla="*/ 2147483646 w 280"/>
              <a:gd name="T13" fmla="*/ 2147483646 h 646"/>
              <a:gd name="T14" fmla="*/ 2147483646 w 280"/>
              <a:gd name="T15" fmla="*/ 2147483646 h 646"/>
              <a:gd name="T16" fmla="*/ 2147483646 w 280"/>
              <a:gd name="T17" fmla="*/ 2147483646 h 646"/>
              <a:gd name="T18" fmla="*/ 2147483646 w 280"/>
              <a:gd name="T19" fmla="*/ 2147483646 h 646"/>
              <a:gd name="T20" fmla="*/ 2147483646 w 280"/>
              <a:gd name="T21" fmla="*/ 2147483646 h 646"/>
              <a:gd name="T22" fmla="*/ 2147483646 w 280"/>
              <a:gd name="T23" fmla="*/ 2147483646 h 646"/>
              <a:gd name="T24" fmla="*/ 2147483646 w 280"/>
              <a:gd name="T25" fmla="*/ 2147483646 h 646"/>
              <a:gd name="T26" fmla="*/ 2147483646 w 280"/>
              <a:gd name="T27" fmla="*/ 2147483646 h 646"/>
              <a:gd name="T28" fmla="*/ 2147483646 w 280"/>
              <a:gd name="T29" fmla="*/ 2147483646 h 646"/>
              <a:gd name="T30" fmla="*/ 2147483646 w 280"/>
              <a:gd name="T31" fmla="*/ 2147483646 h 646"/>
              <a:gd name="T32" fmla="*/ 2147483646 w 280"/>
              <a:gd name="T33" fmla="*/ 2147483646 h 646"/>
              <a:gd name="T34" fmla="*/ 2147483646 w 280"/>
              <a:gd name="T35" fmla="*/ 2147483646 h 646"/>
              <a:gd name="T36" fmla="*/ 2147483646 w 280"/>
              <a:gd name="T37" fmla="*/ 2147483646 h 646"/>
              <a:gd name="T38" fmla="*/ 2147483646 w 280"/>
              <a:gd name="T39" fmla="*/ 2147483646 h 646"/>
              <a:gd name="T40" fmla="*/ 2147483646 w 280"/>
              <a:gd name="T41" fmla="*/ 2147483646 h 646"/>
              <a:gd name="T42" fmla="*/ 2147483646 w 280"/>
              <a:gd name="T43" fmla="*/ 2147483646 h 646"/>
              <a:gd name="T44" fmla="*/ 2147483646 w 280"/>
              <a:gd name="T45" fmla="*/ 2147483646 h 646"/>
              <a:gd name="T46" fmla="*/ 2147483646 w 280"/>
              <a:gd name="T47" fmla="*/ 2147483646 h 646"/>
              <a:gd name="T48" fmla="*/ 2147483646 w 280"/>
              <a:gd name="T49" fmla="*/ 2147483646 h 646"/>
              <a:gd name="T50" fmla="*/ 2147483646 w 280"/>
              <a:gd name="T51" fmla="*/ 2147483646 h 646"/>
              <a:gd name="T52" fmla="*/ 2147483646 w 280"/>
              <a:gd name="T53" fmla="*/ 2147483646 h 646"/>
              <a:gd name="T54" fmla="*/ 2147483646 w 280"/>
              <a:gd name="T55" fmla="*/ 2147483646 h 646"/>
              <a:gd name="T56" fmla="*/ 2147483646 w 280"/>
              <a:gd name="T57" fmla="*/ 2147483646 h 646"/>
              <a:gd name="T58" fmla="*/ 2147483646 w 280"/>
              <a:gd name="T59" fmla="*/ 2147483646 h 646"/>
              <a:gd name="T60" fmla="*/ 2147483646 w 280"/>
              <a:gd name="T61" fmla="*/ 2147483646 h 646"/>
              <a:gd name="T62" fmla="*/ 2147483646 w 280"/>
              <a:gd name="T63" fmla="*/ 2147483646 h 646"/>
              <a:gd name="T64" fmla="*/ 2147483646 w 280"/>
              <a:gd name="T65" fmla="*/ 2147483646 h 646"/>
              <a:gd name="T66" fmla="*/ 2147483646 w 280"/>
              <a:gd name="T67" fmla="*/ 2147483646 h 646"/>
              <a:gd name="T68" fmla="*/ 2147483646 w 280"/>
              <a:gd name="T69" fmla="*/ 2147483646 h 646"/>
              <a:gd name="T70" fmla="*/ 2147483646 w 280"/>
              <a:gd name="T71" fmla="*/ 2147483646 h 646"/>
              <a:gd name="T72" fmla="*/ 2147483646 w 280"/>
              <a:gd name="T73" fmla="*/ 2147483646 h 646"/>
              <a:gd name="T74" fmla="*/ 2147483646 w 280"/>
              <a:gd name="T75" fmla="*/ 2147483646 h 646"/>
              <a:gd name="T76" fmla="*/ 2147483646 w 280"/>
              <a:gd name="T77" fmla="*/ 2147483646 h 646"/>
              <a:gd name="T78" fmla="*/ 2147483646 w 280"/>
              <a:gd name="T79" fmla="*/ 2147483646 h 646"/>
              <a:gd name="T80" fmla="*/ 2147483646 w 280"/>
              <a:gd name="T81" fmla="*/ 2147483646 h 646"/>
              <a:gd name="T82" fmla="*/ 2147483646 w 280"/>
              <a:gd name="T83" fmla="*/ 2147483646 h 646"/>
              <a:gd name="T84" fmla="*/ 2147483646 w 280"/>
              <a:gd name="T85" fmla="*/ 2147483646 h 646"/>
              <a:gd name="T86" fmla="*/ 2147483646 w 280"/>
              <a:gd name="T87" fmla="*/ 2147483646 h 646"/>
              <a:gd name="T88" fmla="*/ 2147483646 w 280"/>
              <a:gd name="T89" fmla="*/ 2147483646 h 646"/>
              <a:gd name="T90" fmla="*/ 2147483646 w 280"/>
              <a:gd name="T91" fmla="*/ 2147483646 h 646"/>
              <a:gd name="T92" fmla="*/ 2147483646 w 280"/>
              <a:gd name="T93" fmla="*/ 2147483646 h 646"/>
              <a:gd name="T94" fmla="*/ 2147483646 w 280"/>
              <a:gd name="T95" fmla="*/ 2147483646 h 646"/>
              <a:gd name="T96" fmla="*/ 2147483646 w 280"/>
              <a:gd name="T97" fmla="*/ 2147483646 h 646"/>
              <a:gd name="T98" fmla="*/ 2147483646 w 280"/>
              <a:gd name="T99" fmla="*/ 2147483646 h 646"/>
              <a:gd name="T100" fmla="*/ 2147483646 w 280"/>
              <a:gd name="T101" fmla="*/ 2147483646 h 646"/>
              <a:gd name="T102" fmla="*/ 2147483646 w 280"/>
              <a:gd name="T103" fmla="*/ 2147483646 h 646"/>
              <a:gd name="T104" fmla="*/ 2147483646 w 280"/>
              <a:gd name="T105" fmla="*/ 2147483646 h 646"/>
              <a:gd name="T106" fmla="*/ 2147483646 w 280"/>
              <a:gd name="T107" fmla="*/ 2147483646 h 646"/>
              <a:gd name="T108" fmla="*/ 2147483646 w 280"/>
              <a:gd name="T109" fmla="*/ 2147483646 h 646"/>
              <a:gd name="T110" fmla="*/ 2147483646 w 280"/>
              <a:gd name="T111" fmla="*/ 2147483646 h 646"/>
              <a:gd name="T112" fmla="*/ 2147483646 w 280"/>
              <a:gd name="T113" fmla="*/ 2147483646 h 646"/>
              <a:gd name="T114" fmla="*/ 2147483646 w 280"/>
              <a:gd name="T115" fmla="*/ 2147483646 h 646"/>
              <a:gd name="T116" fmla="*/ 2147483646 w 280"/>
              <a:gd name="T117" fmla="*/ 2147483646 h 646"/>
              <a:gd name="T118" fmla="*/ 2147483646 w 280"/>
              <a:gd name="T119" fmla="*/ 2147483646 h 646"/>
              <a:gd name="T120" fmla="*/ 2147483646 w 280"/>
              <a:gd name="T121" fmla="*/ 2147483646 h 646"/>
              <a:gd name="T122" fmla="*/ 2147483646 w 280"/>
              <a:gd name="T123" fmla="*/ 2147483646 h 646"/>
              <a:gd name="T124" fmla="*/ 2147483646 w 280"/>
              <a:gd name="T125" fmla="*/ 2147483646 h 64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80"/>
              <a:gd name="T190" fmla="*/ 0 h 646"/>
              <a:gd name="T191" fmla="*/ 280 w 280"/>
              <a:gd name="T192" fmla="*/ 646 h 64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80" h="646">
                <a:moveTo>
                  <a:pt x="0" y="73"/>
                </a:moveTo>
                <a:cubicBezTo>
                  <a:pt x="1" y="74"/>
                  <a:pt x="3" y="76"/>
                  <a:pt x="4" y="79"/>
                </a:cubicBezTo>
                <a:cubicBezTo>
                  <a:pt x="6" y="73"/>
                  <a:pt x="4" y="67"/>
                  <a:pt x="7" y="61"/>
                </a:cubicBezTo>
                <a:cubicBezTo>
                  <a:pt x="26" y="64"/>
                  <a:pt x="26" y="92"/>
                  <a:pt x="40" y="101"/>
                </a:cubicBezTo>
                <a:cubicBezTo>
                  <a:pt x="53" y="109"/>
                  <a:pt x="75" y="91"/>
                  <a:pt x="78" y="103"/>
                </a:cubicBezTo>
                <a:cubicBezTo>
                  <a:pt x="82" y="103"/>
                  <a:pt x="86" y="102"/>
                  <a:pt x="89" y="98"/>
                </a:cubicBezTo>
                <a:cubicBezTo>
                  <a:pt x="94" y="103"/>
                  <a:pt x="97" y="111"/>
                  <a:pt x="102" y="117"/>
                </a:cubicBezTo>
                <a:cubicBezTo>
                  <a:pt x="105" y="110"/>
                  <a:pt x="107" y="101"/>
                  <a:pt x="111" y="95"/>
                </a:cubicBezTo>
                <a:cubicBezTo>
                  <a:pt x="114" y="91"/>
                  <a:pt x="123" y="85"/>
                  <a:pt x="123" y="83"/>
                </a:cubicBezTo>
                <a:cubicBezTo>
                  <a:pt x="126" y="77"/>
                  <a:pt x="121" y="74"/>
                  <a:pt x="122" y="69"/>
                </a:cubicBezTo>
                <a:cubicBezTo>
                  <a:pt x="124" y="63"/>
                  <a:pt x="129" y="58"/>
                  <a:pt x="134" y="53"/>
                </a:cubicBezTo>
                <a:cubicBezTo>
                  <a:pt x="133" y="50"/>
                  <a:pt x="129" y="44"/>
                  <a:pt x="129" y="40"/>
                </a:cubicBezTo>
                <a:cubicBezTo>
                  <a:pt x="128" y="32"/>
                  <a:pt x="130" y="34"/>
                  <a:pt x="132" y="26"/>
                </a:cubicBezTo>
                <a:cubicBezTo>
                  <a:pt x="137" y="13"/>
                  <a:pt x="140" y="10"/>
                  <a:pt x="152" y="7"/>
                </a:cubicBezTo>
                <a:cubicBezTo>
                  <a:pt x="161" y="5"/>
                  <a:pt x="167" y="0"/>
                  <a:pt x="175" y="4"/>
                </a:cubicBezTo>
                <a:cubicBezTo>
                  <a:pt x="188" y="11"/>
                  <a:pt x="186" y="21"/>
                  <a:pt x="205" y="16"/>
                </a:cubicBezTo>
                <a:cubicBezTo>
                  <a:pt x="212" y="28"/>
                  <a:pt x="211" y="30"/>
                  <a:pt x="208" y="43"/>
                </a:cubicBezTo>
                <a:cubicBezTo>
                  <a:pt x="205" y="52"/>
                  <a:pt x="201" y="59"/>
                  <a:pt x="204" y="69"/>
                </a:cubicBezTo>
                <a:cubicBezTo>
                  <a:pt x="205" y="71"/>
                  <a:pt x="205" y="71"/>
                  <a:pt x="205" y="71"/>
                </a:cubicBezTo>
                <a:cubicBezTo>
                  <a:pt x="204" y="72"/>
                  <a:pt x="204" y="72"/>
                  <a:pt x="204" y="72"/>
                </a:cubicBezTo>
                <a:cubicBezTo>
                  <a:pt x="199" y="75"/>
                  <a:pt x="195" y="78"/>
                  <a:pt x="191" y="84"/>
                </a:cubicBezTo>
                <a:cubicBezTo>
                  <a:pt x="183" y="95"/>
                  <a:pt x="186" y="102"/>
                  <a:pt x="187" y="116"/>
                </a:cubicBezTo>
                <a:cubicBezTo>
                  <a:pt x="199" y="123"/>
                  <a:pt x="223" y="147"/>
                  <a:pt x="230" y="160"/>
                </a:cubicBezTo>
                <a:cubicBezTo>
                  <a:pt x="236" y="170"/>
                  <a:pt x="232" y="171"/>
                  <a:pt x="225" y="183"/>
                </a:cubicBezTo>
                <a:cubicBezTo>
                  <a:pt x="221" y="190"/>
                  <a:pt x="217" y="196"/>
                  <a:pt x="219" y="204"/>
                </a:cubicBezTo>
                <a:cubicBezTo>
                  <a:pt x="190" y="217"/>
                  <a:pt x="231" y="267"/>
                  <a:pt x="237" y="284"/>
                </a:cubicBezTo>
                <a:cubicBezTo>
                  <a:pt x="241" y="297"/>
                  <a:pt x="238" y="290"/>
                  <a:pt x="234" y="303"/>
                </a:cubicBezTo>
                <a:cubicBezTo>
                  <a:pt x="232" y="310"/>
                  <a:pt x="235" y="312"/>
                  <a:pt x="232" y="319"/>
                </a:cubicBezTo>
                <a:cubicBezTo>
                  <a:pt x="229" y="328"/>
                  <a:pt x="226" y="328"/>
                  <a:pt x="225" y="337"/>
                </a:cubicBezTo>
                <a:cubicBezTo>
                  <a:pt x="225" y="346"/>
                  <a:pt x="227" y="356"/>
                  <a:pt x="227" y="365"/>
                </a:cubicBezTo>
                <a:cubicBezTo>
                  <a:pt x="231" y="367"/>
                  <a:pt x="236" y="368"/>
                  <a:pt x="241" y="367"/>
                </a:cubicBezTo>
                <a:cubicBezTo>
                  <a:pt x="244" y="377"/>
                  <a:pt x="242" y="381"/>
                  <a:pt x="236" y="388"/>
                </a:cubicBezTo>
                <a:cubicBezTo>
                  <a:pt x="239" y="388"/>
                  <a:pt x="242" y="390"/>
                  <a:pt x="245" y="391"/>
                </a:cubicBezTo>
                <a:cubicBezTo>
                  <a:pt x="245" y="397"/>
                  <a:pt x="246" y="398"/>
                  <a:pt x="250" y="402"/>
                </a:cubicBezTo>
                <a:cubicBezTo>
                  <a:pt x="243" y="406"/>
                  <a:pt x="239" y="413"/>
                  <a:pt x="245" y="419"/>
                </a:cubicBezTo>
                <a:cubicBezTo>
                  <a:pt x="241" y="421"/>
                  <a:pt x="239" y="424"/>
                  <a:pt x="236" y="427"/>
                </a:cubicBezTo>
                <a:cubicBezTo>
                  <a:pt x="239" y="432"/>
                  <a:pt x="248" y="433"/>
                  <a:pt x="248" y="441"/>
                </a:cubicBezTo>
                <a:cubicBezTo>
                  <a:pt x="260" y="448"/>
                  <a:pt x="270" y="453"/>
                  <a:pt x="275" y="467"/>
                </a:cubicBezTo>
                <a:cubicBezTo>
                  <a:pt x="280" y="483"/>
                  <a:pt x="270" y="496"/>
                  <a:pt x="261" y="509"/>
                </a:cubicBezTo>
                <a:cubicBezTo>
                  <a:pt x="253" y="520"/>
                  <a:pt x="243" y="533"/>
                  <a:pt x="233" y="541"/>
                </a:cubicBezTo>
                <a:cubicBezTo>
                  <a:pt x="226" y="548"/>
                  <a:pt x="204" y="553"/>
                  <a:pt x="213" y="566"/>
                </a:cubicBezTo>
                <a:cubicBezTo>
                  <a:pt x="201" y="571"/>
                  <a:pt x="184" y="587"/>
                  <a:pt x="181" y="601"/>
                </a:cubicBezTo>
                <a:cubicBezTo>
                  <a:pt x="180" y="601"/>
                  <a:pt x="180" y="601"/>
                  <a:pt x="180" y="601"/>
                </a:cubicBezTo>
                <a:cubicBezTo>
                  <a:pt x="179" y="603"/>
                  <a:pt x="178" y="604"/>
                  <a:pt x="177" y="605"/>
                </a:cubicBezTo>
                <a:cubicBezTo>
                  <a:pt x="175" y="606"/>
                  <a:pt x="174" y="607"/>
                  <a:pt x="169" y="605"/>
                </a:cubicBezTo>
                <a:cubicBezTo>
                  <a:pt x="164" y="603"/>
                  <a:pt x="163" y="600"/>
                  <a:pt x="157" y="604"/>
                </a:cubicBezTo>
                <a:cubicBezTo>
                  <a:pt x="152" y="609"/>
                  <a:pt x="150" y="607"/>
                  <a:pt x="146" y="608"/>
                </a:cubicBezTo>
                <a:cubicBezTo>
                  <a:pt x="142" y="610"/>
                  <a:pt x="149" y="609"/>
                  <a:pt x="139" y="612"/>
                </a:cubicBezTo>
                <a:cubicBezTo>
                  <a:pt x="129" y="614"/>
                  <a:pt x="127" y="613"/>
                  <a:pt x="125" y="617"/>
                </a:cubicBezTo>
                <a:cubicBezTo>
                  <a:pt x="124" y="620"/>
                  <a:pt x="122" y="623"/>
                  <a:pt x="116" y="623"/>
                </a:cubicBezTo>
                <a:cubicBezTo>
                  <a:pt x="110" y="624"/>
                  <a:pt x="109" y="619"/>
                  <a:pt x="107" y="623"/>
                </a:cubicBezTo>
                <a:cubicBezTo>
                  <a:pt x="105" y="626"/>
                  <a:pt x="102" y="621"/>
                  <a:pt x="100" y="624"/>
                </a:cubicBezTo>
                <a:cubicBezTo>
                  <a:pt x="99" y="628"/>
                  <a:pt x="99" y="627"/>
                  <a:pt x="95" y="630"/>
                </a:cubicBezTo>
                <a:cubicBezTo>
                  <a:pt x="92" y="633"/>
                  <a:pt x="85" y="636"/>
                  <a:pt x="84" y="634"/>
                </a:cubicBezTo>
                <a:cubicBezTo>
                  <a:pt x="82" y="633"/>
                  <a:pt x="81" y="625"/>
                  <a:pt x="79" y="630"/>
                </a:cubicBezTo>
                <a:cubicBezTo>
                  <a:pt x="77" y="634"/>
                  <a:pt x="76" y="638"/>
                  <a:pt x="73" y="635"/>
                </a:cubicBezTo>
                <a:cubicBezTo>
                  <a:pt x="70" y="633"/>
                  <a:pt x="68" y="634"/>
                  <a:pt x="68" y="634"/>
                </a:cubicBezTo>
                <a:cubicBezTo>
                  <a:pt x="68" y="634"/>
                  <a:pt x="65" y="646"/>
                  <a:pt x="60" y="642"/>
                </a:cubicBezTo>
                <a:cubicBezTo>
                  <a:pt x="56" y="638"/>
                  <a:pt x="65" y="635"/>
                  <a:pt x="61" y="634"/>
                </a:cubicBezTo>
                <a:cubicBezTo>
                  <a:pt x="57" y="633"/>
                  <a:pt x="51" y="637"/>
                  <a:pt x="51" y="634"/>
                </a:cubicBezTo>
                <a:cubicBezTo>
                  <a:pt x="51" y="631"/>
                  <a:pt x="49" y="626"/>
                  <a:pt x="53" y="625"/>
                </a:cubicBezTo>
                <a:cubicBezTo>
                  <a:pt x="57" y="624"/>
                  <a:pt x="55" y="623"/>
                  <a:pt x="58" y="621"/>
                </a:cubicBezTo>
                <a:cubicBezTo>
                  <a:pt x="60" y="618"/>
                  <a:pt x="59" y="617"/>
                  <a:pt x="60" y="615"/>
                </a:cubicBezTo>
                <a:cubicBezTo>
                  <a:pt x="61" y="613"/>
                  <a:pt x="61" y="611"/>
                  <a:pt x="61" y="611"/>
                </a:cubicBezTo>
                <a:cubicBezTo>
                  <a:pt x="54" y="616"/>
                  <a:pt x="54" y="616"/>
                  <a:pt x="54" y="616"/>
                </a:cubicBezTo>
                <a:cubicBezTo>
                  <a:pt x="54" y="616"/>
                  <a:pt x="47" y="616"/>
                  <a:pt x="46" y="613"/>
                </a:cubicBezTo>
                <a:cubicBezTo>
                  <a:pt x="45" y="609"/>
                  <a:pt x="45" y="606"/>
                  <a:pt x="42" y="607"/>
                </a:cubicBezTo>
                <a:cubicBezTo>
                  <a:pt x="39" y="607"/>
                  <a:pt x="36" y="608"/>
                  <a:pt x="34" y="606"/>
                </a:cubicBezTo>
                <a:cubicBezTo>
                  <a:pt x="31" y="604"/>
                  <a:pt x="35" y="601"/>
                  <a:pt x="31" y="601"/>
                </a:cubicBezTo>
                <a:cubicBezTo>
                  <a:pt x="26" y="601"/>
                  <a:pt x="26" y="598"/>
                  <a:pt x="23" y="600"/>
                </a:cubicBezTo>
                <a:cubicBezTo>
                  <a:pt x="21" y="602"/>
                  <a:pt x="19" y="603"/>
                  <a:pt x="17" y="600"/>
                </a:cubicBezTo>
                <a:cubicBezTo>
                  <a:pt x="16" y="598"/>
                  <a:pt x="13" y="596"/>
                  <a:pt x="15" y="593"/>
                </a:cubicBezTo>
                <a:cubicBezTo>
                  <a:pt x="17" y="591"/>
                  <a:pt x="18" y="588"/>
                  <a:pt x="18" y="588"/>
                </a:cubicBezTo>
                <a:cubicBezTo>
                  <a:pt x="19" y="583"/>
                  <a:pt x="19" y="583"/>
                  <a:pt x="19" y="583"/>
                </a:cubicBezTo>
                <a:cubicBezTo>
                  <a:pt x="16" y="576"/>
                  <a:pt x="16" y="576"/>
                  <a:pt x="16" y="576"/>
                </a:cubicBezTo>
                <a:cubicBezTo>
                  <a:pt x="17" y="571"/>
                  <a:pt x="17" y="571"/>
                  <a:pt x="17" y="571"/>
                </a:cubicBezTo>
                <a:cubicBezTo>
                  <a:pt x="21" y="567"/>
                  <a:pt x="21" y="567"/>
                  <a:pt x="21" y="567"/>
                </a:cubicBezTo>
                <a:cubicBezTo>
                  <a:pt x="21" y="567"/>
                  <a:pt x="17" y="564"/>
                  <a:pt x="17" y="562"/>
                </a:cubicBezTo>
                <a:cubicBezTo>
                  <a:pt x="17" y="561"/>
                  <a:pt x="22" y="554"/>
                  <a:pt x="21" y="551"/>
                </a:cubicBezTo>
                <a:cubicBezTo>
                  <a:pt x="21" y="551"/>
                  <a:pt x="20" y="547"/>
                  <a:pt x="21" y="547"/>
                </a:cubicBezTo>
                <a:cubicBezTo>
                  <a:pt x="23" y="547"/>
                  <a:pt x="25" y="544"/>
                  <a:pt x="23" y="541"/>
                </a:cubicBezTo>
                <a:cubicBezTo>
                  <a:pt x="21" y="538"/>
                  <a:pt x="19" y="537"/>
                  <a:pt x="19" y="535"/>
                </a:cubicBezTo>
                <a:cubicBezTo>
                  <a:pt x="20" y="532"/>
                  <a:pt x="21" y="530"/>
                  <a:pt x="20" y="529"/>
                </a:cubicBezTo>
                <a:cubicBezTo>
                  <a:pt x="20" y="527"/>
                  <a:pt x="21" y="529"/>
                  <a:pt x="17" y="525"/>
                </a:cubicBezTo>
                <a:cubicBezTo>
                  <a:pt x="14" y="520"/>
                  <a:pt x="12" y="516"/>
                  <a:pt x="14" y="513"/>
                </a:cubicBezTo>
                <a:cubicBezTo>
                  <a:pt x="16" y="510"/>
                  <a:pt x="19" y="508"/>
                  <a:pt x="17" y="506"/>
                </a:cubicBezTo>
                <a:cubicBezTo>
                  <a:pt x="16" y="504"/>
                  <a:pt x="13" y="506"/>
                  <a:pt x="12" y="500"/>
                </a:cubicBezTo>
                <a:cubicBezTo>
                  <a:pt x="11" y="495"/>
                  <a:pt x="10" y="490"/>
                  <a:pt x="10" y="487"/>
                </a:cubicBezTo>
                <a:cubicBezTo>
                  <a:pt x="10" y="485"/>
                  <a:pt x="10" y="479"/>
                  <a:pt x="11" y="477"/>
                </a:cubicBezTo>
                <a:cubicBezTo>
                  <a:pt x="12" y="476"/>
                  <a:pt x="16" y="471"/>
                  <a:pt x="16" y="471"/>
                </a:cubicBezTo>
                <a:cubicBezTo>
                  <a:pt x="16" y="471"/>
                  <a:pt x="25" y="466"/>
                  <a:pt x="23" y="462"/>
                </a:cubicBezTo>
                <a:cubicBezTo>
                  <a:pt x="22" y="459"/>
                  <a:pt x="28" y="450"/>
                  <a:pt x="31" y="450"/>
                </a:cubicBezTo>
                <a:cubicBezTo>
                  <a:pt x="34" y="450"/>
                  <a:pt x="35" y="450"/>
                  <a:pt x="39" y="449"/>
                </a:cubicBezTo>
                <a:cubicBezTo>
                  <a:pt x="44" y="449"/>
                  <a:pt x="48" y="441"/>
                  <a:pt x="48" y="436"/>
                </a:cubicBezTo>
                <a:cubicBezTo>
                  <a:pt x="49" y="432"/>
                  <a:pt x="48" y="429"/>
                  <a:pt x="51" y="426"/>
                </a:cubicBezTo>
                <a:cubicBezTo>
                  <a:pt x="54" y="424"/>
                  <a:pt x="53" y="422"/>
                  <a:pt x="58" y="418"/>
                </a:cubicBezTo>
                <a:cubicBezTo>
                  <a:pt x="63" y="414"/>
                  <a:pt x="71" y="405"/>
                  <a:pt x="74" y="401"/>
                </a:cubicBezTo>
                <a:cubicBezTo>
                  <a:pt x="78" y="398"/>
                  <a:pt x="80" y="395"/>
                  <a:pt x="84" y="393"/>
                </a:cubicBezTo>
                <a:cubicBezTo>
                  <a:pt x="88" y="391"/>
                  <a:pt x="87" y="386"/>
                  <a:pt x="89" y="382"/>
                </a:cubicBezTo>
                <a:cubicBezTo>
                  <a:pt x="90" y="378"/>
                  <a:pt x="86" y="374"/>
                  <a:pt x="91" y="372"/>
                </a:cubicBezTo>
                <a:cubicBezTo>
                  <a:pt x="96" y="371"/>
                  <a:pt x="94" y="369"/>
                  <a:pt x="97" y="364"/>
                </a:cubicBezTo>
                <a:cubicBezTo>
                  <a:pt x="100" y="360"/>
                  <a:pt x="100" y="359"/>
                  <a:pt x="103" y="358"/>
                </a:cubicBezTo>
                <a:cubicBezTo>
                  <a:pt x="106" y="357"/>
                  <a:pt x="104" y="355"/>
                  <a:pt x="107" y="354"/>
                </a:cubicBezTo>
                <a:cubicBezTo>
                  <a:pt x="110" y="352"/>
                  <a:pt x="109" y="349"/>
                  <a:pt x="112" y="351"/>
                </a:cubicBezTo>
                <a:cubicBezTo>
                  <a:pt x="115" y="353"/>
                  <a:pt x="117" y="351"/>
                  <a:pt x="118" y="349"/>
                </a:cubicBezTo>
                <a:cubicBezTo>
                  <a:pt x="119" y="347"/>
                  <a:pt x="116" y="341"/>
                  <a:pt x="116" y="341"/>
                </a:cubicBezTo>
                <a:cubicBezTo>
                  <a:pt x="116" y="341"/>
                  <a:pt x="122" y="335"/>
                  <a:pt x="120" y="326"/>
                </a:cubicBezTo>
                <a:cubicBezTo>
                  <a:pt x="117" y="317"/>
                  <a:pt x="118" y="315"/>
                  <a:pt x="117" y="313"/>
                </a:cubicBezTo>
                <a:cubicBezTo>
                  <a:pt x="116" y="311"/>
                  <a:pt x="109" y="307"/>
                  <a:pt x="109" y="307"/>
                </a:cubicBezTo>
                <a:cubicBezTo>
                  <a:pt x="104" y="296"/>
                  <a:pt x="104" y="296"/>
                  <a:pt x="104" y="296"/>
                </a:cubicBezTo>
                <a:cubicBezTo>
                  <a:pt x="104" y="296"/>
                  <a:pt x="103" y="286"/>
                  <a:pt x="100" y="290"/>
                </a:cubicBezTo>
                <a:cubicBezTo>
                  <a:pt x="99" y="293"/>
                  <a:pt x="97" y="294"/>
                  <a:pt x="95" y="294"/>
                </a:cubicBezTo>
                <a:cubicBezTo>
                  <a:pt x="93" y="294"/>
                  <a:pt x="93" y="294"/>
                  <a:pt x="93" y="294"/>
                </a:cubicBezTo>
                <a:cubicBezTo>
                  <a:pt x="88" y="285"/>
                  <a:pt x="81" y="276"/>
                  <a:pt x="77" y="266"/>
                </a:cubicBezTo>
                <a:cubicBezTo>
                  <a:pt x="69" y="251"/>
                  <a:pt x="76" y="250"/>
                  <a:pt x="82" y="235"/>
                </a:cubicBezTo>
                <a:cubicBezTo>
                  <a:pt x="79" y="236"/>
                  <a:pt x="76" y="233"/>
                  <a:pt x="74" y="233"/>
                </a:cubicBezTo>
                <a:cubicBezTo>
                  <a:pt x="75" y="231"/>
                  <a:pt x="75" y="226"/>
                  <a:pt x="78" y="223"/>
                </a:cubicBezTo>
                <a:cubicBezTo>
                  <a:pt x="76" y="222"/>
                  <a:pt x="74" y="220"/>
                  <a:pt x="71" y="219"/>
                </a:cubicBezTo>
                <a:cubicBezTo>
                  <a:pt x="70" y="207"/>
                  <a:pt x="70" y="195"/>
                  <a:pt x="71" y="183"/>
                </a:cubicBezTo>
                <a:cubicBezTo>
                  <a:pt x="71" y="172"/>
                  <a:pt x="76" y="158"/>
                  <a:pt x="75" y="147"/>
                </a:cubicBezTo>
                <a:cubicBezTo>
                  <a:pt x="73" y="147"/>
                  <a:pt x="70" y="147"/>
                  <a:pt x="68" y="147"/>
                </a:cubicBezTo>
                <a:cubicBezTo>
                  <a:pt x="72" y="122"/>
                  <a:pt x="52" y="138"/>
                  <a:pt x="47" y="119"/>
                </a:cubicBezTo>
                <a:cubicBezTo>
                  <a:pt x="45" y="122"/>
                  <a:pt x="41" y="123"/>
                  <a:pt x="40" y="124"/>
                </a:cubicBezTo>
                <a:cubicBezTo>
                  <a:pt x="39" y="119"/>
                  <a:pt x="38" y="115"/>
                  <a:pt x="38" y="110"/>
                </a:cubicBezTo>
                <a:cubicBezTo>
                  <a:pt x="34" y="111"/>
                  <a:pt x="31" y="110"/>
                  <a:pt x="27" y="113"/>
                </a:cubicBezTo>
                <a:cubicBezTo>
                  <a:pt x="19" y="101"/>
                  <a:pt x="8" y="93"/>
                  <a:pt x="1" y="79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0" name="Freeform 555"/>
          <p:cNvSpPr>
            <a:spLocks/>
          </p:cNvSpPr>
          <p:nvPr userDrawn="1"/>
        </p:nvSpPr>
        <p:spPr bwMode="auto">
          <a:xfrm>
            <a:off x="6008260" y="2567388"/>
            <a:ext cx="261315" cy="603033"/>
          </a:xfrm>
          <a:custGeom>
            <a:avLst/>
            <a:gdLst>
              <a:gd name="T0" fmla="*/ 2147483646 w 280"/>
              <a:gd name="T1" fmla="*/ 2147483646 h 646"/>
              <a:gd name="T2" fmla="*/ 2147483646 w 280"/>
              <a:gd name="T3" fmla="*/ 2147483646 h 646"/>
              <a:gd name="T4" fmla="*/ 2147483646 w 280"/>
              <a:gd name="T5" fmla="*/ 2147483646 h 646"/>
              <a:gd name="T6" fmla="*/ 2147483646 w 280"/>
              <a:gd name="T7" fmla="*/ 2147483646 h 646"/>
              <a:gd name="T8" fmla="*/ 2147483646 w 280"/>
              <a:gd name="T9" fmla="*/ 2147483646 h 646"/>
              <a:gd name="T10" fmla="*/ 2147483646 w 280"/>
              <a:gd name="T11" fmla="*/ 2147483646 h 646"/>
              <a:gd name="T12" fmla="*/ 2147483646 w 280"/>
              <a:gd name="T13" fmla="*/ 2147483646 h 646"/>
              <a:gd name="T14" fmla="*/ 2147483646 w 280"/>
              <a:gd name="T15" fmla="*/ 2147483646 h 646"/>
              <a:gd name="T16" fmla="*/ 2147483646 w 280"/>
              <a:gd name="T17" fmla="*/ 2147483646 h 646"/>
              <a:gd name="T18" fmla="*/ 2147483646 w 280"/>
              <a:gd name="T19" fmla="*/ 2147483646 h 646"/>
              <a:gd name="T20" fmla="*/ 2147483646 w 280"/>
              <a:gd name="T21" fmla="*/ 2147483646 h 646"/>
              <a:gd name="T22" fmla="*/ 2147483646 w 280"/>
              <a:gd name="T23" fmla="*/ 2147483646 h 646"/>
              <a:gd name="T24" fmla="*/ 2147483646 w 280"/>
              <a:gd name="T25" fmla="*/ 2147483646 h 646"/>
              <a:gd name="T26" fmla="*/ 2147483646 w 280"/>
              <a:gd name="T27" fmla="*/ 2147483646 h 646"/>
              <a:gd name="T28" fmla="*/ 2147483646 w 280"/>
              <a:gd name="T29" fmla="*/ 2147483646 h 646"/>
              <a:gd name="T30" fmla="*/ 2147483646 w 280"/>
              <a:gd name="T31" fmla="*/ 2147483646 h 646"/>
              <a:gd name="T32" fmla="*/ 2147483646 w 280"/>
              <a:gd name="T33" fmla="*/ 2147483646 h 646"/>
              <a:gd name="T34" fmla="*/ 2147483646 w 280"/>
              <a:gd name="T35" fmla="*/ 2147483646 h 646"/>
              <a:gd name="T36" fmla="*/ 2147483646 w 280"/>
              <a:gd name="T37" fmla="*/ 2147483646 h 646"/>
              <a:gd name="T38" fmla="*/ 2147483646 w 280"/>
              <a:gd name="T39" fmla="*/ 2147483646 h 646"/>
              <a:gd name="T40" fmla="*/ 2147483646 w 280"/>
              <a:gd name="T41" fmla="*/ 2147483646 h 646"/>
              <a:gd name="T42" fmla="*/ 2147483646 w 280"/>
              <a:gd name="T43" fmla="*/ 2147483646 h 646"/>
              <a:gd name="T44" fmla="*/ 2147483646 w 280"/>
              <a:gd name="T45" fmla="*/ 2147483646 h 646"/>
              <a:gd name="T46" fmla="*/ 2147483646 w 280"/>
              <a:gd name="T47" fmla="*/ 2147483646 h 646"/>
              <a:gd name="T48" fmla="*/ 2147483646 w 280"/>
              <a:gd name="T49" fmla="*/ 2147483646 h 646"/>
              <a:gd name="T50" fmla="*/ 2147483646 w 280"/>
              <a:gd name="T51" fmla="*/ 2147483646 h 646"/>
              <a:gd name="T52" fmla="*/ 2147483646 w 280"/>
              <a:gd name="T53" fmla="*/ 2147483646 h 646"/>
              <a:gd name="T54" fmla="*/ 2147483646 w 280"/>
              <a:gd name="T55" fmla="*/ 2147483646 h 646"/>
              <a:gd name="T56" fmla="*/ 2147483646 w 280"/>
              <a:gd name="T57" fmla="*/ 2147483646 h 646"/>
              <a:gd name="T58" fmla="*/ 2147483646 w 280"/>
              <a:gd name="T59" fmla="*/ 2147483646 h 646"/>
              <a:gd name="T60" fmla="*/ 2147483646 w 280"/>
              <a:gd name="T61" fmla="*/ 2147483646 h 646"/>
              <a:gd name="T62" fmla="*/ 2147483646 w 280"/>
              <a:gd name="T63" fmla="*/ 2147483646 h 646"/>
              <a:gd name="T64" fmla="*/ 2147483646 w 280"/>
              <a:gd name="T65" fmla="*/ 2147483646 h 646"/>
              <a:gd name="T66" fmla="*/ 2147483646 w 280"/>
              <a:gd name="T67" fmla="*/ 2147483646 h 646"/>
              <a:gd name="T68" fmla="*/ 2147483646 w 280"/>
              <a:gd name="T69" fmla="*/ 2147483646 h 646"/>
              <a:gd name="T70" fmla="*/ 2147483646 w 280"/>
              <a:gd name="T71" fmla="*/ 2147483646 h 646"/>
              <a:gd name="T72" fmla="*/ 2147483646 w 280"/>
              <a:gd name="T73" fmla="*/ 2147483646 h 646"/>
              <a:gd name="T74" fmla="*/ 2147483646 w 280"/>
              <a:gd name="T75" fmla="*/ 2147483646 h 646"/>
              <a:gd name="T76" fmla="*/ 2147483646 w 280"/>
              <a:gd name="T77" fmla="*/ 2147483646 h 646"/>
              <a:gd name="T78" fmla="*/ 2147483646 w 280"/>
              <a:gd name="T79" fmla="*/ 2147483646 h 646"/>
              <a:gd name="T80" fmla="*/ 2147483646 w 280"/>
              <a:gd name="T81" fmla="*/ 2147483646 h 646"/>
              <a:gd name="T82" fmla="*/ 2147483646 w 280"/>
              <a:gd name="T83" fmla="*/ 2147483646 h 646"/>
              <a:gd name="T84" fmla="*/ 2147483646 w 280"/>
              <a:gd name="T85" fmla="*/ 2147483646 h 646"/>
              <a:gd name="T86" fmla="*/ 2147483646 w 280"/>
              <a:gd name="T87" fmla="*/ 2147483646 h 646"/>
              <a:gd name="T88" fmla="*/ 2147483646 w 280"/>
              <a:gd name="T89" fmla="*/ 2147483646 h 646"/>
              <a:gd name="T90" fmla="*/ 2147483646 w 280"/>
              <a:gd name="T91" fmla="*/ 2147483646 h 646"/>
              <a:gd name="T92" fmla="*/ 2147483646 w 280"/>
              <a:gd name="T93" fmla="*/ 2147483646 h 646"/>
              <a:gd name="T94" fmla="*/ 2147483646 w 280"/>
              <a:gd name="T95" fmla="*/ 2147483646 h 646"/>
              <a:gd name="T96" fmla="*/ 2147483646 w 280"/>
              <a:gd name="T97" fmla="*/ 2147483646 h 646"/>
              <a:gd name="T98" fmla="*/ 2147483646 w 280"/>
              <a:gd name="T99" fmla="*/ 2147483646 h 646"/>
              <a:gd name="T100" fmla="*/ 2147483646 w 280"/>
              <a:gd name="T101" fmla="*/ 2147483646 h 646"/>
              <a:gd name="T102" fmla="*/ 2147483646 w 280"/>
              <a:gd name="T103" fmla="*/ 2147483646 h 646"/>
              <a:gd name="T104" fmla="*/ 2147483646 w 280"/>
              <a:gd name="T105" fmla="*/ 2147483646 h 646"/>
              <a:gd name="T106" fmla="*/ 2147483646 w 280"/>
              <a:gd name="T107" fmla="*/ 2147483646 h 646"/>
              <a:gd name="T108" fmla="*/ 2147483646 w 280"/>
              <a:gd name="T109" fmla="*/ 2147483646 h 646"/>
              <a:gd name="T110" fmla="*/ 2147483646 w 280"/>
              <a:gd name="T111" fmla="*/ 2147483646 h 646"/>
              <a:gd name="T112" fmla="*/ 2147483646 w 280"/>
              <a:gd name="T113" fmla="*/ 2147483646 h 646"/>
              <a:gd name="T114" fmla="*/ 2147483646 w 280"/>
              <a:gd name="T115" fmla="*/ 2147483646 h 646"/>
              <a:gd name="T116" fmla="*/ 2147483646 w 280"/>
              <a:gd name="T117" fmla="*/ 2147483646 h 646"/>
              <a:gd name="T118" fmla="*/ 2147483646 w 280"/>
              <a:gd name="T119" fmla="*/ 2147483646 h 646"/>
              <a:gd name="T120" fmla="*/ 2147483646 w 280"/>
              <a:gd name="T121" fmla="*/ 2147483646 h 646"/>
              <a:gd name="T122" fmla="*/ 2147483646 w 280"/>
              <a:gd name="T123" fmla="*/ 2147483646 h 646"/>
              <a:gd name="T124" fmla="*/ 2147483646 w 280"/>
              <a:gd name="T125" fmla="*/ 2147483646 h 64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80"/>
              <a:gd name="T190" fmla="*/ 0 h 646"/>
              <a:gd name="T191" fmla="*/ 280 w 280"/>
              <a:gd name="T192" fmla="*/ 646 h 64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80" h="646">
                <a:moveTo>
                  <a:pt x="0" y="73"/>
                </a:moveTo>
                <a:cubicBezTo>
                  <a:pt x="1" y="74"/>
                  <a:pt x="3" y="76"/>
                  <a:pt x="4" y="79"/>
                </a:cubicBezTo>
                <a:cubicBezTo>
                  <a:pt x="6" y="73"/>
                  <a:pt x="4" y="67"/>
                  <a:pt x="7" y="61"/>
                </a:cubicBezTo>
                <a:cubicBezTo>
                  <a:pt x="26" y="64"/>
                  <a:pt x="26" y="92"/>
                  <a:pt x="40" y="101"/>
                </a:cubicBezTo>
                <a:cubicBezTo>
                  <a:pt x="53" y="109"/>
                  <a:pt x="75" y="91"/>
                  <a:pt x="78" y="103"/>
                </a:cubicBezTo>
                <a:cubicBezTo>
                  <a:pt x="82" y="103"/>
                  <a:pt x="86" y="102"/>
                  <a:pt x="89" y="98"/>
                </a:cubicBezTo>
                <a:cubicBezTo>
                  <a:pt x="94" y="103"/>
                  <a:pt x="97" y="111"/>
                  <a:pt x="102" y="117"/>
                </a:cubicBezTo>
                <a:cubicBezTo>
                  <a:pt x="105" y="110"/>
                  <a:pt x="107" y="101"/>
                  <a:pt x="111" y="95"/>
                </a:cubicBezTo>
                <a:cubicBezTo>
                  <a:pt x="114" y="91"/>
                  <a:pt x="123" y="85"/>
                  <a:pt x="123" y="83"/>
                </a:cubicBezTo>
                <a:cubicBezTo>
                  <a:pt x="126" y="77"/>
                  <a:pt x="121" y="74"/>
                  <a:pt x="122" y="69"/>
                </a:cubicBezTo>
                <a:cubicBezTo>
                  <a:pt x="124" y="63"/>
                  <a:pt x="129" y="58"/>
                  <a:pt x="134" y="53"/>
                </a:cubicBezTo>
                <a:cubicBezTo>
                  <a:pt x="133" y="50"/>
                  <a:pt x="129" y="44"/>
                  <a:pt x="129" y="40"/>
                </a:cubicBezTo>
                <a:cubicBezTo>
                  <a:pt x="128" y="32"/>
                  <a:pt x="130" y="34"/>
                  <a:pt x="132" y="26"/>
                </a:cubicBezTo>
                <a:cubicBezTo>
                  <a:pt x="137" y="13"/>
                  <a:pt x="140" y="10"/>
                  <a:pt x="152" y="7"/>
                </a:cubicBezTo>
                <a:cubicBezTo>
                  <a:pt x="161" y="5"/>
                  <a:pt x="167" y="0"/>
                  <a:pt x="175" y="4"/>
                </a:cubicBezTo>
                <a:cubicBezTo>
                  <a:pt x="188" y="11"/>
                  <a:pt x="186" y="21"/>
                  <a:pt x="205" y="16"/>
                </a:cubicBezTo>
                <a:cubicBezTo>
                  <a:pt x="212" y="28"/>
                  <a:pt x="211" y="30"/>
                  <a:pt x="208" y="43"/>
                </a:cubicBezTo>
                <a:cubicBezTo>
                  <a:pt x="205" y="52"/>
                  <a:pt x="201" y="59"/>
                  <a:pt x="204" y="69"/>
                </a:cubicBezTo>
                <a:cubicBezTo>
                  <a:pt x="205" y="71"/>
                  <a:pt x="205" y="71"/>
                  <a:pt x="205" y="71"/>
                </a:cubicBezTo>
                <a:cubicBezTo>
                  <a:pt x="204" y="72"/>
                  <a:pt x="204" y="72"/>
                  <a:pt x="204" y="72"/>
                </a:cubicBezTo>
                <a:cubicBezTo>
                  <a:pt x="199" y="75"/>
                  <a:pt x="195" y="78"/>
                  <a:pt x="191" y="84"/>
                </a:cubicBezTo>
                <a:cubicBezTo>
                  <a:pt x="183" y="95"/>
                  <a:pt x="186" y="102"/>
                  <a:pt x="187" y="116"/>
                </a:cubicBezTo>
                <a:cubicBezTo>
                  <a:pt x="199" y="123"/>
                  <a:pt x="223" y="147"/>
                  <a:pt x="230" y="160"/>
                </a:cubicBezTo>
                <a:cubicBezTo>
                  <a:pt x="236" y="170"/>
                  <a:pt x="232" y="171"/>
                  <a:pt x="225" y="183"/>
                </a:cubicBezTo>
                <a:cubicBezTo>
                  <a:pt x="221" y="190"/>
                  <a:pt x="217" y="196"/>
                  <a:pt x="219" y="204"/>
                </a:cubicBezTo>
                <a:cubicBezTo>
                  <a:pt x="190" y="217"/>
                  <a:pt x="231" y="267"/>
                  <a:pt x="237" y="284"/>
                </a:cubicBezTo>
                <a:cubicBezTo>
                  <a:pt x="241" y="297"/>
                  <a:pt x="238" y="290"/>
                  <a:pt x="234" y="303"/>
                </a:cubicBezTo>
                <a:cubicBezTo>
                  <a:pt x="232" y="310"/>
                  <a:pt x="235" y="312"/>
                  <a:pt x="232" y="319"/>
                </a:cubicBezTo>
                <a:cubicBezTo>
                  <a:pt x="229" y="328"/>
                  <a:pt x="226" y="328"/>
                  <a:pt x="225" y="337"/>
                </a:cubicBezTo>
                <a:cubicBezTo>
                  <a:pt x="225" y="346"/>
                  <a:pt x="227" y="356"/>
                  <a:pt x="227" y="365"/>
                </a:cubicBezTo>
                <a:cubicBezTo>
                  <a:pt x="231" y="367"/>
                  <a:pt x="236" y="368"/>
                  <a:pt x="241" y="367"/>
                </a:cubicBezTo>
                <a:cubicBezTo>
                  <a:pt x="244" y="377"/>
                  <a:pt x="242" y="381"/>
                  <a:pt x="236" y="388"/>
                </a:cubicBezTo>
                <a:cubicBezTo>
                  <a:pt x="239" y="388"/>
                  <a:pt x="242" y="390"/>
                  <a:pt x="245" y="391"/>
                </a:cubicBezTo>
                <a:cubicBezTo>
                  <a:pt x="245" y="397"/>
                  <a:pt x="246" y="398"/>
                  <a:pt x="250" y="402"/>
                </a:cubicBezTo>
                <a:cubicBezTo>
                  <a:pt x="243" y="406"/>
                  <a:pt x="239" y="413"/>
                  <a:pt x="245" y="419"/>
                </a:cubicBezTo>
                <a:cubicBezTo>
                  <a:pt x="241" y="421"/>
                  <a:pt x="239" y="424"/>
                  <a:pt x="236" y="427"/>
                </a:cubicBezTo>
                <a:cubicBezTo>
                  <a:pt x="239" y="432"/>
                  <a:pt x="248" y="433"/>
                  <a:pt x="248" y="441"/>
                </a:cubicBezTo>
                <a:cubicBezTo>
                  <a:pt x="260" y="448"/>
                  <a:pt x="270" y="453"/>
                  <a:pt x="275" y="467"/>
                </a:cubicBezTo>
                <a:cubicBezTo>
                  <a:pt x="280" y="483"/>
                  <a:pt x="270" y="496"/>
                  <a:pt x="261" y="509"/>
                </a:cubicBezTo>
                <a:cubicBezTo>
                  <a:pt x="253" y="520"/>
                  <a:pt x="243" y="533"/>
                  <a:pt x="233" y="541"/>
                </a:cubicBezTo>
                <a:cubicBezTo>
                  <a:pt x="226" y="548"/>
                  <a:pt x="204" y="553"/>
                  <a:pt x="213" y="566"/>
                </a:cubicBezTo>
                <a:cubicBezTo>
                  <a:pt x="201" y="571"/>
                  <a:pt x="184" y="587"/>
                  <a:pt x="181" y="601"/>
                </a:cubicBezTo>
                <a:cubicBezTo>
                  <a:pt x="180" y="601"/>
                  <a:pt x="180" y="601"/>
                  <a:pt x="180" y="601"/>
                </a:cubicBezTo>
                <a:cubicBezTo>
                  <a:pt x="179" y="603"/>
                  <a:pt x="178" y="604"/>
                  <a:pt x="177" y="605"/>
                </a:cubicBezTo>
                <a:cubicBezTo>
                  <a:pt x="175" y="606"/>
                  <a:pt x="174" y="607"/>
                  <a:pt x="169" y="605"/>
                </a:cubicBezTo>
                <a:cubicBezTo>
                  <a:pt x="164" y="603"/>
                  <a:pt x="163" y="600"/>
                  <a:pt x="157" y="604"/>
                </a:cubicBezTo>
                <a:cubicBezTo>
                  <a:pt x="152" y="609"/>
                  <a:pt x="150" y="607"/>
                  <a:pt x="146" y="608"/>
                </a:cubicBezTo>
                <a:cubicBezTo>
                  <a:pt x="142" y="610"/>
                  <a:pt x="149" y="609"/>
                  <a:pt x="139" y="612"/>
                </a:cubicBezTo>
                <a:cubicBezTo>
                  <a:pt x="129" y="614"/>
                  <a:pt x="127" y="613"/>
                  <a:pt x="125" y="617"/>
                </a:cubicBezTo>
                <a:cubicBezTo>
                  <a:pt x="124" y="620"/>
                  <a:pt x="122" y="623"/>
                  <a:pt x="116" y="623"/>
                </a:cubicBezTo>
                <a:cubicBezTo>
                  <a:pt x="110" y="624"/>
                  <a:pt x="109" y="619"/>
                  <a:pt x="107" y="623"/>
                </a:cubicBezTo>
                <a:cubicBezTo>
                  <a:pt x="105" y="626"/>
                  <a:pt x="102" y="621"/>
                  <a:pt x="100" y="624"/>
                </a:cubicBezTo>
                <a:cubicBezTo>
                  <a:pt x="99" y="628"/>
                  <a:pt x="99" y="627"/>
                  <a:pt x="95" y="630"/>
                </a:cubicBezTo>
                <a:cubicBezTo>
                  <a:pt x="92" y="633"/>
                  <a:pt x="85" y="636"/>
                  <a:pt x="84" y="634"/>
                </a:cubicBezTo>
                <a:cubicBezTo>
                  <a:pt x="82" y="633"/>
                  <a:pt x="81" y="625"/>
                  <a:pt x="79" y="630"/>
                </a:cubicBezTo>
                <a:cubicBezTo>
                  <a:pt x="77" y="634"/>
                  <a:pt x="76" y="638"/>
                  <a:pt x="73" y="635"/>
                </a:cubicBezTo>
                <a:cubicBezTo>
                  <a:pt x="70" y="633"/>
                  <a:pt x="68" y="634"/>
                  <a:pt x="68" y="634"/>
                </a:cubicBezTo>
                <a:cubicBezTo>
                  <a:pt x="68" y="634"/>
                  <a:pt x="65" y="646"/>
                  <a:pt x="60" y="642"/>
                </a:cubicBezTo>
                <a:cubicBezTo>
                  <a:pt x="56" y="638"/>
                  <a:pt x="65" y="635"/>
                  <a:pt x="61" y="634"/>
                </a:cubicBezTo>
                <a:cubicBezTo>
                  <a:pt x="57" y="633"/>
                  <a:pt x="51" y="637"/>
                  <a:pt x="51" y="634"/>
                </a:cubicBezTo>
                <a:cubicBezTo>
                  <a:pt x="51" y="631"/>
                  <a:pt x="49" y="626"/>
                  <a:pt x="53" y="625"/>
                </a:cubicBezTo>
                <a:cubicBezTo>
                  <a:pt x="57" y="624"/>
                  <a:pt x="55" y="623"/>
                  <a:pt x="58" y="621"/>
                </a:cubicBezTo>
                <a:cubicBezTo>
                  <a:pt x="60" y="618"/>
                  <a:pt x="59" y="617"/>
                  <a:pt x="60" y="615"/>
                </a:cubicBezTo>
                <a:cubicBezTo>
                  <a:pt x="61" y="613"/>
                  <a:pt x="61" y="611"/>
                  <a:pt x="61" y="611"/>
                </a:cubicBezTo>
                <a:cubicBezTo>
                  <a:pt x="54" y="616"/>
                  <a:pt x="54" y="616"/>
                  <a:pt x="54" y="616"/>
                </a:cubicBezTo>
                <a:cubicBezTo>
                  <a:pt x="54" y="616"/>
                  <a:pt x="47" y="616"/>
                  <a:pt x="46" y="613"/>
                </a:cubicBezTo>
                <a:cubicBezTo>
                  <a:pt x="45" y="609"/>
                  <a:pt x="45" y="606"/>
                  <a:pt x="42" y="607"/>
                </a:cubicBezTo>
                <a:cubicBezTo>
                  <a:pt x="39" y="607"/>
                  <a:pt x="36" y="608"/>
                  <a:pt x="34" y="606"/>
                </a:cubicBezTo>
                <a:cubicBezTo>
                  <a:pt x="31" y="604"/>
                  <a:pt x="35" y="601"/>
                  <a:pt x="31" y="601"/>
                </a:cubicBezTo>
                <a:cubicBezTo>
                  <a:pt x="26" y="601"/>
                  <a:pt x="26" y="598"/>
                  <a:pt x="23" y="600"/>
                </a:cubicBezTo>
                <a:cubicBezTo>
                  <a:pt x="21" y="602"/>
                  <a:pt x="19" y="603"/>
                  <a:pt x="17" y="600"/>
                </a:cubicBezTo>
                <a:cubicBezTo>
                  <a:pt x="16" y="598"/>
                  <a:pt x="13" y="596"/>
                  <a:pt x="15" y="593"/>
                </a:cubicBezTo>
                <a:cubicBezTo>
                  <a:pt x="17" y="591"/>
                  <a:pt x="18" y="588"/>
                  <a:pt x="18" y="588"/>
                </a:cubicBezTo>
                <a:cubicBezTo>
                  <a:pt x="19" y="583"/>
                  <a:pt x="19" y="583"/>
                  <a:pt x="19" y="583"/>
                </a:cubicBezTo>
                <a:cubicBezTo>
                  <a:pt x="16" y="576"/>
                  <a:pt x="16" y="576"/>
                  <a:pt x="16" y="576"/>
                </a:cubicBezTo>
                <a:cubicBezTo>
                  <a:pt x="17" y="571"/>
                  <a:pt x="17" y="571"/>
                  <a:pt x="17" y="571"/>
                </a:cubicBezTo>
                <a:cubicBezTo>
                  <a:pt x="21" y="567"/>
                  <a:pt x="21" y="567"/>
                  <a:pt x="21" y="567"/>
                </a:cubicBezTo>
                <a:cubicBezTo>
                  <a:pt x="21" y="567"/>
                  <a:pt x="17" y="564"/>
                  <a:pt x="17" y="562"/>
                </a:cubicBezTo>
                <a:cubicBezTo>
                  <a:pt x="17" y="561"/>
                  <a:pt x="22" y="554"/>
                  <a:pt x="21" y="551"/>
                </a:cubicBezTo>
                <a:cubicBezTo>
                  <a:pt x="21" y="551"/>
                  <a:pt x="20" y="547"/>
                  <a:pt x="21" y="547"/>
                </a:cubicBezTo>
                <a:cubicBezTo>
                  <a:pt x="23" y="547"/>
                  <a:pt x="25" y="544"/>
                  <a:pt x="23" y="541"/>
                </a:cubicBezTo>
                <a:cubicBezTo>
                  <a:pt x="21" y="538"/>
                  <a:pt x="19" y="537"/>
                  <a:pt x="19" y="535"/>
                </a:cubicBezTo>
                <a:cubicBezTo>
                  <a:pt x="20" y="532"/>
                  <a:pt x="21" y="530"/>
                  <a:pt x="20" y="529"/>
                </a:cubicBezTo>
                <a:cubicBezTo>
                  <a:pt x="20" y="527"/>
                  <a:pt x="21" y="529"/>
                  <a:pt x="17" y="525"/>
                </a:cubicBezTo>
                <a:cubicBezTo>
                  <a:pt x="14" y="520"/>
                  <a:pt x="12" y="516"/>
                  <a:pt x="14" y="513"/>
                </a:cubicBezTo>
                <a:cubicBezTo>
                  <a:pt x="16" y="510"/>
                  <a:pt x="19" y="508"/>
                  <a:pt x="17" y="506"/>
                </a:cubicBezTo>
                <a:cubicBezTo>
                  <a:pt x="16" y="504"/>
                  <a:pt x="13" y="506"/>
                  <a:pt x="12" y="500"/>
                </a:cubicBezTo>
                <a:cubicBezTo>
                  <a:pt x="11" y="495"/>
                  <a:pt x="10" y="490"/>
                  <a:pt x="10" y="487"/>
                </a:cubicBezTo>
                <a:cubicBezTo>
                  <a:pt x="10" y="485"/>
                  <a:pt x="10" y="479"/>
                  <a:pt x="11" y="477"/>
                </a:cubicBezTo>
                <a:cubicBezTo>
                  <a:pt x="12" y="476"/>
                  <a:pt x="16" y="471"/>
                  <a:pt x="16" y="471"/>
                </a:cubicBezTo>
                <a:cubicBezTo>
                  <a:pt x="16" y="471"/>
                  <a:pt x="25" y="466"/>
                  <a:pt x="23" y="462"/>
                </a:cubicBezTo>
                <a:cubicBezTo>
                  <a:pt x="22" y="459"/>
                  <a:pt x="28" y="450"/>
                  <a:pt x="31" y="450"/>
                </a:cubicBezTo>
                <a:cubicBezTo>
                  <a:pt x="34" y="450"/>
                  <a:pt x="35" y="450"/>
                  <a:pt x="39" y="449"/>
                </a:cubicBezTo>
                <a:cubicBezTo>
                  <a:pt x="44" y="449"/>
                  <a:pt x="48" y="441"/>
                  <a:pt x="48" y="436"/>
                </a:cubicBezTo>
                <a:cubicBezTo>
                  <a:pt x="49" y="432"/>
                  <a:pt x="48" y="429"/>
                  <a:pt x="51" y="426"/>
                </a:cubicBezTo>
                <a:cubicBezTo>
                  <a:pt x="54" y="424"/>
                  <a:pt x="53" y="422"/>
                  <a:pt x="58" y="418"/>
                </a:cubicBezTo>
                <a:cubicBezTo>
                  <a:pt x="63" y="414"/>
                  <a:pt x="71" y="405"/>
                  <a:pt x="74" y="401"/>
                </a:cubicBezTo>
                <a:cubicBezTo>
                  <a:pt x="78" y="398"/>
                  <a:pt x="80" y="395"/>
                  <a:pt x="84" y="393"/>
                </a:cubicBezTo>
                <a:cubicBezTo>
                  <a:pt x="88" y="391"/>
                  <a:pt x="87" y="386"/>
                  <a:pt x="89" y="382"/>
                </a:cubicBezTo>
                <a:cubicBezTo>
                  <a:pt x="90" y="378"/>
                  <a:pt x="86" y="374"/>
                  <a:pt x="91" y="372"/>
                </a:cubicBezTo>
                <a:cubicBezTo>
                  <a:pt x="96" y="371"/>
                  <a:pt x="94" y="369"/>
                  <a:pt x="97" y="364"/>
                </a:cubicBezTo>
                <a:cubicBezTo>
                  <a:pt x="100" y="360"/>
                  <a:pt x="100" y="359"/>
                  <a:pt x="103" y="358"/>
                </a:cubicBezTo>
                <a:cubicBezTo>
                  <a:pt x="106" y="357"/>
                  <a:pt x="104" y="355"/>
                  <a:pt x="107" y="354"/>
                </a:cubicBezTo>
                <a:cubicBezTo>
                  <a:pt x="110" y="352"/>
                  <a:pt x="109" y="349"/>
                  <a:pt x="112" y="351"/>
                </a:cubicBezTo>
                <a:cubicBezTo>
                  <a:pt x="115" y="353"/>
                  <a:pt x="117" y="351"/>
                  <a:pt x="118" y="349"/>
                </a:cubicBezTo>
                <a:cubicBezTo>
                  <a:pt x="119" y="347"/>
                  <a:pt x="116" y="341"/>
                  <a:pt x="116" y="341"/>
                </a:cubicBezTo>
                <a:cubicBezTo>
                  <a:pt x="116" y="341"/>
                  <a:pt x="122" y="335"/>
                  <a:pt x="120" y="326"/>
                </a:cubicBezTo>
                <a:cubicBezTo>
                  <a:pt x="117" y="317"/>
                  <a:pt x="118" y="315"/>
                  <a:pt x="117" y="313"/>
                </a:cubicBezTo>
                <a:cubicBezTo>
                  <a:pt x="116" y="311"/>
                  <a:pt x="109" y="307"/>
                  <a:pt x="109" y="307"/>
                </a:cubicBezTo>
                <a:cubicBezTo>
                  <a:pt x="104" y="296"/>
                  <a:pt x="104" y="296"/>
                  <a:pt x="104" y="296"/>
                </a:cubicBezTo>
                <a:cubicBezTo>
                  <a:pt x="104" y="296"/>
                  <a:pt x="103" y="286"/>
                  <a:pt x="100" y="290"/>
                </a:cubicBezTo>
                <a:cubicBezTo>
                  <a:pt x="99" y="293"/>
                  <a:pt x="97" y="294"/>
                  <a:pt x="95" y="294"/>
                </a:cubicBezTo>
                <a:cubicBezTo>
                  <a:pt x="93" y="294"/>
                  <a:pt x="93" y="294"/>
                  <a:pt x="93" y="294"/>
                </a:cubicBezTo>
                <a:cubicBezTo>
                  <a:pt x="88" y="285"/>
                  <a:pt x="81" y="276"/>
                  <a:pt x="77" y="266"/>
                </a:cubicBezTo>
                <a:cubicBezTo>
                  <a:pt x="69" y="251"/>
                  <a:pt x="76" y="250"/>
                  <a:pt x="82" y="235"/>
                </a:cubicBezTo>
                <a:cubicBezTo>
                  <a:pt x="79" y="236"/>
                  <a:pt x="76" y="233"/>
                  <a:pt x="74" y="233"/>
                </a:cubicBezTo>
                <a:cubicBezTo>
                  <a:pt x="75" y="231"/>
                  <a:pt x="75" y="226"/>
                  <a:pt x="78" y="223"/>
                </a:cubicBezTo>
                <a:cubicBezTo>
                  <a:pt x="76" y="222"/>
                  <a:pt x="74" y="220"/>
                  <a:pt x="71" y="219"/>
                </a:cubicBezTo>
                <a:cubicBezTo>
                  <a:pt x="70" y="207"/>
                  <a:pt x="70" y="195"/>
                  <a:pt x="71" y="183"/>
                </a:cubicBezTo>
                <a:cubicBezTo>
                  <a:pt x="71" y="172"/>
                  <a:pt x="76" y="158"/>
                  <a:pt x="75" y="147"/>
                </a:cubicBezTo>
                <a:cubicBezTo>
                  <a:pt x="73" y="147"/>
                  <a:pt x="70" y="147"/>
                  <a:pt x="68" y="147"/>
                </a:cubicBezTo>
                <a:cubicBezTo>
                  <a:pt x="72" y="122"/>
                  <a:pt x="52" y="138"/>
                  <a:pt x="47" y="119"/>
                </a:cubicBezTo>
                <a:cubicBezTo>
                  <a:pt x="45" y="122"/>
                  <a:pt x="41" y="123"/>
                  <a:pt x="40" y="124"/>
                </a:cubicBezTo>
                <a:cubicBezTo>
                  <a:pt x="39" y="119"/>
                  <a:pt x="38" y="115"/>
                  <a:pt x="38" y="110"/>
                </a:cubicBezTo>
                <a:cubicBezTo>
                  <a:pt x="34" y="111"/>
                  <a:pt x="31" y="110"/>
                  <a:pt x="27" y="113"/>
                </a:cubicBezTo>
                <a:cubicBezTo>
                  <a:pt x="19" y="101"/>
                  <a:pt x="8" y="93"/>
                  <a:pt x="1" y="79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1" name="Freeform 556"/>
          <p:cNvSpPr>
            <a:spLocks/>
          </p:cNvSpPr>
          <p:nvPr userDrawn="1"/>
        </p:nvSpPr>
        <p:spPr bwMode="auto">
          <a:xfrm>
            <a:off x="6738601" y="2213943"/>
            <a:ext cx="447249" cy="375221"/>
          </a:xfrm>
          <a:custGeom>
            <a:avLst/>
            <a:gdLst>
              <a:gd name="T0" fmla="*/ 2147483646 w 480"/>
              <a:gd name="T1" fmla="*/ 2147483646 h 402"/>
              <a:gd name="T2" fmla="*/ 2147483646 w 480"/>
              <a:gd name="T3" fmla="*/ 2147483646 h 402"/>
              <a:gd name="T4" fmla="*/ 2147483646 w 480"/>
              <a:gd name="T5" fmla="*/ 2147483646 h 402"/>
              <a:gd name="T6" fmla="*/ 2147483646 w 480"/>
              <a:gd name="T7" fmla="*/ 2147483646 h 402"/>
              <a:gd name="T8" fmla="*/ 2147483646 w 480"/>
              <a:gd name="T9" fmla="*/ 2147483646 h 402"/>
              <a:gd name="T10" fmla="*/ 2147483646 w 480"/>
              <a:gd name="T11" fmla="*/ 2147483646 h 402"/>
              <a:gd name="T12" fmla="*/ 2147483646 w 480"/>
              <a:gd name="T13" fmla="*/ 2147483646 h 402"/>
              <a:gd name="T14" fmla="*/ 2147483646 w 480"/>
              <a:gd name="T15" fmla="*/ 2147483646 h 402"/>
              <a:gd name="T16" fmla="*/ 2147483646 w 480"/>
              <a:gd name="T17" fmla="*/ 2147483646 h 402"/>
              <a:gd name="T18" fmla="*/ 2147483646 w 480"/>
              <a:gd name="T19" fmla="*/ 2147483646 h 402"/>
              <a:gd name="T20" fmla="*/ 2147483646 w 480"/>
              <a:gd name="T21" fmla="*/ 2147483646 h 402"/>
              <a:gd name="T22" fmla="*/ 2147483646 w 480"/>
              <a:gd name="T23" fmla="*/ 2147483646 h 402"/>
              <a:gd name="T24" fmla="*/ 2147483646 w 480"/>
              <a:gd name="T25" fmla="*/ 2147483646 h 402"/>
              <a:gd name="T26" fmla="*/ 2147483646 w 480"/>
              <a:gd name="T27" fmla="*/ 2147483646 h 402"/>
              <a:gd name="T28" fmla="*/ 2147483646 w 480"/>
              <a:gd name="T29" fmla="*/ 2147483646 h 402"/>
              <a:gd name="T30" fmla="*/ 2147483646 w 480"/>
              <a:gd name="T31" fmla="*/ 2147483646 h 402"/>
              <a:gd name="T32" fmla="*/ 2147483646 w 480"/>
              <a:gd name="T33" fmla="*/ 2147483646 h 402"/>
              <a:gd name="T34" fmla="*/ 2147483646 w 480"/>
              <a:gd name="T35" fmla="*/ 2147483646 h 402"/>
              <a:gd name="T36" fmla="*/ 2147483646 w 480"/>
              <a:gd name="T37" fmla="*/ 2147483646 h 402"/>
              <a:gd name="T38" fmla="*/ 2147483646 w 480"/>
              <a:gd name="T39" fmla="*/ 2147483646 h 402"/>
              <a:gd name="T40" fmla="*/ 2147483646 w 480"/>
              <a:gd name="T41" fmla="*/ 2147483646 h 402"/>
              <a:gd name="T42" fmla="*/ 2147483646 w 480"/>
              <a:gd name="T43" fmla="*/ 2147483646 h 402"/>
              <a:gd name="T44" fmla="*/ 2147483646 w 480"/>
              <a:gd name="T45" fmla="*/ 2147483646 h 402"/>
              <a:gd name="T46" fmla="*/ 2147483646 w 480"/>
              <a:gd name="T47" fmla="*/ 2147483646 h 402"/>
              <a:gd name="T48" fmla="*/ 2147483646 w 480"/>
              <a:gd name="T49" fmla="*/ 2147483646 h 402"/>
              <a:gd name="T50" fmla="*/ 2147483646 w 480"/>
              <a:gd name="T51" fmla="*/ 2147483646 h 402"/>
              <a:gd name="T52" fmla="*/ 2147483646 w 480"/>
              <a:gd name="T53" fmla="*/ 2147483646 h 402"/>
              <a:gd name="T54" fmla="*/ 2147483646 w 480"/>
              <a:gd name="T55" fmla="*/ 2147483646 h 402"/>
              <a:gd name="T56" fmla="*/ 2147483646 w 480"/>
              <a:gd name="T57" fmla="*/ 2147483646 h 402"/>
              <a:gd name="T58" fmla="*/ 2147483646 w 480"/>
              <a:gd name="T59" fmla="*/ 2147483646 h 402"/>
              <a:gd name="T60" fmla="*/ 2147483646 w 480"/>
              <a:gd name="T61" fmla="*/ 2147483646 h 402"/>
              <a:gd name="T62" fmla="*/ 2147483646 w 480"/>
              <a:gd name="T63" fmla="*/ 2147483646 h 402"/>
              <a:gd name="T64" fmla="*/ 2147483646 w 480"/>
              <a:gd name="T65" fmla="*/ 2147483646 h 40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80"/>
              <a:gd name="T100" fmla="*/ 0 h 402"/>
              <a:gd name="T101" fmla="*/ 480 w 480"/>
              <a:gd name="T102" fmla="*/ 402 h 402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80" h="402">
                <a:moveTo>
                  <a:pt x="127" y="227"/>
                </a:moveTo>
                <a:cubicBezTo>
                  <a:pt x="127" y="227"/>
                  <a:pt x="131" y="239"/>
                  <a:pt x="120" y="251"/>
                </a:cubicBezTo>
                <a:cubicBezTo>
                  <a:pt x="109" y="263"/>
                  <a:pt x="104" y="268"/>
                  <a:pt x="96" y="284"/>
                </a:cubicBezTo>
                <a:cubicBezTo>
                  <a:pt x="89" y="301"/>
                  <a:pt x="79" y="317"/>
                  <a:pt x="84" y="334"/>
                </a:cubicBezTo>
                <a:cubicBezTo>
                  <a:pt x="88" y="352"/>
                  <a:pt x="116" y="402"/>
                  <a:pt x="97" y="401"/>
                </a:cubicBezTo>
                <a:cubicBezTo>
                  <a:pt x="79" y="399"/>
                  <a:pt x="87" y="391"/>
                  <a:pt x="70" y="394"/>
                </a:cubicBezTo>
                <a:cubicBezTo>
                  <a:pt x="53" y="397"/>
                  <a:pt x="35" y="398"/>
                  <a:pt x="31" y="391"/>
                </a:cubicBezTo>
                <a:cubicBezTo>
                  <a:pt x="26" y="384"/>
                  <a:pt x="19" y="383"/>
                  <a:pt x="26" y="375"/>
                </a:cubicBezTo>
                <a:cubicBezTo>
                  <a:pt x="32" y="367"/>
                  <a:pt x="31" y="365"/>
                  <a:pt x="38" y="366"/>
                </a:cubicBezTo>
                <a:cubicBezTo>
                  <a:pt x="45" y="366"/>
                  <a:pt x="40" y="354"/>
                  <a:pt x="40" y="354"/>
                </a:cubicBezTo>
                <a:cubicBezTo>
                  <a:pt x="33" y="345"/>
                  <a:pt x="30" y="338"/>
                  <a:pt x="37" y="339"/>
                </a:cubicBezTo>
                <a:cubicBezTo>
                  <a:pt x="44" y="339"/>
                  <a:pt x="53" y="323"/>
                  <a:pt x="44" y="327"/>
                </a:cubicBezTo>
                <a:cubicBezTo>
                  <a:pt x="36" y="331"/>
                  <a:pt x="44" y="329"/>
                  <a:pt x="36" y="331"/>
                </a:cubicBezTo>
                <a:cubicBezTo>
                  <a:pt x="28" y="334"/>
                  <a:pt x="40" y="344"/>
                  <a:pt x="31" y="330"/>
                </a:cubicBezTo>
                <a:cubicBezTo>
                  <a:pt x="22" y="316"/>
                  <a:pt x="33" y="318"/>
                  <a:pt x="22" y="316"/>
                </a:cubicBezTo>
                <a:cubicBezTo>
                  <a:pt x="11" y="314"/>
                  <a:pt x="7" y="313"/>
                  <a:pt x="6" y="307"/>
                </a:cubicBezTo>
                <a:cubicBezTo>
                  <a:pt x="2" y="283"/>
                  <a:pt x="0" y="275"/>
                  <a:pt x="9" y="278"/>
                </a:cubicBezTo>
                <a:cubicBezTo>
                  <a:pt x="18" y="282"/>
                  <a:pt x="16" y="279"/>
                  <a:pt x="22" y="277"/>
                </a:cubicBezTo>
                <a:cubicBezTo>
                  <a:pt x="27" y="276"/>
                  <a:pt x="27" y="273"/>
                  <a:pt x="30" y="268"/>
                </a:cubicBezTo>
                <a:cubicBezTo>
                  <a:pt x="38" y="255"/>
                  <a:pt x="40" y="256"/>
                  <a:pt x="41" y="262"/>
                </a:cubicBezTo>
                <a:cubicBezTo>
                  <a:pt x="50" y="252"/>
                  <a:pt x="50" y="252"/>
                  <a:pt x="50" y="252"/>
                </a:cubicBezTo>
                <a:cubicBezTo>
                  <a:pt x="50" y="252"/>
                  <a:pt x="51" y="225"/>
                  <a:pt x="56" y="234"/>
                </a:cubicBezTo>
                <a:cubicBezTo>
                  <a:pt x="62" y="243"/>
                  <a:pt x="68" y="236"/>
                  <a:pt x="68" y="236"/>
                </a:cubicBezTo>
                <a:cubicBezTo>
                  <a:pt x="68" y="236"/>
                  <a:pt x="54" y="229"/>
                  <a:pt x="56" y="225"/>
                </a:cubicBezTo>
                <a:cubicBezTo>
                  <a:pt x="58" y="220"/>
                  <a:pt x="64" y="207"/>
                  <a:pt x="69" y="213"/>
                </a:cubicBezTo>
                <a:cubicBezTo>
                  <a:pt x="73" y="220"/>
                  <a:pt x="77" y="206"/>
                  <a:pt x="80" y="217"/>
                </a:cubicBezTo>
                <a:cubicBezTo>
                  <a:pt x="83" y="229"/>
                  <a:pt x="78" y="226"/>
                  <a:pt x="87" y="225"/>
                </a:cubicBezTo>
                <a:cubicBezTo>
                  <a:pt x="96" y="225"/>
                  <a:pt x="102" y="213"/>
                  <a:pt x="102" y="213"/>
                </a:cubicBezTo>
                <a:cubicBezTo>
                  <a:pt x="114" y="203"/>
                  <a:pt x="111" y="193"/>
                  <a:pt x="116" y="195"/>
                </a:cubicBezTo>
                <a:cubicBezTo>
                  <a:pt x="120" y="197"/>
                  <a:pt x="141" y="183"/>
                  <a:pt x="133" y="180"/>
                </a:cubicBezTo>
                <a:cubicBezTo>
                  <a:pt x="125" y="177"/>
                  <a:pt x="104" y="186"/>
                  <a:pt x="105" y="179"/>
                </a:cubicBezTo>
                <a:cubicBezTo>
                  <a:pt x="110" y="161"/>
                  <a:pt x="115" y="156"/>
                  <a:pt x="122" y="161"/>
                </a:cubicBezTo>
                <a:cubicBezTo>
                  <a:pt x="130" y="165"/>
                  <a:pt x="131" y="150"/>
                  <a:pt x="138" y="157"/>
                </a:cubicBezTo>
                <a:cubicBezTo>
                  <a:pt x="144" y="165"/>
                  <a:pt x="140" y="155"/>
                  <a:pt x="149" y="154"/>
                </a:cubicBezTo>
                <a:cubicBezTo>
                  <a:pt x="158" y="154"/>
                  <a:pt x="165" y="140"/>
                  <a:pt x="160" y="133"/>
                </a:cubicBezTo>
                <a:cubicBezTo>
                  <a:pt x="155" y="127"/>
                  <a:pt x="139" y="112"/>
                  <a:pt x="159" y="122"/>
                </a:cubicBezTo>
                <a:cubicBezTo>
                  <a:pt x="178" y="133"/>
                  <a:pt x="183" y="129"/>
                  <a:pt x="184" y="121"/>
                </a:cubicBezTo>
                <a:cubicBezTo>
                  <a:pt x="185" y="112"/>
                  <a:pt x="191" y="101"/>
                  <a:pt x="182" y="101"/>
                </a:cubicBezTo>
                <a:cubicBezTo>
                  <a:pt x="173" y="101"/>
                  <a:pt x="164" y="98"/>
                  <a:pt x="172" y="90"/>
                </a:cubicBezTo>
                <a:cubicBezTo>
                  <a:pt x="180" y="83"/>
                  <a:pt x="197" y="75"/>
                  <a:pt x="199" y="86"/>
                </a:cubicBezTo>
                <a:cubicBezTo>
                  <a:pt x="202" y="98"/>
                  <a:pt x="200" y="79"/>
                  <a:pt x="210" y="90"/>
                </a:cubicBezTo>
                <a:cubicBezTo>
                  <a:pt x="221" y="101"/>
                  <a:pt x="218" y="99"/>
                  <a:pt x="230" y="90"/>
                </a:cubicBezTo>
                <a:cubicBezTo>
                  <a:pt x="242" y="80"/>
                  <a:pt x="233" y="80"/>
                  <a:pt x="244" y="70"/>
                </a:cubicBezTo>
                <a:cubicBezTo>
                  <a:pt x="254" y="60"/>
                  <a:pt x="263" y="59"/>
                  <a:pt x="271" y="62"/>
                </a:cubicBezTo>
                <a:cubicBezTo>
                  <a:pt x="279" y="65"/>
                  <a:pt x="287" y="62"/>
                  <a:pt x="295" y="58"/>
                </a:cubicBezTo>
                <a:cubicBezTo>
                  <a:pt x="304" y="54"/>
                  <a:pt x="297" y="43"/>
                  <a:pt x="315" y="37"/>
                </a:cubicBezTo>
                <a:cubicBezTo>
                  <a:pt x="333" y="31"/>
                  <a:pt x="323" y="24"/>
                  <a:pt x="333" y="31"/>
                </a:cubicBezTo>
                <a:cubicBezTo>
                  <a:pt x="342" y="38"/>
                  <a:pt x="341" y="17"/>
                  <a:pt x="351" y="24"/>
                </a:cubicBezTo>
                <a:cubicBezTo>
                  <a:pt x="361" y="31"/>
                  <a:pt x="358" y="25"/>
                  <a:pt x="370" y="29"/>
                </a:cubicBezTo>
                <a:cubicBezTo>
                  <a:pt x="383" y="33"/>
                  <a:pt x="377" y="21"/>
                  <a:pt x="388" y="23"/>
                </a:cubicBezTo>
                <a:cubicBezTo>
                  <a:pt x="400" y="25"/>
                  <a:pt x="401" y="27"/>
                  <a:pt x="406" y="22"/>
                </a:cubicBezTo>
                <a:cubicBezTo>
                  <a:pt x="411" y="17"/>
                  <a:pt x="400" y="4"/>
                  <a:pt x="421" y="10"/>
                </a:cubicBezTo>
                <a:cubicBezTo>
                  <a:pt x="442" y="16"/>
                  <a:pt x="442" y="9"/>
                  <a:pt x="446" y="12"/>
                </a:cubicBezTo>
                <a:cubicBezTo>
                  <a:pt x="451" y="15"/>
                  <a:pt x="452" y="0"/>
                  <a:pt x="463" y="11"/>
                </a:cubicBezTo>
                <a:cubicBezTo>
                  <a:pt x="473" y="21"/>
                  <a:pt x="480" y="3"/>
                  <a:pt x="474" y="27"/>
                </a:cubicBezTo>
                <a:cubicBezTo>
                  <a:pt x="469" y="52"/>
                  <a:pt x="470" y="64"/>
                  <a:pt x="446" y="72"/>
                </a:cubicBezTo>
                <a:cubicBezTo>
                  <a:pt x="423" y="79"/>
                  <a:pt x="428" y="84"/>
                  <a:pt x="404" y="92"/>
                </a:cubicBezTo>
                <a:cubicBezTo>
                  <a:pt x="381" y="99"/>
                  <a:pt x="358" y="109"/>
                  <a:pt x="330" y="114"/>
                </a:cubicBezTo>
                <a:cubicBezTo>
                  <a:pt x="301" y="120"/>
                  <a:pt x="275" y="111"/>
                  <a:pt x="255" y="134"/>
                </a:cubicBezTo>
                <a:cubicBezTo>
                  <a:pt x="234" y="156"/>
                  <a:pt x="225" y="162"/>
                  <a:pt x="216" y="164"/>
                </a:cubicBezTo>
                <a:cubicBezTo>
                  <a:pt x="206" y="166"/>
                  <a:pt x="215" y="170"/>
                  <a:pt x="202" y="180"/>
                </a:cubicBezTo>
                <a:cubicBezTo>
                  <a:pt x="188" y="189"/>
                  <a:pt x="181" y="185"/>
                  <a:pt x="181" y="185"/>
                </a:cubicBezTo>
                <a:cubicBezTo>
                  <a:pt x="177" y="199"/>
                  <a:pt x="170" y="209"/>
                  <a:pt x="170" y="209"/>
                </a:cubicBezTo>
                <a:cubicBezTo>
                  <a:pt x="170" y="209"/>
                  <a:pt x="152" y="205"/>
                  <a:pt x="149" y="210"/>
                </a:cubicBezTo>
                <a:cubicBezTo>
                  <a:pt x="136" y="225"/>
                  <a:pt x="132" y="217"/>
                  <a:pt x="122" y="215"/>
                </a:cubicBezTo>
                <a:cubicBezTo>
                  <a:pt x="113" y="213"/>
                  <a:pt x="127" y="227"/>
                  <a:pt x="127" y="22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2" name="Freeform 557"/>
          <p:cNvSpPr>
            <a:spLocks/>
          </p:cNvSpPr>
          <p:nvPr userDrawn="1"/>
        </p:nvSpPr>
        <p:spPr bwMode="auto">
          <a:xfrm>
            <a:off x="6914486" y="2542262"/>
            <a:ext cx="60303" cy="72028"/>
          </a:xfrm>
          <a:custGeom>
            <a:avLst/>
            <a:gdLst>
              <a:gd name="T0" fmla="*/ 2147483646 w 64"/>
              <a:gd name="T1" fmla="*/ 0 h 76"/>
              <a:gd name="T2" fmla="*/ 2147483646 w 64"/>
              <a:gd name="T3" fmla="*/ 2147483646 h 76"/>
              <a:gd name="T4" fmla="*/ 2147483646 w 64"/>
              <a:gd name="T5" fmla="*/ 2147483646 h 76"/>
              <a:gd name="T6" fmla="*/ 0 w 64"/>
              <a:gd name="T7" fmla="*/ 2147483646 h 76"/>
              <a:gd name="T8" fmla="*/ 2147483646 w 64"/>
              <a:gd name="T9" fmla="*/ 2147483646 h 76"/>
              <a:gd name="T10" fmla="*/ 2147483646 w 64"/>
              <a:gd name="T11" fmla="*/ 2147483646 h 76"/>
              <a:gd name="T12" fmla="*/ 2147483646 w 64"/>
              <a:gd name="T13" fmla="*/ 2147483646 h 76"/>
              <a:gd name="T14" fmla="*/ 2147483646 w 64"/>
              <a:gd name="T15" fmla="*/ 2147483646 h 76"/>
              <a:gd name="T16" fmla="*/ 2147483646 w 64"/>
              <a:gd name="T17" fmla="*/ 2147483646 h 76"/>
              <a:gd name="T18" fmla="*/ 2147483646 w 64"/>
              <a:gd name="T19" fmla="*/ 2147483646 h 76"/>
              <a:gd name="T20" fmla="*/ 2147483646 w 64"/>
              <a:gd name="T21" fmla="*/ 2147483646 h 76"/>
              <a:gd name="T22" fmla="*/ 2147483646 w 64"/>
              <a:gd name="T23" fmla="*/ 2147483646 h 76"/>
              <a:gd name="T24" fmla="*/ 2147483646 w 64"/>
              <a:gd name="T25" fmla="*/ 2147483646 h 76"/>
              <a:gd name="T26" fmla="*/ 2147483646 w 64"/>
              <a:gd name="T27" fmla="*/ 2147483646 h 76"/>
              <a:gd name="T28" fmla="*/ 2147483646 w 64"/>
              <a:gd name="T29" fmla="*/ 0 h 7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4"/>
              <a:gd name="T46" fmla="*/ 0 h 76"/>
              <a:gd name="T47" fmla="*/ 64 w 64"/>
              <a:gd name="T48" fmla="*/ 76 h 7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4" h="76">
                <a:moveTo>
                  <a:pt x="20" y="0"/>
                </a:moveTo>
                <a:cubicBezTo>
                  <a:pt x="17" y="0"/>
                  <a:pt x="17" y="1"/>
                  <a:pt x="14" y="7"/>
                </a:cubicBezTo>
                <a:cubicBezTo>
                  <a:pt x="12" y="12"/>
                  <a:pt x="16" y="13"/>
                  <a:pt x="11" y="16"/>
                </a:cubicBezTo>
                <a:cubicBezTo>
                  <a:pt x="5" y="20"/>
                  <a:pt x="0" y="14"/>
                  <a:pt x="0" y="21"/>
                </a:cubicBezTo>
                <a:cubicBezTo>
                  <a:pt x="0" y="28"/>
                  <a:pt x="6" y="31"/>
                  <a:pt x="10" y="38"/>
                </a:cubicBezTo>
                <a:cubicBezTo>
                  <a:pt x="13" y="45"/>
                  <a:pt x="15" y="45"/>
                  <a:pt x="18" y="44"/>
                </a:cubicBezTo>
                <a:cubicBezTo>
                  <a:pt x="21" y="44"/>
                  <a:pt x="22" y="40"/>
                  <a:pt x="22" y="45"/>
                </a:cubicBezTo>
                <a:cubicBezTo>
                  <a:pt x="22" y="51"/>
                  <a:pt x="19" y="55"/>
                  <a:pt x="21" y="58"/>
                </a:cubicBezTo>
                <a:cubicBezTo>
                  <a:pt x="23" y="62"/>
                  <a:pt x="28" y="60"/>
                  <a:pt x="31" y="66"/>
                </a:cubicBezTo>
                <a:cubicBezTo>
                  <a:pt x="34" y="72"/>
                  <a:pt x="40" y="76"/>
                  <a:pt x="42" y="75"/>
                </a:cubicBezTo>
                <a:cubicBezTo>
                  <a:pt x="45" y="75"/>
                  <a:pt x="44" y="63"/>
                  <a:pt x="50" y="60"/>
                </a:cubicBezTo>
                <a:cubicBezTo>
                  <a:pt x="56" y="57"/>
                  <a:pt x="55" y="55"/>
                  <a:pt x="59" y="57"/>
                </a:cubicBezTo>
                <a:cubicBezTo>
                  <a:pt x="63" y="58"/>
                  <a:pt x="64" y="48"/>
                  <a:pt x="64" y="48"/>
                </a:cubicBezTo>
                <a:cubicBezTo>
                  <a:pt x="64" y="48"/>
                  <a:pt x="57" y="33"/>
                  <a:pt x="55" y="32"/>
                </a:cubicBezTo>
                <a:cubicBezTo>
                  <a:pt x="52" y="31"/>
                  <a:pt x="20" y="0"/>
                  <a:pt x="2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3" name="Freeform 558"/>
          <p:cNvSpPr>
            <a:spLocks/>
          </p:cNvSpPr>
          <p:nvPr userDrawn="1"/>
        </p:nvSpPr>
        <p:spPr bwMode="auto">
          <a:xfrm>
            <a:off x="6688348" y="2631041"/>
            <a:ext cx="35176" cy="45228"/>
          </a:xfrm>
          <a:custGeom>
            <a:avLst/>
            <a:gdLst>
              <a:gd name="T0" fmla="*/ 2147483646 w 39"/>
              <a:gd name="T1" fmla="*/ 0 h 49"/>
              <a:gd name="T2" fmla="*/ 0 w 39"/>
              <a:gd name="T3" fmla="*/ 2147483646 h 49"/>
              <a:gd name="T4" fmla="*/ 2147483646 w 39"/>
              <a:gd name="T5" fmla="*/ 2147483646 h 49"/>
              <a:gd name="T6" fmla="*/ 2147483646 w 39"/>
              <a:gd name="T7" fmla="*/ 2147483646 h 49"/>
              <a:gd name="T8" fmla="*/ 2147483646 w 39"/>
              <a:gd name="T9" fmla="*/ 0 h 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9"/>
              <a:gd name="T16" fmla="*/ 0 h 49"/>
              <a:gd name="T17" fmla="*/ 39 w 39"/>
              <a:gd name="T18" fmla="*/ 49 h 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9" h="49">
                <a:moveTo>
                  <a:pt x="15" y="0"/>
                </a:moveTo>
                <a:cubicBezTo>
                  <a:pt x="6" y="4"/>
                  <a:pt x="0" y="2"/>
                  <a:pt x="0" y="18"/>
                </a:cubicBezTo>
                <a:cubicBezTo>
                  <a:pt x="0" y="33"/>
                  <a:pt x="12" y="49"/>
                  <a:pt x="20" y="44"/>
                </a:cubicBezTo>
                <a:cubicBezTo>
                  <a:pt x="28" y="40"/>
                  <a:pt x="36" y="35"/>
                  <a:pt x="37" y="27"/>
                </a:cubicBezTo>
                <a:cubicBezTo>
                  <a:pt x="39" y="19"/>
                  <a:pt x="15" y="0"/>
                  <a:pt x="15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Freeform 559"/>
          <p:cNvSpPr>
            <a:spLocks/>
          </p:cNvSpPr>
          <p:nvPr userDrawn="1"/>
        </p:nvSpPr>
        <p:spPr bwMode="auto">
          <a:xfrm>
            <a:off x="7204276" y="2312772"/>
            <a:ext cx="41877" cy="28477"/>
          </a:xfrm>
          <a:custGeom>
            <a:avLst/>
            <a:gdLst>
              <a:gd name="T0" fmla="*/ 2147483646 w 46"/>
              <a:gd name="T1" fmla="*/ 2147483646 h 32"/>
              <a:gd name="T2" fmla="*/ 2147483646 w 46"/>
              <a:gd name="T3" fmla="*/ 2147483646 h 32"/>
              <a:gd name="T4" fmla="*/ 2147483646 w 46"/>
              <a:gd name="T5" fmla="*/ 2147483646 h 32"/>
              <a:gd name="T6" fmla="*/ 2147483646 w 46"/>
              <a:gd name="T7" fmla="*/ 2147483646 h 32"/>
              <a:gd name="T8" fmla="*/ 2147483646 w 46"/>
              <a:gd name="T9" fmla="*/ 2147483646 h 32"/>
              <a:gd name="T10" fmla="*/ 2147483646 w 46"/>
              <a:gd name="T11" fmla="*/ 2147483646 h 32"/>
              <a:gd name="T12" fmla="*/ 2147483646 w 46"/>
              <a:gd name="T13" fmla="*/ 2147483646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6"/>
              <a:gd name="T22" fmla="*/ 0 h 32"/>
              <a:gd name="T23" fmla="*/ 46 w 46"/>
              <a:gd name="T24" fmla="*/ 32 h 3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6" h="32">
                <a:moveTo>
                  <a:pt x="20" y="1"/>
                </a:moveTo>
                <a:cubicBezTo>
                  <a:pt x="11" y="1"/>
                  <a:pt x="0" y="0"/>
                  <a:pt x="3" y="5"/>
                </a:cubicBezTo>
                <a:cubicBezTo>
                  <a:pt x="5" y="11"/>
                  <a:pt x="10" y="7"/>
                  <a:pt x="6" y="15"/>
                </a:cubicBezTo>
                <a:cubicBezTo>
                  <a:pt x="2" y="23"/>
                  <a:pt x="13" y="32"/>
                  <a:pt x="23" y="30"/>
                </a:cubicBezTo>
                <a:cubicBezTo>
                  <a:pt x="32" y="27"/>
                  <a:pt x="39" y="27"/>
                  <a:pt x="42" y="26"/>
                </a:cubicBezTo>
                <a:cubicBezTo>
                  <a:pt x="46" y="25"/>
                  <a:pt x="45" y="9"/>
                  <a:pt x="43" y="5"/>
                </a:cubicBezTo>
                <a:cubicBezTo>
                  <a:pt x="41" y="2"/>
                  <a:pt x="20" y="1"/>
                  <a:pt x="20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5" name="Freeform 560"/>
          <p:cNvSpPr>
            <a:spLocks/>
          </p:cNvSpPr>
          <p:nvPr userDrawn="1"/>
        </p:nvSpPr>
        <p:spPr bwMode="auto">
          <a:xfrm>
            <a:off x="7944667" y="1743242"/>
            <a:ext cx="112231" cy="139033"/>
          </a:xfrm>
          <a:custGeom>
            <a:avLst/>
            <a:gdLst>
              <a:gd name="T0" fmla="*/ 2147483646 w 120"/>
              <a:gd name="T1" fmla="*/ 2147483646 h 150"/>
              <a:gd name="T2" fmla="*/ 2147483646 w 120"/>
              <a:gd name="T3" fmla="*/ 2147483646 h 150"/>
              <a:gd name="T4" fmla="*/ 2147483646 w 120"/>
              <a:gd name="T5" fmla="*/ 2147483646 h 150"/>
              <a:gd name="T6" fmla="*/ 2147483646 w 120"/>
              <a:gd name="T7" fmla="*/ 2147483646 h 150"/>
              <a:gd name="T8" fmla="*/ 2147483646 w 120"/>
              <a:gd name="T9" fmla="*/ 2147483646 h 150"/>
              <a:gd name="T10" fmla="*/ 2147483646 w 120"/>
              <a:gd name="T11" fmla="*/ 2147483646 h 150"/>
              <a:gd name="T12" fmla="*/ 2147483646 w 120"/>
              <a:gd name="T13" fmla="*/ 2147483646 h 150"/>
              <a:gd name="T14" fmla="*/ 2147483646 w 120"/>
              <a:gd name="T15" fmla="*/ 2147483646 h 150"/>
              <a:gd name="T16" fmla="*/ 0 w 120"/>
              <a:gd name="T17" fmla="*/ 2147483646 h 150"/>
              <a:gd name="T18" fmla="*/ 2147483646 w 120"/>
              <a:gd name="T19" fmla="*/ 2147483646 h 150"/>
              <a:gd name="T20" fmla="*/ 2147483646 w 120"/>
              <a:gd name="T21" fmla="*/ 2147483646 h 150"/>
              <a:gd name="T22" fmla="*/ 2147483646 w 120"/>
              <a:gd name="T23" fmla="*/ 2147483646 h 150"/>
              <a:gd name="T24" fmla="*/ 2147483646 w 120"/>
              <a:gd name="T25" fmla="*/ 2147483646 h 150"/>
              <a:gd name="T26" fmla="*/ 2147483646 w 120"/>
              <a:gd name="T27" fmla="*/ 2147483646 h 150"/>
              <a:gd name="T28" fmla="*/ 2147483646 w 120"/>
              <a:gd name="T29" fmla="*/ 2147483646 h 150"/>
              <a:gd name="T30" fmla="*/ 2147483646 w 120"/>
              <a:gd name="T31" fmla="*/ 2147483646 h 150"/>
              <a:gd name="T32" fmla="*/ 2147483646 w 120"/>
              <a:gd name="T33" fmla="*/ 2147483646 h 15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0"/>
              <a:gd name="T52" fmla="*/ 0 h 150"/>
              <a:gd name="T53" fmla="*/ 120 w 120"/>
              <a:gd name="T54" fmla="*/ 150 h 15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0" h="150">
                <a:moveTo>
                  <a:pt x="65" y="33"/>
                </a:moveTo>
                <a:cubicBezTo>
                  <a:pt x="64" y="27"/>
                  <a:pt x="64" y="18"/>
                  <a:pt x="61" y="16"/>
                </a:cubicBezTo>
                <a:cubicBezTo>
                  <a:pt x="59" y="14"/>
                  <a:pt x="53" y="0"/>
                  <a:pt x="51" y="7"/>
                </a:cubicBezTo>
                <a:cubicBezTo>
                  <a:pt x="50" y="14"/>
                  <a:pt x="50" y="29"/>
                  <a:pt x="45" y="27"/>
                </a:cubicBezTo>
                <a:cubicBezTo>
                  <a:pt x="39" y="25"/>
                  <a:pt x="41" y="7"/>
                  <a:pt x="35" y="18"/>
                </a:cubicBezTo>
                <a:cubicBezTo>
                  <a:pt x="28" y="29"/>
                  <a:pt x="27" y="36"/>
                  <a:pt x="28" y="46"/>
                </a:cubicBezTo>
                <a:cubicBezTo>
                  <a:pt x="28" y="56"/>
                  <a:pt x="22" y="47"/>
                  <a:pt x="21" y="66"/>
                </a:cubicBezTo>
                <a:cubicBezTo>
                  <a:pt x="21" y="85"/>
                  <a:pt x="22" y="96"/>
                  <a:pt x="17" y="106"/>
                </a:cubicBezTo>
                <a:cubicBezTo>
                  <a:pt x="11" y="115"/>
                  <a:pt x="0" y="128"/>
                  <a:pt x="0" y="131"/>
                </a:cubicBezTo>
                <a:cubicBezTo>
                  <a:pt x="0" y="133"/>
                  <a:pt x="0" y="150"/>
                  <a:pt x="13" y="143"/>
                </a:cubicBezTo>
                <a:cubicBezTo>
                  <a:pt x="26" y="136"/>
                  <a:pt x="12" y="116"/>
                  <a:pt x="45" y="123"/>
                </a:cubicBezTo>
                <a:cubicBezTo>
                  <a:pt x="78" y="130"/>
                  <a:pt x="55" y="125"/>
                  <a:pt x="84" y="121"/>
                </a:cubicBezTo>
                <a:cubicBezTo>
                  <a:pt x="113" y="118"/>
                  <a:pt x="118" y="111"/>
                  <a:pt x="119" y="102"/>
                </a:cubicBezTo>
                <a:cubicBezTo>
                  <a:pt x="120" y="93"/>
                  <a:pt x="118" y="71"/>
                  <a:pt x="110" y="73"/>
                </a:cubicBezTo>
                <a:cubicBezTo>
                  <a:pt x="103" y="75"/>
                  <a:pt x="94" y="66"/>
                  <a:pt x="102" y="62"/>
                </a:cubicBezTo>
                <a:cubicBezTo>
                  <a:pt x="110" y="58"/>
                  <a:pt x="94" y="35"/>
                  <a:pt x="88" y="36"/>
                </a:cubicBezTo>
                <a:cubicBezTo>
                  <a:pt x="82" y="36"/>
                  <a:pt x="65" y="33"/>
                  <a:pt x="65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6" name="Freeform 561"/>
          <p:cNvSpPr>
            <a:spLocks/>
          </p:cNvSpPr>
          <p:nvPr userDrawn="1"/>
        </p:nvSpPr>
        <p:spPr bwMode="auto">
          <a:xfrm>
            <a:off x="7845836" y="1687964"/>
            <a:ext cx="113907" cy="127307"/>
          </a:xfrm>
          <a:custGeom>
            <a:avLst/>
            <a:gdLst>
              <a:gd name="T0" fmla="*/ 2147483646 w 123"/>
              <a:gd name="T1" fmla="*/ 2147483646 h 137"/>
              <a:gd name="T2" fmla="*/ 2147483646 w 123"/>
              <a:gd name="T3" fmla="*/ 2147483646 h 137"/>
              <a:gd name="T4" fmla="*/ 2147483646 w 123"/>
              <a:gd name="T5" fmla="*/ 2147483646 h 137"/>
              <a:gd name="T6" fmla="*/ 2147483646 w 123"/>
              <a:gd name="T7" fmla="*/ 2147483646 h 137"/>
              <a:gd name="T8" fmla="*/ 2147483646 w 123"/>
              <a:gd name="T9" fmla="*/ 2147483646 h 137"/>
              <a:gd name="T10" fmla="*/ 2147483646 w 123"/>
              <a:gd name="T11" fmla="*/ 2147483646 h 137"/>
              <a:gd name="T12" fmla="*/ 2147483646 w 123"/>
              <a:gd name="T13" fmla="*/ 2147483646 h 137"/>
              <a:gd name="T14" fmla="*/ 2147483646 w 123"/>
              <a:gd name="T15" fmla="*/ 2147483646 h 137"/>
              <a:gd name="T16" fmla="*/ 2147483646 w 123"/>
              <a:gd name="T17" fmla="*/ 2147483646 h 137"/>
              <a:gd name="T18" fmla="*/ 2147483646 w 123"/>
              <a:gd name="T19" fmla="*/ 2147483646 h 137"/>
              <a:gd name="T20" fmla="*/ 2147483646 w 123"/>
              <a:gd name="T21" fmla="*/ 2147483646 h 137"/>
              <a:gd name="T22" fmla="*/ 2147483646 w 123"/>
              <a:gd name="T23" fmla="*/ 2147483646 h 1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23"/>
              <a:gd name="T37" fmla="*/ 0 h 137"/>
              <a:gd name="T38" fmla="*/ 123 w 123"/>
              <a:gd name="T39" fmla="*/ 137 h 13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23" h="137">
                <a:moveTo>
                  <a:pt x="79" y="29"/>
                </a:moveTo>
                <a:cubicBezTo>
                  <a:pt x="77" y="20"/>
                  <a:pt x="77" y="3"/>
                  <a:pt x="69" y="2"/>
                </a:cubicBezTo>
                <a:cubicBezTo>
                  <a:pt x="61" y="0"/>
                  <a:pt x="46" y="4"/>
                  <a:pt x="42" y="8"/>
                </a:cubicBezTo>
                <a:cubicBezTo>
                  <a:pt x="38" y="12"/>
                  <a:pt x="21" y="19"/>
                  <a:pt x="19" y="27"/>
                </a:cubicBezTo>
                <a:cubicBezTo>
                  <a:pt x="16" y="36"/>
                  <a:pt x="0" y="36"/>
                  <a:pt x="4" y="52"/>
                </a:cubicBezTo>
                <a:cubicBezTo>
                  <a:pt x="8" y="67"/>
                  <a:pt x="17" y="61"/>
                  <a:pt x="33" y="77"/>
                </a:cubicBezTo>
                <a:cubicBezTo>
                  <a:pt x="49" y="94"/>
                  <a:pt x="44" y="105"/>
                  <a:pt x="44" y="105"/>
                </a:cubicBezTo>
                <a:cubicBezTo>
                  <a:pt x="44" y="105"/>
                  <a:pt x="57" y="102"/>
                  <a:pt x="75" y="120"/>
                </a:cubicBezTo>
                <a:cubicBezTo>
                  <a:pt x="93" y="137"/>
                  <a:pt x="105" y="75"/>
                  <a:pt x="107" y="73"/>
                </a:cubicBezTo>
                <a:cubicBezTo>
                  <a:pt x="109" y="70"/>
                  <a:pt x="123" y="34"/>
                  <a:pt x="119" y="25"/>
                </a:cubicBezTo>
                <a:cubicBezTo>
                  <a:pt x="115" y="16"/>
                  <a:pt x="104" y="5"/>
                  <a:pt x="102" y="8"/>
                </a:cubicBezTo>
                <a:cubicBezTo>
                  <a:pt x="99" y="10"/>
                  <a:pt x="79" y="29"/>
                  <a:pt x="79" y="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7" name="Freeform 563"/>
          <p:cNvSpPr>
            <a:spLocks/>
          </p:cNvSpPr>
          <p:nvPr userDrawn="1"/>
        </p:nvSpPr>
        <p:spPr bwMode="auto">
          <a:xfrm>
            <a:off x="7800609" y="1584109"/>
            <a:ext cx="113907" cy="110556"/>
          </a:xfrm>
          <a:custGeom>
            <a:avLst/>
            <a:gdLst>
              <a:gd name="T0" fmla="*/ 2147483646 w 122"/>
              <a:gd name="T1" fmla="*/ 0 h 119"/>
              <a:gd name="T2" fmla="*/ 2147483646 w 122"/>
              <a:gd name="T3" fmla="*/ 2147483646 h 119"/>
              <a:gd name="T4" fmla="*/ 2147483646 w 122"/>
              <a:gd name="T5" fmla="*/ 2147483646 h 119"/>
              <a:gd name="T6" fmla="*/ 2147483646 w 122"/>
              <a:gd name="T7" fmla="*/ 2147483646 h 119"/>
              <a:gd name="T8" fmla="*/ 2147483646 w 122"/>
              <a:gd name="T9" fmla="*/ 2147483646 h 119"/>
              <a:gd name="T10" fmla="*/ 2147483646 w 122"/>
              <a:gd name="T11" fmla="*/ 2147483646 h 119"/>
              <a:gd name="T12" fmla="*/ 2147483646 w 122"/>
              <a:gd name="T13" fmla="*/ 2147483646 h 119"/>
              <a:gd name="T14" fmla="*/ 2147483646 w 122"/>
              <a:gd name="T15" fmla="*/ 2147483646 h 119"/>
              <a:gd name="T16" fmla="*/ 2147483646 w 122"/>
              <a:gd name="T17" fmla="*/ 2147483646 h 119"/>
              <a:gd name="T18" fmla="*/ 2147483646 w 122"/>
              <a:gd name="T19" fmla="*/ 2147483646 h 119"/>
              <a:gd name="T20" fmla="*/ 2147483646 w 122"/>
              <a:gd name="T21" fmla="*/ 2147483646 h 119"/>
              <a:gd name="T22" fmla="*/ 2147483646 w 122"/>
              <a:gd name="T23" fmla="*/ 2147483646 h 119"/>
              <a:gd name="T24" fmla="*/ 2147483646 w 122"/>
              <a:gd name="T25" fmla="*/ 0 h 11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22"/>
              <a:gd name="T40" fmla="*/ 0 h 119"/>
              <a:gd name="T41" fmla="*/ 122 w 122"/>
              <a:gd name="T42" fmla="*/ 119 h 11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22" h="119">
                <a:moveTo>
                  <a:pt x="86" y="0"/>
                </a:moveTo>
                <a:cubicBezTo>
                  <a:pt x="74" y="7"/>
                  <a:pt x="61" y="14"/>
                  <a:pt x="57" y="30"/>
                </a:cubicBezTo>
                <a:cubicBezTo>
                  <a:pt x="52" y="45"/>
                  <a:pt x="54" y="51"/>
                  <a:pt x="41" y="60"/>
                </a:cubicBezTo>
                <a:cubicBezTo>
                  <a:pt x="29" y="70"/>
                  <a:pt x="13" y="68"/>
                  <a:pt x="13" y="79"/>
                </a:cubicBezTo>
                <a:cubicBezTo>
                  <a:pt x="13" y="90"/>
                  <a:pt x="18" y="84"/>
                  <a:pt x="20" y="92"/>
                </a:cubicBezTo>
                <a:cubicBezTo>
                  <a:pt x="22" y="101"/>
                  <a:pt x="0" y="105"/>
                  <a:pt x="14" y="112"/>
                </a:cubicBezTo>
                <a:cubicBezTo>
                  <a:pt x="29" y="119"/>
                  <a:pt x="33" y="115"/>
                  <a:pt x="47" y="113"/>
                </a:cubicBezTo>
                <a:cubicBezTo>
                  <a:pt x="60" y="110"/>
                  <a:pt x="56" y="95"/>
                  <a:pt x="72" y="99"/>
                </a:cubicBezTo>
                <a:cubicBezTo>
                  <a:pt x="89" y="104"/>
                  <a:pt x="89" y="92"/>
                  <a:pt x="103" y="91"/>
                </a:cubicBezTo>
                <a:cubicBezTo>
                  <a:pt x="117" y="91"/>
                  <a:pt x="118" y="72"/>
                  <a:pt x="117" y="61"/>
                </a:cubicBezTo>
                <a:cubicBezTo>
                  <a:pt x="115" y="50"/>
                  <a:pt x="122" y="44"/>
                  <a:pt x="121" y="38"/>
                </a:cubicBezTo>
                <a:cubicBezTo>
                  <a:pt x="120" y="33"/>
                  <a:pt x="117" y="9"/>
                  <a:pt x="113" y="8"/>
                </a:cubicBezTo>
                <a:cubicBezTo>
                  <a:pt x="109" y="6"/>
                  <a:pt x="86" y="0"/>
                  <a:pt x="8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8" name="Freeform 564"/>
          <p:cNvSpPr>
            <a:spLocks/>
          </p:cNvSpPr>
          <p:nvPr userDrawn="1"/>
        </p:nvSpPr>
        <p:spPr bwMode="auto">
          <a:xfrm>
            <a:off x="7803960" y="1691314"/>
            <a:ext cx="50253" cy="33501"/>
          </a:xfrm>
          <a:custGeom>
            <a:avLst/>
            <a:gdLst>
              <a:gd name="T0" fmla="*/ 2147483646 w 54"/>
              <a:gd name="T1" fmla="*/ 2147483646 h 36"/>
              <a:gd name="T2" fmla="*/ 2147483646 w 54"/>
              <a:gd name="T3" fmla="*/ 2147483646 h 36"/>
              <a:gd name="T4" fmla="*/ 2147483646 w 54"/>
              <a:gd name="T5" fmla="*/ 2147483646 h 36"/>
              <a:gd name="T6" fmla="*/ 2147483646 w 54"/>
              <a:gd name="T7" fmla="*/ 2147483646 h 36"/>
              <a:gd name="T8" fmla="*/ 2147483646 w 54"/>
              <a:gd name="T9" fmla="*/ 2147483646 h 36"/>
              <a:gd name="T10" fmla="*/ 2147483646 w 54"/>
              <a:gd name="T11" fmla="*/ 2147483646 h 36"/>
              <a:gd name="T12" fmla="*/ 2147483646 w 54"/>
              <a:gd name="T13" fmla="*/ 2147483646 h 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4"/>
              <a:gd name="T22" fmla="*/ 0 h 36"/>
              <a:gd name="T23" fmla="*/ 54 w 54"/>
              <a:gd name="T24" fmla="*/ 36 h 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4" h="36">
                <a:moveTo>
                  <a:pt x="17" y="9"/>
                </a:moveTo>
                <a:cubicBezTo>
                  <a:pt x="8" y="9"/>
                  <a:pt x="0" y="0"/>
                  <a:pt x="1" y="15"/>
                </a:cubicBezTo>
                <a:cubicBezTo>
                  <a:pt x="1" y="30"/>
                  <a:pt x="4" y="36"/>
                  <a:pt x="16" y="36"/>
                </a:cubicBezTo>
                <a:cubicBezTo>
                  <a:pt x="28" y="36"/>
                  <a:pt x="23" y="27"/>
                  <a:pt x="35" y="25"/>
                </a:cubicBezTo>
                <a:cubicBezTo>
                  <a:pt x="47" y="23"/>
                  <a:pt x="52" y="15"/>
                  <a:pt x="52" y="12"/>
                </a:cubicBezTo>
                <a:cubicBezTo>
                  <a:pt x="52" y="10"/>
                  <a:pt x="54" y="5"/>
                  <a:pt x="50" y="6"/>
                </a:cubicBezTo>
                <a:cubicBezTo>
                  <a:pt x="45" y="8"/>
                  <a:pt x="17" y="9"/>
                  <a:pt x="17" y="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9" name="Freeform 565"/>
          <p:cNvSpPr>
            <a:spLocks/>
          </p:cNvSpPr>
          <p:nvPr userDrawn="1"/>
        </p:nvSpPr>
        <p:spPr bwMode="auto">
          <a:xfrm>
            <a:off x="8850893" y="2136888"/>
            <a:ext cx="128983" cy="128981"/>
          </a:xfrm>
          <a:custGeom>
            <a:avLst/>
            <a:gdLst>
              <a:gd name="T0" fmla="*/ 2147483646 w 139"/>
              <a:gd name="T1" fmla="*/ 2147483646 h 137"/>
              <a:gd name="T2" fmla="*/ 2147483646 w 139"/>
              <a:gd name="T3" fmla="*/ 2147483646 h 137"/>
              <a:gd name="T4" fmla="*/ 2147483646 w 139"/>
              <a:gd name="T5" fmla="*/ 2147483646 h 137"/>
              <a:gd name="T6" fmla="*/ 2147483646 w 139"/>
              <a:gd name="T7" fmla="*/ 2147483646 h 137"/>
              <a:gd name="T8" fmla="*/ 2147483646 w 139"/>
              <a:gd name="T9" fmla="*/ 2147483646 h 137"/>
              <a:gd name="T10" fmla="*/ 2147483646 w 139"/>
              <a:gd name="T11" fmla="*/ 2147483646 h 137"/>
              <a:gd name="T12" fmla="*/ 2147483646 w 139"/>
              <a:gd name="T13" fmla="*/ 2147483646 h 137"/>
              <a:gd name="T14" fmla="*/ 2147483646 w 139"/>
              <a:gd name="T15" fmla="*/ 2147483646 h 137"/>
              <a:gd name="T16" fmla="*/ 2147483646 w 139"/>
              <a:gd name="T17" fmla="*/ 2147483646 h 137"/>
              <a:gd name="T18" fmla="*/ 2147483646 w 139"/>
              <a:gd name="T19" fmla="*/ 2147483646 h 137"/>
              <a:gd name="T20" fmla="*/ 2147483646 w 139"/>
              <a:gd name="T21" fmla="*/ 2147483646 h 137"/>
              <a:gd name="T22" fmla="*/ 2147483646 w 139"/>
              <a:gd name="T23" fmla="*/ 2147483646 h 1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39"/>
              <a:gd name="T37" fmla="*/ 0 h 137"/>
              <a:gd name="T38" fmla="*/ 139 w 139"/>
              <a:gd name="T39" fmla="*/ 137 h 13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39" h="137">
                <a:moveTo>
                  <a:pt x="90" y="33"/>
                </a:moveTo>
                <a:cubicBezTo>
                  <a:pt x="80" y="23"/>
                  <a:pt x="74" y="16"/>
                  <a:pt x="69" y="10"/>
                </a:cubicBezTo>
                <a:cubicBezTo>
                  <a:pt x="64" y="5"/>
                  <a:pt x="58" y="0"/>
                  <a:pt x="48" y="9"/>
                </a:cubicBezTo>
                <a:cubicBezTo>
                  <a:pt x="37" y="17"/>
                  <a:pt x="32" y="37"/>
                  <a:pt x="25" y="44"/>
                </a:cubicBezTo>
                <a:cubicBezTo>
                  <a:pt x="18" y="51"/>
                  <a:pt x="0" y="24"/>
                  <a:pt x="7" y="54"/>
                </a:cubicBezTo>
                <a:cubicBezTo>
                  <a:pt x="14" y="84"/>
                  <a:pt x="25" y="67"/>
                  <a:pt x="36" y="102"/>
                </a:cubicBezTo>
                <a:cubicBezTo>
                  <a:pt x="46" y="137"/>
                  <a:pt x="101" y="95"/>
                  <a:pt x="117" y="105"/>
                </a:cubicBezTo>
                <a:cubicBezTo>
                  <a:pt x="132" y="116"/>
                  <a:pt x="139" y="109"/>
                  <a:pt x="139" y="109"/>
                </a:cubicBezTo>
                <a:cubicBezTo>
                  <a:pt x="139" y="109"/>
                  <a:pt x="131" y="81"/>
                  <a:pt x="127" y="74"/>
                </a:cubicBezTo>
                <a:cubicBezTo>
                  <a:pt x="124" y="67"/>
                  <a:pt x="122" y="30"/>
                  <a:pt x="122" y="30"/>
                </a:cubicBezTo>
                <a:cubicBezTo>
                  <a:pt x="110" y="7"/>
                  <a:pt x="110" y="7"/>
                  <a:pt x="110" y="7"/>
                </a:cubicBezTo>
                <a:lnTo>
                  <a:pt x="90" y="3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0" name="Freeform 566"/>
          <p:cNvSpPr>
            <a:spLocks/>
          </p:cNvSpPr>
          <p:nvPr userDrawn="1"/>
        </p:nvSpPr>
        <p:spPr bwMode="auto">
          <a:xfrm>
            <a:off x="8976525" y="2160340"/>
            <a:ext cx="38527" cy="73704"/>
          </a:xfrm>
          <a:custGeom>
            <a:avLst/>
            <a:gdLst>
              <a:gd name="T0" fmla="*/ 2147483646 w 40"/>
              <a:gd name="T1" fmla="*/ 2147483646 h 80"/>
              <a:gd name="T2" fmla="*/ 2147483646 w 40"/>
              <a:gd name="T3" fmla="*/ 2147483646 h 80"/>
              <a:gd name="T4" fmla="*/ 2147483646 w 40"/>
              <a:gd name="T5" fmla="*/ 2147483646 h 80"/>
              <a:gd name="T6" fmla="*/ 2147483646 w 40"/>
              <a:gd name="T7" fmla="*/ 2147483646 h 80"/>
              <a:gd name="T8" fmla="*/ 2147483646 w 40"/>
              <a:gd name="T9" fmla="*/ 2147483646 h 80"/>
              <a:gd name="T10" fmla="*/ 2147483646 w 40"/>
              <a:gd name="T11" fmla="*/ 2147483646 h 80"/>
              <a:gd name="T12" fmla="*/ 2147483646 w 40"/>
              <a:gd name="T13" fmla="*/ 2147483646 h 8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0"/>
              <a:gd name="T22" fmla="*/ 0 h 80"/>
              <a:gd name="T23" fmla="*/ 40 w 40"/>
              <a:gd name="T24" fmla="*/ 80 h 8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0" h="80">
                <a:moveTo>
                  <a:pt x="23" y="11"/>
                </a:moveTo>
                <a:cubicBezTo>
                  <a:pt x="12" y="7"/>
                  <a:pt x="0" y="0"/>
                  <a:pt x="2" y="16"/>
                </a:cubicBezTo>
                <a:cubicBezTo>
                  <a:pt x="3" y="32"/>
                  <a:pt x="2" y="46"/>
                  <a:pt x="9" y="59"/>
                </a:cubicBezTo>
                <a:cubicBezTo>
                  <a:pt x="16" y="71"/>
                  <a:pt x="10" y="76"/>
                  <a:pt x="16" y="78"/>
                </a:cubicBezTo>
                <a:cubicBezTo>
                  <a:pt x="21" y="80"/>
                  <a:pt x="32" y="64"/>
                  <a:pt x="33" y="57"/>
                </a:cubicBezTo>
                <a:cubicBezTo>
                  <a:pt x="35" y="50"/>
                  <a:pt x="40" y="43"/>
                  <a:pt x="39" y="36"/>
                </a:cubicBezTo>
                <a:cubicBezTo>
                  <a:pt x="37" y="29"/>
                  <a:pt x="23" y="11"/>
                  <a:pt x="23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1" name="Freeform 567"/>
          <p:cNvSpPr>
            <a:spLocks/>
          </p:cNvSpPr>
          <p:nvPr userDrawn="1"/>
        </p:nvSpPr>
        <p:spPr bwMode="auto">
          <a:xfrm>
            <a:off x="9035153" y="2182117"/>
            <a:ext cx="75380" cy="78729"/>
          </a:xfrm>
          <a:custGeom>
            <a:avLst/>
            <a:gdLst>
              <a:gd name="T0" fmla="*/ 2147483646 w 81"/>
              <a:gd name="T1" fmla="*/ 2147483646 h 85"/>
              <a:gd name="T2" fmla="*/ 2147483646 w 81"/>
              <a:gd name="T3" fmla="*/ 2147483646 h 85"/>
              <a:gd name="T4" fmla="*/ 2147483646 w 81"/>
              <a:gd name="T5" fmla="*/ 2147483646 h 85"/>
              <a:gd name="T6" fmla="*/ 2147483646 w 81"/>
              <a:gd name="T7" fmla="*/ 2147483646 h 85"/>
              <a:gd name="T8" fmla="*/ 2147483646 w 81"/>
              <a:gd name="T9" fmla="*/ 2147483646 h 85"/>
              <a:gd name="T10" fmla="*/ 2147483646 w 81"/>
              <a:gd name="T11" fmla="*/ 2147483646 h 85"/>
              <a:gd name="T12" fmla="*/ 2147483646 w 81"/>
              <a:gd name="T13" fmla="*/ 2147483646 h 8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1"/>
              <a:gd name="T22" fmla="*/ 0 h 85"/>
              <a:gd name="T23" fmla="*/ 81 w 81"/>
              <a:gd name="T24" fmla="*/ 85 h 8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1" h="85">
                <a:moveTo>
                  <a:pt x="28" y="23"/>
                </a:moveTo>
                <a:cubicBezTo>
                  <a:pt x="19" y="21"/>
                  <a:pt x="10" y="0"/>
                  <a:pt x="5" y="20"/>
                </a:cubicBezTo>
                <a:cubicBezTo>
                  <a:pt x="0" y="39"/>
                  <a:pt x="10" y="55"/>
                  <a:pt x="19" y="64"/>
                </a:cubicBezTo>
                <a:cubicBezTo>
                  <a:pt x="28" y="73"/>
                  <a:pt x="31" y="78"/>
                  <a:pt x="45" y="81"/>
                </a:cubicBezTo>
                <a:cubicBezTo>
                  <a:pt x="59" y="85"/>
                  <a:pt x="67" y="69"/>
                  <a:pt x="74" y="69"/>
                </a:cubicBezTo>
                <a:cubicBezTo>
                  <a:pt x="81" y="69"/>
                  <a:pt x="74" y="27"/>
                  <a:pt x="67" y="29"/>
                </a:cubicBezTo>
                <a:cubicBezTo>
                  <a:pt x="59" y="30"/>
                  <a:pt x="28" y="23"/>
                  <a:pt x="28" y="2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2" name="Freeform 568"/>
          <p:cNvSpPr>
            <a:spLocks/>
          </p:cNvSpPr>
          <p:nvPr userDrawn="1"/>
        </p:nvSpPr>
        <p:spPr bwMode="auto">
          <a:xfrm>
            <a:off x="8914546" y="2306073"/>
            <a:ext cx="80404" cy="46903"/>
          </a:xfrm>
          <a:custGeom>
            <a:avLst/>
            <a:gdLst>
              <a:gd name="T0" fmla="*/ 2147483646 w 86"/>
              <a:gd name="T1" fmla="*/ 0 h 50"/>
              <a:gd name="T2" fmla="*/ 2147483646 w 86"/>
              <a:gd name="T3" fmla="*/ 2147483646 h 50"/>
              <a:gd name="T4" fmla="*/ 2147483646 w 86"/>
              <a:gd name="T5" fmla="*/ 2147483646 h 50"/>
              <a:gd name="T6" fmla="*/ 2147483646 w 86"/>
              <a:gd name="T7" fmla="*/ 2147483646 h 50"/>
              <a:gd name="T8" fmla="*/ 2147483646 w 86"/>
              <a:gd name="T9" fmla="*/ 2147483646 h 50"/>
              <a:gd name="T10" fmla="*/ 2147483646 w 86"/>
              <a:gd name="T11" fmla="*/ 2147483646 h 50"/>
              <a:gd name="T12" fmla="*/ 2147483646 w 86"/>
              <a:gd name="T13" fmla="*/ 0 h 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6"/>
              <a:gd name="T22" fmla="*/ 0 h 50"/>
              <a:gd name="T23" fmla="*/ 86 w 86"/>
              <a:gd name="T24" fmla="*/ 50 h 5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6" h="50">
                <a:moveTo>
                  <a:pt x="51" y="0"/>
                </a:moveTo>
                <a:cubicBezTo>
                  <a:pt x="46" y="0"/>
                  <a:pt x="39" y="2"/>
                  <a:pt x="30" y="13"/>
                </a:cubicBezTo>
                <a:cubicBezTo>
                  <a:pt x="21" y="23"/>
                  <a:pt x="0" y="35"/>
                  <a:pt x="11" y="39"/>
                </a:cubicBezTo>
                <a:cubicBezTo>
                  <a:pt x="21" y="42"/>
                  <a:pt x="35" y="7"/>
                  <a:pt x="49" y="28"/>
                </a:cubicBezTo>
                <a:cubicBezTo>
                  <a:pt x="63" y="50"/>
                  <a:pt x="86" y="18"/>
                  <a:pt x="79" y="14"/>
                </a:cubicBezTo>
                <a:cubicBezTo>
                  <a:pt x="72" y="11"/>
                  <a:pt x="69" y="2"/>
                  <a:pt x="69" y="2"/>
                </a:cubicBezTo>
                <a:lnTo>
                  <a:pt x="51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3" name="Freeform 569"/>
          <p:cNvSpPr>
            <a:spLocks/>
          </p:cNvSpPr>
          <p:nvPr userDrawn="1"/>
        </p:nvSpPr>
        <p:spPr bwMode="auto">
          <a:xfrm>
            <a:off x="9787270" y="2463531"/>
            <a:ext cx="137357" cy="73704"/>
          </a:xfrm>
          <a:custGeom>
            <a:avLst/>
            <a:gdLst>
              <a:gd name="T0" fmla="*/ 2147483646 w 147"/>
              <a:gd name="T1" fmla="*/ 2147483646 h 78"/>
              <a:gd name="T2" fmla="*/ 2147483646 w 147"/>
              <a:gd name="T3" fmla="*/ 2147483646 h 78"/>
              <a:gd name="T4" fmla="*/ 2147483646 w 147"/>
              <a:gd name="T5" fmla="*/ 2147483646 h 78"/>
              <a:gd name="T6" fmla="*/ 2147483646 w 147"/>
              <a:gd name="T7" fmla="*/ 2147483646 h 78"/>
              <a:gd name="T8" fmla="*/ 2147483646 w 147"/>
              <a:gd name="T9" fmla="*/ 2147483646 h 78"/>
              <a:gd name="T10" fmla="*/ 2147483646 w 147"/>
              <a:gd name="T11" fmla="*/ 2147483646 h 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7"/>
              <a:gd name="T19" fmla="*/ 0 h 78"/>
              <a:gd name="T20" fmla="*/ 147 w 147"/>
              <a:gd name="T21" fmla="*/ 78 h 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7" h="78">
                <a:moveTo>
                  <a:pt x="79" y="7"/>
                </a:moveTo>
                <a:cubicBezTo>
                  <a:pt x="68" y="0"/>
                  <a:pt x="61" y="3"/>
                  <a:pt x="35" y="24"/>
                </a:cubicBezTo>
                <a:cubicBezTo>
                  <a:pt x="9" y="45"/>
                  <a:pt x="0" y="78"/>
                  <a:pt x="18" y="73"/>
                </a:cubicBezTo>
                <a:cubicBezTo>
                  <a:pt x="37" y="68"/>
                  <a:pt x="61" y="35"/>
                  <a:pt x="82" y="47"/>
                </a:cubicBezTo>
                <a:cubicBezTo>
                  <a:pt x="103" y="59"/>
                  <a:pt x="147" y="21"/>
                  <a:pt x="138" y="19"/>
                </a:cubicBezTo>
                <a:cubicBezTo>
                  <a:pt x="129" y="17"/>
                  <a:pt x="79" y="7"/>
                  <a:pt x="79" y="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4" name="Freeform 570"/>
          <p:cNvSpPr>
            <a:spLocks/>
          </p:cNvSpPr>
          <p:nvPr userDrawn="1"/>
        </p:nvSpPr>
        <p:spPr bwMode="auto">
          <a:xfrm>
            <a:off x="8195931" y="2230693"/>
            <a:ext cx="40203" cy="43552"/>
          </a:xfrm>
          <a:custGeom>
            <a:avLst/>
            <a:gdLst>
              <a:gd name="T0" fmla="*/ 2147483646 w 43"/>
              <a:gd name="T1" fmla="*/ 0 h 46"/>
              <a:gd name="T2" fmla="*/ 2147483646 w 43"/>
              <a:gd name="T3" fmla="*/ 2147483646 h 46"/>
              <a:gd name="T4" fmla="*/ 2147483646 w 43"/>
              <a:gd name="T5" fmla="*/ 2147483646 h 46"/>
              <a:gd name="T6" fmla="*/ 2147483646 w 43"/>
              <a:gd name="T7" fmla="*/ 2147483646 h 46"/>
              <a:gd name="T8" fmla="*/ 2147483646 w 43"/>
              <a:gd name="T9" fmla="*/ 0 h 4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3"/>
              <a:gd name="T16" fmla="*/ 0 h 46"/>
              <a:gd name="T17" fmla="*/ 43 w 43"/>
              <a:gd name="T18" fmla="*/ 46 h 4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3" h="46">
                <a:moveTo>
                  <a:pt x="30" y="0"/>
                </a:moveTo>
                <a:cubicBezTo>
                  <a:pt x="18" y="0"/>
                  <a:pt x="0" y="0"/>
                  <a:pt x="5" y="13"/>
                </a:cubicBezTo>
                <a:cubicBezTo>
                  <a:pt x="10" y="26"/>
                  <a:pt x="28" y="46"/>
                  <a:pt x="35" y="38"/>
                </a:cubicBezTo>
                <a:cubicBezTo>
                  <a:pt x="43" y="31"/>
                  <a:pt x="43" y="15"/>
                  <a:pt x="43" y="15"/>
                </a:cubicBezTo>
                <a:lnTo>
                  <a:pt x="3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5" name="Freeform 571"/>
          <p:cNvSpPr>
            <a:spLocks/>
          </p:cNvSpPr>
          <p:nvPr userDrawn="1"/>
        </p:nvSpPr>
        <p:spPr bwMode="auto">
          <a:xfrm>
            <a:off x="7401937" y="2332874"/>
            <a:ext cx="30152" cy="45228"/>
          </a:xfrm>
          <a:custGeom>
            <a:avLst/>
            <a:gdLst>
              <a:gd name="T0" fmla="*/ 2147483646 w 33"/>
              <a:gd name="T1" fmla="*/ 0 h 49"/>
              <a:gd name="T2" fmla="*/ 2147483646 w 33"/>
              <a:gd name="T3" fmla="*/ 2147483646 h 49"/>
              <a:gd name="T4" fmla="*/ 2147483646 w 33"/>
              <a:gd name="T5" fmla="*/ 2147483646 h 49"/>
              <a:gd name="T6" fmla="*/ 2147483646 w 33"/>
              <a:gd name="T7" fmla="*/ 2147483646 h 49"/>
              <a:gd name="T8" fmla="*/ 2147483646 w 33"/>
              <a:gd name="T9" fmla="*/ 0 h 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49"/>
              <a:gd name="T17" fmla="*/ 33 w 33"/>
              <a:gd name="T18" fmla="*/ 49 h 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49">
                <a:moveTo>
                  <a:pt x="15" y="0"/>
                </a:moveTo>
                <a:cubicBezTo>
                  <a:pt x="5" y="0"/>
                  <a:pt x="0" y="21"/>
                  <a:pt x="2" y="28"/>
                </a:cubicBezTo>
                <a:cubicBezTo>
                  <a:pt x="5" y="36"/>
                  <a:pt x="23" y="49"/>
                  <a:pt x="28" y="41"/>
                </a:cubicBezTo>
                <a:cubicBezTo>
                  <a:pt x="33" y="33"/>
                  <a:pt x="23" y="5"/>
                  <a:pt x="23" y="5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6" name="Freeform 572"/>
          <p:cNvSpPr>
            <a:spLocks/>
          </p:cNvSpPr>
          <p:nvPr userDrawn="1"/>
        </p:nvSpPr>
        <p:spPr bwMode="auto">
          <a:xfrm>
            <a:off x="7110471" y="1744918"/>
            <a:ext cx="68679" cy="100505"/>
          </a:xfrm>
          <a:custGeom>
            <a:avLst/>
            <a:gdLst>
              <a:gd name="T0" fmla="*/ 2147483646 w 74"/>
              <a:gd name="T1" fmla="*/ 2147483646 h 107"/>
              <a:gd name="T2" fmla="*/ 2147483646 w 74"/>
              <a:gd name="T3" fmla="*/ 2147483646 h 107"/>
              <a:gd name="T4" fmla="*/ 2147483646 w 74"/>
              <a:gd name="T5" fmla="*/ 2147483646 h 107"/>
              <a:gd name="T6" fmla="*/ 2147483646 w 74"/>
              <a:gd name="T7" fmla="*/ 2147483646 h 107"/>
              <a:gd name="T8" fmla="*/ 2147483646 w 74"/>
              <a:gd name="T9" fmla="*/ 2147483646 h 107"/>
              <a:gd name="T10" fmla="*/ 2147483646 w 74"/>
              <a:gd name="T11" fmla="*/ 2147483646 h 10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4"/>
              <a:gd name="T19" fmla="*/ 0 h 107"/>
              <a:gd name="T20" fmla="*/ 74 w 74"/>
              <a:gd name="T21" fmla="*/ 107 h 10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4" h="107">
                <a:moveTo>
                  <a:pt x="44" y="15"/>
                </a:moveTo>
                <a:cubicBezTo>
                  <a:pt x="31" y="8"/>
                  <a:pt x="21" y="0"/>
                  <a:pt x="11" y="33"/>
                </a:cubicBezTo>
                <a:cubicBezTo>
                  <a:pt x="0" y="66"/>
                  <a:pt x="0" y="107"/>
                  <a:pt x="16" y="97"/>
                </a:cubicBezTo>
                <a:cubicBezTo>
                  <a:pt x="31" y="86"/>
                  <a:pt x="46" y="71"/>
                  <a:pt x="56" y="64"/>
                </a:cubicBezTo>
                <a:cubicBezTo>
                  <a:pt x="66" y="56"/>
                  <a:pt x="74" y="36"/>
                  <a:pt x="74" y="36"/>
                </a:cubicBezTo>
                <a:lnTo>
                  <a:pt x="44" y="1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7" name="Freeform 573"/>
          <p:cNvSpPr>
            <a:spLocks/>
          </p:cNvSpPr>
          <p:nvPr userDrawn="1"/>
        </p:nvSpPr>
        <p:spPr bwMode="auto">
          <a:xfrm>
            <a:off x="7038442" y="1811921"/>
            <a:ext cx="56953" cy="78729"/>
          </a:xfrm>
          <a:custGeom>
            <a:avLst/>
            <a:gdLst>
              <a:gd name="T0" fmla="*/ 2147483646 w 61"/>
              <a:gd name="T1" fmla="*/ 0 h 84"/>
              <a:gd name="T2" fmla="*/ 2147483646 w 61"/>
              <a:gd name="T3" fmla="*/ 2147483646 h 84"/>
              <a:gd name="T4" fmla="*/ 2147483646 w 61"/>
              <a:gd name="T5" fmla="*/ 2147483646 h 84"/>
              <a:gd name="T6" fmla="*/ 2147483646 w 61"/>
              <a:gd name="T7" fmla="*/ 2147483646 h 84"/>
              <a:gd name="T8" fmla="*/ 2147483646 w 61"/>
              <a:gd name="T9" fmla="*/ 2147483646 h 84"/>
              <a:gd name="T10" fmla="*/ 2147483646 w 61"/>
              <a:gd name="T11" fmla="*/ 0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1"/>
              <a:gd name="T19" fmla="*/ 0 h 84"/>
              <a:gd name="T20" fmla="*/ 61 w 61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1" h="84">
                <a:moveTo>
                  <a:pt x="53" y="0"/>
                </a:moveTo>
                <a:cubicBezTo>
                  <a:pt x="40" y="10"/>
                  <a:pt x="17" y="8"/>
                  <a:pt x="17" y="8"/>
                </a:cubicBezTo>
                <a:cubicBezTo>
                  <a:pt x="17" y="8"/>
                  <a:pt x="0" y="43"/>
                  <a:pt x="17" y="64"/>
                </a:cubicBezTo>
                <a:cubicBezTo>
                  <a:pt x="35" y="84"/>
                  <a:pt x="45" y="76"/>
                  <a:pt x="53" y="71"/>
                </a:cubicBezTo>
                <a:cubicBezTo>
                  <a:pt x="61" y="66"/>
                  <a:pt x="58" y="36"/>
                  <a:pt x="58" y="36"/>
                </a:cubicBezTo>
                <a:lnTo>
                  <a:pt x="53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8" name="Freeform 574"/>
          <p:cNvSpPr>
            <a:spLocks/>
          </p:cNvSpPr>
          <p:nvPr userDrawn="1"/>
        </p:nvSpPr>
        <p:spPr bwMode="auto">
          <a:xfrm>
            <a:off x="6988189" y="1877248"/>
            <a:ext cx="43552" cy="38528"/>
          </a:xfrm>
          <a:custGeom>
            <a:avLst/>
            <a:gdLst>
              <a:gd name="T0" fmla="*/ 2147483646 w 48"/>
              <a:gd name="T1" fmla="*/ 0 h 41"/>
              <a:gd name="T2" fmla="*/ 2147483646 w 48"/>
              <a:gd name="T3" fmla="*/ 2147483646 h 41"/>
              <a:gd name="T4" fmla="*/ 2147483646 w 48"/>
              <a:gd name="T5" fmla="*/ 2147483646 h 41"/>
              <a:gd name="T6" fmla="*/ 2147483646 w 48"/>
              <a:gd name="T7" fmla="*/ 2147483646 h 41"/>
              <a:gd name="T8" fmla="*/ 2147483646 w 48"/>
              <a:gd name="T9" fmla="*/ 0 h 4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8"/>
              <a:gd name="T16" fmla="*/ 0 h 41"/>
              <a:gd name="T17" fmla="*/ 48 w 48"/>
              <a:gd name="T18" fmla="*/ 41 h 4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8" h="41">
                <a:moveTo>
                  <a:pt x="26" y="0"/>
                </a:moveTo>
                <a:cubicBezTo>
                  <a:pt x="13" y="0"/>
                  <a:pt x="0" y="31"/>
                  <a:pt x="10" y="36"/>
                </a:cubicBezTo>
                <a:cubicBezTo>
                  <a:pt x="21" y="41"/>
                  <a:pt x="33" y="31"/>
                  <a:pt x="41" y="28"/>
                </a:cubicBezTo>
                <a:cubicBezTo>
                  <a:pt x="48" y="26"/>
                  <a:pt x="46" y="11"/>
                  <a:pt x="46" y="11"/>
                </a:cubicBezTo>
                <a:lnTo>
                  <a:pt x="26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9" name="Freeform 575"/>
          <p:cNvSpPr>
            <a:spLocks/>
          </p:cNvSpPr>
          <p:nvPr userDrawn="1"/>
        </p:nvSpPr>
        <p:spPr bwMode="auto">
          <a:xfrm>
            <a:off x="6701748" y="1795170"/>
            <a:ext cx="167509" cy="135681"/>
          </a:xfrm>
          <a:custGeom>
            <a:avLst/>
            <a:gdLst>
              <a:gd name="T0" fmla="*/ 2147483646 w 180"/>
              <a:gd name="T1" fmla="*/ 2147483646 h 145"/>
              <a:gd name="T2" fmla="*/ 2147483646 w 180"/>
              <a:gd name="T3" fmla="*/ 2147483646 h 145"/>
              <a:gd name="T4" fmla="*/ 2147483646 w 180"/>
              <a:gd name="T5" fmla="*/ 2147483646 h 145"/>
              <a:gd name="T6" fmla="*/ 2147483646 w 180"/>
              <a:gd name="T7" fmla="*/ 2147483646 h 145"/>
              <a:gd name="T8" fmla="*/ 2147483646 w 180"/>
              <a:gd name="T9" fmla="*/ 2147483646 h 145"/>
              <a:gd name="T10" fmla="*/ 2147483646 w 180"/>
              <a:gd name="T11" fmla="*/ 2147483646 h 145"/>
              <a:gd name="T12" fmla="*/ 2147483646 w 180"/>
              <a:gd name="T13" fmla="*/ 2147483646 h 145"/>
              <a:gd name="T14" fmla="*/ 2147483646 w 180"/>
              <a:gd name="T15" fmla="*/ 2147483646 h 145"/>
              <a:gd name="T16" fmla="*/ 2147483646 w 180"/>
              <a:gd name="T17" fmla="*/ 2147483646 h 145"/>
              <a:gd name="T18" fmla="*/ 2147483646 w 180"/>
              <a:gd name="T19" fmla="*/ 0 h 145"/>
              <a:gd name="T20" fmla="*/ 2147483646 w 180"/>
              <a:gd name="T21" fmla="*/ 2147483646 h 14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80"/>
              <a:gd name="T34" fmla="*/ 0 h 145"/>
              <a:gd name="T35" fmla="*/ 180 w 180"/>
              <a:gd name="T36" fmla="*/ 145 h 14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80" h="145">
                <a:moveTo>
                  <a:pt x="104" y="61"/>
                </a:moveTo>
                <a:cubicBezTo>
                  <a:pt x="91" y="69"/>
                  <a:pt x="68" y="59"/>
                  <a:pt x="56" y="59"/>
                </a:cubicBezTo>
                <a:cubicBezTo>
                  <a:pt x="43" y="59"/>
                  <a:pt x="20" y="77"/>
                  <a:pt x="35" y="87"/>
                </a:cubicBezTo>
                <a:cubicBezTo>
                  <a:pt x="51" y="97"/>
                  <a:pt x="0" y="115"/>
                  <a:pt x="33" y="130"/>
                </a:cubicBezTo>
                <a:cubicBezTo>
                  <a:pt x="66" y="145"/>
                  <a:pt x="81" y="138"/>
                  <a:pt x="89" y="122"/>
                </a:cubicBezTo>
                <a:cubicBezTo>
                  <a:pt x="96" y="107"/>
                  <a:pt x="107" y="105"/>
                  <a:pt x="117" y="110"/>
                </a:cubicBezTo>
                <a:cubicBezTo>
                  <a:pt x="127" y="115"/>
                  <a:pt x="127" y="92"/>
                  <a:pt x="140" y="94"/>
                </a:cubicBezTo>
                <a:cubicBezTo>
                  <a:pt x="152" y="97"/>
                  <a:pt x="152" y="72"/>
                  <a:pt x="162" y="69"/>
                </a:cubicBezTo>
                <a:cubicBezTo>
                  <a:pt x="173" y="67"/>
                  <a:pt x="180" y="44"/>
                  <a:pt x="165" y="41"/>
                </a:cubicBezTo>
                <a:cubicBezTo>
                  <a:pt x="150" y="39"/>
                  <a:pt x="129" y="0"/>
                  <a:pt x="129" y="0"/>
                </a:cubicBezTo>
                <a:lnTo>
                  <a:pt x="104" y="6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0" name="Freeform 576"/>
          <p:cNvSpPr>
            <a:spLocks/>
          </p:cNvSpPr>
          <p:nvPr userDrawn="1"/>
        </p:nvSpPr>
        <p:spPr bwMode="auto">
          <a:xfrm>
            <a:off x="6614644" y="1806895"/>
            <a:ext cx="149083" cy="75380"/>
          </a:xfrm>
          <a:custGeom>
            <a:avLst/>
            <a:gdLst>
              <a:gd name="T0" fmla="*/ 2147483646 w 160"/>
              <a:gd name="T1" fmla="*/ 0 h 81"/>
              <a:gd name="T2" fmla="*/ 2147483646 w 160"/>
              <a:gd name="T3" fmla="*/ 2147483646 h 81"/>
              <a:gd name="T4" fmla="*/ 2147483646 w 160"/>
              <a:gd name="T5" fmla="*/ 2147483646 h 81"/>
              <a:gd name="T6" fmla="*/ 2147483646 w 160"/>
              <a:gd name="T7" fmla="*/ 2147483646 h 81"/>
              <a:gd name="T8" fmla="*/ 2147483646 w 160"/>
              <a:gd name="T9" fmla="*/ 2147483646 h 81"/>
              <a:gd name="T10" fmla="*/ 2147483646 w 160"/>
              <a:gd name="T11" fmla="*/ 2147483646 h 81"/>
              <a:gd name="T12" fmla="*/ 2147483646 w 160"/>
              <a:gd name="T13" fmla="*/ 2147483646 h 81"/>
              <a:gd name="T14" fmla="*/ 2147483646 w 160"/>
              <a:gd name="T15" fmla="*/ 0 h 8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60"/>
              <a:gd name="T25" fmla="*/ 0 h 81"/>
              <a:gd name="T26" fmla="*/ 160 w 160"/>
              <a:gd name="T27" fmla="*/ 81 h 8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60" h="81">
                <a:moveTo>
                  <a:pt x="130" y="0"/>
                </a:moveTo>
                <a:cubicBezTo>
                  <a:pt x="125" y="10"/>
                  <a:pt x="110" y="15"/>
                  <a:pt x="92" y="20"/>
                </a:cubicBezTo>
                <a:cubicBezTo>
                  <a:pt x="74" y="26"/>
                  <a:pt x="61" y="23"/>
                  <a:pt x="49" y="36"/>
                </a:cubicBezTo>
                <a:cubicBezTo>
                  <a:pt x="36" y="48"/>
                  <a:pt x="0" y="56"/>
                  <a:pt x="31" y="69"/>
                </a:cubicBezTo>
                <a:cubicBezTo>
                  <a:pt x="61" y="81"/>
                  <a:pt x="82" y="69"/>
                  <a:pt x="97" y="56"/>
                </a:cubicBezTo>
                <a:cubicBezTo>
                  <a:pt x="112" y="43"/>
                  <a:pt x="122" y="8"/>
                  <a:pt x="135" y="20"/>
                </a:cubicBezTo>
                <a:cubicBezTo>
                  <a:pt x="148" y="33"/>
                  <a:pt x="160" y="20"/>
                  <a:pt x="160" y="20"/>
                </a:cubicBezTo>
                <a:lnTo>
                  <a:pt x="13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1" name="Freeform 577"/>
          <p:cNvSpPr>
            <a:spLocks/>
          </p:cNvSpPr>
          <p:nvPr userDrawn="1"/>
        </p:nvSpPr>
        <p:spPr bwMode="auto">
          <a:xfrm>
            <a:off x="6897734" y="1783444"/>
            <a:ext cx="90455" cy="63653"/>
          </a:xfrm>
          <a:custGeom>
            <a:avLst/>
            <a:gdLst>
              <a:gd name="T0" fmla="*/ 2147483646 w 96"/>
              <a:gd name="T1" fmla="*/ 0 h 68"/>
              <a:gd name="T2" fmla="*/ 2147483646 w 96"/>
              <a:gd name="T3" fmla="*/ 2147483646 h 68"/>
              <a:gd name="T4" fmla="*/ 2147483646 w 96"/>
              <a:gd name="T5" fmla="*/ 2147483646 h 68"/>
              <a:gd name="T6" fmla="*/ 2147483646 w 96"/>
              <a:gd name="T7" fmla="*/ 2147483646 h 68"/>
              <a:gd name="T8" fmla="*/ 2147483646 w 96"/>
              <a:gd name="T9" fmla="*/ 2147483646 h 68"/>
              <a:gd name="T10" fmla="*/ 2147483646 w 96"/>
              <a:gd name="T11" fmla="*/ 2147483646 h 68"/>
              <a:gd name="T12" fmla="*/ 2147483646 w 96"/>
              <a:gd name="T13" fmla="*/ 2147483646 h 68"/>
              <a:gd name="T14" fmla="*/ 2147483646 w 96"/>
              <a:gd name="T15" fmla="*/ 2147483646 h 68"/>
              <a:gd name="T16" fmla="*/ 2147483646 w 96"/>
              <a:gd name="T17" fmla="*/ 2147483646 h 68"/>
              <a:gd name="T18" fmla="*/ 2147483646 w 96"/>
              <a:gd name="T19" fmla="*/ 0 h 6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6"/>
              <a:gd name="T31" fmla="*/ 0 h 68"/>
              <a:gd name="T32" fmla="*/ 96 w 96"/>
              <a:gd name="T33" fmla="*/ 68 h 6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6" h="68">
                <a:moveTo>
                  <a:pt x="40" y="0"/>
                </a:moveTo>
                <a:cubicBezTo>
                  <a:pt x="40" y="0"/>
                  <a:pt x="63" y="0"/>
                  <a:pt x="73" y="15"/>
                </a:cubicBezTo>
                <a:cubicBezTo>
                  <a:pt x="84" y="30"/>
                  <a:pt x="96" y="56"/>
                  <a:pt x="96" y="56"/>
                </a:cubicBezTo>
                <a:cubicBezTo>
                  <a:pt x="63" y="68"/>
                  <a:pt x="63" y="68"/>
                  <a:pt x="63" y="68"/>
                </a:cubicBezTo>
                <a:cubicBezTo>
                  <a:pt x="63" y="68"/>
                  <a:pt x="53" y="53"/>
                  <a:pt x="43" y="61"/>
                </a:cubicBezTo>
                <a:cubicBezTo>
                  <a:pt x="33" y="68"/>
                  <a:pt x="15" y="61"/>
                  <a:pt x="7" y="53"/>
                </a:cubicBezTo>
                <a:cubicBezTo>
                  <a:pt x="0" y="45"/>
                  <a:pt x="10" y="25"/>
                  <a:pt x="25" y="35"/>
                </a:cubicBezTo>
                <a:cubicBezTo>
                  <a:pt x="40" y="45"/>
                  <a:pt x="63" y="51"/>
                  <a:pt x="63" y="51"/>
                </a:cubicBezTo>
                <a:cubicBezTo>
                  <a:pt x="50" y="15"/>
                  <a:pt x="50" y="15"/>
                  <a:pt x="50" y="15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2" name="Freeform 578"/>
          <p:cNvSpPr>
            <a:spLocks/>
          </p:cNvSpPr>
          <p:nvPr userDrawn="1"/>
        </p:nvSpPr>
        <p:spPr bwMode="auto">
          <a:xfrm>
            <a:off x="6959713" y="1721466"/>
            <a:ext cx="31827" cy="38527"/>
          </a:xfrm>
          <a:custGeom>
            <a:avLst/>
            <a:gdLst>
              <a:gd name="T0" fmla="*/ 2147483646 w 35"/>
              <a:gd name="T1" fmla="*/ 2147483646 h 40"/>
              <a:gd name="T2" fmla="*/ 2147483646 w 35"/>
              <a:gd name="T3" fmla="*/ 2147483646 h 40"/>
              <a:gd name="T4" fmla="*/ 2147483646 w 35"/>
              <a:gd name="T5" fmla="*/ 2147483646 h 40"/>
              <a:gd name="T6" fmla="*/ 2147483646 w 35"/>
              <a:gd name="T7" fmla="*/ 2147483646 h 40"/>
              <a:gd name="T8" fmla="*/ 2147483646 w 35"/>
              <a:gd name="T9" fmla="*/ 0 h 40"/>
              <a:gd name="T10" fmla="*/ 2147483646 w 35"/>
              <a:gd name="T11" fmla="*/ 2147483646 h 4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5"/>
              <a:gd name="T19" fmla="*/ 0 h 40"/>
              <a:gd name="T20" fmla="*/ 35 w 35"/>
              <a:gd name="T21" fmla="*/ 40 h 4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5" h="40">
                <a:moveTo>
                  <a:pt x="20" y="10"/>
                </a:moveTo>
                <a:cubicBezTo>
                  <a:pt x="12" y="15"/>
                  <a:pt x="0" y="20"/>
                  <a:pt x="2" y="30"/>
                </a:cubicBezTo>
                <a:cubicBezTo>
                  <a:pt x="5" y="40"/>
                  <a:pt x="23" y="38"/>
                  <a:pt x="23" y="38"/>
                </a:cubicBezTo>
                <a:cubicBezTo>
                  <a:pt x="35" y="17"/>
                  <a:pt x="35" y="17"/>
                  <a:pt x="35" y="17"/>
                </a:cubicBezTo>
                <a:cubicBezTo>
                  <a:pt x="35" y="0"/>
                  <a:pt x="35" y="0"/>
                  <a:pt x="35" y="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3" name="Freeform 579"/>
          <p:cNvSpPr>
            <a:spLocks/>
          </p:cNvSpPr>
          <p:nvPr userDrawn="1"/>
        </p:nvSpPr>
        <p:spPr bwMode="auto">
          <a:xfrm>
            <a:off x="6996566" y="1761668"/>
            <a:ext cx="26801" cy="43552"/>
          </a:xfrm>
          <a:custGeom>
            <a:avLst/>
            <a:gdLst>
              <a:gd name="T0" fmla="*/ 2147483646 w 16"/>
              <a:gd name="T1" fmla="*/ 2147483646 h 26"/>
              <a:gd name="T2" fmla="*/ 0 w 16"/>
              <a:gd name="T3" fmla="*/ 2147483646 h 26"/>
              <a:gd name="T4" fmla="*/ 2147483646 w 16"/>
              <a:gd name="T5" fmla="*/ 2147483646 h 26"/>
              <a:gd name="T6" fmla="*/ 2147483646 w 16"/>
              <a:gd name="T7" fmla="*/ 2147483646 h 26"/>
              <a:gd name="T8" fmla="*/ 2147483646 w 16"/>
              <a:gd name="T9" fmla="*/ 0 h 26"/>
              <a:gd name="T10" fmla="*/ 2147483646 w 16"/>
              <a:gd name="T11" fmla="*/ 2147483646 h 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26"/>
              <a:gd name="T20" fmla="*/ 16 w 16"/>
              <a:gd name="T21" fmla="*/ 26 h 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26">
                <a:moveTo>
                  <a:pt x="2" y="9"/>
                </a:moveTo>
                <a:lnTo>
                  <a:pt x="0" y="26"/>
                </a:lnTo>
                <a:lnTo>
                  <a:pt x="9" y="24"/>
                </a:lnTo>
                <a:lnTo>
                  <a:pt x="16" y="13"/>
                </a:lnTo>
                <a:lnTo>
                  <a:pt x="16" y="0"/>
                </a:lnTo>
                <a:lnTo>
                  <a:pt x="2" y="9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4" name="Freeform 580"/>
          <p:cNvSpPr>
            <a:spLocks/>
          </p:cNvSpPr>
          <p:nvPr userDrawn="1"/>
        </p:nvSpPr>
        <p:spPr bwMode="auto">
          <a:xfrm>
            <a:off x="7004941" y="1703039"/>
            <a:ext cx="25127" cy="30152"/>
          </a:xfrm>
          <a:custGeom>
            <a:avLst/>
            <a:gdLst>
              <a:gd name="T0" fmla="*/ 0 w 28"/>
              <a:gd name="T1" fmla="*/ 2147483646 h 33"/>
              <a:gd name="T2" fmla="*/ 2147483646 w 28"/>
              <a:gd name="T3" fmla="*/ 2147483646 h 33"/>
              <a:gd name="T4" fmla="*/ 2147483646 w 28"/>
              <a:gd name="T5" fmla="*/ 2147483646 h 33"/>
              <a:gd name="T6" fmla="*/ 0 w 28"/>
              <a:gd name="T7" fmla="*/ 2147483646 h 33"/>
              <a:gd name="T8" fmla="*/ 0 60000 65536"/>
              <a:gd name="T9" fmla="*/ 0 60000 65536"/>
              <a:gd name="T10" fmla="*/ 0 60000 65536"/>
              <a:gd name="T11" fmla="*/ 0 60000 65536"/>
              <a:gd name="T12" fmla="*/ 0 w 28"/>
              <a:gd name="T13" fmla="*/ 0 h 33"/>
              <a:gd name="T14" fmla="*/ 28 w 28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8" h="33">
                <a:moveTo>
                  <a:pt x="0" y="8"/>
                </a:moveTo>
                <a:cubicBezTo>
                  <a:pt x="8" y="23"/>
                  <a:pt x="25" y="33"/>
                  <a:pt x="25" y="33"/>
                </a:cubicBezTo>
                <a:cubicBezTo>
                  <a:pt x="28" y="13"/>
                  <a:pt x="28" y="13"/>
                  <a:pt x="28" y="13"/>
                </a:cubicBezTo>
                <a:cubicBezTo>
                  <a:pt x="13" y="0"/>
                  <a:pt x="0" y="8"/>
                  <a:pt x="0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5" name="Freeform 581"/>
          <p:cNvSpPr>
            <a:spLocks/>
          </p:cNvSpPr>
          <p:nvPr userDrawn="1"/>
        </p:nvSpPr>
        <p:spPr bwMode="auto">
          <a:xfrm>
            <a:off x="7130572" y="1692988"/>
            <a:ext cx="41877" cy="31827"/>
          </a:xfrm>
          <a:custGeom>
            <a:avLst/>
            <a:gdLst>
              <a:gd name="T0" fmla="*/ 2147483646 w 45"/>
              <a:gd name="T1" fmla="*/ 0 h 33"/>
              <a:gd name="T2" fmla="*/ 2147483646 w 45"/>
              <a:gd name="T3" fmla="*/ 2147483646 h 33"/>
              <a:gd name="T4" fmla="*/ 2147483646 w 45"/>
              <a:gd name="T5" fmla="*/ 2147483646 h 33"/>
              <a:gd name="T6" fmla="*/ 2147483646 w 45"/>
              <a:gd name="T7" fmla="*/ 2147483646 h 33"/>
              <a:gd name="T8" fmla="*/ 2147483646 w 45"/>
              <a:gd name="T9" fmla="*/ 0 h 3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5"/>
              <a:gd name="T16" fmla="*/ 0 h 33"/>
              <a:gd name="T17" fmla="*/ 45 w 45"/>
              <a:gd name="T18" fmla="*/ 33 h 3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5" h="33">
                <a:moveTo>
                  <a:pt x="15" y="0"/>
                </a:moveTo>
                <a:cubicBezTo>
                  <a:pt x="5" y="18"/>
                  <a:pt x="0" y="33"/>
                  <a:pt x="15" y="33"/>
                </a:cubicBezTo>
                <a:cubicBezTo>
                  <a:pt x="30" y="33"/>
                  <a:pt x="35" y="26"/>
                  <a:pt x="35" y="26"/>
                </a:cubicBezTo>
                <a:cubicBezTo>
                  <a:pt x="35" y="26"/>
                  <a:pt x="45" y="15"/>
                  <a:pt x="38" y="10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6" name="Freeform 582"/>
          <p:cNvSpPr>
            <a:spLocks/>
          </p:cNvSpPr>
          <p:nvPr userDrawn="1"/>
        </p:nvSpPr>
        <p:spPr bwMode="auto">
          <a:xfrm>
            <a:off x="6870932" y="1882275"/>
            <a:ext cx="38528" cy="33501"/>
          </a:xfrm>
          <a:custGeom>
            <a:avLst/>
            <a:gdLst>
              <a:gd name="T0" fmla="*/ 0 w 40"/>
              <a:gd name="T1" fmla="*/ 2147483646 h 36"/>
              <a:gd name="T2" fmla="*/ 2147483646 w 40"/>
              <a:gd name="T3" fmla="*/ 2147483646 h 36"/>
              <a:gd name="T4" fmla="*/ 2147483646 w 40"/>
              <a:gd name="T5" fmla="*/ 2147483646 h 36"/>
              <a:gd name="T6" fmla="*/ 2147483646 w 40"/>
              <a:gd name="T7" fmla="*/ 2147483646 h 36"/>
              <a:gd name="T8" fmla="*/ 0 w 40"/>
              <a:gd name="T9" fmla="*/ 2147483646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0"/>
              <a:gd name="T16" fmla="*/ 0 h 36"/>
              <a:gd name="T17" fmla="*/ 40 w 40"/>
              <a:gd name="T18" fmla="*/ 36 h 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0" h="36">
                <a:moveTo>
                  <a:pt x="0" y="16"/>
                </a:moveTo>
                <a:cubicBezTo>
                  <a:pt x="0" y="16"/>
                  <a:pt x="7" y="0"/>
                  <a:pt x="15" y="6"/>
                </a:cubicBezTo>
                <a:cubicBezTo>
                  <a:pt x="23" y="11"/>
                  <a:pt x="35" y="13"/>
                  <a:pt x="38" y="21"/>
                </a:cubicBezTo>
                <a:cubicBezTo>
                  <a:pt x="40" y="28"/>
                  <a:pt x="23" y="36"/>
                  <a:pt x="23" y="36"/>
                </a:cubicBezTo>
                <a:lnTo>
                  <a:pt x="0" y="1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7" name="Freeform 583"/>
          <p:cNvSpPr>
            <a:spLocks/>
          </p:cNvSpPr>
          <p:nvPr userDrawn="1"/>
        </p:nvSpPr>
        <p:spPr bwMode="auto">
          <a:xfrm>
            <a:off x="6817329" y="1909076"/>
            <a:ext cx="30152" cy="15075"/>
          </a:xfrm>
          <a:custGeom>
            <a:avLst/>
            <a:gdLst>
              <a:gd name="T0" fmla="*/ 0 w 33"/>
              <a:gd name="T1" fmla="*/ 2147483646 h 16"/>
              <a:gd name="T2" fmla="*/ 2147483646 w 33"/>
              <a:gd name="T3" fmla="*/ 0 h 16"/>
              <a:gd name="T4" fmla="*/ 2147483646 w 33"/>
              <a:gd name="T5" fmla="*/ 2147483646 h 16"/>
              <a:gd name="T6" fmla="*/ 2147483646 w 33"/>
              <a:gd name="T7" fmla="*/ 2147483646 h 16"/>
              <a:gd name="T8" fmla="*/ 0 w 33"/>
              <a:gd name="T9" fmla="*/ 2147483646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16"/>
              <a:gd name="T17" fmla="*/ 33 w 33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16">
                <a:moveTo>
                  <a:pt x="0" y="13"/>
                </a:moveTo>
                <a:cubicBezTo>
                  <a:pt x="5" y="0"/>
                  <a:pt x="16" y="0"/>
                  <a:pt x="16" y="0"/>
                </a:cubicBezTo>
                <a:cubicBezTo>
                  <a:pt x="33" y="16"/>
                  <a:pt x="33" y="16"/>
                  <a:pt x="33" y="16"/>
                </a:cubicBezTo>
                <a:cubicBezTo>
                  <a:pt x="33" y="16"/>
                  <a:pt x="33" y="16"/>
                  <a:pt x="33" y="16"/>
                </a:cubicBezTo>
                <a:lnTo>
                  <a:pt x="0" y="1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8" name="Freeform 584"/>
          <p:cNvSpPr>
            <a:spLocks/>
          </p:cNvSpPr>
          <p:nvPr userDrawn="1"/>
        </p:nvSpPr>
        <p:spPr bwMode="auto">
          <a:xfrm>
            <a:off x="6641446" y="3401582"/>
            <a:ext cx="983279" cy="520955"/>
          </a:xfrm>
          <a:custGeom>
            <a:avLst/>
            <a:gdLst>
              <a:gd name="T0" fmla="*/ 2147483646 w 1053"/>
              <a:gd name="T1" fmla="*/ 2147483646 h 558"/>
              <a:gd name="T2" fmla="*/ 2147483646 w 1053"/>
              <a:gd name="T3" fmla="*/ 2147483646 h 558"/>
              <a:gd name="T4" fmla="*/ 2147483646 w 1053"/>
              <a:gd name="T5" fmla="*/ 2147483646 h 558"/>
              <a:gd name="T6" fmla="*/ 2147483646 w 1053"/>
              <a:gd name="T7" fmla="*/ 2147483646 h 558"/>
              <a:gd name="T8" fmla="*/ 2147483646 w 1053"/>
              <a:gd name="T9" fmla="*/ 2147483646 h 558"/>
              <a:gd name="T10" fmla="*/ 2147483646 w 1053"/>
              <a:gd name="T11" fmla="*/ 2147483646 h 558"/>
              <a:gd name="T12" fmla="*/ 2147483646 w 1053"/>
              <a:gd name="T13" fmla="*/ 2147483646 h 558"/>
              <a:gd name="T14" fmla="*/ 2147483646 w 1053"/>
              <a:gd name="T15" fmla="*/ 2147483646 h 558"/>
              <a:gd name="T16" fmla="*/ 2147483646 w 1053"/>
              <a:gd name="T17" fmla="*/ 2147483646 h 558"/>
              <a:gd name="T18" fmla="*/ 2147483646 w 1053"/>
              <a:gd name="T19" fmla="*/ 2147483646 h 558"/>
              <a:gd name="T20" fmla="*/ 2147483646 w 1053"/>
              <a:gd name="T21" fmla="*/ 2147483646 h 558"/>
              <a:gd name="T22" fmla="*/ 2147483646 w 1053"/>
              <a:gd name="T23" fmla="*/ 2147483646 h 558"/>
              <a:gd name="T24" fmla="*/ 2147483646 w 1053"/>
              <a:gd name="T25" fmla="*/ 2147483646 h 558"/>
              <a:gd name="T26" fmla="*/ 2147483646 w 1053"/>
              <a:gd name="T27" fmla="*/ 2147483646 h 558"/>
              <a:gd name="T28" fmla="*/ 2147483646 w 1053"/>
              <a:gd name="T29" fmla="*/ 2147483646 h 558"/>
              <a:gd name="T30" fmla="*/ 2147483646 w 1053"/>
              <a:gd name="T31" fmla="*/ 2147483646 h 558"/>
              <a:gd name="T32" fmla="*/ 2147483646 w 1053"/>
              <a:gd name="T33" fmla="*/ 2147483646 h 558"/>
              <a:gd name="T34" fmla="*/ 2147483646 w 1053"/>
              <a:gd name="T35" fmla="*/ 2147483646 h 558"/>
              <a:gd name="T36" fmla="*/ 2147483646 w 1053"/>
              <a:gd name="T37" fmla="*/ 2147483646 h 558"/>
              <a:gd name="T38" fmla="*/ 2147483646 w 1053"/>
              <a:gd name="T39" fmla="*/ 2147483646 h 558"/>
              <a:gd name="T40" fmla="*/ 2147483646 w 1053"/>
              <a:gd name="T41" fmla="*/ 2147483646 h 558"/>
              <a:gd name="T42" fmla="*/ 2147483646 w 1053"/>
              <a:gd name="T43" fmla="*/ 2147483646 h 558"/>
              <a:gd name="T44" fmla="*/ 2147483646 w 1053"/>
              <a:gd name="T45" fmla="*/ 2147483646 h 558"/>
              <a:gd name="T46" fmla="*/ 2147483646 w 1053"/>
              <a:gd name="T47" fmla="*/ 2147483646 h 558"/>
              <a:gd name="T48" fmla="*/ 2147483646 w 1053"/>
              <a:gd name="T49" fmla="*/ 2147483646 h 558"/>
              <a:gd name="T50" fmla="*/ 2147483646 w 1053"/>
              <a:gd name="T51" fmla="*/ 2147483646 h 558"/>
              <a:gd name="T52" fmla="*/ 2147483646 w 1053"/>
              <a:gd name="T53" fmla="*/ 2147483646 h 558"/>
              <a:gd name="T54" fmla="*/ 2147483646 w 1053"/>
              <a:gd name="T55" fmla="*/ 2147483646 h 558"/>
              <a:gd name="T56" fmla="*/ 2147483646 w 1053"/>
              <a:gd name="T57" fmla="*/ 2147483646 h 558"/>
              <a:gd name="T58" fmla="*/ 2147483646 w 1053"/>
              <a:gd name="T59" fmla="*/ 2147483646 h 558"/>
              <a:gd name="T60" fmla="*/ 2147483646 w 1053"/>
              <a:gd name="T61" fmla="*/ 2147483646 h 558"/>
              <a:gd name="T62" fmla="*/ 2147483646 w 1053"/>
              <a:gd name="T63" fmla="*/ 2147483646 h 558"/>
              <a:gd name="T64" fmla="*/ 2147483646 w 1053"/>
              <a:gd name="T65" fmla="*/ 2147483646 h 558"/>
              <a:gd name="T66" fmla="*/ 2147483646 w 1053"/>
              <a:gd name="T67" fmla="*/ 2147483646 h 558"/>
              <a:gd name="T68" fmla="*/ 2147483646 w 1053"/>
              <a:gd name="T69" fmla="*/ 2147483646 h 558"/>
              <a:gd name="T70" fmla="*/ 2147483646 w 1053"/>
              <a:gd name="T71" fmla="*/ 2147483646 h 558"/>
              <a:gd name="T72" fmla="*/ 2147483646 w 1053"/>
              <a:gd name="T73" fmla="*/ 2147483646 h 558"/>
              <a:gd name="T74" fmla="*/ 2147483646 w 1053"/>
              <a:gd name="T75" fmla="*/ 2147483646 h 558"/>
              <a:gd name="T76" fmla="*/ 2147483646 w 1053"/>
              <a:gd name="T77" fmla="*/ 2147483646 h 558"/>
              <a:gd name="T78" fmla="*/ 2147483646 w 1053"/>
              <a:gd name="T79" fmla="*/ 2147483646 h 558"/>
              <a:gd name="T80" fmla="*/ 2147483646 w 1053"/>
              <a:gd name="T81" fmla="*/ 2147483646 h 558"/>
              <a:gd name="T82" fmla="*/ 2147483646 w 1053"/>
              <a:gd name="T83" fmla="*/ 2147483646 h 558"/>
              <a:gd name="T84" fmla="*/ 2147483646 w 1053"/>
              <a:gd name="T85" fmla="*/ 2147483646 h 558"/>
              <a:gd name="T86" fmla="*/ 2147483646 w 1053"/>
              <a:gd name="T87" fmla="*/ 2147483646 h 558"/>
              <a:gd name="T88" fmla="*/ 2147483646 w 1053"/>
              <a:gd name="T89" fmla="*/ 2147483646 h 558"/>
              <a:gd name="T90" fmla="*/ 2147483646 w 1053"/>
              <a:gd name="T91" fmla="*/ 2147483646 h 558"/>
              <a:gd name="T92" fmla="*/ 2147483646 w 1053"/>
              <a:gd name="T93" fmla="*/ 2147483646 h 558"/>
              <a:gd name="T94" fmla="*/ 2147483646 w 1053"/>
              <a:gd name="T95" fmla="*/ 2147483646 h 558"/>
              <a:gd name="T96" fmla="*/ 2147483646 w 1053"/>
              <a:gd name="T97" fmla="*/ 2147483646 h 55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053"/>
              <a:gd name="T148" fmla="*/ 0 h 558"/>
              <a:gd name="T149" fmla="*/ 1053 w 1053"/>
              <a:gd name="T150" fmla="*/ 558 h 55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053" h="558">
                <a:moveTo>
                  <a:pt x="10" y="418"/>
                </a:moveTo>
                <a:cubicBezTo>
                  <a:pt x="0" y="400"/>
                  <a:pt x="19" y="382"/>
                  <a:pt x="23" y="366"/>
                </a:cubicBezTo>
                <a:cubicBezTo>
                  <a:pt x="26" y="349"/>
                  <a:pt x="34" y="377"/>
                  <a:pt x="34" y="377"/>
                </a:cubicBezTo>
                <a:cubicBezTo>
                  <a:pt x="34" y="377"/>
                  <a:pt x="47" y="377"/>
                  <a:pt x="54" y="348"/>
                </a:cubicBezTo>
                <a:cubicBezTo>
                  <a:pt x="60" y="319"/>
                  <a:pt x="52" y="325"/>
                  <a:pt x="52" y="325"/>
                </a:cubicBezTo>
                <a:cubicBezTo>
                  <a:pt x="52" y="325"/>
                  <a:pt x="44" y="315"/>
                  <a:pt x="29" y="302"/>
                </a:cubicBezTo>
                <a:cubicBezTo>
                  <a:pt x="15" y="289"/>
                  <a:pt x="3" y="258"/>
                  <a:pt x="3" y="258"/>
                </a:cubicBezTo>
                <a:cubicBezTo>
                  <a:pt x="3" y="258"/>
                  <a:pt x="5" y="240"/>
                  <a:pt x="29" y="223"/>
                </a:cubicBezTo>
                <a:cubicBezTo>
                  <a:pt x="54" y="205"/>
                  <a:pt x="60" y="244"/>
                  <a:pt x="60" y="244"/>
                </a:cubicBezTo>
                <a:cubicBezTo>
                  <a:pt x="60" y="244"/>
                  <a:pt x="65" y="239"/>
                  <a:pt x="57" y="218"/>
                </a:cubicBezTo>
                <a:cubicBezTo>
                  <a:pt x="49" y="197"/>
                  <a:pt x="76" y="193"/>
                  <a:pt x="93" y="180"/>
                </a:cubicBezTo>
                <a:cubicBezTo>
                  <a:pt x="109" y="167"/>
                  <a:pt x="130" y="156"/>
                  <a:pt x="156" y="156"/>
                </a:cubicBezTo>
                <a:cubicBezTo>
                  <a:pt x="182" y="156"/>
                  <a:pt x="176" y="169"/>
                  <a:pt x="194" y="179"/>
                </a:cubicBezTo>
                <a:cubicBezTo>
                  <a:pt x="211" y="188"/>
                  <a:pt x="226" y="198"/>
                  <a:pt x="226" y="198"/>
                </a:cubicBezTo>
                <a:cubicBezTo>
                  <a:pt x="226" y="198"/>
                  <a:pt x="244" y="190"/>
                  <a:pt x="262" y="169"/>
                </a:cubicBezTo>
                <a:cubicBezTo>
                  <a:pt x="280" y="148"/>
                  <a:pt x="275" y="182"/>
                  <a:pt x="281" y="188"/>
                </a:cubicBezTo>
                <a:cubicBezTo>
                  <a:pt x="288" y="195"/>
                  <a:pt x="304" y="192"/>
                  <a:pt x="316" y="179"/>
                </a:cubicBezTo>
                <a:cubicBezTo>
                  <a:pt x="327" y="166"/>
                  <a:pt x="337" y="182"/>
                  <a:pt x="337" y="182"/>
                </a:cubicBezTo>
                <a:cubicBezTo>
                  <a:pt x="337" y="182"/>
                  <a:pt x="359" y="185"/>
                  <a:pt x="371" y="184"/>
                </a:cubicBezTo>
                <a:cubicBezTo>
                  <a:pt x="382" y="182"/>
                  <a:pt x="381" y="177"/>
                  <a:pt x="381" y="161"/>
                </a:cubicBezTo>
                <a:cubicBezTo>
                  <a:pt x="381" y="144"/>
                  <a:pt x="359" y="148"/>
                  <a:pt x="359" y="148"/>
                </a:cubicBezTo>
                <a:cubicBezTo>
                  <a:pt x="359" y="148"/>
                  <a:pt x="351" y="120"/>
                  <a:pt x="355" y="109"/>
                </a:cubicBezTo>
                <a:cubicBezTo>
                  <a:pt x="358" y="97"/>
                  <a:pt x="381" y="104"/>
                  <a:pt x="381" y="104"/>
                </a:cubicBezTo>
                <a:cubicBezTo>
                  <a:pt x="386" y="88"/>
                  <a:pt x="386" y="88"/>
                  <a:pt x="386" y="88"/>
                </a:cubicBezTo>
                <a:cubicBezTo>
                  <a:pt x="386" y="88"/>
                  <a:pt x="386" y="88"/>
                  <a:pt x="377" y="55"/>
                </a:cubicBezTo>
                <a:cubicBezTo>
                  <a:pt x="369" y="22"/>
                  <a:pt x="399" y="48"/>
                  <a:pt x="425" y="42"/>
                </a:cubicBezTo>
                <a:cubicBezTo>
                  <a:pt x="451" y="35"/>
                  <a:pt x="465" y="34"/>
                  <a:pt x="491" y="31"/>
                </a:cubicBezTo>
                <a:cubicBezTo>
                  <a:pt x="517" y="27"/>
                  <a:pt x="534" y="26"/>
                  <a:pt x="547" y="13"/>
                </a:cubicBezTo>
                <a:cubicBezTo>
                  <a:pt x="560" y="0"/>
                  <a:pt x="569" y="9"/>
                  <a:pt x="586" y="6"/>
                </a:cubicBezTo>
                <a:cubicBezTo>
                  <a:pt x="602" y="3"/>
                  <a:pt x="615" y="0"/>
                  <a:pt x="621" y="21"/>
                </a:cubicBezTo>
                <a:cubicBezTo>
                  <a:pt x="628" y="42"/>
                  <a:pt x="634" y="35"/>
                  <a:pt x="647" y="34"/>
                </a:cubicBezTo>
                <a:cubicBezTo>
                  <a:pt x="661" y="32"/>
                  <a:pt x="677" y="44"/>
                  <a:pt x="691" y="53"/>
                </a:cubicBezTo>
                <a:cubicBezTo>
                  <a:pt x="706" y="63"/>
                  <a:pt x="711" y="63"/>
                  <a:pt x="721" y="63"/>
                </a:cubicBezTo>
                <a:cubicBezTo>
                  <a:pt x="730" y="63"/>
                  <a:pt x="740" y="48"/>
                  <a:pt x="757" y="32"/>
                </a:cubicBezTo>
                <a:cubicBezTo>
                  <a:pt x="773" y="16"/>
                  <a:pt x="771" y="31"/>
                  <a:pt x="784" y="31"/>
                </a:cubicBezTo>
                <a:cubicBezTo>
                  <a:pt x="797" y="31"/>
                  <a:pt x="781" y="53"/>
                  <a:pt x="792" y="73"/>
                </a:cubicBezTo>
                <a:cubicBezTo>
                  <a:pt x="804" y="92"/>
                  <a:pt x="870" y="195"/>
                  <a:pt x="887" y="195"/>
                </a:cubicBezTo>
                <a:cubicBezTo>
                  <a:pt x="903" y="195"/>
                  <a:pt x="937" y="192"/>
                  <a:pt x="958" y="195"/>
                </a:cubicBezTo>
                <a:cubicBezTo>
                  <a:pt x="979" y="198"/>
                  <a:pt x="983" y="223"/>
                  <a:pt x="996" y="229"/>
                </a:cubicBezTo>
                <a:cubicBezTo>
                  <a:pt x="1009" y="236"/>
                  <a:pt x="1053" y="240"/>
                  <a:pt x="1053" y="240"/>
                </a:cubicBezTo>
                <a:cubicBezTo>
                  <a:pt x="1053" y="240"/>
                  <a:pt x="1025" y="251"/>
                  <a:pt x="1025" y="262"/>
                </a:cubicBezTo>
                <a:cubicBezTo>
                  <a:pt x="1025" y="273"/>
                  <a:pt x="1012" y="284"/>
                  <a:pt x="1004" y="284"/>
                </a:cubicBezTo>
                <a:cubicBezTo>
                  <a:pt x="997" y="284"/>
                  <a:pt x="982" y="284"/>
                  <a:pt x="986" y="296"/>
                </a:cubicBezTo>
                <a:cubicBezTo>
                  <a:pt x="989" y="307"/>
                  <a:pt x="997" y="322"/>
                  <a:pt x="986" y="322"/>
                </a:cubicBezTo>
                <a:cubicBezTo>
                  <a:pt x="974" y="322"/>
                  <a:pt x="961" y="316"/>
                  <a:pt x="961" y="316"/>
                </a:cubicBezTo>
                <a:cubicBezTo>
                  <a:pt x="961" y="316"/>
                  <a:pt x="944" y="292"/>
                  <a:pt x="928" y="307"/>
                </a:cubicBezTo>
                <a:cubicBezTo>
                  <a:pt x="911" y="322"/>
                  <a:pt x="907" y="335"/>
                  <a:pt x="911" y="346"/>
                </a:cubicBezTo>
                <a:cubicBezTo>
                  <a:pt x="915" y="357"/>
                  <a:pt x="911" y="372"/>
                  <a:pt x="918" y="386"/>
                </a:cubicBezTo>
                <a:cubicBezTo>
                  <a:pt x="926" y="399"/>
                  <a:pt x="926" y="406"/>
                  <a:pt x="926" y="406"/>
                </a:cubicBezTo>
                <a:cubicBezTo>
                  <a:pt x="926" y="406"/>
                  <a:pt x="903" y="389"/>
                  <a:pt x="892" y="395"/>
                </a:cubicBezTo>
                <a:cubicBezTo>
                  <a:pt x="881" y="401"/>
                  <a:pt x="870" y="406"/>
                  <a:pt x="870" y="406"/>
                </a:cubicBezTo>
                <a:cubicBezTo>
                  <a:pt x="870" y="406"/>
                  <a:pt x="881" y="453"/>
                  <a:pt x="885" y="459"/>
                </a:cubicBezTo>
                <a:cubicBezTo>
                  <a:pt x="888" y="464"/>
                  <a:pt x="875" y="518"/>
                  <a:pt x="866" y="522"/>
                </a:cubicBezTo>
                <a:cubicBezTo>
                  <a:pt x="866" y="522"/>
                  <a:pt x="842" y="503"/>
                  <a:pt x="830" y="500"/>
                </a:cubicBezTo>
                <a:cubicBezTo>
                  <a:pt x="819" y="496"/>
                  <a:pt x="785" y="492"/>
                  <a:pt x="770" y="492"/>
                </a:cubicBezTo>
                <a:cubicBezTo>
                  <a:pt x="755" y="492"/>
                  <a:pt x="748" y="485"/>
                  <a:pt x="740" y="492"/>
                </a:cubicBezTo>
                <a:cubicBezTo>
                  <a:pt x="733" y="500"/>
                  <a:pt x="722" y="503"/>
                  <a:pt x="720" y="496"/>
                </a:cubicBezTo>
                <a:cubicBezTo>
                  <a:pt x="718" y="488"/>
                  <a:pt x="722" y="472"/>
                  <a:pt x="712" y="481"/>
                </a:cubicBezTo>
                <a:cubicBezTo>
                  <a:pt x="703" y="490"/>
                  <a:pt x="692" y="483"/>
                  <a:pt x="694" y="488"/>
                </a:cubicBezTo>
                <a:cubicBezTo>
                  <a:pt x="695" y="494"/>
                  <a:pt x="701" y="494"/>
                  <a:pt x="697" y="502"/>
                </a:cubicBezTo>
                <a:cubicBezTo>
                  <a:pt x="694" y="509"/>
                  <a:pt x="684" y="509"/>
                  <a:pt x="684" y="509"/>
                </a:cubicBezTo>
                <a:cubicBezTo>
                  <a:pt x="684" y="509"/>
                  <a:pt x="678" y="499"/>
                  <a:pt x="673" y="498"/>
                </a:cubicBezTo>
                <a:cubicBezTo>
                  <a:pt x="660" y="494"/>
                  <a:pt x="660" y="499"/>
                  <a:pt x="652" y="502"/>
                </a:cubicBezTo>
                <a:cubicBezTo>
                  <a:pt x="637" y="507"/>
                  <a:pt x="630" y="511"/>
                  <a:pt x="628" y="517"/>
                </a:cubicBezTo>
                <a:cubicBezTo>
                  <a:pt x="628" y="517"/>
                  <a:pt x="602" y="507"/>
                  <a:pt x="587" y="526"/>
                </a:cubicBezTo>
                <a:cubicBezTo>
                  <a:pt x="572" y="545"/>
                  <a:pt x="551" y="558"/>
                  <a:pt x="534" y="541"/>
                </a:cubicBezTo>
                <a:cubicBezTo>
                  <a:pt x="518" y="524"/>
                  <a:pt x="491" y="509"/>
                  <a:pt x="480" y="487"/>
                </a:cubicBezTo>
                <a:cubicBezTo>
                  <a:pt x="469" y="464"/>
                  <a:pt x="486" y="459"/>
                  <a:pt x="450" y="457"/>
                </a:cubicBezTo>
                <a:cubicBezTo>
                  <a:pt x="415" y="455"/>
                  <a:pt x="392" y="462"/>
                  <a:pt x="379" y="455"/>
                </a:cubicBezTo>
                <a:cubicBezTo>
                  <a:pt x="366" y="447"/>
                  <a:pt x="370" y="438"/>
                  <a:pt x="355" y="455"/>
                </a:cubicBezTo>
                <a:cubicBezTo>
                  <a:pt x="340" y="472"/>
                  <a:pt x="340" y="470"/>
                  <a:pt x="327" y="472"/>
                </a:cubicBezTo>
                <a:cubicBezTo>
                  <a:pt x="314" y="474"/>
                  <a:pt x="299" y="475"/>
                  <a:pt x="297" y="457"/>
                </a:cubicBezTo>
                <a:cubicBezTo>
                  <a:pt x="295" y="438"/>
                  <a:pt x="287" y="425"/>
                  <a:pt x="289" y="414"/>
                </a:cubicBezTo>
                <a:cubicBezTo>
                  <a:pt x="291" y="402"/>
                  <a:pt x="308" y="378"/>
                  <a:pt x="289" y="391"/>
                </a:cubicBezTo>
                <a:cubicBezTo>
                  <a:pt x="271" y="404"/>
                  <a:pt x="248" y="415"/>
                  <a:pt x="246" y="436"/>
                </a:cubicBezTo>
                <a:cubicBezTo>
                  <a:pt x="244" y="457"/>
                  <a:pt x="242" y="464"/>
                  <a:pt x="250" y="483"/>
                </a:cubicBezTo>
                <a:cubicBezTo>
                  <a:pt x="257" y="502"/>
                  <a:pt x="263" y="513"/>
                  <a:pt x="261" y="524"/>
                </a:cubicBezTo>
                <a:cubicBezTo>
                  <a:pt x="259" y="535"/>
                  <a:pt x="256" y="541"/>
                  <a:pt x="248" y="541"/>
                </a:cubicBezTo>
                <a:cubicBezTo>
                  <a:pt x="241" y="541"/>
                  <a:pt x="237" y="537"/>
                  <a:pt x="220" y="522"/>
                </a:cubicBezTo>
                <a:cubicBezTo>
                  <a:pt x="203" y="507"/>
                  <a:pt x="201" y="488"/>
                  <a:pt x="186" y="502"/>
                </a:cubicBezTo>
                <a:cubicBezTo>
                  <a:pt x="171" y="515"/>
                  <a:pt x="156" y="500"/>
                  <a:pt x="158" y="517"/>
                </a:cubicBezTo>
                <a:cubicBezTo>
                  <a:pt x="160" y="533"/>
                  <a:pt x="151" y="545"/>
                  <a:pt x="145" y="528"/>
                </a:cubicBezTo>
                <a:cubicBezTo>
                  <a:pt x="139" y="511"/>
                  <a:pt x="143" y="490"/>
                  <a:pt x="143" y="490"/>
                </a:cubicBezTo>
                <a:cubicBezTo>
                  <a:pt x="143" y="490"/>
                  <a:pt x="139" y="464"/>
                  <a:pt x="128" y="474"/>
                </a:cubicBezTo>
                <a:cubicBezTo>
                  <a:pt x="117" y="483"/>
                  <a:pt x="100" y="477"/>
                  <a:pt x="108" y="466"/>
                </a:cubicBezTo>
                <a:cubicBezTo>
                  <a:pt x="115" y="455"/>
                  <a:pt x="124" y="444"/>
                  <a:pt x="111" y="444"/>
                </a:cubicBezTo>
                <a:cubicBezTo>
                  <a:pt x="98" y="444"/>
                  <a:pt x="89" y="438"/>
                  <a:pt x="95" y="429"/>
                </a:cubicBezTo>
                <a:cubicBezTo>
                  <a:pt x="100" y="419"/>
                  <a:pt x="93" y="412"/>
                  <a:pt x="104" y="412"/>
                </a:cubicBezTo>
                <a:cubicBezTo>
                  <a:pt x="115" y="412"/>
                  <a:pt x="106" y="397"/>
                  <a:pt x="121" y="410"/>
                </a:cubicBezTo>
                <a:cubicBezTo>
                  <a:pt x="136" y="423"/>
                  <a:pt x="139" y="393"/>
                  <a:pt x="139" y="393"/>
                </a:cubicBezTo>
                <a:cubicBezTo>
                  <a:pt x="139" y="393"/>
                  <a:pt x="141" y="372"/>
                  <a:pt x="160" y="382"/>
                </a:cubicBezTo>
                <a:cubicBezTo>
                  <a:pt x="179" y="391"/>
                  <a:pt x="175" y="386"/>
                  <a:pt x="181" y="374"/>
                </a:cubicBezTo>
                <a:cubicBezTo>
                  <a:pt x="186" y="363"/>
                  <a:pt x="186" y="365"/>
                  <a:pt x="183" y="356"/>
                </a:cubicBezTo>
                <a:cubicBezTo>
                  <a:pt x="179" y="346"/>
                  <a:pt x="183" y="341"/>
                  <a:pt x="171" y="341"/>
                </a:cubicBezTo>
                <a:cubicBezTo>
                  <a:pt x="160" y="341"/>
                  <a:pt x="117" y="322"/>
                  <a:pt x="100" y="333"/>
                </a:cubicBezTo>
                <a:cubicBezTo>
                  <a:pt x="83" y="344"/>
                  <a:pt x="65" y="350"/>
                  <a:pt x="61" y="357"/>
                </a:cubicBezTo>
                <a:cubicBezTo>
                  <a:pt x="57" y="365"/>
                  <a:pt x="55" y="395"/>
                  <a:pt x="38" y="393"/>
                </a:cubicBezTo>
                <a:cubicBezTo>
                  <a:pt x="22" y="391"/>
                  <a:pt x="10" y="418"/>
                  <a:pt x="10" y="41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9" name="Freeform 585"/>
          <p:cNvSpPr>
            <a:spLocks/>
          </p:cNvSpPr>
          <p:nvPr userDrawn="1"/>
        </p:nvSpPr>
        <p:spPr bwMode="auto">
          <a:xfrm>
            <a:off x="6867583" y="3755029"/>
            <a:ext cx="402023" cy="288116"/>
          </a:xfrm>
          <a:custGeom>
            <a:avLst/>
            <a:gdLst>
              <a:gd name="T0" fmla="*/ 2147483646 w 430"/>
              <a:gd name="T1" fmla="*/ 2147483646 h 309"/>
              <a:gd name="T2" fmla="*/ 2147483646 w 430"/>
              <a:gd name="T3" fmla="*/ 2147483646 h 309"/>
              <a:gd name="T4" fmla="*/ 2147483646 w 430"/>
              <a:gd name="T5" fmla="*/ 2147483646 h 309"/>
              <a:gd name="T6" fmla="*/ 2147483646 w 430"/>
              <a:gd name="T7" fmla="*/ 2147483646 h 309"/>
              <a:gd name="T8" fmla="*/ 2147483646 w 430"/>
              <a:gd name="T9" fmla="*/ 2147483646 h 309"/>
              <a:gd name="T10" fmla="*/ 2147483646 w 430"/>
              <a:gd name="T11" fmla="*/ 2147483646 h 309"/>
              <a:gd name="T12" fmla="*/ 2147483646 w 430"/>
              <a:gd name="T13" fmla="*/ 2147483646 h 309"/>
              <a:gd name="T14" fmla="*/ 2147483646 w 430"/>
              <a:gd name="T15" fmla="*/ 2147483646 h 309"/>
              <a:gd name="T16" fmla="*/ 2147483646 w 430"/>
              <a:gd name="T17" fmla="*/ 2147483646 h 309"/>
              <a:gd name="T18" fmla="*/ 2147483646 w 430"/>
              <a:gd name="T19" fmla="*/ 2147483646 h 309"/>
              <a:gd name="T20" fmla="*/ 2147483646 w 430"/>
              <a:gd name="T21" fmla="*/ 2147483646 h 309"/>
              <a:gd name="T22" fmla="*/ 2147483646 w 430"/>
              <a:gd name="T23" fmla="*/ 2147483646 h 309"/>
              <a:gd name="T24" fmla="*/ 2147483646 w 430"/>
              <a:gd name="T25" fmla="*/ 2147483646 h 309"/>
              <a:gd name="T26" fmla="*/ 2147483646 w 430"/>
              <a:gd name="T27" fmla="*/ 2147483646 h 309"/>
              <a:gd name="T28" fmla="*/ 2147483646 w 430"/>
              <a:gd name="T29" fmla="*/ 2147483646 h 309"/>
              <a:gd name="T30" fmla="*/ 2147483646 w 430"/>
              <a:gd name="T31" fmla="*/ 2147483646 h 309"/>
              <a:gd name="T32" fmla="*/ 2147483646 w 430"/>
              <a:gd name="T33" fmla="*/ 2147483646 h 309"/>
              <a:gd name="T34" fmla="*/ 2147483646 w 430"/>
              <a:gd name="T35" fmla="*/ 2147483646 h 309"/>
              <a:gd name="T36" fmla="*/ 2147483646 w 430"/>
              <a:gd name="T37" fmla="*/ 2147483646 h 309"/>
              <a:gd name="T38" fmla="*/ 2147483646 w 430"/>
              <a:gd name="T39" fmla="*/ 2147483646 h 309"/>
              <a:gd name="T40" fmla="*/ 2147483646 w 430"/>
              <a:gd name="T41" fmla="*/ 2147483646 h 309"/>
              <a:gd name="T42" fmla="*/ 2147483646 w 430"/>
              <a:gd name="T43" fmla="*/ 2147483646 h 309"/>
              <a:gd name="T44" fmla="*/ 2147483646 w 430"/>
              <a:gd name="T45" fmla="*/ 2147483646 h 309"/>
              <a:gd name="T46" fmla="*/ 2147483646 w 430"/>
              <a:gd name="T47" fmla="*/ 2147483646 h 309"/>
              <a:gd name="T48" fmla="*/ 2147483646 w 430"/>
              <a:gd name="T49" fmla="*/ 2147483646 h 309"/>
              <a:gd name="T50" fmla="*/ 2147483646 w 430"/>
              <a:gd name="T51" fmla="*/ 2147483646 h 309"/>
              <a:gd name="T52" fmla="*/ 2147483646 w 430"/>
              <a:gd name="T53" fmla="*/ 2147483646 h 309"/>
              <a:gd name="T54" fmla="*/ 2147483646 w 430"/>
              <a:gd name="T55" fmla="*/ 2147483646 h 309"/>
              <a:gd name="T56" fmla="*/ 2147483646 w 430"/>
              <a:gd name="T57" fmla="*/ 2147483646 h 309"/>
              <a:gd name="T58" fmla="*/ 2147483646 w 430"/>
              <a:gd name="T59" fmla="*/ 2147483646 h 309"/>
              <a:gd name="T60" fmla="*/ 2147483646 w 430"/>
              <a:gd name="T61" fmla="*/ 2147483646 h 309"/>
              <a:gd name="T62" fmla="*/ 2147483646 w 430"/>
              <a:gd name="T63" fmla="*/ 2147483646 h 309"/>
              <a:gd name="T64" fmla="*/ 2147483646 w 430"/>
              <a:gd name="T65" fmla="*/ 2147483646 h 309"/>
              <a:gd name="T66" fmla="*/ 2147483646 w 430"/>
              <a:gd name="T67" fmla="*/ 2147483646 h 309"/>
              <a:gd name="T68" fmla="*/ 2147483646 w 430"/>
              <a:gd name="T69" fmla="*/ 2147483646 h 309"/>
              <a:gd name="T70" fmla="*/ 2147483646 w 430"/>
              <a:gd name="T71" fmla="*/ 2147483646 h 309"/>
              <a:gd name="T72" fmla="*/ 2147483646 w 430"/>
              <a:gd name="T73" fmla="*/ 2147483646 h 309"/>
              <a:gd name="T74" fmla="*/ 2147483646 w 430"/>
              <a:gd name="T75" fmla="*/ 2147483646 h 309"/>
              <a:gd name="T76" fmla="*/ 2147483646 w 430"/>
              <a:gd name="T77" fmla="*/ 2147483646 h 309"/>
              <a:gd name="T78" fmla="*/ 2147483646 w 430"/>
              <a:gd name="T79" fmla="*/ 2147483646 h 309"/>
              <a:gd name="T80" fmla="*/ 2147483646 w 430"/>
              <a:gd name="T81" fmla="*/ 2147483646 h 309"/>
              <a:gd name="T82" fmla="*/ 2147483646 w 430"/>
              <a:gd name="T83" fmla="*/ 2147483646 h 309"/>
              <a:gd name="T84" fmla="*/ 2147483646 w 430"/>
              <a:gd name="T85" fmla="*/ 2147483646 h 309"/>
              <a:gd name="T86" fmla="*/ 2147483646 w 430"/>
              <a:gd name="T87" fmla="*/ 2147483646 h 309"/>
              <a:gd name="T88" fmla="*/ 2147483646 w 430"/>
              <a:gd name="T89" fmla="*/ 2147483646 h 309"/>
              <a:gd name="T90" fmla="*/ 2147483646 w 430"/>
              <a:gd name="T91" fmla="*/ 2147483646 h 309"/>
              <a:gd name="T92" fmla="*/ 2147483646 w 430"/>
              <a:gd name="T93" fmla="*/ 2147483646 h 309"/>
              <a:gd name="T94" fmla="*/ 2147483646 w 430"/>
              <a:gd name="T95" fmla="*/ 2147483646 h 309"/>
              <a:gd name="T96" fmla="*/ 2147483646 w 430"/>
              <a:gd name="T97" fmla="*/ 2147483646 h 309"/>
              <a:gd name="T98" fmla="*/ 2147483646 w 430"/>
              <a:gd name="T99" fmla="*/ 2147483646 h 309"/>
              <a:gd name="T100" fmla="*/ 2147483646 w 430"/>
              <a:gd name="T101" fmla="*/ 2147483646 h 30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30"/>
              <a:gd name="T154" fmla="*/ 0 h 309"/>
              <a:gd name="T155" fmla="*/ 430 w 430"/>
              <a:gd name="T156" fmla="*/ 309 h 30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30" h="309">
                <a:moveTo>
                  <a:pt x="6" y="163"/>
                </a:moveTo>
                <a:cubicBezTo>
                  <a:pt x="14" y="163"/>
                  <a:pt x="17" y="157"/>
                  <a:pt x="19" y="146"/>
                </a:cubicBezTo>
                <a:cubicBezTo>
                  <a:pt x="21" y="135"/>
                  <a:pt x="15" y="124"/>
                  <a:pt x="8" y="105"/>
                </a:cubicBezTo>
                <a:cubicBezTo>
                  <a:pt x="0" y="86"/>
                  <a:pt x="2" y="79"/>
                  <a:pt x="4" y="58"/>
                </a:cubicBezTo>
                <a:cubicBezTo>
                  <a:pt x="6" y="37"/>
                  <a:pt x="29" y="26"/>
                  <a:pt x="47" y="13"/>
                </a:cubicBezTo>
                <a:cubicBezTo>
                  <a:pt x="66" y="0"/>
                  <a:pt x="49" y="24"/>
                  <a:pt x="47" y="36"/>
                </a:cubicBezTo>
                <a:cubicBezTo>
                  <a:pt x="45" y="47"/>
                  <a:pt x="53" y="60"/>
                  <a:pt x="55" y="79"/>
                </a:cubicBezTo>
                <a:cubicBezTo>
                  <a:pt x="57" y="97"/>
                  <a:pt x="72" y="96"/>
                  <a:pt x="85" y="94"/>
                </a:cubicBezTo>
                <a:cubicBezTo>
                  <a:pt x="98" y="92"/>
                  <a:pt x="98" y="94"/>
                  <a:pt x="113" y="77"/>
                </a:cubicBezTo>
                <a:cubicBezTo>
                  <a:pt x="128" y="60"/>
                  <a:pt x="124" y="69"/>
                  <a:pt x="137" y="77"/>
                </a:cubicBezTo>
                <a:cubicBezTo>
                  <a:pt x="150" y="84"/>
                  <a:pt x="173" y="77"/>
                  <a:pt x="208" y="79"/>
                </a:cubicBezTo>
                <a:cubicBezTo>
                  <a:pt x="244" y="81"/>
                  <a:pt x="227" y="86"/>
                  <a:pt x="238" y="109"/>
                </a:cubicBezTo>
                <a:cubicBezTo>
                  <a:pt x="249" y="131"/>
                  <a:pt x="276" y="146"/>
                  <a:pt x="292" y="163"/>
                </a:cubicBezTo>
                <a:cubicBezTo>
                  <a:pt x="309" y="180"/>
                  <a:pt x="330" y="167"/>
                  <a:pt x="345" y="148"/>
                </a:cubicBezTo>
                <a:cubicBezTo>
                  <a:pt x="360" y="129"/>
                  <a:pt x="386" y="139"/>
                  <a:pt x="386" y="139"/>
                </a:cubicBezTo>
                <a:cubicBezTo>
                  <a:pt x="386" y="139"/>
                  <a:pt x="371" y="156"/>
                  <a:pt x="376" y="160"/>
                </a:cubicBezTo>
                <a:cubicBezTo>
                  <a:pt x="380" y="163"/>
                  <a:pt x="383" y="168"/>
                  <a:pt x="390" y="167"/>
                </a:cubicBezTo>
                <a:cubicBezTo>
                  <a:pt x="398" y="166"/>
                  <a:pt x="405" y="162"/>
                  <a:pt x="412" y="165"/>
                </a:cubicBezTo>
                <a:cubicBezTo>
                  <a:pt x="418" y="169"/>
                  <a:pt x="424" y="169"/>
                  <a:pt x="427" y="176"/>
                </a:cubicBezTo>
                <a:cubicBezTo>
                  <a:pt x="430" y="183"/>
                  <a:pt x="427" y="185"/>
                  <a:pt x="422" y="192"/>
                </a:cubicBezTo>
                <a:cubicBezTo>
                  <a:pt x="417" y="198"/>
                  <a:pt x="407" y="199"/>
                  <a:pt x="404" y="201"/>
                </a:cubicBezTo>
                <a:cubicBezTo>
                  <a:pt x="401" y="204"/>
                  <a:pt x="392" y="208"/>
                  <a:pt x="392" y="208"/>
                </a:cubicBezTo>
                <a:cubicBezTo>
                  <a:pt x="392" y="208"/>
                  <a:pt x="374" y="205"/>
                  <a:pt x="382" y="196"/>
                </a:cubicBezTo>
                <a:cubicBezTo>
                  <a:pt x="390" y="187"/>
                  <a:pt x="389" y="179"/>
                  <a:pt x="389" y="179"/>
                </a:cubicBezTo>
                <a:cubicBezTo>
                  <a:pt x="389" y="179"/>
                  <a:pt x="374" y="179"/>
                  <a:pt x="365" y="181"/>
                </a:cubicBezTo>
                <a:cubicBezTo>
                  <a:pt x="356" y="183"/>
                  <a:pt x="345" y="184"/>
                  <a:pt x="345" y="184"/>
                </a:cubicBezTo>
                <a:cubicBezTo>
                  <a:pt x="334" y="207"/>
                  <a:pt x="334" y="207"/>
                  <a:pt x="334" y="207"/>
                </a:cubicBezTo>
                <a:cubicBezTo>
                  <a:pt x="331" y="228"/>
                  <a:pt x="331" y="228"/>
                  <a:pt x="331" y="228"/>
                </a:cubicBezTo>
                <a:cubicBezTo>
                  <a:pt x="331" y="228"/>
                  <a:pt x="313" y="232"/>
                  <a:pt x="306" y="229"/>
                </a:cubicBezTo>
                <a:cubicBezTo>
                  <a:pt x="299" y="227"/>
                  <a:pt x="291" y="237"/>
                  <a:pt x="291" y="237"/>
                </a:cubicBezTo>
                <a:cubicBezTo>
                  <a:pt x="297" y="260"/>
                  <a:pt x="297" y="260"/>
                  <a:pt x="297" y="260"/>
                </a:cubicBezTo>
                <a:cubicBezTo>
                  <a:pt x="297" y="260"/>
                  <a:pt x="291" y="305"/>
                  <a:pt x="287" y="307"/>
                </a:cubicBezTo>
                <a:cubicBezTo>
                  <a:pt x="283" y="309"/>
                  <a:pt x="268" y="304"/>
                  <a:pt x="262" y="300"/>
                </a:cubicBezTo>
                <a:cubicBezTo>
                  <a:pt x="262" y="300"/>
                  <a:pt x="268" y="280"/>
                  <a:pt x="257" y="280"/>
                </a:cubicBezTo>
                <a:cubicBezTo>
                  <a:pt x="246" y="280"/>
                  <a:pt x="237" y="273"/>
                  <a:pt x="235" y="268"/>
                </a:cubicBezTo>
                <a:cubicBezTo>
                  <a:pt x="233" y="264"/>
                  <a:pt x="232" y="247"/>
                  <a:pt x="242" y="253"/>
                </a:cubicBezTo>
                <a:cubicBezTo>
                  <a:pt x="253" y="259"/>
                  <a:pt x="255" y="255"/>
                  <a:pt x="255" y="255"/>
                </a:cubicBezTo>
                <a:cubicBezTo>
                  <a:pt x="252" y="247"/>
                  <a:pt x="252" y="247"/>
                  <a:pt x="252" y="247"/>
                </a:cubicBezTo>
                <a:cubicBezTo>
                  <a:pt x="252" y="247"/>
                  <a:pt x="241" y="245"/>
                  <a:pt x="237" y="247"/>
                </a:cubicBezTo>
                <a:cubicBezTo>
                  <a:pt x="234" y="250"/>
                  <a:pt x="208" y="249"/>
                  <a:pt x="205" y="245"/>
                </a:cubicBezTo>
                <a:cubicBezTo>
                  <a:pt x="203" y="241"/>
                  <a:pt x="186" y="232"/>
                  <a:pt x="186" y="232"/>
                </a:cubicBezTo>
                <a:cubicBezTo>
                  <a:pt x="166" y="212"/>
                  <a:pt x="166" y="212"/>
                  <a:pt x="166" y="212"/>
                </a:cubicBezTo>
                <a:cubicBezTo>
                  <a:pt x="166" y="212"/>
                  <a:pt x="156" y="202"/>
                  <a:pt x="154" y="197"/>
                </a:cubicBezTo>
                <a:cubicBezTo>
                  <a:pt x="151" y="192"/>
                  <a:pt x="156" y="183"/>
                  <a:pt x="152" y="177"/>
                </a:cubicBezTo>
                <a:cubicBezTo>
                  <a:pt x="149" y="170"/>
                  <a:pt x="152" y="162"/>
                  <a:pt x="142" y="167"/>
                </a:cubicBezTo>
                <a:cubicBezTo>
                  <a:pt x="133" y="172"/>
                  <a:pt x="129" y="177"/>
                  <a:pt x="121" y="171"/>
                </a:cubicBezTo>
                <a:cubicBezTo>
                  <a:pt x="114" y="165"/>
                  <a:pt x="105" y="151"/>
                  <a:pt x="105" y="151"/>
                </a:cubicBezTo>
                <a:cubicBezTo>
                  <a:pt x="105" y="151"/>
                  <a:pt x="74" y="125"/>
                  <a:pt x="63" y="135"/>
                </a:cubicBezTo>
                <a:cubicBezTo>
                  <a:pt x="52" y="145"/>
                  <a:pt x="38" y="154"/>
                  <a:pt x="39" y="158"/>
                </a:cubicBezTo>
                <a:cubicBezTo>
                  <a:pt x="41" y="162"/>
                  <a:pt x="40" y="174"/>
                  <a:pt x="32" y="173"/>
                </a:cubicBezTo>
                <a:cubicBezTo>
                  <a:pt x="24" y="172"/>
                  <a:pt x="6" y="163"/>
                  <a:pt x="6" y="16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0" name="Freeform 586"/>
          <p:cNvSpPr>
            <a:spLocks/>
          </p:cNvSpPr>
          <p:nvPr userDrawn="1"/>
        </p:nvSpPr>
        <p:spPr bwMode="auto">
          <a:xfrm>
            <a:off x="7194225" y="3842132"/>
            <a:ext cx="256288" cy="134008"/>
          </a:xfrm>
          <a:custGeom>
            <a:avLst/>
            <a:gdLst>
              <a:gd name="T0" fmla="*/ 2147483646 w 274"/>
              <a:gd name="T1" fmla="*/ 2147483646 h 143"/>
              <a:gd name="T2" fmla="*/ 2147483646 w 274"/>
              <a:gd name="T3" fmla="*/ 2147483646 h 143"/>
              <a:gd name="T4" fmla="*/ 2147483646 w 274"/>
              <a:gd name="T5" fmla="*/ 2147483646 h 143"/>
              <a:gd name="T6" fmla="*/ 2147483646 w 274"/>
              <a:gd name="T7" fmla="*/ 2147483646 h 143"/>
              <a:gd name="T8" fmla="*/ 2147483646 w 274"/>
              <a:gd name="T9" fmla="*/ 2147483646 h 143"/>
              <a:gd name="T10" fmla="*/ 2147483646 w 274"/>
              <a:gd name="T11" fmla="*/ 2147483646 h 143"/>
              <a:gd name="T12" fmla="*/ 2147483646 w 274"/>
              <a:gd name="T13" fmla="*/ 2147483646 h 143"/>
              <a:gd name="T14" fmla="*/ 2147483646 w 274"/>
              <a:gd name="T15" fmla="*/ 2147483646 h 143"/>
              <a:gd name="T16" fmla="*/ 2147483646 w 274"/>
              <a:gd name="T17" fmla="*/ 2147483646 h 143"/>
              <a:gd name="T18" fmla="*/ 2147483646 w 274"/>
              <a:gd name="T19" fmla="*/ 2147483646 h 143"/>
              <a:gd name="T20" fmla="*/ 2147483646 w 274"/>
              <a:gd name="T21" fmla="*/ 2147483646 h 143"/>
              <a:gd name="T22" fmla="*/ 2147483646 w 274"/>
              <a:gd name="T23" fmla="*/ 2147483646 h 143"/>
              <a:gd name="T24" fmla="*/ 2147483646 w 274"/>
              <a:gd name="T25" fmla="*/ 2147483646 h 143"/>
              <a:gd name="T26" fmla="*/ 2147483646 w 274"/>
              <a:gd name="T27" fmla="*/ 2147483646 h 143"/>
              <a:gd name="T28" fmla="*/ 2147483646 w 274"/>
              <a:gd name="T29" fmla="*/ 2147483646 h 143"/>
              <a:gd name="T30" fmla="*/ 2147483646 w 274"/>
              <a:gd name="T31" fmla="*/ 2147483646 h 143"/>
              <a:gd name="T32" fmla="*/ 2147483646 w 274"/>
              <a:gd name="T33" fmla="*/ 2147483646 h 143"/>
              <a:gd name="T34" fmla="*/ 2147483646 w 274"/>
              <a:gd name="T35" fmla="*/ 2147483646 h 143"/>
              <a:gd name="T36" fmla="*/ 2147483646 w 274"/>
              <a:gd name="T37" fmla="*/ 2147483646 h 143"/>
              <a:gd name="T38" fmla="*/ 2147483646 w 274"/>
              <a:gd name="T39" fmla="*/ 2147483646 h 143"/>
              <a:gd name="T40" fmla="*/ 2147483646 w 274"/>
              <a:gd name="T41" fmla="*/ 2147483646 h 143"/>
              <a:gd name="T42" fmla="*/ 2147483646 w 274"/>
              <a:gd name="T43" fmla="*/ 2147483646 h 143"/>
              <a:gd name="T44" fmla="*/ 2147483646 w 274"/>
              <a:gd name="T45" fmla="*/ 2147483646 h 143"/>
              <a:gd name="T46" fmla="*/ 2147483646 w 274"/>
              <a:gd name="T47" fmla="*/ 2147483646 h 143"/>
              <a:gd name="T48" fmla="*/ 2147483646 w 274"/>
              <a:gd name="T49" fmla="*/ 2147483646 h 143"/>
              <a:gd name="T50" fmla="*/ 2147483646 w 274"/>
              <a:gd name="T51" fmla="*/ 2147483646 h 143"/>
              <a:gd name="T52" fmla="*/ 2147483646 w 274"/>
              <a:gd name="T53" fmla="*/ 2147483646 h 143"/>
              <a:gd name="T54" fmla="*/ 2147483646 w 274"/>
              <a:gd name="T55" fmla="*/ 2147483646 h 143"/>
              <a:gd name="T56" fmla="*/ 2147483646 w 274"/>
              <a:gd name="T57" fmla="*/ 2147483646 h 143"/>
              <a:gd name="T58" fmla="*/ 2147483646 w 274"/>
              <a:gd name="T59" fmla="*/ 2147483646 h 143"/>
              <a:gd name="T60" fmla="*/ 2147483646 w 274"/>
              <a:gd name="T61" fmla="*/ 2147483646 h 143"/>
              <a:gd name="T62" fmla="*/ 2147483646 w 274"/>
              <a:gd name="T63" fmla="*/ 2147483646 h 143"/>
              <a:gd name="T64" fmla="*/ 2147483646 w 274"/>
              <a:gd name="T65" fmla="*/ 2147483646 h 143"/>
              <a:gd name="T66" fmla="*/ 2147483646 w 274"/>
              <a:gd name="T67" fmla="*/ 2147483646 h 143"/>
              <a:gd name="T68" fmla="*/ 2147483646 w 274"/>
              <a:gd name="T69" fmla="*/ 2147483646 h 143"/>
              <a:gd name="T70" fmla="*/ 2147483646 w 274"/>
              <a:gd name="T71" fmla="*/ 2147483646 h 143"/>
              <a:gd name="T72" fmla="*/ 2147483646 w 274"/>
              <a:gd name="T73" fmla="*/ 2147483646 h 14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74"/>
              <a:gd name="T112" fmla="*/ 0 h 143"/>
              <a:gd name="T113" fmla="*/ 274 w 274"/>
              <a:gd name="T114" fmla="*/ 143 h 14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74" h="143">
                <a:moveTo>
                  <a:pt x="274" y="50"/>
                </a:moveTo>
                <a:cubicBezTo>
                  <a:pt x="274" y="50"/>
                  <a:pt x="250" y="31"/>
                  <a:pt x="238" y="28"/>
                </a:cubicBezTo>
                <a:cubicBezTo>
                  <a:pt x="227" y="24"/>
                  <a:pt x="193" y="20"/>
                  <a:pt x="178" y="20"/>
                </a:cubicBezTo>
                <a:cubicBezTo>
                  <a:pt x="163" y="20"/>
                  <a:pt x="156" y="13"/>
                  <a:pt x="148" y="20"/>
                </a:cubicBezTo>
                <a:cubicBezTo>
                  <a:pt x="141" y="28"/>
                  <a:pt x="130" y="31"/>
                  <a:pt x="128" y="24"/>
                </a:cubicBezTo>
                <a:cubicBezTo>
                  <a:pt x="126" y="16"/>
                  <a:pt x="130" y="0"/>
                  <a:pt x="120" y="9"/>
                </a:cubicBezTo>
                <a:cubicBezTo>
                  <a:pt x="111" y="18"/>
                  <a:pt x="100" y="11"/>
                  <a:pt x="102" y="16"/>
                </a:cubicBezTo>
                <a:cubicBezTo>
                  <a:pt x="103" y="22"/>
                  <a:pt x="109" y="22"/>
                  <a:pt x="105" y="30"/>
                </a:cubicBezTo>
                <a:cubicBezTo>
                  <a:pt x="102" y="37"/>
                  <a:pt x="92" y="37"/>
                  <a:pt x="92" y="37"/>
                </a:cubicBezTo>
                <a:cubicBezTo>
                  <a:pt x="92" y="37"/>
                  <a:pt x="86" y="27"/>
                  <a:pt x="81" y="26"/>
                </a:cubicBezTo>
                <a:cubicBezTo>
                  <a:pt x="68" y="22"/>
                  <a:pt x="68" y="27"/>
                  <a:pt x="60" y="30"/>
                </a:cubicBezTo>
                <a:cubicBezTo>
                  <a:pt x="45" y="35"/>
                  <a:pt x="38" y="39"/>
                  <a:pt x="36" y="45"/>
                </a:cubicBezTo>
                <a:cubicBezTo>
                  <a:pt x="36" y="45"/>
                  <a:pt x="21" y="62"/>
                  <a:pt x="26" y="66"/>
                </a:cubicBezTo>
                <a:cubicBezTo>
                  <a:pt x="30" y="69"/>
                  <a:pt x="33" y="74"/>
                  <a:pt x="40" y="73"/>
                </a:cubicBezTo>
                <a:cubicBezTo>
                  <a:pt x="48" y="72"/>
                  <a:pt x="55" y="68"/>
                  <a:pt x="62" y="71"/>
                </a:cubicBezTo>
                <a:cubicBezTo>
                  <a:pt x="68" y="75"/>
                  <a:pt x="74" y="75"/>
                  <a:pt x="77" y="82"/>
                </a:cubicBezTo>
                <a:cubicBezTo>
                  <a:pt x="80" y="89"/>
                  <a:pt x="77" y="91"/>
                  <a:pt x="72" y="98"/>
                </a:cubicBezTo>
                <a:cubicBezTo>
                  <a:pt x="67" y="104"/>
                  <a:pt x="57" y="105"/>
                  <a:pt x="54" y="107"/>
                </a:cubicBezTo>
                <a:cubicBezTo>
                  <a:pt x="51" y="110"/>
                  <a:pt x="42" y="114"/>
                  <a:pt x="42" y="114"/>
                </a:cubicBezTo>
                <a:cubicBezTo>
                  <a:pt x="42" y="114"/>
                  <a:pt x="34" y="120"/>
                  <a:pt x="31" y="121"/>
                </a:cubicBezTo>
                <a:cubicBezTo>
                  <a:pt x="28" y="122"/>
                  <a:pt x="16" y="126"/>
                  <a:pt x="14" y="126"/>
                </a:cubicBezTo>
                <a:cubicBezTo>
                  <a:pt x="13" y="125"/>
                  <a:pt x="7" y="115"/>
                  <a:pt x="5" y="126"/>
                </a:cubicBezTo>
                <a:cubicBezTo>
                  <a:pt x="2" y="136"/>
                  <a:pt x="0" y="140"/>
                  <a:pt x="10" y="141"/>
                </a:cubicBezTo>
                <a:cubicBezTo>
                  <a:pt x="19" y="142"/>
                  <a:pt x="27" y="141"/>
                  <a:pt x="33" y="142"/>
                </a:cubicBezTo>
                <a:cubicBezTo>
                  <a:pt x="40" y="143"/>
                  <a:pt x="50" y="136"/>
                  <a:pt x="50" y="136"/>
                </a:cubicBezTo>
                <a:cubicBezTo>
                  <a:pt x="64" y="132"/>
                  <a:pt x="64" y="132"/>
                  <a:pt x="64" y="132"/>
                </a:cubicBezTo>
                <a:cubicBezTo>
                  <a:pt x="64" y="132"/>
                  <a:pt x="95" y="138"/>
                  <a:pt x="103" y="133"/>
                </a:cubicBezTo>
                <a:cubicBezTo>
                  <a:pt x="110" y="128"/>
                  <a:pt x="124" y="105"/>
                  <a:pt x="132" y="103"/>
                </a:cubicBezTo>
                <a:cubicBezTo>
                  <a:pt x="139" y="101"/>
                  <a:pt x="145" y="100"/>
                  <a:pt x="157" y="101"/>
                </a:cubicBezTo>
                <a:cubicBezTo>
                  <a:pt x="169" y="102"/>
                  <a:pt x="174" y="100"/>
                  <a:pt x="182" y="96"/>
                </a:cubicBezTo>
                <a:cubicBezTo>
                  <a:pt x="190" y="92"/>
                  <a:pt x="199" y="84"/>
                  <a:pt x="199" y="84"/>
                </a:cubicBezTo>
                <a:cubicBezTo>
                  <a:pt x="199" y="84"/>
                  <a:pt x="210" y="72"/>
                  <a:pt x="220" y="77"/>
                </a:cubicBezTo>
                <a:cubicBezTo>
                  <a:pt x="231" y="82"/>
                  <a:pt x="232" y="77"/>
                  <a:pt x="237" y="74"/>
                </a:cubicBezTo>
                <a:cubicBezTo>
                  <a:pt x="242" y="71"/>
                  <a:pt x="240" y="65"/>
                  <a:pt x="244" y="64"/>
                </a:cubicBezTo>
                <a:cubicBezTo>
                  <a:pt x="247" y="63"/>
                  <a:pt x="256" y="62"/>
                  <a:pt x="256" y="62"/>
                </a:cubicBezTo>
                <a:cubicBezTo>
                  <a:pt x="256" y="62"/>
                  <a:pt x="263" y="59"/>
                  <a:pt x="266" y="59"/>
                </a:cubicBezTo>
                <a:cubicBezTo>
                  <a:pt x="268" y="60"/>
                  <a:pt x="274" y="50"/>
                  <a:pt x="274" y="5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1" name="Freeform 587"/>
          <p:cNvSpPr>
            <a:spLocks/>
          </p:cNvSpPr>
          <p:nvPr userDrawn="1"/>
        </p:nvSpPr>
        <p:spPr bwMode="auto">
          <a:xfrm>
            <a:off x="7291382" y="3450162"/>
            <a:ext cx="1472405" cy="1051959"/>
          </a:xfrm>
          <a:custGeom>
            <a:avLst/>
            <a:gdLst>
              <a:gd name="T0" fmla="*/ 2147483646 w 1580"/>
              <a:gd name="T1" fmla="*/ 2147483646 h 1128"/>
              <a:gd name="T2" fmla="*/ 2147483646 w 1580"/>
              <a:gd name="T3" fmla="*/ 2147483646 h 1128"/>
              <a:gd name="T4" fmla="*/ 2147483646 w 1580"/>
              <a:gd name="T5" fmla="*/ 2147483646 h 1128"/>
              <a:gd name="T6" fmla="*/ 2147483646 w 1580"/>
              <a:gd name="T7" fmla="*/ 2147483646 h 1128"/>
              <a:gd name="T8" fmla="*/ 2147483646 w 1580"/>
              <a:gd name="T9" fmla="*/ 2147483646 h 1128"/>
              <a:gd name="T10" fmla="*/ 2147483646 w 1580"/>
              <a:gd name="T11" fmla="*/ 2147483646 h 1128"/>
              <a:gd name="T12" fmla="*/ 2147483646 w 1580"/>
              <a:gd name="T13" fmla="*/ 2147483646 h 1128"/>
              <a:gd name="T14" fmla="*/ 2147483646 w 1580"/>
              <a:gd name="T15" fmla="*/ 2147483646 h 1128"/>
              <a:gd name="T16" fmla="*/ 2147483646 w 1580"/>
              <a:gd name="T17" fmla="*/ 2147483646 h 1128"/>
              <a:gd name="T18" fmla="*/ 2147483646 w 1580"/>
              <a:gd name="T19" fmla="*/ 2147483646 h 1128"/>
              <a:gd name="T20" fmla="*/ 2147483646 w 1580"/>
              <a:gd name="T21" fmla="*/ 2147483646 h 1128"/>
              <a:gd name="T22" fmla="*/ 2147483646 w 1580"/>
              <a:gd name="T23" fmla="*/ 2147483646 h 1128"/>
              <a:gd name="T24" fmla="*/ 2147483646 w 1580"/>
              <a:gd name="T25" fmla="*/ 2147483646 h 1128"/>
              <a:gd name="T26" fmla="*/ 2147483646 w 1580"/>
              <a:gd name="T27" fmla="*/ 2147483646 h 1128"/>
              <a:gd name="T28" fmla="*/ 2147483646 w 1580"/>
              <a:gd name="T29" fmla="*/ 2147483646 h 1128"/>
              <a:gd name="T30" fmla="*/ 2147483646 w 1580"/>
              <a:gd name="T31" fmla="*/ 2147483646 h 1128"/>
              <a:gd name="T32" fmla="*/ 2147483646 w 1580"/>
              <a:gd name="T33" fmla="*/ 2147483646 h 1128"/>
              <a:gd name="T34" fmla="*/ 2147483646 w 1580"/>
              <a:gd name="T35" fmla="*/ 2147483646 h 1128"/>
              <a:gd name="T36" fmla="*/ 2147483646 w 1580"/>
              <a:gd name="T37" fmla="*/ 2147483646 h 1128"/>
              <a:gd name="T38" fmla="*/ 2147483646 w 1580"/>
              <a:gd name="T39" fmla="*/ 2147483646 h 1128"/>
              <a:gd name="T40" fmla="*/ 2147483646 w 1580"/>
              <a:gd name="T41" fmla="*/ 2147483646 h 1128"/>
              <a:gd name="T42" fmla="*/ 2147483646 w 1580"/>
              <a:gd name="T43" fmla="*/ 2147483646 h 1128"/>
              <a:gd name="T44" fmla="*/ 2147483646 w 1580"/>
              <a:gd name="T45" fmla="*/ 2147483646 h 1128"/>
              <a:gd name="T46" fmla="*/ 2147483646 w 1580"/>
              <a:gd name="T47" fmla="*/ 2147483646 h 1128"/>
              <a:gd name="T48" fmla="*/ 2147483646 w 1580"/>
              <a:gd name="T49" fmla="*/ 2147483646 h 1128"/>
              <a:gd name="T50" fmla="*/ 2147483646 w 1580"/>
              <a:gd name="T51" fmla="*/ 2147483646 h 1128"/>
              <a:gd name="T52" fmla="*/ 2147483646 w 1580"/>
              <a:gd name="T53" fmla="*/ 2147483646 h 1128"/>
              <a:gd name="T54" fmla="*/ 2147483646 w 1580"/>
              <a:gd name="T55" fmla="*/ 2147483646 h 1128"/>
              <a:gd name="T56" fmla="*/ 2147483646 w 1580"/>
              <a:gd name="T57" fmla="*/ 2147483646 h 1128"/>
              <a:gd name="T58" fmla="*/ 2147483646 w 1580"/>
              <a:gd name="T59" fmla="*/ 2147483646 h 1128"/>
              <a:gd name="T60" fmla="*/ 2147483646 w 1580"/>
              <a:gd name="T61" fmla="*/ 2147483646 h 1128"/>
              <a:gd name="T62" fmla="*/ 2147483646 w 1580"/>
              <a:gd name="T63" fmla="*/ 2147483646 h 1128"/>
              <a:gd name="T64" fmla="*/ 2147483646 w 1580"/>
              <a:gd name="T65" fmla="*/ 2147483646 h 1128"/>
              <a:gd name="T66" fmla="*/ 2147483646 w 1580"/>
              <a:gd name="T67" fmla="*/ 2147483646 h 1128"/>
              <a:gd name="T68" fmla="*/ 2147483646 w 1580"/>
              <a:gd name="T69" fmla="*/ 2147483646 h 1128"/>
              <a:gd name="T70" fmla="*/ 2147483646 w 1580"/>
              <a:gd name="T71" fmla="*/ 2147483646 h 1128"/>
              <a:gd name="T72" fmla="*/ 2147483646 w 1580"/>
              <a:gd name="T73" fmla="*/ 2147483646 h 1128"/>
              <a:gd name="T74" fmla="*/ 2147483646 w 1580"/>
              <a:gd name="T75" fmla="*/ 2147483646 h 1128"/>
              <a:gd name="T76" fmla="*/ 2147483646 w 1580"/>
              <a:gd name="T77" fmla="*/ 2147483646 h 1128"/>
              <a:gd name="T78" fmla="*/ 2147483646 w 1580"/>
              <a:gd name="T79" fmla="*/ 2147483646 h 1128"/>
              <a:gd name="T80" fmla="*/ 2147483646 w 1580"/>
              <a:gd name="T81" fmla="*/ 2147483646 h 1128"/>
              <a:gd name="T82" fmla="*/ 2147483646 w 1580"/>
              <a:gd name="T83" fmla="*/ 2147483646 h 1128"/>
              <a:gd name="T84" fmla="*/ 2147483646 w 1580"/>
              <a:gd name="T85" fmla="*/ 2147483646 h 1128"/>
              <a:gd name="T86" fmla="*/ 2147483646 w 1580"/>
              <a:gd name="T87" fmla="*/ 2147483646 h 1128"/>
              <a:gd name="T88" fmla="*/ 2147483646 w 1580"/>
              <a:gd name="T89" fmla="*/ 2147483646 h 1128"/>
              <a:gd name="T90" fmla="*/ 2147483646 w 1580"/>
              <a:gd name="T91" fmla="*/ 2147483646 h 1128"/>
              <a:gd name="T92" fmla="*/ 2147483646 w 1580"/>
              <a:gd name="T93" fmla="*/ 2147483646 h 1128"/>
              <a:gd name="T94" fmla="*/ 2147483646 w 1580"/>
              <a:gd name="T95" fmla="*/ 2147483646 h 1128"/>
              <a:gd name="T96" fmla="*/ 2147483646 w 1580"/>
              <a:gd name="T97" fmla="*/ 2147483646 h 1128"/>
              <a:gd name="T98" fmla="*/ 2147483646 w 1580"/>
              <a:gd name="T99" fmla="*/ 2147483646 h 1128"/>
              <a:gd name="T100" fmla="*/ 2147483646 w 1580"/>
              <a:gd name="T101" fmla="*/ 2147483646 h 1128"/>
              <a:gd name="T102" fmla="*/ 2147483646 w 1580"/>
              <a:gd name="T103" fmla="*/ 2147483646 h 1128"/>
              <a:gd name="T104" fmla="*/ 2147483646 w 1580"/>
              <a:gd name="T105" fmla="*/ 2147483646 h 1128"/>
              <a:gd name="T106" fmla="*/ 2147483646 w 1580"/>
              <a:gd name="T107" fmla="*/ 2147483646 h 112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80"/>
              <a:gd name="T163" fmla="*/ 0 h 1128"/>
              <a:gd name="T164" fmla="*/ 1580 w 1580"/>
              <a:gd name="T165" fmla="*/ 1128 h 112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80" h="1128">
                <a:moveTo>
                  <a:pt x="358" y="188"/>
                </a:moveTo>
                <a:cubicBezTo>
                  <a:pt x="358" y="188"/>
                  <a:pt x="330" y="199"/>
                  <a:pt x="330" y="210"/>
                </a:cubicBezTo>
                <a:cubicBezTo>
                  <a:pt x="330" y="221"/>
                  <a:pt x="317" y="232"/>
                  <a:pt x="309" y="232"/>
                </a:cubicBezTo>
                <a:cubicBezTo>
                  <a:pt x="302" y="232"/>
                  <a:pt x="287" y="232"/>
                  <a:pt x="291" y="244"/>
                </a:cubicBezTo>
                <a:cubicBezTo>
                  <a:pt x="294" y="255"/>
                  <a:pt x="302" y="270"/>
                  <a:pt x="291" y="270"/>
                </a:cubicBezTo>
                <a:cubicBezTo>
                  <a:pt x="279" y="270"/>
                  <a:pt x="266" y="264"/>
                  <a:pt x="266" y="264"/>
                </a:cubicBezTo>
                <a:cubicBezTo>
                  <a:pt x="266" y="264"/>
                  <a:pt x="249" y="240"/>
                  <a:pt x="233" y="255"/>
                </a:cubicBezTo>
                <a:cubicBezTo>
                  <a:pt x="216" y="270"/>
                  <a:pt x="212" y="283"/>
                  <a:pt x="216" y="294"/>
                </a:cubicBezTo>
                <a:cubicBezTo>
                  <a:pt x="220" y="305"/>
                  <a:pt x="216" y="320"/>
                  <a:pt x="223" y="334"/>
                </a:cubicBezTo>
                <a:cubicBezTo>
                  <a:pt x="231" y="347"/>
                  <a:pt x="231" y="354"/>
                  <a:pt x="231" y="354"/>
                </a:cubicBezTo>
                <a:cubicBezTo>
                  <a:pt x="231" y="354"/>
                  <a:pt x="208" y="337"/>
                  <a:pt x="197" y="343"/>
                </a:cubicBezTo>
                <a:cubicBezTo>
                  <a:pt x="186" y="349"/>
                  <a:pt x="175" y="354"/>
                  <a:pt x="175" y="354"/>
                </a:cubicBezTo>
                <a:cubicBezTo>
                  <a:pt x="175" y="354"/>
                  <a:pt x="186" y="401"/>
                  <a:pt x="190" y="407"/>
                </a:cubicBezTo>
                <a:cubicBezTo>
                  <a:pt x="193" y="412"/>
                  <a:pt x="180" y="466"/>
                  <a:pt x="171" y="470"/>
                </a:cubicBezTo>
                <a:cubicBezTo>
                  <a:pt x="171" y="470"/>
                  <a:pt x="165" y="480"/>
                  <a:pt x="163" y="479"/>
                </a:cubicBezTo>
                <a:cubicBezTo>
                  <a:pt x="160" y="479"/>
                  <a:pt x="153" y="482"/>
                  <a:pt x="153" y="482"/>
                </a:cubicBezTo>
                <a:cubicBezTo>
                  <a:pt x="153" y="482"/>
                  <a:pt x="144" y="483"/>
                  <a:pt x="141" y="484"/>
                </a:cubicBezTo>
                <a:cubicBezTo>
                  <a:pt x="137" y="485"/>
                  <a:pt x="139" y="491"/>
                  <a:pt x="134" y="494"/>
                </a:cubicBezTo>
                <a:cubicBezTo>
                  <a:pt x="129" y="497"/>
                  <a:pt x="128" y="502"/>
                  <a:pt x="117" y="497"/>
                </a:cubicBezTo>
                <a:cubicBezTo>
                  <a:pt x="107" y="492"/>
                  <a:pt x="96" y="504"/>
                  <a:pt x="96" y="504"/>
                </a:cubicBezTo>
                <a:cubicBezTo>
                  <a:pt x="96" y="504"/>
                  <a:pt x="87" y="512"/>
                  <a:pt x="79" y="516"/>
                </a:cubicBezTo>
                <a:cubicBezTo>
                  <a:pt x="71" y="520"/>
                  <a:pt x="66" y="522"/>
                  <a:pt x="54" y="521"/>
                </a:cubicBezTo>
                <a:cubicBezTo>
                  <a:pt x="42" y="520"/>
                  <a:pt x="36" y="521"/>
                  <a:pt x="29" y="523"/>
                </a:cubicBezTo>
                <a:cubicBezTo>
                  <a:pt x="21" y="525"/>
                  <a:pt x="7" y="548"/>
                  <a:pt x="0" y="553"/>
                </a:cubicBezTo>
                <a:cubicBezTo>
                  <a:pt x="0" y="553"/>
                  <a:pt x="12" y="553"/>
                  <a:pt x="13" y="558"/>
                </a:cubicBezTo>
                <a:cubicBezTo>
                  <a:pt x="15" y="562"/>
                  <a:pt x="8" y="579"/>
                  <a:pt x="15" y="583"/>
                </a:cubicBezTo>
                <a:cubicBezTo>
                  <a:pt x="21" y="587"/>
                  <a:pt x="28" y="582"/>
                  <a:pt x="35" y="587"/>
                </a:cubicBezTo>
                <a:cubicBezTo>
                  <a:pt x="42" y="593"/>
                  <a:pt x="43" y="612"/>
                  <a:pt x="43" y="612"/>
                </a:cubicBezTo>
                <a:cubicBezTo>
                  <a:pt x="43" y="612"/>
                  <a:pt x="41" y="621"/>
                  <a:pt x="44" y="630"/>
                </a:cubicBezTo>
                <a:cubicBezTo>
                  <a:pt x="48" y="640"/>
                  <a:pt x="68" y="654"/>
                  <a:pt x="68" y="654"/>
                </a:cubicBezTo>
                <a:cubicBezTo>
                  <a:pt x="68" y="654"/>
                  <a:pt x="101" y="673"/>
                  <a:pt x="105" y="673"/>
                </a:cubicBezTo>
                <a:cubicBezTo>
                  <a:pt x="110" y="673"/>
                  <a:pt x="119" y="673"/>
                  <a:pt x="119" y="673"/>
                </a:cubicBezTo>
                <a:cubicBezTo>
                  <a:pt x="119" y="673"/>
                  <a:pt x="136" y="684"/>
                  <a:pt x="141" y="691"/>
                </a:cubicBezTo>
                <a:cubicBezTo>
                  <a:pt x="145" y="699"/>
                  <a:pt x="166" y="709"/>
                  <a:pt x="153" y="714"/>
                </a:cubicBezTo>
                <a:cubicBezTo>
                  <a:pt x="140" y="719"/>
                  <a:pt x="137" y="724"/>
                  <a:pt x="144" y="731"/>
                </a:cubicBezTo>
                <a:cubicBezTo>
                  <a:pt x="151" y="738"/>
                  <a:pt x="164" y="738"/>
                  <a:pt x="159" y="746"/>
                </a:cubicBezTo>
                <a:cubicBezTo>
                  <a:pt x="154" y="754"/>
                  <a:pt x="141" y="749"/>
                  <a:pt x="146" y="755"/>
                </a:cubicBezTo>
                <a:cubicBezTo>
                  <a:pt x="151" y="761"/>
                  <a:pt x="156" y="753"/>
                  <a:pt x="160" y="762"/>
                </a:cubicBezTo>
                <a:cubicBezTo>
                  <a:pt x="165" y="772"/>
                  <a:pt x="165" y="776"/>
                  <a:pt x="159" y="780"/>
                </a:cubicBezTo>
                <a:cubicBezTo>
                  <a:pt x="153" y="783"/>
                  <a:pt x="149" y="786"/>
                  <a:pt x="145" y="785"/>
                </a:cubicBezTo>
                <a:cubicBezTo>
                  <a:pt x="141" y="783"/>
                  <a:pt x="145" y="774"/>
                  <a:pt x="139" y="778"/>
                </a:cubicBezTo>
                <a:cubicBezTo>
                  <a:pt x="133" y="781"/>
                  <a:pt x="127" y="786"/>
                  <a:pt x="136" y="793"/>
                </a:cubicBezTo>
                <a:cubicBezTo>
                  <a:pt x="144" y="800"/>
                  <a:pt x="152" y="786"/>
                  <a:pt x="153" y="800"/>
                </a:cubicBezTo>
                <a:cubicBezTo>
                  <a:pt x="154" y="814"/>
                  <a:pt x="139" y="816"/>
                  <a:pt x="150" y="821"/>
                </a:cubicBezTo>
                <a:cubicBezTo>
                  <a:pt x="160" y="826"/>
                  <a:pt x="168" y="826"/>
                  <a:pt x="179" y="829"/>
                </a:cubicBezTo>
                <a:cubicBezTo>
                  <a:pt x="190" y="833"/>
                  <a:pt x="194" y="822"/>
                  <a:pt x="200" y="840"/>
                </a:cubicBezTo>
                <a:cubicBezTo>
                  <a:pt x="206" y="857"/>
                  <a:pt x="200" y="846"/>
                  <a:pt x="219" y="861"/>
                </a:cubicBezTo>
                <a:cubicBezTo>
                  <a:pt x="238" y="876"/>
                  <a:pt x="258" y="885"/>
                  <a:pt x="258" y="885"/>
                </a:cubicBezTo>
                <a:cubicBezTo>
                  <a:pt x="288" y="903"/>
                  <a:pt x="288" y="903"/>
                  <a:pt x="288" y="903"/>
                </a:cubicBezTo>
                <a:cubicBezTo>
                  <a:pt x="288" y="903"/>
                  <a:pt x="309" y="901"/>
                  <a:pt x="323" y="908"/>
                </a:cubicBezTo>
                <a:cubicBezTo>
                  <a:pt x="337" y="915"/>
                  <a:pt x="340" y="893"/>
                  <a:pt x="350" y="911"/>
                </a:cubicBezTo>
                <a:cubicBezTo>
                  <a:pt x="361" y="930"/>
                  <a:pt x="353" y="932"/>
                  <a:pt x="367" y="934"/>
                </a:cubicBezTo>
                <a:cubicBezTo>
                  <a:pt x="381" y="935"/>
                  <a:pt x="360" y="920"/>
                  <a:pt x="384" y="925"/>
                </a:cubicBezTo>
                <a:cubicBezTo>
                  <a:pt x="409" y="931"/>
                  <a:pt x="415" y="921"/>
                  <a:pt x="415" y="921"/>
                </a:cubicBezTo>
                <a:cubicBezTo>
                  <a:pt x="415" y="921"/>
                  <a:pt x="414" y="897"/>
                  <a:pt x="428" y="908"/>
                </a:cubicBezTo>
                <a:cubicBezTo>
                  <a:pt x="442" y="918"/>
                  <a:pt x="443" y="920"/>
                  <a:pt x="447" y="923"/>
                </a:cubicBezTo>
                <a:cubicBezTo>
                  <a:pt x="450" y="927"/>
                  <a:pt x="457" y="918"/>
                  <a:pt x="457" y="918"/>
                </a:cubicBezTo>
                <a:cubicBezTo>
                  <a:pt x="457" y="918"/>
                  <a:pt x="474" y="910"/>
                  <a:pt x="485" y="908"/>
                </a:cubicBezTo>
                <a:cubicBezTo>
                  <a:pt x="497" y="905"/>
                  <a:pt x="501" y="900"/>
                  <a:pt x="508" y="897"/>
                </a:cubicBezTo>
                <a:cubicBezTo>
                  <a:pt x="515" y="895"/>
                  <a:pt x="511" y="876"/>
                  <a:pt x="522" y="884"/>
                </a:cubicBezTo>
                <a:cubicBezTo>
                  <a:pt x="532" y="893"/>
                  <a:pt x="518" y="891"/>
                  <a:pt x="535" y="897"/>
                </a:cubicBezTo>
                <a:cubicBezTo>
                  <a:pt x="551" y="903"/>
                  <a:pt x="543" y="905"/>
                  <a:pt x="552" y="898"/>
                </a:cubicBezTo>
                <a:cubicBezTo>
                  <a:pt x="562" y="891"/>
                  <a:pt x="557" y="877"/>
                  <a:pt x="570" y="884"/>
                </a:cubicBezTo>
                <a:cubicBezTo>
                  <a:pt x="583" y="891"/>
                  <a:pt x="585" y="897"/>
                  <a:pt x="585" y="905"/>
                </a:cubicBezTo>
                <a:cubicBezTo>
                  <a:pt x="585" y="914"/>
                  <a:pt x="593" y="918"/>
                  <a:pt x="597" y="917"/>
                </a:cubicBezTo>
                <a:cubicBezTo>
                  <a:pt x="600" y="916"/>
                  <a:pt x="611" y="909"/>
                  <a:pt x="611" y="909"/>
                </a:cubicBezTo>
                <a:cubicBezTo>
                  <a:pt x="611" y="909"/>
                  <a:pt x="616" y="901"/>
                  <a:pt x="625" y="908"/>
                </a:cubicBezTo>
                <a:cubicBezTo>
                  <a:pt x="634" y="915"/>
                  <a:pt x="639" y="907"/>
                  <a:pt x="640" y="927"/>
                </a:cubicBezTo>
                <a:cubicBezTo>
                  <a:pt x="641" y="947"/>
                  <a:pt x="638" y="963"/>
                  <a:pt x="638" y="963"/>
                </a:cubicBezTo>
                <a:cubicBezTo>
                  <a:pt x="621" y="986"/>
                  <a:pt x="621" y="986"/>
                  <a:pt x="621" y="986"/>
                </a:cubicBezTo>
                <a:cubicBezTo>
                  <a:pt x="621" y="986"/>
                  <a:pt x="611" y="991"/>
                  <a:pt x="614" y="1006"/>
                </a:cubicBezTo>
                <a:cubicBezTo>
                  <a:pt x="618" y="1022"/>
                  <a:pt x="611" y="1028"/>
                  <a:pt x="623" y="1030"/>
                </a:cubicBezTo>
                <a:cubicBezTo>
                  <a:pt x="634" y="1032"/>
                  <a:pt x="632" y="1016"/>
                  <a:pt x="647" y="1025"/>
                </a:cubicBezTo>
                <a:cubicBezTo>
                  <a:pt x="663" y="1035"/>
                  <a:pt x="656" y="1038"/>
                  <a:pt x="659" y="1047"/>
                </a:cubicBezTo>
                <a:cubicBezTo>
                  <a:pt x="663" y="1057"/>
                  <a:pt x="675" y="1046"/>
                  <a:pt x="663" y="1057"/>
                </a:cubicBezTo>
                <a:cubicBezTo>
                  <a:pt x="650" y="1067"/>
                  <a:pt x="645" y="1051"/>
                  <a:pt x="650" y="1067"/>
                </a:cubicBezTo>
                <a:cubicBezTo>
                  <a:pt x="654" y="1084"/>
                  <a:pt x="648" y="1077"/>
                  <a:pt x="659" y="1081"/>
                </a:cubicBezTo>
                <a:cubicBezTo>
                  <a:pt x="670" y="1086"/>
                  <a:pt x="658" y="1073"/>
                  <a:pt x="684" y="1086"/>
                </a:cubicBezTo>
                <a:cubicBezTo>
                  <a:pt x="710" y="1099"/>
                  <a:pt x="718" y="1091"/>
                  <a:pt x="719" y="1085"/>
                </a:cubicBezTo>
                <a:cubicBezTo>
                  <a:pt x="720" y="1079"/>
                  <a:pt x="719" y="1069"/>
                  <a:pt x="726" y="1066"/>
                </a:cubicBezTo>
                <a:cubicBezTo>
                  <a:pt x="733" y="1064"/>
                  <a:pt x="753" y="1070"/>
                  <a:pt x="753" y="1070"/>
                </a:cubicBezTo>
                <a:cubicBezTo>
                  <a:pt x="753" y="1070"/>
                  <a:pt x="760" y="1069"/>
                  <a:pt x="771" y="1073"/>
                </a:cubicBezTo>
                <a:cubicBezTo>
                  <a:pt x="781" y="1078"/>
                  <a:pt x="789" y="1073"/>
                  <a:pt x="789" y="1073"/>
                </a:cubicBezTo>
                <a:cubicBezTo>
                  <a:pt x="789" y="1073"/>
                  <a:pt x="799" y="1067"/>
                  <a:pt x="802" y="1058"/>
                </a:cubicBezTo>
                <a:cubicBezTo>
                  <a:pt x="806" y="1049"/>
                  <a:pt x="803" y="1042"/>
                  <a:pt x="817" y="1047"/>
                </a:cubicBezTo>
                <a:cubicBezTo>
                  <a:pt x="832" y="1053"/>
                  <a:pt x="836" y="1058"/>
                  <a:pt x="836" y="1058"/>
                </a:cubicBezTo>
                <a:cubicBezTo>
                  <a:pt x="836" y="1058"/>
                  <a:pt x="840" y="1055"/>
                  <a:pt x="850" y="1063"/>
                </a:cubicBezTo>
                <a:cubicBezTo>
                  <a:pt x="861" y="1071"/>
                  <a:pt x="855" y="1072"/>
                  <a:pt x="854" y="1080"/>
                </a:cubicBezTo>
                <a:cubicBezTo>
                  <a:pt x="853" y="1089"/>
                  <a:pt x="856" y="1086"/>
                  <a:pt x="864" y="1091"/>
                </a:cubicBezTo>
                <a:cubicBezTo>
                  <a:pt x="873" y="1096"/>
                  <a:pt x="883" y="1093"/>
                  <a:pt x="883" y="1093"/>
                </a:cubicBezTo>
                <a:cubicBezTo>
                  <a:pt x="883" y="1093"/>
                  <a:pt x="897" y="1091"/>
                  <a:pt x="906" y="1092"/>
                </a:cubicBezTo>
                <a:cubicBezTo>
                  <a:pt x="914" y="1093"/>
                  <a:pt x="915" y="1092"/>
                  <a:pt x="924" y="1094"/>
                </a:cubicBezTo>
                <a:cubicBezTo>
                  <a:pt x="934" y="1097"/>
                  <a:pt x="940" y="1105"/>
                  <a:pt x="940" y="1105"/>
                </a:cubicBezTo>
                <a:cubicBezTo>
                  <a:pt x="940" y="1105"/>
                  <a:pt x="925" y="1107"/>
                  <a:pt x="931" y="1118"/>
                </a:cubicBezTo>
                <a:cubicBezTo>
                  <a:pt x="937" y="1128"/>
                  <a:pt x="937" y="1124"/>
                  <a:pt x="944" y="1125"/>
                </a:cubicBezTo>
                <a:cubicBezTo>
                  <a:pt x="951" y="1126"/>
                  <a:pt x="952" y="1127"/>
                  <a:pt x="952" y="1121"/>
                </a:cubicBezTo>
                <a:cubicBezTo>
                  <a:pt x="952" y="1116"/>
                  <a:pt x="951" y="1106"/>
                  <a:pt x="951" y="1106"/>
                </a:cubicBezTo>
                <a:cubicBezTo>
                  <a:pt x="951" y="1106"/>
                  <a:pt x="958" y="1101"/>
                  <a:pt x="970" y="1098"/>
                </a:cubicBezTo>
                <a:cubicBezTo>
                  <a:pt x="982" y="1094"/>
                  <a:pt x="986" y="1091"/>
                  <a:pt x="986" y="1091"/>
                </a:cubicBezTo>
                <a:cubicBezTo>
                  <a:pt x="986" y="1091"/>
                  <a:pt x="991" y="1078"/>
                  <a:pt x="1004" y="1080"/>
                </a:cubicBezTo>
                <a:cubicBezTo>
                  <a:pt x="1017" y="1083"/>
                  <a:pt x="1018" y="1078"/>
                  <a:pt x="1021" y="1070"/>
                </a:cubicBezTo>
                <a:cubicBezTo>
                  <a:pt x="1023" y="1062"/>
                  <a:pt x="1028" y="1053"/>
                  <a:pt x="1028" y="1053"/>
                </a:cubicBezTo>
                <a:cubicBezTo>
                  <a:pt x="1028" y="1053"/>
                  <a:pt x="1038" y="1060"/>
                  <a:pt x="1038" y="1066"/>
                </a:cubicBezTo>
                <a:cubicBezTo>
                  <a:pt x="1038" y="1066"/>
                  <a:pt x="1057" y="1073"/>
                  <a:pt x="1062" y="1067"/>
                </a:cubicBezTo>
                <a:cubicBezTo>
                  <a:pt x="1066" y="1062"/>
                  <a:pt x="1071" y="1056"/>
                  <a:pt x="1077" y="1059"/>
                </a:cubicBezTo>
                <a:cubicBezTo>
                  <a:pt x="1083" y="1063"/>
                  <a:pt x="1091" y="1059"/>
                  <a:pt x="1091" y="1059"/>
                </a:cubicBezTo>
                <a:cubicBezTo>
                  <a:pt x="1091" y="1059"/>
                  <a:pt x="1091" y="1059"/>
                  <a:pt x="1104" y="1062"/>
                </a:cubicBezTo>
                <a:cubicBezTo>
                  <a:pt x="1117" y="1064"/>
                  <a:pt x="1117" y="1066"/>
                  <a:pt x="1123" y="1060"/>
                </a:cubicBezTo>
                <a:cubicBezTo>
                  <a:pt x="1129" y="1055"/>
                  <a:pt x="1126" y="1039"/>
                  <a:pt x="1126" y="1039"/>
                </a:cubicBezTo>
                <a:cubicBezTo>
                  <a:pt x="1126" y="1039"/>
                  <a:pt x="1114" y="1037"/>
                  <a:pt x="1123" y="1032"/>
                </a:cubicBezTo>
                <a:cubicBezTo>
                  <a:pt x="1131" y="1028"/>
                  <a:pt x="1129" y="1024"/>
                  <a:pt x="1134" y="1022"/>
                </a:cubicBezTo>
                <a:cubicBezTo>
                  <a:pt x="1140" y="1019"/>
                  <a:pt x="1141" y="1015"/>
                  <a:pt x="1141" y="1015"/>
                </a:cubicBezTo>
                <a:cubicBezTo>
                  <a:pt x="1141" y="1015"/>
                  <a:pt x="1148" y="998"/>
                  <a:pt x="1158" y="999"/>
                </a:cubicBezTo>
                <a:cubicBezTo>
                  <a:pt x="1167" y="1001"/>
                  <a:pt x="1185" y="981"/>
                  <a:pt x="1185" y="981"/>
                </a:cubicBezTo>
                <a:cubicBezTo>
                  <a:pt x="1185" y="981"/>
                  <a:pt x="1190" y="962"/>
                  <a:pt x="1188" y="958"/>
                </a:cubicBezTo>
                <a:cubicBezTo>
                  <a:pt x="1187" y="955"/>
                  <a:pt x="1185" y="947"/>
                  <a:pt x="1183" y="947"/>
                </a:cubicBezTo>
                <a:cubicBezTo>
                  <a:pt x="1180" y="947"/>
                  <a:pt x="1168" y="937"/>
                  <a:pt x="1183" y="937"/>
                </a:cubicBezTo>
                <a:cubicBezTo>
                  <a:pt x="1197" y="937"/>
                  <a:pt x="1192" y="930"/>
                  <a:pt x="1200" y="938"/>
                </a:cubicBezTo>
                <a:cubicBezTo>
                  <a:pt x="1208" y="947"/>
                  <a:pt x="1208" y="941"/>
                  <a:pt x="1214" y="936"/>
                </a:cubicBezTo>
                <a:cubicBezTo>
                  <a:pt x="1220" y="931"/>
                  <a:pt x="1219" y="924"/>
                  <a:pt x="1221" y="918"/>
                </a:cubicBezTo>
                <a:cubicBezTo>
                  <a:pt x="1224" y="912"/>
                  <a:pt x="1220" y="903"/>
                  <a:pt x="1228" y="907"/>
                </a:cubicBezTo>
                <a:cubicBezTo>
                  <a:pt x="1236" y="910"/>
                  <a:pt x="1233" y="914"/>
                  <a:pt x="1239" y="907"/>
                </a:cubicBezTo>
                <a:cubicBezTo>
                  <a:pt x="1245" y="900"/>
                  <a:pt x="1246" y="894"/>
                  <a:pt x="1239" y="890"/>
                </a:cubicBezTo>
                <a:cubicBezTo>
                  <a:pt x="1232" y="887"/>
                  <a:pt x="1227" y="880"/>
                  <a:pt x="1227" y="880"/>
                </a:cubicBezTo>
                <a:cubicBezTo>
                  <a:pt x="1227" y="880"/>
                  <a:pt x="1217" y="876"/>
                  <a:pt x="1227" y="873"/>
                </a:cubicBezTo>
                <a:cubicBezTo>
                  <a:pt x="1238" y="869"/>
                  <a:pt x="1242" y="866"/>
                  <a:pt x="1239" y="862"/>
                </a:cubicBezTo>
                <a:cubicBezTo>
                  <a:pt x="1235" y="859"/>
                  <a:pt x="1231" y="854"/>
                  <a:pt x="1231" y="854"/>
                </a:cubicBezTo>
                <a:cubicBezTo>
                  <a:pt x="1231" y="854"/>
                  <a:pt x="1233" y="848"/>
                  <a:pt x="1221" y="854"/>
                </a:cubicBezTo>
                <a:cubicBezTo>
                  <a:pt x="1209" y="860"/>
                  <a:pt x="1206" y="861"/>
                  <a:pt x="1199" y="854"/>
                </a:cubicBezTo>
                <a:cubicBezTo>
                  <a:pt x="1192" y="847"/>
                  <a:pt x="1187" y="841"/>
                  <a:pt x="1197" y="837"/>
                </a:cubicBezTo>
                <a:cubicBezTo>
                  <a:pt x="1206" y="834"/>
                  <a:pt x="1198" y="820"/>
                  <a:pt x="1212" y="832"/>
                </a:cubicBezTo>
                <a:cubicBezTo>
                  <a:pt x="1226" y="843"/>
                  <a:pt x="1220" y="837"/>
                  <a:pt x="1228" y="835"/>
                </a:cubicBezTo>
                <a:cubicBezTo>
                  <a:pt x="1236" y="833"/>
                  <a:pt x="1244" y="817"/>
                  <a:pt x="1244" y="817"/>
                </a:cubicBezTo>
                <a:cubicBezTo>
                  <a:pt x="1244" y="817"/>
                  <a:pt x="1240" y="809"/>
                  <a:pt x="1234" y="808"/>
                </a:cubicBezTo>
                <a:cubicBezTo>
                  <a:pt x="1228" y="807"/>
                  <a:pt x="1234" y="806"/>
                  <a:pt x="1224" y="802"/>
                </a:cubicBezTo>
                <a:cubicBezTo>
                  <a:pt x="1213" y="799"/>
                  <a:pt x="1209" y="801"/>
                  <a:pt x="1208" y="793"/>
                </a:cubicBezTo>
                <a:cubicBezTo>
                  <a:pt x="1207" y="785"/>
                  <a:pt x="1212" y="781"/>
                  <a:pt x="1212" y="781"/>
                </a:cubicBezTo>
                <a:cubicBezTo>
                  <a:pt x="1212" y="781"/>
                  <a:pt x="1218" y="783"/>
                  <a:pt x="1226" y="785"/>
                </a:cubicBezTo>
                <a:cubicBezTo>
                  <a:pt x="1234" y="786"/>
                  <a:pt x="1234" y="776"/>
                  <a:pt x="1234" y="776"/>
                </a:cubicBezTo>
                <a:cubicBezTo>
                  <a:pt x="1234" y="776"/>
                  <a:pt x="1228" y="763"/>
                  <a:pt x="1222" y="763"/>
                </a:cubicBezTo>
                <a:cubicBezTo>
                  <a:pt x="1217" y="763"/>
                  <a:pt x="1212" y="758"/>
                  <a:pt x="1212" y="758"/>
                </a:cubicBezTo>
                <a:cubicBezTo>
                  <a:pt x="1212" y="758"/>
                  <a:pt x="1205" y="739"/>
                  <a:pt x="1211" y="732"/>
                </a:cubicBezTo>
                <a:cubicBezTo>
                  <a:pt x="1217" y="725"/>
                  <a:pt x="1225" y="716"/>
                  <a:pt x="1217" y="718"/>
                </a:cubicBezTo>
                <a:cubicBezTo>
                  <a:pt x="1208" y="719"/>
                  <a:pt x="1208" y="719"/>
                  <a:pt x="1208" y="719"/>
                </a:cubicBezTo>
                <a:cubicBezTo>
                  <a:pt x="1208" y="719"/>
                  <a:pt x="1194" y="728"/>
                  <a:pt x="1197" y="720"/>
                </a:cubicBezTo>
                <a:cubicBezTo>
                  <a:pt x="1199" y="712"/>
                  <a:pt x="1215" y="708"/>
                  <a:pt x="1200" y="706"/>
                </a:cubicBezTo>
                <a:cubicBezTo>
                  <a:pt x="1185" y="704"/>
                  <a:pt x="1147" y="743"/>
                  <a:pt x="1179" y="704"/>
                </a:cubicBezTo>
                <a:cubicBezTo>
                  <a:pt x="1211" y="664"/>
                  <a:pt x="1211" y="650"/>
                  <a:pt x="1224" y="652"/>
                </a:cubicBezTo>
                <a:cubicBezTo>
                  <a:pt x="1236" y="654"/>
                  <a:pt x="1236" y="639"/>
                  <a:pt x="1245" y="645"/>
                </a:cubicBezTo>
                <a:cubicBezTo>
                  <a:pt x="1253" y="651"/>
                  <a:pt x="1265" y="641"/>
                  <a:pt x="1265" y="637"/>
                </a:cubicBezTo>
                <a:cubicBezTo>
                  <a:pt x="1265" y="632"/>
                  <a:pt x="1268" y="626"/>
                  <a:pt x="1265" y="624"/>
                </a:cubicBezTo>
                <a:cubicBezTo>
                  <a:pt x="1261" y="621"/>
                  <a:pt x="1253" y="611"/>
                  <a:pt x="1247" y="613"/>
                </a:cubicBezTo>
                <a:cubicBezTo>
                  <a:pt x="1241" y="616"/>
                  <a:pt x="1231" y="619"/>
                  <a:pt x="1231" y="619"/>
                </a:cubicBezTo>
                <a:cubicBezTo>
                  <a:pt x="1231" y="619"/>
                  <a:pt x="1217" y="620"/>
                  <a:pt x="1214" y="612"/>
                </a:cubicBezTo>
                <a:cubicBezTo>
                  <a:pt x="1212" y="604"/>
                  <a:pt x="1213" y="594"/>
                  <a:pt x="1206" y="604"/>
                </a:cubicBezTo>
                <a:cubicBezTo>
                  <a:pt x="1199" y="613"/>
                  <a:pt x="1197" y="616"/>
                  <a:pt x="1193" y="624"/>
                </a:cubicBezTo>
                <a:cubicBezTo>
                  <a:pt x="1190" y="632"/>
                  <a:pt x="1180" y="632"/>
                  <a:pt x="1180" y="632"/>
                </a:cubicBezTo>
                <a:cubicBezTo>
                  <a:pt x="1180" y="632"/>
                  <a:pt x="1166" y="626"/>
                  <a:pt x="1165" y="619"/>
                </a:cubicBezTo>
                <a:cubicBezTo>
                  <a:pt x="1164" y="612"/>
                  <a:pt x="1171" y="600"/>
                  <a:pt x="1156" y="604"/>
                </a:cubicBezTo>
                <a:cubicBezTo>
                  <a:pt x="1140" y="607"/>
                  <a:pt x="1137" y="610"/>
                  <a:pt x="1134" y="599"/>
                </a:cubicBezTo>
                <a:cubicBezTo>
                  <a:pt x="1132" y="589"/>
                  <a:pt x="1131" y="584"/>
                  <a:pt x="1134" y="574"/>
                </a:cubicBezTo>
                <a:cubicBezTo>
                  <a:pt x="1138" y="565"/>
                  <a:pt x="1140" y="555"/>
                  <a:pt x="1154" y="562"/>
                </a:cubicBezTo>
                <a:cubicBezTo>
                  <a:pt x="1168" y="569"/>
                  <a:pt x="1174" y="558"/>
                  <a:pt x="1183" y="551"/>
                </a:cubicBezTo>
                <a:cubicBezTo>
                  <a:pt x="1191" y="544"/>
                  <a:pt x="1197" y="537"/>
                  <a:pt x="1199" y="530"/>
                </a:cubicBezTo>
                <a:cubicBezTo>
                  <a:pt x="1201" y="523"/>
                  <a:pt x="1201" y="513"/>
                  <a:pt x="1209" y="517"/>
                </a:cubicBezTo>
                <a:cubicBezTo>
                  <a:pt x="1218" y="520"/>
                  <a:pt x="1224" y="517"/>
                  <a:pt x="1224" y="510"/>
                </a:cubicBezTo>
                <a:cubicBezTo>
                  <a:pt x="1224" y="503"/>
                  <a:pt x="1224" y="499"/>
                  <a:pt x="1224" y="499"/>
                </a:cubicBezTo>
                <a:cubicBezTo>
                  <a:pt x="1224" y="499"/>
                  <a:pt x="1220" y="477"/>
                  <a:pt x="1238" y="496"/>
                </a:cubicBezTo>
                <a:cubicBezTo>
                  <a:pt x="1255" y="515"/>
                  <a:pt x="1252" y="523"/>
                  <a:pt x="1252" y="523"/>
                </a:cubicBezTo>
                <a:cubicBezTo>
                  <a:pt x="1252" y="523"/>
                  <a:pt x="1242" y="528"/>
                  <a:pt x="1239" y="542"/>
                </a:cubicBezTo>
                <a:cubicBezTo>
                  <a:pt x="1235" y="556"/>
                  <a:pt x="1242" y="547"/>
                  <a:pt x="1239" y="558"/>
                </a:cubicBezTo>
                <a:cubicBezTo>
                  <a:pt x="1235" y="569"/>
                  <a:pt x="1232" y="570"/>
                  <a:pt x="1232" y="570"/>
                </a:cubicBezTo>
                <a:cubicBezTo>
                  <a:pt x="1232" y="570"/>
                  <a:pt x="1238" y="584"/>
                  <a:pt x="1252" y="566"/>
                </a:cubicBezTo>
                <a:cubicBezTo>
                  <a:pt x="1266" y="549"/>
                  <a:pt x="1276" y="545"/>
                  <a:pt x="1283" y="540"/>
                </a:cubicBezTo>
                <a:cubicBezTo>
                  <a:pt x="1290" y="536"/>
                  <a:pt x="1303" y="536"/>
                  <a:pt x="1303" y="536"/>
                </a:cubicBezTo>
                <a:cubicBezTo>
                  <a:pt x="1303" y="536"/>
                  <a:pt x="1316" y="526"/>
                  <a:pt x="1321" y="522"/>
                </a:cubicBezTo>
                <a:cubicBezTo>
                  <a:pt x="1326" y="517"/>
                  <a:pt x="1337" y="504"/>
                  <a:pt x="1337" y="504"/>
                </a:cubicBezTo>
                <a:cubicBezTo>
                  <a:pt x="1337" y="504"/>
                  <a:pt x="1347" y="508"/>
                  <a:pt x="1354" y="505"/>
                </a:cubicBezTo>
                <a:cubicBezTo>
                  <a:pt x="1361" y="503"/>
                  <a:pt x="1368" y="503"/>
                  <a:pt x="1369" y="491"/>
                </a:cubicBezTo>
                <a:cubicBezTo>
                  <a:pt x="1370" y="479"/>
                  <a:pt x="1360" y="472"/>
                  <a:pt x="1375" y="477"/>
                </a:cubicBezTo>
                <a:cubicBezTo>
                  <a:pt x="1390" y="482"/>
                  <a:pt x="1397" y="490"/>
                  <a:pt x="1397" y="490"/>
                </a:cubicBezTo>
                <a:cubicBezTo>
                  <a:pt x="1397" y="490"/>
                  <a:pt x="1407" y="490"/>
                  <a:pt x="1406" y="482"/>
                </a:cubicBezTo>
                <a:cubicBezTo>
                  <a:pt x="1406" y="475"/>
                  <a:pt x="1405" y="466"/>
                  <a:pt x="1409" y="462"/>
                </a:cubicBezTo>
                <a:cubicBezTo>
                  <a:pt x="1413" y="458"/>
                  <a:pt x="1420" y="452"/>
                  <a:pt x="1420" y="452"/>
                </a:cubicBezTo>
                <a:cubicBezTo>
                  <a:pt x="1420" y="452"/>
                  <a:pt x="1425" y="443"/>
                  <a:pt x="1436" y="440"/>
                </a:cubicBezTo>
                <a:cubicBezTo>
                  <a:pt x="1446" y="437"/>
                  <a:pt x="1452" y="440"/>
                  <a:pt x="1452" y="440"/>
                </a:cubicBezTo>
                <a:cubicBezTo>
                  <a:pt x="1467" y="449"/>
                  <a:pt x="1467" y="449"/>
                  <a:pt x="1467" y="449"/>
                </a:cubicBezTo>
                <a:cubicBezTo>
                  <a:pt x="1466" y="445"/>
                  <a:pt x="1460" y="434"/>
                  <a:pt x="1469" y="424"/>
                </a:cubicBezTo>
                <a:cubicBezTo>
                  <a:pt x="1477" y="416"/>
                  <a:pt x="1477" y="392"/>
                  <a:pt x="1477" y="376"/>
                </a:cubicBezTo>
                <a:cubicBezTo>
                  <a:pt x="1477" y="359"/>
                  <a:pt x="1482" y="338"/>
                  <a:pt x="1500" y="350"/>
                </a:cubicBezTo>
                <a:cubicBezTo>
                  <a:pt x="1518" y="361"/>
                  <a:pt x="1529" y="356"/>
                  <a:pt x="1541" y="340"/>
                </a:cubicBezTo>
                <a:cubicBezTo>
                  <a:pt x="1552" y="324"/>
                  <a:pt x="1558" y="296"/>
                  <a:pt x="1558" y="296"/>
                </a:cubicBezTo>
                <a:cubicBezTo>
                  <a:pt x="1558" y="296"/>
                  <a:pt x="1567" y="281"/>
                  <a:pt x="1573" y="273"/>
                </a:cubicBezTo>
                <a:cubicBezTo>
                  <a:pt x="1580" y="265"/>
                  <a:pt x="1576" y="257"/>
                  <a:pt x="1573" y="247"/>
                </a:cubicBezTo>
                <a:cubicBezTo>
                  <a:pt x="1570" y="237"/>
                  <a:pt x="1558" y="228"/>
                  <a:pt x="1558" y="228"/>
                </a:cubicBezTo>
                <a:cubicBezTo>
                  <a:pt x="1558" y="228"/>
                  <a:pt x="1531" y="247"/>
                  <a:pt x="1519" y="252"/>
                </a:cubicBezTo>
                <a:cubicBezTo>
                  <a:pt x="1508" y="257"/>
                  <a:pt x="1493" y="254"/>
                  <a:pt x="1485" y="247"/>
                </a:cubicBezTo>
                <a:cubicBezTo>
                  <a:pt x="1477" y="241"/>
                  <a:pt x="1474" y="213"/>
                  <a:pt x="1474" y="213"/>
                </a:cubicBezTo>
                <a:cubicBezTo>
                  <a:pt x="1474" y="213"/>
                  <a:pt x="1454" y="188"/>
                  <a:pt x="1445" y="193"/>
                </a:cubicBezTo>
                <a:cubicBezTo>
                  <a:pt x="1435" y="198"/>
                  <a:pt x="1422" y="198"/>
                  <a:pt x="1417" y="190"/>
                </a:cubicBezTo>
                <a:cubicBezTo>
                  <a:pt x="1412" y="182"/>
                  <a:pt x="1404" y="187"/>
                  <a:pt x="1391" y="171"/>
                </a:cubicBezTo>
                <a:cubicBezTo>
                  <a:pt x="1378" y="154"/>
                  <a:pt x="1362" y="107"/>
                  <a:pt x="1358" y="88"/>
                </a:cubicBezTo>
                <a:cubicBezTo>
                  <a:pt x="1355" y="68"/>
                  <a:pt x="1366" y="47"/>
                  <a:pt x="1332" y="34"/>
                </a:cubicBezTo>
                <a:cubicBezTo>
                  <a:pt x="1298" y="21"/>
                  <a:pt x="1301" y="0"/>
                  <a:pt x="1269" y="9"/>
                </a:cubicBezTo>
                <a:cubicBezTo>
                  <a:pt x="1236" y="19"/>
                  <a:pt x="1217" y="21"/>
                  <a:pt x="1217" y="21"/>
                </a:cubicBezTo>
                <a:cubicBezTo>
                  <a:pt x="1217" y="21"/>
                  <a:pt x="1194" y="42"/>
                  <a:pt x="1199" y="52"/>
                </a:cubicBezTo>
                <a:cubicBezTo>
                  <a:pt x="1204" y="62"/>
                  <a:pt x="1204" y="81"/>
                  <a:pt x="1204" y="81"/>
                </a:cubicBezTo>
                <a:cubicBezTo>
                  <a:pt x="1204" y="81"/>
                  <a:pt x="1199" y="104"/>
                  <a:pt x="1183" y="119"/>
                </a:cubicBezTo>
                <a:cubicBezTo>
                  <a:pt x="1166" y="133"/>
                  <a:pt x="1165" y="148"/>
                  <a:pt x="1165" y="148"/>
                </a:cubicBezTo>
                <a:cubicBezTo>
                  <a:pt x="1165" y="148"/>
                  <a:pt x="1158" y="185"/>
                  <a:pt x="1140" y="187"/>
                </a:cubicBezTo>
                <a:cubicBezTo>
                  <a:pt x="1122" y="188"/>
                  <a:pt x="1109" y="198"/>
                  <a:pt x="1103" y="193"/>
                </a:cubicBezTo>
                <a:cubicBezTo>
                  <a:pt x="1103" y="193"/>
                  <a:pt x="1097" y="211"/>
                  <a:pt x="1096" y="219"/>
                </a:cubicBezTo>
                <a:cubicBezTo>
                  <a:pt x="1094" y="228"/>
                  <a:pt x="1087" y="222"/>
                  <a:pt x="1085" y="235"/>
                </a:cubicBezTo>
                <a:cubicBezTo>
                  <a:pt x="1084" y="248"/>
                  <a:pt x="1085" y="251"/>
                  <a:pt x="1094" y="253"/>
                </a:cubicBezTo>
                <a:cubicBezTo>
                  <a:pt x="1103" y="255"/>
                  <a:pt x="1103" y="246"/>
                  <a:pt x="1110" y="255"/>
                </a:cubicBezTo>
                <a:cubicBezTo>
                  <a:pt x="1116" y="264"/>
                  <a:pt x="1118" y="261"/>
                  <a:pt x="1121" y="260"/>
                </a:cubicBezTo>
                <a:cubicBezTo>
                  <a:pt x="1125" y="259"/>
                  <a:pt x="1139" y="264"/>
                  <a:pt x="1141" y="255"/>
                </a:cubicBezTo>
                <a:cubicBezTo>
                  <a:pt x="1143" y="247"/>
                  <a:pt x="1146" y="248"/>
                  <a:pt x="1153" y="248"/>
                </a:cubicBezTo>
                <a:cubicBezTo>
                  <a:pt x="1159" y="247"/>
                  <a:pt x="1165" y="244"/>
                  <a:pt x="1168" y="255"/>
                </a:cubicBezTo>
                <a:cubicBezTo>
                  <a:pt x="1171" y="265"/>
                  <a:pt x="1168" y="263"/>
                  <a:pt x="1181" y="273"/>
                </a:cubicBezTo>
                <a:cubicBezTo>
                  <a:pt x="1193" y="282"/>
                  <a:pt x="1200" y="284"/>
                  <a:pt x="1202" y="296"/>
                </a:cubicBezTo>
                <a:cubicBezTo>
                  <a:pt x="1205" y="308"/>
                  <a:pt x="1199" y="318"/>
                  <a:pt x="1199" y="318"/>
                </a:cubicBezTo>
                <a:cubicBezTo>
                  <a:pt x="1199" y="318"/>
                  <a:pt x="1175" y="312"/>
                  <a:pt x="1168" y="318"/>
                </a:cubicBezTo>
                <a:cubicBezTo>
                  <a:pt x="1161" y="325"/>
                  <a:pt x="1151" y="325"/>
                  <a:pt x="1151" y="325"/>
                </a:cubicBezTo>
                <a:cubicBezTo>
                  <a:pt x="1151" y="325"/>
                  <a:pt x="1128" y="323"/>
                  <a:pt x="1128" y="334"/>
                </a:cubicBezTo>
                <a:cubicBezTo>
                  <a:pt x="1128" y="345"/>
                  <a:pt x="1123" y="354"/>
                  <a:pt x="1123" y="354"/>
                </a:cubicBezTo>
                <a:cubicBezTo>
                  <a:pt x="1123" y="354"/>
                  <a:pt x="1112" y="346"/>
                  <a:pt x="1108" y="353"/>
                </a:cubicBezTo>
                <a:cubicBezTo>
                  <a:pt x="1104" y="360"/>
                  <a:pt x="1105" y="359"/>
                  <a:pt x="1096" y="359"/>
                </a:cubicBezTo>
                <a:cubicBezTo>
                  <a:pt x="1087" y="358"/>
                  <a:pt x="1083" y="350"/>
                  <a:pt x="1083" y="350"/>
                </a:cubicBezTo>
                <a:cubicBezTo>
                  <a:pt x="1083" y="350"/>
                  <a:pt x="1080" y="347"/>
                  <a:pt x="1073" y="351"/>
                </a:cubicBezTo>
                <a:cubicBezTo>
                  <a:pt x="1067" y="354"/>
                  <a:pt x="1060" y="349"/>
                  <a:pt x="1060" y="356"/>
                </a:cubicBezTo>
                <a:cubicBezTo>
                  <a:pt x="1060" y="363"/>
                  <a:pt x="1057" y="368"/>
                  <a:pt x="1057" y="368"/>
                </a:cubicBezTo>
                <a:cubicBezTo>
                  <a:pt x="1038" y="368"/>
                  <a:pt x="1038" y="368"/>
                  <a:pt x="1038" y="368"/>
                </a:cubicBezTo>
                <a:cubicBezTo>
                  <a:pt x="1038" y="368"/>
                  <a:pt x="1017" y="367"/>
                  <a:pt x="1014" y="362"/>
                </a:cubicBezTo>
                <a:cubicBezTo>
                  <a:pt x="1010" y="357"/>
                  <a:pt x="1003" y="354"/>
                  <a:pt x="996" y="358"/>
                </a:cubicBezTo>
                <a:cubicBezTo>
                  <a:pt x="989" y="362"/>
                  <a:pt x="981" y="359"/>
                  <a:pt x="981" y="359"/>
                </a:cubicBezTo>
                <a:cubicBezTo>
                  <a:pt x="975" y="353"/>
                  <a:pt x="975" y="353"/>
                  <a:pt x="975" y="353"/>
                </a:cubicBezTo>
                <a:cubicBezTo>
                  <a:pt x="975" y="353"/>
                  <a:pt x="954" y="376"/>
                  <a:pt x="965" y="379"/>
                </a:cubicBezTo>
                <a:cubicBezTo>
                  <a:pt x="976" y="383"/>
                  <a:pt x="982" y="382"/>
                  <a:pt x="982" y="382"/>
                </a:cubicBezTo>
                <a:cubicBezTo>
                  <a:pt x="982" y="382"/>
                  <a:pt x="985" y="396"/>
                  <a:pt x="980" y="403"/>
                </a:cubicBezTo>
                <a:cubicBezTo>
                  <a:pt x="974" y="410"/>
                  <a:pt x="965" y="413"/>
                  <a:pt x="961" y="413"/>
                </a:cubicBezTo>
                <a:cubicBezTo>
                  <a:pt x="957" y="414"/>
                  <a:pt x="947" y="405"/>
                  <a:pt x="949" y="418"/>
                </a:cubicBezTo>
                <a:cubicBezTo>
                  <a:pt x="951" y="430"/>
                  <a:pt x="944" y="437"/>
                  <a:pt x="944" y="437"/>
                </a:cubicBezTo>
                <a:cubicBezTo>
                  <a:pt x="944" y="437"/>
                  <a:pt x="935" y="436"/>
                  <a:pt x="925" y="435"/>
                </a:cubicBezTo>
                <a:cubicBezTo>
                  <a:pt x="915" y="433"/>
                  <a:pt x="913" y="430"/>
                  <a:pt x="913" y="430"/>
                </a:cubicBezTo>
                <a:cubicBezTo>
                  <a:pt x="888" y="441"/>
                  <a:pt x="888" y="441"/>
                  <a:pt x="888" y="441"/>
                </a:cubicBezTo>
                <a:cubicBezTo>
                  <a:pt x="888" y="441"/>
                  <a:pt x="871" y="447"/>
                  <a:pt x="857" y="447"/>
                </a:cubicBezTo>
                <a:cubicBezTo>
                  <a:pt x="843" y="447"/>
                  <a:pt x="828" y="461"/>
                  <a:pt x="828" y="461"/>
                </a:cubicBezTo>
                <a:cubicBezTo>
                  <a:pt x="828" y="461"/>
                  <a:pt x="816" y="471"/>
                  <a:pt x="817" y="481"/>
                </a:cubicBezTo>
                <a:cubicBezTo>
                  <a:pt x="819" y="490"/>
                  <a:pt x="813" y="499"/>
                  <a:pt x="808" y="499"/>
                </a:cubicBezTo>
                <a:cubicBezTo>
                  <a:pt x="803" y="499"/>
                  <a:pt x="798" y="483"/>
                  <a:pt x="798" y="483"/>
                </a:cubicBezTo>
                <a:cubicBezTo>
                  <a:pt x="791" y="466"/>
                  <a:pt x="791" y="466"/>
                  <a:pt x="791" y="466"/>
                </a:cubicBezTo>
                <a:cubicBezTo>
                  <a:pt x="791" y="466"/>
                  <a:pt x="779" y="457"/>
                  <a:pt x="772" y="458"/>
                </a:cubicBezTo>
                <a:cubicBezTo>
                  <a:pt x="765" y="459"/>
                  <a:pt x="746" y="456"/>
                  <a:pt x="746" y="456"/>
                </a:cubicBezTo>
                <a:cubicBezTo>
                  <a:pt x="746" y="456"/>
                  <a:pt x="734" y="452"/>
                  <a:pt x="731" y="445"/>
                </a:cubicBezTo>
                <a:cubicBezTo>
                  <a:pt x="727" y="438"/>
                  <a:pt x="722" y="431"/>
                  <a:pt x="722" y="431"/>
                </a:cubicBezTo>
                <a:cubicBezTo>
                  <a:pt x="722" y="431"/>
                  <a:pt x="707" y="420"/>
                  <a:pt x="702" y="435"/>
                </a:cubicBezTo>
                <a:cubicBezTo>
                  <a:pt x="698" y="450"/>
                  <a:pt x="677" y="455"/>
                  <a:pt x="677" y="455"/>
                </a:cubicBezTo>
                <a:cubicBezTo>
                  <a:pt x="677" y="455"/>
                  <a:pt x="670" y="443"/>
                  <a:pt x="656" y="445"/>
                </a:cubicBezTo>
                <a:cubicBezTo>
                  <a:pt x="641" y="448"/>
                  <a:pt x="617" y="443"/>
                  <a:pt x="617" y="443"/>
                </a:cubicBezTo>
                <a:cubicBezTo>
                  <a:pt x="597" y="427"/>
                  <a:pt x="597" y="427"/>
                  <a:pt x="597" y="427"/>
                </a:cubicBezTo>
                <a:cubicBezTo>
                  <a:pt x="597" y="427"/>
                  <a:pt x="589" y="417"/>
                  <a:pt x="583" y="410"/>
                </a:cubicBezTo>
                <a:cubicBezTo>
                  <a:pt x="577" y="403"/>
                  <a:pt x="559" y="381"/>
                  <a:pt x="559" y="381"/>
                </a:cubicBezTo>
                <a:cubicBezTo>
                  <a:pt x="538" y="364"/>
                  <a:pt x="538" y="364"/>
                  <a:pt x="538" y="364"/>
                </a:cubicBezTo>
                <a:cubicBezTo>
                  <a:pt x="505" y="351"/>
                  <a:pt x="505" y="351"/>
                  <a:pt x="505" y="351"/>
                </a:cubicBezTo>
                <a:cubicBezTo>
                  <a:pt x="505" y="351"/>
                  <a:pt x="489" y="350"/>
                  <a:pt x="477" y="342"/>
                </a:cubicBezTo>
                <a:cubicBezTo>
                  <a:pt x="465" y="334"/>
                  <a:pt x="461" y="317"/>
                  <a:pt x="461" y="317"/>
                </a:cubicBezTo>
                <a:cubicBezTo>
                  <a:pt x="467" y="292"/>
                  <a:pt x="467" y="292"/>
                  <a:pt x="467" y="292"/>
                </a:cubicBezTo>
                <a:cubicBezTo>
                  <a:pt x="467" y="292"/>
                  <a:pt x="460" y="266"/>
                  <a:pt x="444" y="252"/>
                </a:cubicBezTo>
                <a:cubicBezTo>
                  <a:pt x="429" y="238"/>
                  <a:pt x="400" y="225"/>
                  <a:pt x="400" y="225"/>
                </a:cubicBezTo>
                <a:cubicBezTo>
                  <a:pt x="400" y="225"/>
                  <a:pt x="375" y="213"/>
                  <a:pt x="372" y="205"/>
                </a:cubicBezTo>
                <a:cubicBezTo>
                  <a:pt x="369" y="197"/>
                  <a:pt x="358" y="188"/>
                  <a:pt x="358" y="18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2" name="Freeform 588"/>
          <p:cNvSpPr>
            <a:spLocks/>
          </p:cNvSpPr>
          <p:nvPr userDrawn="1"/>
        </p:nvSpPr>
        <p:spPr bwMode="auto">
          <a:xfrm>
            <a:off x="8458920" y="3857209"/>
            <a:ext cx="199336" cy="162484"/>
          </a:xfrm>
          <a:custGeom>
            <a:avLst/>
            <a:gdLst>
              <a:gd name="T0" fmla="*/ 2147483646 w 215"/>
              <a:gd name="T1" fmla="*/ 2147483646 h 174"/>
              <a:gd name="T2" fmla="*/ 2147483646 w 215"/>
              <a:gd name="T3" fmla="*/ 2147483646 h 174"/>
              <a:gd name="T4" fmla="*/ 2147483646 w 215"/>
              <a:gd name="T5" fmla="*/ 2147483646 h 174"/>
              <a:gd name="T6" fmla="*/ 2147483646 w 215"/>
              <a:gd name="T7" fmla="*/ 2147483646 h 174"/>
              <a:gd name="T8" fmla="*/ 2147483646 w 215"/>
              <a:gd name="T9" fmla="*/ 2147483646 h 174"/>
              <a:gd name="T10" fmla="*/ 2147483646 w 215"/>
              <a:gd name="T11" fmla="*/ 2147483646 h 174"/>
              <a:gd name="T12" fmla="*/ 2147483646 w 215"/>
              <a:gd name="T13" fmla="*/ 2147483646 h 174"/>
              <a:gd name="T14" fmla="*/ 2147483646 w 215"/>
              <a:gd name="T15" fmla="*/ 2147483646 h 174"/>
              <a:gd name="T16" fmla="*/ 2147483646 w 215"/>
              <a:gd name="T17" fmla="*/ 2147483646 h 174"/>
              <a:gd name="T18" fmla="*/ 2147483646 w 215"/>
              <a:gd name="T19" fmla="*/ 2147483646 h 174"/>
              <a:gd name="T20" fmla="*/ 2147483646 w 215"/>
              <a:gd name="T21" fmla="*/ 2147483646 h 174"/>
              <a:gd name="T22" fmla="*/ 2147483646 w 215"/>
              <a:gd name="T23" fmla="*/ 2147483646 h 174"/>
              <a:gd name="T24" fmla="*/ 2147483646 w 215"/>
              <a:gd name="T25" fmla="*/ 2147483646 h 174"/>
              <a:gd name="T26" fmla="*/ 2147483646 w 215"/>
              <a:gd name="T27" fmla="*/ 2147483646 h 174"/>
              <a:gd name="T28" fmla="*/ 0 w 215"/>
              <a:gd name="T29" fmla="*/ 2147483646 h 174"/>
              <a:gd name="T30" fmla="*/ 2147483646 w 215"/>
              <a:gd name="T31" fmla="*/ 2147483646 h 174"/>
              <a:gd name="T32" fmla="*/ 2147483646 w 215"/>
              <a:gd name="T33" fmla="*/ 2147483646 h 174"/>
              <a:gd name="T34" fmla="*/ 2147483646 w 215"/>
              <a:gd name="T35" fmla="*/ 2147483646 h 174"/>
              <a:gd name="T36" fmla="*/ 2147483646 w 215"/>
              <a:gd name="T37" fmla="*/ 2147483646 h 174"/>
              <a:gd name="T38" fmla="*/ 2147483646 w 215"/>
              <a:gd name="T39" fmla="*/ 2147483646 h 174"/>
              <a:gd name="T40" fmla="*/ 2147483646 w 215"/>
              <a:gd name="T41" fmla="*/ 2147483646 h 174"/>
              <a:gd name="T42" fmla="*/ 2147483646 w 215"/>
              <a:gd name="T43" fmla="*/ 2147483646 h 174"/>
              <a:gd name="T44" fmla="*/ 2147483646 w 215"/>
              <a:gd name="T45" fmla="*/ 2147483646 h 174"/>
              <a:gd name="T46" fmla="*/ 2147483646 w 215"/>
              <a:gd name="T47" fmla="*/ 2147483646 h 174"/>
              <a:gd name="T48" fmla="*/ 2147483646 w 215"/>
              <a:gd name="T49" fmla="*/ 2147483646 h 174"/>
              <a:gd name="T50" fmla="*/ 2147483646 w 215"/>
              <a:gd name="T51" fmla="*/ 2147483646 h 174"/>
              <a:gd name="T52" fmla="*/ 2147483646 w 215"/>
              <a:gd name="T53" fmla="*/ 2147483646 h 174"/>
              <a:gd name="T54" fmla="*/ 2147483646 w 215"/>
              <a:gd name="T55" fmla="*/ 2147483646 h 174"/>
              <a:gd name="T56" fmla="*/ 2147483646 w 215"/>
              <a:gd name="T57" fmla="*/ 2147483646 h 174"/>
              <a:gd name="T58" fmla="*/ 2147483646 w 215"/>
              <a:gd name="T59" fmla="*/ 2147483646 h 174"/>
              <a:gd name="T60" fmla="*/ 2147483646 w 215"/>
              <a:gd name="T61" fmla="*/ 2147483646 h 174"/>
              <a:gd name="T62" fmla="*/ 2147483646 w 215"/>
              <a:gd name="T63" fmla="*/ 2147483646 h 17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15"/>
              <a:gd name="T97" fmla="*/ 0 h 174"/>
              <a:gd name="T98" fmla="*/ 215 w 215"/>
              <a:gd name="T99" fmla="*/ 174 h 17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15" h="174">
                <a:moveTo>
                  <a:pt x="215" y="12"/>
                </a:moveTo>
                <a:cubicBezTo>
                  <a:pt x="200" y="3"/>
                  <a:pt x="200" y="3"/>
                  <a:pt x="200" y="3"/>
                </a:cubicBezTo>
                <a:cubicBezTo>
                  <a:pt x="200" y="3"/>
                  <a:pt x="194" y="0"/>
                  <a:pt x="184" y="3"/>
                </a:cubicBezTo>
                <a:cubicBezTo>
                  <a:pt x="173" y="6"/>
                  <a:pt x="168" y="15"/>
                  <a:pt x="168" y="15"/>
                </a:cubicBezTo>
                <a:cubicBezTo>
                  <a:pt x="168" y="15"/>
                  <a:pt x="161" y="21"/>
                  <a:pt x="157" y="25"/>
                </a:cubicBezTo>
                <a:cubicBezTo>
                  <a:pt x="153" y="29"/>
                  <a:pt x="154" y="38"/>
                  <a:pt x="154" y="45"/>
                </a:cubicBezTo>
                <a:cubicBezTo>
                  <a:pt x="155" y="53"/>
                  <a:pt x="145" y="53"/>
                  <a:pt x="145" y="53"/>
                </a:cubicBezTo>
                <a:cubicBezTo>
                  <a:pt x="145" y="53"/>
                  <a:pt x="138" y="45"/>
                  <a:pt x="123" y="40"/>
                </a:cubicBezTo>
                <a:cubicBezTo>
                  <a:pt x="108" y="35"/>
                  <a:pt x="118" y="42"/>
                  <a:pt x="117" y="54"/>
                </a:cubicBezTo>
                <a:cubicBezTo>
                  <a:pt x="116" y="66"/>
                  <a:pt x="109" y="66"/>
                  <a:pt x="102" y="68"/>
                </a:cubicBezTo>
                <a:cubicBezTo>
                  <a:pt x="95" y="71"/>
                  <a:pt x="85" y="67"/>
                  <a:pt x="85" y="67"/>
                </a:cubicBezTo>
                <a:cubicBezTo>
                  <a:pt x="85" y="67"/>
                  <a:pt x="74" y="80"/>
                  <a:pt x="69" y="85"/>
                </a:cubicBezTo>
                <a:cubicBezTo>
                  <a:pt x="64" y="89"/>
                  <a:pt x="51" y="99"/>
                  <a:pt x="51" y="99"/>
                </a:cubicBezTo>
                <a:cubicBezTo>
                  <a:pt x="51" y="99"/>
                  <a:pt x="38" y="99"/>
                  <a:pt x="31" y="103"/>
                </a:cubicBezTo>
                <a:cubicBezTo>
                  <a:pt x="24" y="108"/>
                  <a:pt x="14" y="112"/>
                  <a:pt x="0" y="129"/>
                </a:cubicBezTo>
                <a:cubicBezTo>
                  <a:pt x="0" y="129"/>
                  <a:pt x="24" y="116"/>
                  <a:pt x="31" y="112"/>
                </a:cubicBezTo>
                <a:cubicBezTo>
                  <a:pt x="39" y="108"/>
                  <a:pt x="52" y="108"/>
                  <a:pt x="59" y="108"/>
                </a:cubicBezTo>
                <a:cubicBezTo>
                  <a:pt x="65" y="108"/>
                  <a:pt x="84" y="112"/>
                  <a:pt x="87" y="110"/>
                </a:cubicBezTo>
                <a:cubicBezTo>
                  <a:pt x="91" y="108"/>
                  <a:pt x="106" y="109"/>
                  <a:pt x="106" y="118"/>
                </a:cubicBezTo>
                <a:cubicBezTo>
                  <a:pt x="106" y="126"/>
                  <a:pt x="93" y="131"/>
                  <a:pt x="92" y="135"/>
                </a:cubicBezTo>
                <a:cubicBezTo>
                  <a:pt x="91" y="138"/>
                  <a:pt x="86" y="131"/>
                  <a:pt x="79" y="138"/>
                </a:cubicBezTo>
                <a:cubicBezTo>
                  <a:pt x="72" y="144"/>
                  <a:pt x="65" y="152"/>
                  <a:pt x="68" y="158"/>
                </a:cubicBezTo>
                <a:cubicBezTo>
                  <a:pt x="72" y="164"/>
                  <a:pt x="76" y="167"/>
                  <a:pt x="85" y="169"/>
                </a:cubicBezTo>
                <a:cubicBezTo>
                  <a:pt x="95" y="170"/>
                  <a:pt x="98" y="167"/>
                  <a:pt x="108" y="171"/>
                </a:cubicBezTo>
                <a:cubicBezTo>
                  <a:pt x="117" y="174"/>
                  <a:pt x="118" y="167"/>
                  <a:pt x="127" y="163"/>
                </a:cubicBezTo>
                <a:cubicBezTo>
                  <a:pt x="135" y="159"/>
                  <a:pt x="148" y="148"/>
                  <a:pt x="156" y="150"/>
                </a:cubicBezTo>
                <a:cubicBezTo>
                  <a:pt x="163" y="153"/>
                  <a:pt x="148" y="133"/>
                  <a:pt x="144" y="129"/>
                </a:cubicBezTo>
                <a:cubicBezTo>
                  <a:pt x="140" y="125"/>
                  <a:pt x="144" y="107"/>
                  <a:pt x="153" y="106"/>
                </a:cubicBezTo>
                <a:cubicBezTo>
                  <a:pt x="163" y="105"/>
                  <a:pt x="180" y="82"/>
                  <a:pt x="189" y="78"/>
                </a:cubicBezTo>
                <a:cubicBezTo>
                  <a:pt x="197" y="74"/>
                  <a:pt x="202" y="60"/>
                  <a:pt x="203" y="57"/>
                </a:cubicBezTo>
                <a:cubicBezTo>
                  <a:pt x="204" y="54"/>
                  <a:pt x="200" y="39"/>
                  <a:pt x="200" y="39"/>
                </a:cubicBezTo>
                <a:lnTo>
                  <a:pt x="215" y="1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3" name="Freeform 589"/>
          <p:cNvSpPr>
            <a:spLocks/>
          </p:cNvSpPr>
          <p:nvPr userDrawn="1"/>
        </p:nvSpPr>
        <p:spPr bwMode="auto">
          <a:xfrm>
            <a:off x="8554401" y="3994565"/>
            <a:ext cx="73704" cy="135683"/>
          </a:xfrm>
          <a:custGeom>
            <a:avLst/>
            <a:gdLst>
              <a:gd name="T0" fmla="*/ 2147483646 w 80"/>
              <a:gd name="T1" fmla="*/ 2147483646 h 145"/>
              <a:gd name="T2" fmla="*/ 2147483646 w 80"/>
              <a:gd name="T3" fmla="*/ 2147483646 h 145"/>
              <a:gd name="T4" fmla="*/ 2147483646 w 80"/>
              <a:gd name="T5" fmla="*/ 2147483646 h 145"/>
              <a:gd name="T6" fmla="*/ 2147483646 w 80"/>
              <a:gd name="T7" fmla="*/ 2147483646 h 145"/>
              <a:gd name="T8" fmla="*/ 2147483646 w 80"/>
              <a:gd name="T9" fmla="*/ 2147483646 h 145"/>
              <a:gd name="T10" fmla="*/ 2147483646 w 80"/>
              <a:gd name="T11" fmla="*/ 2147483646 h 145"/>
              <a:gd name="T12" fmla="*/ 2147483646 w 80"/>
              <a:gd name="T13" fmla="*/ 2147483646 h 145"/>
              <a:gd name="T14" fmla="*/ 2147483646 w 80"/>
              <a:gd name="T15" fmla="*/ 2147483646 h 145"/>
              <a:gd name="T16" fmla="*/ 2147483646 w 80"/>
              <a:gd name="T17" fmla="*/ 2147483646 h 145"/>
              <a:gd name="T18" fmla="*/ 2147483646 w 80"/>
              <a:gd name="T19" fmla="*/ 2147483646 h 145"/>
              <a:gd name="T20" fmla="*/ 2147483646 w 80"/>
              <a:gd name="T21" fmla="*/ 2147483646 h 145"/>
              <a:gd name="T22" fmla="*/ 2147483646 w 80"/>
              <a:gd name="T23" fmla="*/ 2147483646 h 145"/>
              <a:gd name="T24" fmla="*/ 2147483646 w 80"/>
              <a:gd name="T25" fmla="*/ 2147483646 h 145"/>
              <a:gd name="T26" fmla="*/ 2147483646 w 80"/>
              <a:gd name="T27" fmla="*/ 2147483646 h 14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80"/>
              <a:gd name="T43" fmla="*/ 0 h 145"/>
              <a:gd name="T44" fmla="*/ 80 w 80"/>
              <a:gd name="T45" fmla="*/ 145 h 14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80" h="145">
                <a:moveTo>
                  <a:pt x="12" y="25"/>
                </a:moveTo>
                <a:cubicBezTo>
                  <a:pt x="12" y="25"/>
                  <a:pt x="43" y="0"/>
                  <a:pt x="56" y="4"/>
                </a:cubicBezTo>
                <a:cubicBezTo>
                  <a:pt x="56" y="4"/>
                  <a:pt x="65" y="18"/>
                  <a:pt x="67" y="21"/>
                </a:cubicBezTo>
                <a:cubicBezTo>
                  <a:pt x="69" y="24"/>
                  <a:pt x="72" y="31"/>
                  <a:pt x="75" y="38"/>
                </a:cubicBezTo>
                <a:cubicBezTo>
                  <a:pt x="78" y="45"/>
                  <a:pt x="77" y="50"/>
                  <a:pt x="78" y="54"/>
                </a:cubicBezTo>
                <a:cubicBezTo>
                  <a:pt x="78" y="58"/>
                  <a:pt x="80" y="78"/>
                  <a:pt x="74" y="94"/>
                </a:cubicBezTo>
                <a:cubicBezTo>
                  <a:pt x="68" y="111"/>
                  <a:pt x="69" y="109"/>
                  <a:pt x="52" y="115"/>
                </a:cubicBezTo>
                <a:cubicBezTo>
                  <a:pt x="36" y="120"/>
                  <a:pt x="17" y="145"/>
                  <a:pt x="9" y="132"/>
                </a:cubicBezTo>
                <a:cubicBezTo>
                  <a:pt x="0" y="118"/>
                  <a:pt x="6" y="98"/>
                  <a:pt x="11" y="96"/>
                </a:cubicBezTo>
                <a:cubicBezTo>
                  <a:pt x="16" y="94"/>
                  <a:pt x="21" y="84"/>
                  <a:pt x="21" y="84"/>
                </a:cubicBezTo>
                <a:cubicBezTo>
                  <a:pt x="19" y="71"/>
                  <a:pt x="19" y="71"/>
                  <a:pt x="19" y="71"/>
                </a:cubicBezTo>
                <a:cubicBezTo>
                  <a:pt x="19" y="71"/>
                  <a:pt x="8" y="59"/>
                  <a:pt x="9" y="55"/>
                </a:cubicBezTo>
                <a:cubicBezTo>
                  <a:pt x="10" y="50"/>
                  <a:pt x="11" y="39"/>
                  <a:pt x="11" y="39"/>
                </a:cubicBezTo>
                <a:lnTo>
                  <a:pt x="12" y="2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4" name="Freeform 590"/>
          <p:cNvSpPr>
            <a:spLocks/>
          </p:cNvSpPr>
          <p:nvPr userDrawn="1"/>
        </p:nvSpPr>
        <p:spPr bwMode="auto">
          <a:xfrm>
            <a:off x="8631455" y="3765079"/>
            <a:ext cx="380245" cy="448925"/>
          </a:xfrm>
          <a:custGeom>
            <a:avLst/>
            <a:gdLst>
              <a:gd name="T0" fmla="*/ 2147483646 w 407"/>
              <a:gd name="T1" fmla="*/ 2147483646 h 480"/>
              <a:gd name="T2" fmla="*/ 2147483646 w 407"/>
              <a:gd name="T3" fmla="*/ 2147483646 h 480"/>
              <a:gd name="T4" fmla="*/ 2147483646 w 407"/>
              <a:gd name="T5" fmla="*/ 2147483646 h 480"/>
              <a:gd name="T6" fmla="*/ 2147483646 w 407"/>
              <a:gd name="T7" fmla="*/ 2147483646 h 480"/>
              <a:gd name="T8" fmla="*/ 2147483646 w 407"/>
              <a:gd name="T9" fmla="*/ 2147483646 h 480"/>
              <a:gd name="T10" fmla="*/ 2147483646 w 407"/>
              <a:gd name="T11" fmla="*/ 2147483646 h 480"/>
              <a:gd name="T12" fmla="*/ 2147483646 w 407"/>
              <a:gd name="T13" fmla="*/ 2147483646 h 480"/>
              <a:gd name="T14" fmla="*/ 2147483646 w 407"/>
              <a:gd name="T15" fmla="*/ 2147483646 h 480"/>
              <a:gd name="T16" fmla="*/ 2147483646 w 407"/>
              <a:gd name="T17" fmla="*/ 2147483646 h 480"/>
              <a:gd name="T18" fmla="*/ 2147483646 w 407"/>
              <a:gd name="T19" fmla="*/ 2147483646 h 480"/>
              <a:gd name="T20" fmla="*/ 2147483646 w 407"/>
              <a:gd name="T21" fmla="*/ 2147483646 h 480"/>
              <a:gd name="T22" fmla="*/ 2147483646 w 407"/>
              <a:gd name="T23" fmla="*/ 2147483646 h 480"/>
              <a:gd name="T24" fmla="*/ 2147483646 w 407"/>
              <a:gd name="T25" fmla="*/ 2147483646 h 480"/>
              <a:gd name="T26" fmla="*/ 2147483646 w 407"/>
              <a:gd name="T27" fmla="*/ 2147483646 h 480"/>
              <a:gd name="T28" fmla="*/ 2147483646 w 407"/>
              <a:gd name="T29" fmla="*/ 2147483646 h 480"/>
              <a:gd name="T30" fmla="*/ 2147483646 w 407"/>
              <a:gd name="T31" fmla="*/ 2147483646 h 480"/>
              <a:gd name="T32" fmla="*/ 2147483646 w 407"/>
              <a:gd name="T33" fmla="*/ 2147483646 h 480"/>
              <a:gd name="T34" fmla="*/ 2147483646 w 407"/>
              <a:gd name="T35" fmla="*/ 2147483646 h 480"/>
              <a:gd name="T36" fmla="*/ 2147483646 w 407"/>
              <a:gd name="T37" fmla="*/ 2147483646 h 480"/>
              <a:gd name="T38" fmla="*/ 2147483646 w 407"/>
              <a:gd name="T39" fmla="*/ 2147483646 h 480"/>
              <a:gd name="T40" fmla="*/ 2147483646 w 407"/>
              <a:gd name="T41" fmla="*/ 2147483646 h 480"/>
              <a:gd name="T42" fmla="*/ 2147483646 w 407"/>
              <a:gd name="T43" fmla="*/ 2147483646 h 480"/>
              <a:gd name="T44" fmla="*/ 2147483646 w 407"/>
              <a:gd name="T45" fmla="*/ 2147483646 h 480"/>
              <a:gd name="T46" fmla="*/ 2147483646 w 407"/>
              <a:gd name="T47" fmla="*/ 2147483646 h 480"/>
              <a:gd name="T48" fmla="*/ 2147483646 w 407"/>
              <a:gd name="T49" fmla="*/ 2147483646 h 480"/>
              <a:gd name="T50" fmla="*/ 2147483646 w 407"/>
              <a:gd name="T51" fmla="*/ 2147483646 h 480"/>
              <a:gd name="T52" fmla="*/ 2147483646 w 407"/>
              <a:gd name="T53" fmla="*/ 2147483646 h 480"/>
              <a:gd name="T54" fmla="*/ 2147483646 w 407"/>
              <a:gd name="T55" fmla="*/ 2147483646 h 480"/>
              <a:gd name="T56" fmla="*/ 2147483646 w 407"/>
              <a:gd name="T57" fmla="*/ 2147483646 h 480"/>
              <a:gd name="T58" fmla="*/ 2147483646 w 407"/>
              <a:gd name="T59" fmla="*/ 2147483646 h 480"/>
              <a:gd name="T60" fmla="*/ 2147483646 w 407"/>
              <a:gd name="T61" fmla="*/ 2147483646 h 480"/>
              <a:gd name="T62" fmla="*/ 2147483646 w 407"/>
              <a:gd name="T63" fmla="*/ 2147483646 h 480"/>
              <a:gd name="T64" fmla="*/ 2147483646 w 407"/>
              <a:gd name="T65" fmla="*/ 2147483646 h 480"/>
              <a:gd name="T66" fmla="*/ 2147483646 w 407"/>
              <a:gd name="T67" fmla="*/ 2147483646 h 480"/>
              <a:gd name="T68" fmla="*/ 2147483646 w 407"/>
              <a:gd name="T69" fmla="*/ 2147483646 h 480"/>
              <a:gd name="T70" fmla="*/ 2147483646 w 407"/>
              <a:gd name="T71" fmla="*/ 2147483646 h 480"/>
              <a:gd name="T72" fmla="*/ 2147483646 w 407"/>
              <a:gd name="T73" fmla="*/ 2147483646 h 480"/>
              <a:gd name="T74" fmla="*/ 2147483646 w 407"/>
              <a:gd name="T75" fmla="*/ 2147483646 h 480"/>
              <a:gd name="T76" fmla="*/ 2147483646 w 407"/>
              <a:gd name="T77" fmla="*/ 2147483646 h 480"/>
              <a:gd name="T78" fmla="*/ 2147483646 w 407"/>
              <a:gd name="T79" fmla="*/ 2147483646 h 480"/>
              <a:gd name="T80" fmla="*/ 2147483646 w 407"/>
              <a:gd name="T81" fmla="*/ 2147483646 h 480"/>
              <a:gd name="T82" fmla="*/ 2147483646 w 407"/>
              <a:gd name="T83" fmla="*/ 2147483646 h 480"/>
              <a:gd name="T84" fmla="*/ 2147483646 w 407"/>
              <a:gd name="T85" fmla="*/ 2147483646 h 480"/>
              <a:gd name="T86" fmla="*/ 2147483646 w 407"/>
              <a:gd name="T87" fmla="*/ 2147483646 h 480"/>
              <a:gd name="T88" fmla="*/ 2147483646 w 407"/>
              <a:gd name="T89" fmla="*/ 2147483646 h 480"/>
              <a:gd name="T90" fmla="*/ 2147483646 w 407"/>
              <a:gd name="T91" fmla="*/ 2147483646 h 480"/>
              <a:gd name="T92" fmla="*/ 2147483646 w 407"/>
              <a:gd name="T93" fmla="*/ 2147483646 h 480"/>
              <a:gd name="T94" fmla="*/ 2147483646 w 407"/>
              <a:gd name="T95" fmla="*/ 2147483646 h 48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407"/>
              <a:gd name="T145" fmla="*/ 0 h 480"/>
              <a:gd name="T146" fmla="*/ 407 w 407"/>
              <a:gd name="T147" fmla="*/ 480 h 48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407" h="480">
                <a:moveTo>
                  <a:pt x="320" y="5"/>
                </a:moveTo>
                <a:cubicBezTo>
                  <a:pt x="308" y="6"/>
                  <a:pt x="295" y="0"/>
                  <a:pt x="303" y="22"/>
                </a:cubicBezTo>
                <a:cubicBezTo>
                  <a:pt x="310" y="45"/>
                  <a:pt x="324" y="52"/>
                  <a:pt x="306" y="63"/>
                </a:cubicBezTo>
                <a:cubicBezTo>
                  <a:pt x="289" y="74"/>
                  <a:pt x="284" y="73"/>
                  <a:pt x="276" y="79"/>
                </a:cubicBezTo>
                <a:cubicBezTo>
                  <a:pt x="267" y="85"/>
                  <a:pt x="262" y="100"/>
                  <a:pt x="266" y="110"/>
                </a:cubicBezTo>
                <a:cubicBezTo>
                  <a:pt x="269" y="120"/>
                  <a:pt x="274" y="117"/>
                  <a:pt x="273" y="129"/>
                </a:cubicBezTo>
                <a:cubicBezTo>
                  <a:pt x="272" y="142"/>
                  <a:pt x="272" y="113"/>
                  <a:pt x="284" y="131"/>
                </a:cubicBezTo>
                <a:cubicBezTo>
                  <a:pt x="297" y="148"/>
                  <a:pt x="297" y="147"/>
                  <a:pt x="295" y="154"/>
                </a:cubicBezTo>
                <a:cubicBezTo>
                  <a:pt x="294" y="161"/>
                  <a:pt x="289" y="169"/>
                  <a:pt x="284" y="165"/>
                </a:cubicBezTo>
                <a:cubicBezTo>
                  <a:pt x="279" y="161"/>
                  <a:pt x="281" y="153"/>
                  <a:pt x="269" y="160"/>
                </a:cubicBezTo>
                <a:cubicBezTo>
                  <a:pt x="258" y="167"/>
                  <a:pt x="255" y="165"/>
                  <a:pt x="261" y="179"/>
                </a:cubicBezTo>
                <a:cubicBezTo>
                  <a:pt x="267" y="192"/>
                  <a:pt x="262" y="198"/>
                  <a:pt x="265" y="206"/>
                </a:cubicBezTo>
                <a:cubicBezTo>
                  <a:pt x="267" y="213"/>
                  <a:pt x="274" y="207"/>
                  <a:pt x="269" y="219"/>
                </a:cubicBezTo>
                <a:cubicBezTo>
                  <a:pt x="265" y="231"/>
                  <a:pt x="262" y="225"/>
                  <a:pt x="260" y="234"/>
                </a:cubicBezTo>
                <a:cubicBezTo>
                  <a:pt x="256" y="246"/>
                  <a:pt x="250" y="256"/>
                  <a:pt x="250" y="260"/>
                </a:cubicBezTo>
                <a:cubicBezTo>
                  <a:pt x="250" y="263"/>
                  <a:pt x="245" y="261"/>
                  <a:pt x="241" y="267"/>
                </a:cubicBezTo>
                <a:cubicBezTo>
                  <a:pt x="238" y="273"/>
                  <a:pt x="241" y="279"/>
                  <a:pt x="235" y="287"/>
                </a:cubicBezTo>
                <a:cubicBezTo>
                  <a:pt x="229" y="294"/>
                  <a:pt x="224" y="283"/>
                  <a:pt x="218" y="292"/>
                </a:cubicBezTo>
                <a:cubicBezTo>
                  <a:pt x="212" y="300"/>
                  <a:pt x="212" y="295"/>
                  <a:pt x="207" y="304"/>
                </a:cubicBezTo>
                <a:cubicBezTo>
                  <a:pt x="202" y="313"/>
                  <a:pt x="197" y="314"/>
                  <a:pt x="193" y="313"/>
                </a:cubicBezTo>
                <a:cubicBezTo>
                  <a:pt x="190" y="311"/>
                  <a:pt x="183" y="310"/>
                  <a:pt x="188" y="304"/>
                </a:cubicBezTo>
                <a:cubicBezTo>
                  <a:pt x="193" y="298"/>
                  <a:pt x="199" y="292"/>
                  <a:pt x="194" y="290"/>
                </a:cubicBezTo>
                <a:cubicBezTo>
                  <a:pt x="190" y="289"/>
                  <a:pt x="187" y="284"/>
                  <a:pt x="185" y="288"/>
                </a:cubicBezTo>
                <a:cubicBezTo>
                  <a:pt x="182" y="292"/>
                  <a:pt x="180" y="282"/>
                  <a:pt x="177" y="295"/>
                </a:cubicBezTo>
                <a:cubicBezTo>
                  <a:pt x="175" y="309"/>
                  <a:pt x="177" y="314"/>
                  <a:pt x="177" y="319"/>
                </a:cubicBezTo>
                <a:cubicBezTo>
                  <a:pt x="177" y="324"/>
                  <a:pt x="171" y="320"/>
                  <a:pt x="169" y="326"/>
                </a:cubicBezTo>
                <a:cubicBezTo>
                  <a:pt x="166" y="332"/>
                  <a:pt x="163" y="335"/>
                  <a:pt x="166" y="343"/>
                </a:cubicBezTo>
                <a:cubicBezTo>
                  <a:pt x="170" y="352"/>
                  <a:pt x="156" y="359"/>
                  <a:pt x="153" y="349"/>
                </a:cubicBezTo>
                <a:cubicBezTo>
                  <a:pt x="149" y="340"/>
                  <a:pt x="149" y="333"/>
                  <a:pt x="143" y="333"/>
                </a:cubicBezTo>
                <a:cubicBezTo>
                  <a:pt x="137" y="333"/>
                  <a:pt x="124" y="336"/>
                  <a:pt x="122" y="341"/>
                </a:cubicBezTo>
                <a:cubicBezTo>
                  <a:pt x="119" y="346"/>
                  <a:pt x="112" y="349"/>
                  <a:pt x="106" y="346"/>
                </a:cubicBezTo>
                <a:cubicBezTo>
                  <a:pt x="100" y="342"/>
                  <a:pt x="99" y="332"/>
                  <a:pt x="94" y="342"/>
                </a:cubicBezTo>
                <a:cubicBezTo>
                  <a:pt x="89" y="352"/>
                  <a:pt x="84" y="348"/>
                  <a:pt x="75" y="349"/>
                </a:cubicBezTo>
                <a:cubicBezTo>
                  <a:pt x="67" y="351"/>
                  <a:pt x="53" y="373"/>
                  <a:pt x="52" y="380"/>
                </a:cubicBezTo>
                <a:cubicBezTo>
                  <a:pt x="51" y="388"/>
                  <a:pt x="37" y="379"/>
                  <a:pt x="37" y="388"/>
                </a:cubicBezTo>
                <a:cubicBezTo>
                  <a:pt x="37" y="396"/>
                  <a:pt x="41" y="396"/>
                  <a:pt x="41" y="396"/>
                </a:cubicBezTo>
                <a:cubicBezTo>
                  <a:pt x="41" y="396"/>
                  <a:pt x="37" y="402"/>
                  <a:pt x="28" y="401"/>
                </a:cubicBezTo>
                <a:cubicBezTo>
                  <a:pt x="20" y="400"/>
                  <a:pt x="19" y="396"/>
                  <a:pt x="10" y="407"/>
                </a:cubicBezTo>
                <a:cubicBezTo>
                  <a:pt x="1" y="418"/>
                  <a:pt x="0" y="432"/>
                  <a:pt x="11" y="429"/>
                </a:cubicBezTo>
                <a:cubicBezTo>
                  <a:pt x="22" y="427"/>
                  <a:pt x="20" y="421"/>
                  <a:pt x="26" y="423"/>
                </a:cubicBezTo>
                <a:cubicBezTo>
                  <a:pt x="32" y="426"/>
                  <a:pt x="38" y="426"/>
                  <a:pt x="36" y="434"/>
                </a:cubicBezTo>
                <a:cubicBezTo>
                  <a:pt x="33" y="443"/>
                  <a:pt x="36" y="444"/>
                  <a:pt x="33" y="449"/>
                </a:cubicBezTo>
                <a:cubicBezTo>
                  <a:pt x="31" y="454"/>
                  <a:pt x="28" y="454"/>
                  <a:pt x="25" y="458"/>
                </a:cubicBezTo>
                <a:cubicBezTo>
                  <a:pt x="21" y="461"/>
                  <a:pt x="16" y="463"/>
                  <a:pt x="21" y="467"/>
                </a:cubicBezTo>
                <a:cubicBezTo>
                  <a:pt x="26" y="472"/>
                  <a:pt x="25" y="463"/>
                  <a:pt x="31" y="471"/>
                </a:cubicBezTo>
                <a:cubicBezTo>
                  <a:pt x="37" y="480"/>
                  <a:pt x="44" y="476"/>
                  <a:pt x="46" y="472"/>
                </a:cubicBezTo>
                <a:cubicBezTo>
                  <a:pt x="47" y="469"/>
                  <a:pt x="52" y="460"/>
                  <a:pt x="49" y="452"/>
                </a:cubicBezTo>
                <a:cubicBezTo>
                  <a:pt x="47" y="443"/>
                  <a:pt x="49" y="438"/>
                  <a:pt x="54" y="438"/>
                </a:cubicBezTo>
                <a:cubicBezTo>
                  <a:pt x="59" y="438"/>
                  <a:pt x="62" y="437"/>
                  <a:pt x="62" y="431"/>
                </a:cubicBezTo>
                <a:cubicBezTo>
                  <a:pt x="62" y="424"/>
                  <a:pt x="58" y="412"/>
                  <a:pt x="53" y="413"/>
                </a:cubicBezTo>
                <a:cubicBezTo>
                  <a:pt x="51" y="401"/>
                  <a:pt x="51" y="401"/>
                  <a:pt x="51" y="401"/>
                </a:cubicBezTo>
                <a:cubicBezTo>
                  <a:pt x="51" y="401"/>
                  <a:pt x="38" y="395"/>
                  <a:pt x="53" y="394"/>
                </a:cubicBezTo>
                <a:cubicBezTo>
                  <a:pt x="68" y="392"/>
                  <a:pt x="73" y="385"/>
                  <a:pt x="78" y="384"/>
                </a:cubicBezTo>
                <a:cubicBezTo>
                  <a:pt x="83" y="383"/>
                  <a:pt x="91" y="378"/>
                  <a:pt x="91" y="378"/>
                </a:cubicBezTo>
                <a:cubicBezTo>
                  <a:pt x="91" y="378"/>
                  <a:pt x="97" y="373"/>
                  <a:pt x="102" y="377"/>
                </a:cubicBezTo>
                <a:cubicBezTo>
                  <a:pt x="107" y="380"/>
                  <a:pt x="103" y="370"/>
                  <a:pt x="110" y="369"/>
                </a:cubicBezTo>
                <a:cubicBezTo>
                  <a:pt x="116" y="368"/>
                  <a:pt x="124" y="374"/>
                  <a:pt x="132" y="375"/>
                </a:cubicBezTo>
                <a:cubicBezTo>
                  <a:pt x="139" y="377"/>
                  <a:pt x="147" y="357"/>
                  <a:pt x="151" y="370"/>
                </a:cubicBezTo>
                <a:cubicBezTo>
                  <a:pt x="156" y="384"/>
                  <a:pt x="144" y="386"/>
                  <a:pt x="154" y="392"/>
                </a:cubicBezTo>
                <a:cubicBezTo>
                  <a:pt x="164" y="399"/>
                  <a:pt x="172" y="394"/>
                  <a:pt x="172" y="394"/>
                </a:cubicBezTo>
                <a:cubicBezTo>
                  <a:pt x="172" y="394"/>
                  <a:pt x="174" y="368"/>
                  <a:pt x="181" y="362"/>
                </a:cubicBezTo>
                <a:cubicBezTo>
                  <a:pt x="188" y="356"/>
                  <a:pt x="194" y="353"/>
                  <a:pt x="196" y="358"/>
                </a:cubicBezTo>
                <a:cubicBezTo>
                  <a:pt x="197" y="363"/>
                  <a:pt x="197" y="365"/>
                  <a:pt x="197" y="372"/>
                </a:cubicBezTo>
                <a:cubicBezTo>
                  <a:pt x="197" y="378"/>
                  <a:pt x="202" y="380"/>
                  <a:pt x="202" y="380"/>
                </a:cubicBezTo>
                <a:cubicBezTo>
                  <a:pt x="202" y="380"/>
                  <a:pt x="225" y="381"/>
                  <a:pt x="230" y="372"/>
                </a:cubicBezTo>
                <a:cubicBezTo>
                  <a:pt x="235" y="362"/>
                  <a:pt x="235" y="342"/>
                  <a:pt x="242" y="341"/>
                </a:cubicBezTo>
                <a:cubicBezTo>
                  <a:pt x="250" y="340"/>
                  <a:pt x="245" y="347"/>
                  <a:pt x="256" y="347"/>
                </a:cubicBezTo>
                <a:cubicBezTo>
                  <a:pt x="267" y="347"/>
                  <a:pt x="269" y="331"/>
                  <a:pt x="269" y="331"/>
                </a:cubicBezTo>
                <a:cubicBezTo>
                  <a:pt x="269" y="331"/>
                  <a:pt x="290" y="330"/>
                  <a:pt x="290" y="324"/>
                </a:cubicBezTo>
                <a:cubicBezTo>
                  <a:pt x="290" y="317"/>
                  <a:pt x="278" y="308"/>
                  <a:pt x="290" y="303"/>
                </a:cubicBezTo>
                <a:cubicBezTo>
                  <a:pt x="303" y="298"/>
                  <a:pt x="299" y="281"/>
                  <a:pt x="299" y="281"/>
                </a:cubicBezTo>
                <a:cubicBezTo>
                  <a:pt x="298" y="268"/>
                  <a:pt x="298" y="268"/>
                  <a:pt x="298" y="268"/>
                </a:cubicBezTo>
                <a:cubicBezTo>
                  <a:pt x="301" y="256"/>
                  <a:pt x="301" y="256"/>
                  <a:pt x="301" y="256"/>
                </a:cubicBezTo>
                <a:cubicBezTo>
                  <a:pt x="314" y="260"/>
                  <a:pt x="314" y="260"/>
                  <a:pt x="314" y="260"/>
                </a:cubicBezTo>
                <a:cubicBezTo>
                  <a:pt x="315" y="240"/>
                  <a:pt x="315" y="240"/>
                  <a:pt x="315" y="240"/>
                </a:cubicBezTo>
                <a:cubicBezTo>
                  <a:pt x="315" y="240"/>
                  <a:pt x="317" y="222"/>
                  <a:pt x="320" y="218"/>
                </a:cubicBezTo>
                <a:cubicBezTo>
                  <a:pt x="322" y="214"/>
                  <a:pt x="322" y="196"/>
                  <a:pt x="315" y="196"/>
                </a:cubicBezTo>
                <a:cubicBezTo>
                  <a:pt x="308" y="196"/>
                  <a:pt x="299" y="197"/>
                  <a:pt x="301" y="183"/>
                </a:cubicBezTo>
                <a:cubicBezTo>
                  <a:pt x="304" y="170"/>
                  <a:pt x="310" y="166"/>
                  <a:pt x="306" y="156"/>
                </a:cubicBezTo>
                <a:cubicBezTo>
                  <a:pt x="303" y="147"/>
                  <a:pt x="292" y="123"/>
                  <a:pt x="292" y="123"/>
                </a:cubicBezTo>
                <a:cubicBezTo>
                  <a:pt x="292" y="123"/>
                  <a:pt x="284" y="113"/>
                  <a:pt x="283" y="110"/>
                </a:cubicBezTo>
                <a:cubicBezTo>
                  <a:pt x="282" y="106"/>
                  <a:pt x="284" y="101"/>
                  <a:pt x="295" y="104"/>
                </a:cubicBezTo>
                <a:cubicBezTo>
                  <a:pt x="306" y="106"/>
                  <a:pt x="306" y="115"/>
                  <a:pt x="310" y="113"/>
                </a:cubicBezTo>
                <a:cubicBezTo>
                  <a:pt x="314" y="112"/>
                  <a:pt x="310" y="106"/>
                  <a:pt x="317" y="102"/>
                </a:cubicBezTo>
                <a:cubicBezTo>
                  <a:pt x="325" y="99"/>
                  <a:pt x="335" y="102"/>
                  <a:pt x="335" y="108"/>
                </a:cubicBezTo>
                <a:cubicBezTo>
                  <a:pt x="335" y="115"/>
                  <a:pt x="323" y="116"/>
                  <a:pt x="335" y="118"/>
                </a:cubicBezTo>
                <a:cubicBezTo>
                  <a:pt x="347" y="121"/>
                  <a:pt x="341" y="106"/>
                  <a:pt x="351" y="120"/>
                </a:cubicBezTo>
                <a:cubicBezTo>
                  <a:pt x="360" y="133"/>
                  <a:pt x="356" y="137"/>
                  <a:pt x="369" y="117"/>
                </a:cubicBezTo>
                <a:cubicBezTo>
                  <a:pt x="383" y="97"/>
                  <a:pt x="368" y="110"/>
                  <a:pt x="388" y="91"/>
                </a:cubicBezTo>
                <a:cubicBezTo>
                  <a:pt x="407" y="73"/>
                  <a:pt x="401" y="64"/>
                  <a:pt x="401" y="64"/>
                </a:cubicBezTo>
                <a:cubicBezTo>
                  <a:pt x="388" y="58"/>
                  <a:pt x="388" y="58"/>
                  <a:pt x="388" y="58"/>
                </a:cubicBezTo>
                <a:cubicBezTo>
                  <a:pt x="388" y="58"/>
                  <a:pt x="381" y="51"/>
                  <a:pt x="375" y="54"/>
                </a:cubicBezTo>
                <a:cubicBezTo>
                  <a:pt x="369" y="58"/>
                  <a:pt x="358" y="54"/>
                  <a:pt x="358" y="54"/>
                </a:cubicBezTo>
                <a:cubicBezTo>
                  <a:pt x="358" y="54"/>
                  <a:pt x="346" y="53"/>
                  <a:pt x="344" y="46"/>
                </a:cubicBezTo>
                <a:cubicBezTo>
                  <a:pt x="343" y="38"/>
                  <a:pt x="335" y="30"/>
                  <a:pt x="335" y="30"/>
                </a:cubicBezTo>
                <a:lnTo>
                  <a:pt x="320" y="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5" name="Freeform 591"/>
          <p:cNvSpPr>
            <a:spLocks/>
          </p:cNvSpPr>
          <p:nvPr userDrawn="1"/>
        </p:nvSpPr>
        <p:spPr bwMode="auto">
          <a:xfrm>
            <a:off x="8701810" y="4118523"/>
            <a:ext cx="58628" cy="51928"/>
          </a:xfrm>
          <a:custGeom>
            <a:avLst/>
            <a:gdLst>
              <a:gd name="T0" fmla="*/ 2147483646 w 62"/>
              <a:gd name="T1" fmla="*/ 2147483646 h 56"/>
              <a:gd name="T2" fmla="*/ 2147483646 w 62"/>
              <a:gd name="T3" fmla="*/ 2147483646 h 56"/>
              <a:gd name="T4" fmla="*/ 2147483646 w 62"/>
              <a:gd name="T5" fmla="*/ 2147483646 h 56"/>
              <a:gd name="T6" fmla="*/ 2147483646 w 62"/>
              <a:gd name="T7" fmla="*/ 2147483646 h 56"/>
              <a:gd name="T8" fmla="*/ 2147483646 w 62"/>
              <a:gd name="T9" fmla="*/ 2147483646 h 56"/>
              <a:gd name="T10" fmla="*/ 2147483646 w 62"/>
              <a:gd name="T11" fmla="*/ 2147483646 h 56"/>
              <a:gd name="T12" fmla="*/ 2147483646 w 62"/>
              <a:gd name="T13" fmla="*/ 2147483646 h 56"/>
              <a:gd name="T14" fmla="*/ 2147483646 w 62"/>
              <a:gd name="T15" fmla="*/ 2147483646 h 56"/>
              <a:gd name="T16" fmla="*/ 2147483646 w 62"/>
              <a:gd name="T17" fmla="*/ 2147483646 h 56"/>
              <a:gd name="T18" fmla="*/ 2147483646 w 62"/>
              <a:gd name="T19" fmla="*/ 2147483646 h 56"/>
              <a:gd name="T20" fmla="*/ 2147483646 w 62"/>
              <a:gd name="T21" fmla="*/ 2147483646 h 5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2"/>
              <a:gd name="T34" fmla="*/ 0 h 56"/>
              <a:gd name="T35" fmla="*/ 62 w 62"/>
              <a:gd name="T36" fmla="*/ 56 h 5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2" h="56">
                <a:moveTo>
                  <a:pt x="24" y="12"/>
                </a:moveTo>
                <a:cubicBezTo>
                  <a:pt x="20" y="14"/>
                  <a:pt x="14" y="12"/>
                  <a:pt x="9" y="21"/>
                </a:cubicBezTo>
                <a:cubicBezTo>
                  <a:pt x="4" y="29"/>
                  <a:pt x="0" y="40"/>
                  <a:pt x="8" y="40"/>
                </a:cubicBezTo>
                <a:cubicBezTo>
                  <a:pt x="15" y="40"/>
                  <a:pt x="20" y="38"/>
                  <a:pt x="21" y="42"/>
                </a:cubicBezTo>
                <a:cubicBezTo>
                  <a:pt x="22" y="45"/>
                  <a:pt x="14" y="56"/>
                  <a:pt x="21" y="51"/>
                </a:cubicBezTo>
                <a:cubicBezTo>
                  <a:pt x="29" y="46"/>
                  <a:pt x="30" y="35"/>
                  <a:pt x="35" y="29"/>
                </a:cubicBezTo>
                <a:cubicBezTo>
                  <a:pt x="40" y="23"/>
                  <a:pt x="37" y="18"/>
                  <a:pt x="47" y="22"/>
                </a:cubicBezTo>
                <a:cubicBezTo>
                  <a:pt x="57" y="26"/>
                  <a:pt x="62" y="14"/>
                  <a:pt x="62" y="14"/>
                </a:cubicBezTo>
                <a:cubicBezTo>
                  <a:pt x="62" y="14"/>
                  <a:pt x="62" y="0"/>
                  <a:pt x="57" y="2"/>
                </a:cubicBezTo>
                <a:cubicBezTo>
                  <a:pt x="52" y="5"/>
                  <a:pt x="36" y="5"/>
                  <a:pt x="36" y="5"/>
                </a:cubicBezTo>
                <a:lnTo>
                  <a:pt x="24" y="1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6" name="Freeform 592"/>
          <p:cNvSpPr>
            <a:spLocks/>
          </p:cNvSpPr>
          <p:nvPr userDrawn="1"/>
        </p:nvSpPr>
        <p:spPr bwMode="auto">
          <a:xfrm>
            <a:off x="8902821" y="3423361"/>
            <a:ext cx="97156" cy="333343"/>
          </a:xfrm>
          <a:custGeom>
            <a:avLst/>
            <a:gdLst>
              <a:gd name="T0" fmla="*/ 2147483646 w 105"/>
              <a:gd name="T1" fmla="*/ 2147483646 h 356"/>
              <a:gd name="T2" fmla="*/ 2147483646 w 105"/>
              <a:gd name="T3" fmla="*/ 2147483646 h 356"/>
              <a:gd name="T4" fmla="*/ 2147483646 w 105"/>
              <a:gd name="T5" fmla="*/ 2147483646 h 356"/>
              <a:gd name="T6" fmla="*/ 2147483646 w 105"/>
              <a:gd name="T7" fmla="*/ 2147483646 h 356"/>
              <a:gd name="T8" fmla="*/ 2147483646 w 105"/>
              <a:gd name="T9" fmla="*/ 2147483646 h 356"/>
              <a:gd name="T10" fmla="*/ 2147483646 w 105"/>
              <a:gd name="T11" fmla="*/ 2147483646 h 356"/>
              <a:gd name="T12" fmla="*/ 2147483646 w 105"/>
              <a:gd name="T13" fmla="*/ 2147483646 h 356"/>
              <a:gd name="T14" fmla="*/ 2147483646 w 105"/>
              <a:gd name="T15" fmla="*/ 2147483646 h 356"/>
              <a:gd name="T16" fmla="*/ 2147483646 w 105"/>
              <a:gd name="T17" fmla="*/ 2147483646 h 356"/>
              <a:gd name="T18" fmla="*/ 2147483646 w 105"/>
              <a:gd name="T19" fmla="*/ 2147483646 h 356"/>
              <a:gd name="T20" fmla="*/ 2147483646 w 105"/>
              <a:gd name="T21" fmla="*/ 2147483646 h 356"/>
              <a:gd name="T22" fmla="*/ 2147483646 w 105"/>
              <a:gd name="T23" fmla="*/ 2147483646 h 356"/>
              <a:gd name="T24" fmla="*/ 2147483646 w 105"/>
              <a:gd name="T25" fmla="*/ 2147483646 h 356"/>
              <a:gd name="T26" fmla="*/ 2147483646 w 105"/>
              <a:gd name="T27" fmla="*/ 2147483646 h 356"/>
              <a:gd name="T28" fmla="*/ 2147483646 w 105"/>
              <a:gd name="T29" fmla="*/ 2147483646 h 356"/>
              <a:gd name="T30" fmla="*/ 2147483646 w 105"/>
              <a:gd name="T31" fmla="*/ 2147483646 h 356"/>
              <a:gd name="T32" fmla="*/ 2147483646 w 105"/>
              <a:gd name="T33" fmla="*/ 2147483646 h 356"/>
              <a:gd name="T34" fmla="*/ 2147483646 w 105"/>
              <a:gd name="T35" fmla="*/ 2147483646 h 356"/>
              <a:gd name="T36" fmla="*/ 2147483646 w 105"/>
              <a:gd name="T37" fmla="*/ 2147483646 h 356"/>
              <a:gd name="T38" fmla="*/ 2147483646 w 105"/>
              <a:gd name="T39" fmla="*/ 2147483646 h 356"/>
              <a:gd name="T40" fmla="*/ 2147483646 w 105"/>
              <a:gd name="T41" fmla="*/ 2147483646 h 356"/>
              <a:gd name="T42" fmla="*/ 2147483646 w 105"/>
              <a:gd name="T43" fmla="*/ 2147483646 h 356"/>
              <a:gd name="T44" fmla="*/ 2147483646 w 105"/>
              <a:gd name="T45" fmla="*/ 2147483646 h 356"/>
              <a:gd name="T46" fmla="*/ 2147483646 w 105"/>
              <a:gd name="T47" fmla="*/ 2147483646 h 356"/>
              <a:gd name="T48" fmla="*/ 2147483646 w 105"/>
              <a:gd name="T49" fmla="*/ 2147483646 h 356"/>
              <a:gd name="T50" fmla="*/ 2147483646 w 105"/>
              <a:gd name="T51" fmla="*/ 2147483646 h 356"/>
              <a:gd name="T52" fmla="*/ 2147483646 w 105"/>
              <a:gd name="T53" fmla="*/ 2147483646 h 356"/>
              <a:gd name="T54" fmla="*/ 2147483646 w 105"/>
              <a:gd name="T55" fmla="*/ 2147483646 h 356"/>
              <a:gd name="T56" fmla="*/ 2147483646 w 105"/>
              <a:gd name="T57" fmla="*/ 2147483646 h 356"/>
              <a:gd name="T58" fmla="*/ 2147483646 w 105"/>
              <a:gd name="T59" fmla="*/ 2147483646 h 356"/>
              <a:gd name="T60" fmla="*/ 2147483646 w 105"/>
              <a:gd name="T61" fmla="*/ 2147483646 h 356"/>
              <a:gd name="T62" fmla="*/ 2147483646 w 105"/>
              <a:gd name="T63" fmla="*/ 2147483646 h 35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5"/>
              <a:gd name="T97" fmla="*/ 0 h 356"/>
              <a:gd name="T98" fmla="*/ 105 w 105"/>
              <a:gd name="T99" fmla="*/ 356 h 35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5" h="356">
                <a:moveTo>
                  <a:pt x="45" y="2"/>
                </a:moveTo>
                <a:cubicBezTo>
                  <a:pt x="34" y="4"/>
                  <a:pt x="26" y="8"/>
                  <a:pt x="29" y="27"/>
                </a:cubicBezTo>
                <a:cubicBezTo>
                  <a:pt x="31" y="45"/>
                  <a:pt x="39" y="44"/>
                  <a:pt x="27" y="59"/>
                </a:cubicBezTo>
                <a:cubicBezTo>
                  <a:pt x="16" y="74"/>
                  <a:pt x="15" y="83"/>
                  <a:pt x="19" y="90"/>
                </a:cubicBezTo>
                <a:cubicBezTo>
                  <a:pt x="23" y="96"/>
                  <a:pt x="30" y="97"/>
                  <a:pt x="23" y="114"/>
                </a:cubicBezTo>
                <a:cubicBezTo>
                  <a:pt x="15" y="131"/>
                  <a:pt x="13" y="129"/>
                  <a:pt x="23" y="144"/>
                </a:cubicBezTo>
                <a:cubicBezTo>
                  <a:pt x="32" y="158"/>
                  <a:pt x="46" y="151"/>
                  <a:pt x="37" y="173"/>
                </a:cubicBezTo>
                <a:cubicBezTo>
                  <a:pt x="29" y="195"/>
                  <a:pt x="32" y="186"/>
                  <a:pt x="34" y="205"/>
                </a:cubicBezTo>
                <a:cubicBezTo>
                  <a:pt x="35" y="225"/>
                  <a:pt x="41" y="232"/>
                  <a:pt x="30" y="235"/>
                </a:cubicBezTo>
                <a:cubicBezTo>
                  <a:pt x="19" y="237"/>
                  <a:pt x="0" y="220"/>
                  <a:pt x="13" y="240"/>
                </a:cubicBezTo>
                <a:cubicBezTo>
                  <a:pt x="25" y="259"/>
                  <a:pt x="31" y="251"/>
                  <a:pt x="30" y="264"/>
                </a:cubicBezTo>
                <a:cubicBezTo>
                  <a:pt x="29" y="278"/>
                  <a:pt x="34" y="284"/>
                  <a:pt x="35" y="300"/>
                </a:cubicBezTo>
                <a:cubicBezTo>
                  <a:pt x="36" y="316"/>
                  <a:pt x="31" y="322"/>
                  <a:pt x="29" y="328"/>
                </a:cubicBezTo>
                <a:cubicBezTo>
                  <a:pt x="26" y="334"/>
                  <a:pt x="14" y="334"/>
                  <a:pt x="26" y="342"/>
                </a:cubicBezTo>
                <a:cubicBezTo>
                  <a:pt x="39" y="349"/>
                  <a:pt x="38" y="340"/>
                  <a:pt x="45" y="336"/>
                </a:cubicBezTo>
                <a:cubicBezTo>
                  <a:pt x="52" y="331"/>
                  <a:pt x="53" y="315"/>
                  <a:pt x="59" y="328"/>
                </a:cubicBezTo>
                <a:cubicBezTo>
                  <a:pt x="66" y="342"/>
                  <a:pt x="58" y="356"/>
                  <a:pt x="67" y="355"/>
                </a:cubicBezTo>
                <a:cubicBezTo>
                  <a:pt x="75" y="354"/>
                  <a:pt x="79" y="328"/>
                  <a:pt x="74" y="322"/>
                </a:cubicBezTo>
                <a:cubicBezTo>
                  <a:pt x="69" y="316"/>
                  <a:pt x="63" y="318"/>
                  <a:pt x="57" y="300"/>
                </a:cubicBezTo>
                <a:cubicBezTo>
                  <a:pt x="51" y="281"/>
                  <a:pt x="48" y="284"/>
                  <a:pt x="53" y="270"/>
                </a:cubicBezTo>
                <a:cubicBezTo>
                  <a:pt x="58" y="257"/>
                  <a:pt x="52" y="249"/>
                  <a:pt x="57" y="238"/>
                </a:cubicBezTo>
                <a:cubicBezTo>
                  <a:pt x="62" y="227"/>
                  <a:pt x="63" y="213"/>
                  <a:pt x="70" y="216"/>
                </a:cubicBezTo>
                <a:cubicBezTo>
                  <a:pt x="78" y="220"/>
                  <a:pt x="88" y="240"/>
                  <a:pt x="96" y="237"/>
                </a:cubicBezTo>
                <a:cubicBezTo>
                  <a:pt x="105" y="235"/>
                  <a:pt x="104" y="220"/>
                  <a:pt x="99" y="218"/>
                </a:cubicBezTo>
                <a:cubicBezTo>
                  <a:pt x="94" y="215"/>
                  <a:pt x="84" y="209"/>
                  <a:pt x="79" y="202"/>
                </a:cubicBezTo>
                <a:cubicBezTo>
                  <a:pt x="74" y="194"/>
                  <a:pt x="70" y="186"/>
                  <a:pt x="70" y="176"/>
                </a:cubicBezTo>
                <a:cubicBezTo>
                  <a:pt x="70" y="166"/>
                  <a:pt x="64" y="145"/>
                  <a:pt x="64" y="134"/>
                </a:cubicBezTo>
                <a:cubicBezTo>
                  <a:pt x="64" y="123"/>
                  <a:pt x="62" y="106"/>
                  <a:pt x="59" y="93"/>
                </a:cubicBezTo>
                <a:cubicBezTo>
                  <a:pt x="57" y="81"/>
                  <a:pt x="52" y="70"/>
                  <a:pt x="57" y="56"/>
                </a:cubicBezTo>
                <a:cubicBezTo>
                  <a:pt x="62" y="43"/>
                  <a:pt x="54" y="37"/>
                  <a:pt x="54" y="22"/>
                </a:cubicBezTo>
                <a:cubicBezTo>
                  <a:pt x="54" y="7"/>
                  <a:pt x="59" y="0"/>
                  <a:pt x="52" y="1"/>
                </a:cubicBezTo>
                <a:cubicBezTo>
                  <a:pt x="45" y="2"/>
                  <a:pt x="45" y="2"/>
                  <a:pt x="45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7" name="Freeform 593"/>
          <p:cNvSpPr>
            <a:spLocks/>
          </p:cNvSpPr>
          <p:nvPr userDrawn="1"/>
        </p:nvSpPr>
        <p:spPr bwMode="auto">
          <a:xfrm>
            <a:off x="9020077" y="3750002"/>
            <a:ext cx="70353" cy="67004"/>
          </a:xfrm>
          <a:custGeom>
            <a:avLst/>
            <a:gdLst>
              <a:gd name="T0" fmla="*/ 2147483646 w 76"/>
              <a:gd name="T1" fmla="*/ 2147483646 h 72"/>
              <a:gd name="T2" fmla="*/ 2147483646 w 76"/>
              <a:gd name="T3" fmla="*/ 2147483646 h 72"/>
              <a:gd name="T4" fmla="*/ 2147483646 w 76"/>
              <a:gd name="T5" fmla="*/ 2147483646 h 72"/>
              <a:gd name="T6" fmla="*/ 2147483646 w 76"/>
              <a:gd name="T7" fmla="*/ 2147483646 h 72"/>
              <a:gd name="T8" fmla="*/ 2147483646 w 76"/>
              <a:gd name="T9" fmla="*/ 2147483646 h 72"/>
              <a:gd name="T10" fmla="*/ 2147483646 w 76"/>
              <a:gd name="T11" fmla="*/ 2147483646 h 72"/>
              <a:gd name="T12" fmla="*/ 2147483646 w 76"/>
              <a:gd name="T13" fmla="*/ 2147483646 h 72"/>
              <a:gd name="T14" fmla="*/ 2147483646 w 76"/>
              <a:gd name="T15" fmla="*/ 2147483646 h 72"/>
              <a:gd name="T16" fmla="*/ 2147483646 w 76"/>
              <a:gd name="T17" fmla="*/ 0 h 72"/>
              <a:gd name="T18" fmla="*/ 2147483646 w 76"/>
              <a:gd name="T19" fmla="*/ 2147483646 h 7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76"/>
              <a:gd name="T31" fmla="*/ 0 h 72"/>
              <a:gd name="T32" fmla="*/ 76 w 76"/>
              <a:gd name="T33" fmla="*/ 72 h 7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76" h="72">
                <a:moveTo>
                  <a:pt x="45" y="19"/>
                </a:moveTo>
                <a:cubicBezTo>
                  <a:pt x="40" y="21"/>
                  <a:pt x="32" y="33"/>
                  <a:pt x="28" y="41"/>
                </a:cubicBezTo>
                <a:cubicBezTo>
                  <a:pt x="24" y="48"/>
                  <a:pt x="18" y="56"/>
                  <a:pt x="15" y="56"/>
                </a:cubicBezTo>
                <a:cubicBezTo>
                  <a:pt x="11" y="56"/>
                  <a:pt x="0" y="43"/>
                  <a:pt x="7" y="56"/>
                </a:cubicBezTo>
                <a:cubicBezTo>
                  <a:pt x="15" y="68"/>
                  <a:pt x="24" y="72"/>
                  <a:pt x="31" y="65"/>
                </a:cubicBezTo>
                <a:cubicBezTo>
                  <a:pt x="37" y="59"/>
                  <a:pt x="38" y="45"/>
                  <a:pt x="44" y="41"/>
                </a:cubicBezTo>
                <a:cubicBezTo>
                  <a:pt x="50" y="37"/>
                  <a:pt x="54" y="31"/>
                  <a:pt x="59" y="31"/>
                </a:cubicBezTo>
                <a:cubicBezTo>
                  <a:pt x="64" y="31"/>
                  <a:pt x="71" y="24"/>
                  <a:pt x="74" y="19"/>
                </a:cubicBezTo>
                <a:cubicBezTo>
                  <a:pt x="76" y="14"/>
                  <a:pt x="70" y="0"/>
                  <a:pt x="70" y="0"/>
                </a:cubicBezTo>
                <a:lnTo>
                  <a:pt x="45" y="19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8" name="Freeform 594"/>
          <p:cNvSpPr>
            <a:spLocks/>
          </p:cNvSpPr>
          <p:nvPr userDrawn="1"/>
        </p:nvSpPr>
        <p:spPr bwMode="auto">
          <a:xfrm>
            <a:off x="9107182" y="3728227"/>
            <a:ext cx="28476" cy="38527"/>
          </a:xfrm>
          <a:custGeom>
            <a:avLst/>
            <a:gdLst>
              <a:gd name="T0" fmla="*/ 2147483646 w 30"/>
              <a:gd name="T1" fmla="*/ 2147483646 h 42"/>
              <a:gd name="T2" fmla="*/ 2147483646 w 30"/>
              <a:gd name="T3" fmla="*/ 2147483646 h 42"/>
              <a:gd name="T4" fmla="*/ 2147483646 w 30"/>
              <a:gd name="T5" fmla="*/ 2147483646 h 42"/>
              <a:gd name="T6" fmla="*/ 2147483646 w 30"/>
              <a:gd name="T7" fmla="*/ 2147483646 h 42"/>
              <a:gd name="T8" fmla="*/ 2147483646 w 30"/>
              <a:gd name="T9" fmla="*/ 2147483646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"/>
              <a:gd name="T16" fmla="*/ 0 h 42"/>
              <a:gd name="T17" fmla="*/ 30 w 30"/>
              <a:gd name="T18" fmla="*/ 42 h 4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" h="42">
                <a:moveTo>
                  <a:pt x="20" y="14"/>
                </a:moveTo>
                <a:cubicBezTo>
                  <a:pt x="13" y="16"/>
                  <a:pt x="10" y="0"/>
                  <a:pt x="5" y="21"/>
                </a:cubicBezTo>
                <a:cubicBezTo>
                  <a:pt x="0" y="42"/>
                  <a:pt x="21" y="26"/>
                  <a:pt x="21" y="26"/>
                </a:cubicBezTo>
                <a:cubicBezTo>
                  <a:pt x="30" y="18"/>
                  <a:pt x="30" y="18"/>
                  <a:pt x="30" y="18"/>
                </a:cubicBezTo>
                <a:lnTo>
                  <a:pt x="20" y="1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9" name="Freeform 595"/>
          <p:cNvSpPr>
            <a:spLocks/>
          </p:cNvSpPr>
          <p:nvPr userDrawn="1"/>
        </p:nvSpPr>
        <p:spPr bwMode="auto">
          <a:xfrm>
            <a:off x="9152409" y="3701425"/>
            <a:ext cx="21777" cy="21776"/>
          </a:xfrm>
          <a:custGeom>
            <a:avLst/>
            <a:gdLst>
              <a:gd name="T0" fmla="*/ 2147483646 w 24"/>
              <a:gd name="T1" fmla="*/ 2147483646 h 23"/>
              <a:gd name="T2" fmla="*/ 2147483646 w 24"/>
              <a:gd name="T3" fmla="*/ 2147483646 h 23"/>
              <a:gd name="T4" fmla="*/ 2147483646 w 24"/>
              <a:gd name="T5" fmla="*/ 2147483646 h 23"/>
              <a:gd name="T6" fmla="*/ 2147483646 w 24"/>
              <a:gd name="T7" fmla="*/ 0 h 23"/>
              <a:gd name="T8" fmla="*/ 2147483646 w 24"/>
              <a:gd name="T9" fmla="*/ 2147483646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4"/>
              <a:gd name="T16" fmla="*/ 0 h 23"/>
              <a:gd name="T17" fmla="*/ 24 w 24"/>
              <a:gd name="T18" fmla="*/ 23 h 2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4" h="23">
                <a:moveTo>
                  <a:pt x="11" y="7"/>
                </a:moveTo>
                <a:cubicBezTo>
                  <a:pt x="10" y="13"/>
                  <a:pt x="0" y="18"/>
                  <a:pt x="8" y="20"/>
                </a:cubicBezTo>
                <a:cubicBezTo>
                  <a:pt x="15" y="23"/>
                  <a:pt x="20" y="15"/>
                  <a:pt x="20" y="15"/>
                </a:cubicBezTo>
                <a:cubicBezTo>
                  <a:pt x="24" y="0"/>
                  <a:pt x="24" y="0"/>
                  <a:pt x="24" y="0"/>
                </a:cubicBezTo>
                <a:lnTo>
                  <a:pt x="11" y="7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0" name="Freeform 596"/>
          <p:cNvSpPr>
            <a:spLocks/>
          </p:cNvSpPr>
          <p:nvPr userDrawn="1"/>
        </p:nvSpPr>
        <p:spPr bwMode="auto">
          <a:xfrm>
            <a:off x="9182561" y="3679648"/>
            <a:ext cx="13401" cy="8376"/>
          </a:xfrm>
          <a:custGeom>
            <a:avLst/>
            <a:gdLst>
              <a:gd name="T0" fmla="*/ 2147483646 w 15"/>
              <a:gd name="T1" fmla="*/ 0 h 9"/>
              <a:gd name="T2" fmla="*/ 2147483646 w 15"/>
              <a:gd name="T3" fmla="*/ 2147483646 h 9"/>
              <a:gd name="T4" fmla="*/ 2147483646 w 15"/>
              <a:gd name="T5" fmla="*/ 2147483646 h 9"/>
              <a:gd name="T6" fmla="*/ 2147483646 w 15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15"/>
              <a:gd name="T13" fmla="*/ 0 h 9"/>
              <a:gd name="T14" fmla="*/ 15 w 15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5" h="9">
                <a:moveTo>
                  <a:pt x="9" y="0"/>
                </a:moveTo>
                <a:cubicBezTo>
                  <a:pt x="4" y="1"/>
                  <a:pt x="0" y="9"/>
                  <a:pt x="7" y="9"/>
                </a:cubicBezTo>
                <a:cubicBezTo>
                  <a:pt x="13" y="9"/>
                  <a:pt x="15" y="3"/>
                  <a:pt x="15" y="3"/>
                </a:cubicBezTo>
                <a:lnTo>
                  <a:pt x="9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1" name="Freeform 597"/>
          <p:cNvSpPr>
            <a:spLocks/>
          </p:cNvSpPr>
          <p:nvPr userDrawn="1"/>
        </p:nvSpPr>
        <p:spPr bwMode="auto">
          <a:xfrm>
            <a:off x="9226112" y="3619345"/>
            <a:ext cx="18427" cy="18427"/>
          </a:xfrm>
          <a:custGeom>
            <a:avLst/>
            <a:gdLst>
              <a:gd name="T0" fmla="*/ 2147483646 w 20"/>
              <a:gd name="T1" fmla="*/ 0 h 20"/>
              <a:gd name="T2" fmla="*/ 0 w 20"/>
              <a:gd name="T3" fmla="*/ 2147483646 h 20"/>
              <a:gd name="T4" fmla="*/ 2147483646 w 20"/>
              <a:gd name="T5" fmla="*/ 2147483646 h 20"/>
              <a:gd name="T6" fmla="*/ 2147483646 w 20"/>
              <a:gd name="T7" fmla="*/ 2147483646 h 20"/>
              <a:gd name="T8" fmla="*/ 2147483646 w 20"/>
              <a:gd name="T9" fmla="*/ 0 h 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20"/>
              <a:gd name="T17" fmla="*/ 20 w 20"/>
              <a:gd name="T18" fmla="*/ 20 h 2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20">
                <a:moveTo>
                  <a:pt x="6" y="0"/>
                </a:moveTo>
                <a:cubicBezTo>
                  <a:pt x="1" y="1"/>
                  <a:pt x="0" y="6"/>
                  <a:pt x="0" y="11"/>
                </a:cubicBezTo>
                <a:cubicBezTo>
                  <a:pt x="0" y="16"/>
                  <a:pt x="7" y="20"/>
                  <a:pt x="7" y="20"/>
                </a:cubicBezTo>
                <a:cubicBezTo>
                  <a:pt x="7" y="20"/>
                  <a:pt x="17" y="16"/>
                  <a:pt x="19" y="10"/>
                </a:cubicBezTo>
                <a:cubicBezTo>
                  <a:pt x="20" y="4"/>
                  <a:pt x="6" y="0"/>
                  <a:pt x="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2" name="Freeform 598"/>
          <p:cNvSpPr>
            <a:spLocks/>
          </p:cNvSpPr>
          <p:nvPr userDrawn="1"/>
        </p:nvSpPr>
        <p:spPr bwMode="auto">
          <a:xfrm>
            <a:off x="9236163" y="3585843"/>
            <a:ext cx="31827" cy="28477"/>
          </a:xfrm>
          <a:custGeom>
            <a:avLst/>
            <a:gdLst>
              <a:gd name="T0" fmla="*/ 2147483646 w 33"/>
              <a:gd name="T1" fmla="*/ 0 h 31"/>
              <a:gd name="T2" fmla="*/ 2147483646 w 33"/>
              <a:gd name="T3" fmla="*/ 2147483646 h 31"/>
              <a:gd name="T4" fmla="*/ 2147483646 w 33"/>
              <a:gd name="T5" fmla="*/ 2147483646 h 31"/>
              <a:gd name="T6" fmla="*/ 2147483646 w 33"/>
              <a:gd name="T7" fmla="*/ 2147483646 h 31"/>
              <a:gd name="T8" fmla="*/ 2147483646 w 33"/>
              <a:gd name="T9" fmla="*/ 2147483646 h 31"/>
              <a:gd name="T10" fmla="*/ 2147483646 w 33"/>
              <a:gd name="T11" fmla="*/ 0 h 3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31"/>
              <a:gd name="T20" fmla="*/ 33 w 33"/>
              <a:gd name="T21" fmla="*/ 31 h 3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31">
                <a:moveTo>
                  <a:pt x="24" y="0"/>
                </a:moveTo>
                <a:cubicBezTo>
                  <a:pt x="24" y="0"/>
                  <a:pt x="14" y="2"/>
                  <a:pt x="11" y="7"/>
                </a:cubicBezTo>
                <a:cubicBezTo>
                  <a:pt x="9" y="12"/>
                  <a:pt x="0" y="19"/>
                  <a:pt x="8" y="24"/>
                </a:cubicBezTo>
                <a:cubicBezTo>
                  <a:pt x="15" y="29"/>
                  <a:pt x="20" y="31"/>
                  <a:pt x="24" y="25"/>
                </a:cubicBezTo>
                <a:cubicBezTo>
                  <a:pt x="27" y="19"/>
                  <a:pt x="33" y="12"/>
                  <a:pt x="33" y="12"/>
                </a:cubicBezTo>
                <a:lnTo>
                  <a:pt x="24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3" name="Freeform 599"/>
          <p:cNvSpPr>
            <a:spLocks/>
          </p:cNvSpPr>
          <p:nvPr userDrawn="1"/>
        </p:nvSpPr>
        <p:spPr bwMode="auto">
          <a:xfrm>
            <a:off x="8391917" y="4359736"/>
            <a:ext cx="77055" cy="92131"/>
          </a:xfrm>
          <a:custGeom>
            <a:avLst/>
            <a:gdLst>
              <a:gd name="T0" fmla="*/ 2147483646 w 84"/>
              <a:gd name="T1" fmla="*/ 2147483646 h 100"/>
              <a:gd name="T2" fmla="*/ 2147483646 w 84"/>
              <a:gd name="T3" fmla="*/ 2147483646 h 100"/>
              <a:gd name="T4" fmla="*/ 2147483646 w 84"/>
              <a:gd name="T5" fmla="*/ 2147483646 h 100"/>
              <a:gd name="T6" fmla="*/ 2147483646 w 84"/>
              <a:gd name="T7" fmla="*/ 2147483646 h 100"/>
              <a:gd name="T8" fmla="*/ 2147483646 w 84"/>
              <a:gd name="T9" fmla="*/ 2147483646 h 100"/>
              <a:gd name="T10" fmla="*/ 2147483646 w 84"/>
              <a:gd name="T11" fmla="*/ 2147483646 h 100"/>
              <a:gd name="T12" fmla="*/ 2147483646 w 84"/>
              <a:gd name="T13" fmla="*/ 2147483646 h 1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4"/>
              <a:gd name="T22" fmla="*/ 0 h 100"/>
              <a:gd name="T23" fmla="*/ 84 w 84"/>
              <a:gd name="T24" fmla="*/ 100 h 10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4" h="100">
                <a:moveTo>
                  <a:pt x="75" y="12"/>
                </a:moveTo>
                <a:cubicBezTo>
                  <a:pt x="58" y="0"/>
                  <a:pt x="41" y="5"/>
                  <a:pt x="37" y="21"/>
                </a:cubicBezTo>
                <a:cubicBezTo>
                  <a:pt x="33" y="38"/>
                  <a:pt x="30" y="54"/>
                  <a:pt x="22" y="61"/>
                </a:cubicBezTo>
                <a:cubicBezTo>
                  <a:pt x="14" y="67"/>
                  <a:pt x="0" y="76"/>
                  <a:pt x="10" y="86"/>
                </a:cubicBezTo>
                <a:cubicBezTo>
                  <a:pt x="19" y="97"/>
                  <a:pt x="22" y="97"/>
                  <a:pt x="39" y="99"/>
                </a:cubicBezTo>
                <a:cubicBezTo>
                  <a:pt x="57" y="100"/>
                  <a:pt x="64" y="40"/>
                  <a:pt x="64" y="40"/>
                </a:cubicBezTo>
                <a:cubicBezTo>
                  <a:pt x="64" y="40"/>
                  <a:pt x="84" y="19"/>
                  <a:pt x="75" y="1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4" name="Freeform 600"/>
          <p:cNvSpPr>
            <a:spLocks/>
          </p:cNvSpPr>
          <p:nvPr userDrawn="1"/>
        </p:nvSpPr>
        <p:spPr bwMode="auto">
          <a:xfrm>
            <a:off x="8396943" y="4537295"/>
            <a:ext cx="108880" cy="185936"/>
          </a:xfrm>
          <a:custGeom>
            <a:avLst/>
            <a:gdLst>
              <a:gd name="T0" fmla="*/ 2147483646 w 117"/>
              <a:gd name="T1" fmla="*/ 2147483646 h 200"/>
              <a:gd name="T2" fmla="*/ 2147483646 w 117"/>
              <a:gd name="T3" fmla="*/ 2147483646 h 200"/>
              <a:gd name="T4" fmla="*/ 2147483646 w 117"/>
              <a:gd name="T5" fmla="*/ 2147483646 h 200"/>
              <a:gd name="T6" fmla="*/ 2147483646 w 117"/>
              <a:gd name="T7" fmla="*/ 2147483646 h 200"/>
              <a:gd name="T8" fmla="*/ 2147483646 w 117"/>
              <a:gd name="T9" fmla="*/ 2147483646 h 200"/>
              <a:gd name="T10" fmla="*/ 2147483646 w 117"/>
              <a:gd name="T11" fmla="*/ 2147483646 h 200"/>
              <a:gd name="T12" fmla="*/ 2147483646 w 117"/>
              <a:gd name="T13" fmla="*/ 2147483646 h 200"/>
              <a:gd name="T14" fmla="*/ 2147483646 w 117"/>
              <a:gd name="T15" fmla="*/ 2147483646 h 200"/>
              <a:gd name="T16" fmla="*/ 2147483646 w 117"/>
              <a:gd name="T17" fmla="*/ 2147483646 h 200"/>
              <a:gd name="T18" fmla="*/ 2147483646 w 117"/>
              <a:gd name="T19" fmla="*/ 2147483646 h 200"/>
              <a:gd name="T20" fmla="*/ 2147483646 w 117"/>
              <a:gd name="T21" fmla="*/ 2147483646 h 200"/>
              <a:gd name="T22" fmla="*/ 2147483646 w 117"/>
              <a:gd name="T23" fmla="*/ 2147483646 h 200"/>
              <a:gd name="T24" fmla="*/ 2147483646 w 117"/>
              <a:gd name="T25" fmla="*/ 2147483646 h 200"/>
              <a:gd name="T26" fmla="*/ 2147483646 w 117"/>
              <a:gd name="T27" fmla="*/ 2147483646 h 200"/>
              <a:gd name="T28" fmla="*/ 2147483646 w 117"/>
              <a:gd name="T29" fmla="*/ 2147483646 h 200"/>
              <a:gd name="T30" fmla="*/ 2147483646 w 117"/>
              <a:gd name="T31" fmla="*/ 2147483646 h 200"/>
              <a:gd name="T32" fmla="*/ 2147483646 w 117"/>
              <a:gd name="T33" fmla="*/ 2147483646 h 200"/>
              <a:gd name="T34" fmla="*/ 2147483646 w 117"/>
              <a:gd name="T35" fmla="*/ 2147483646 h 200"/>
              <a:gd name="T36" fmla="*/ 2147483646 w 117"/>
              <a:gd name="T37" fmla="*/ 2147483646 h 200"/>
              <a:gd name="T38" fmla="*/ 2147483646 w 117"/>
              <a:gd name="T39" fmla="*/ 2147483646 h 200"/>
              <a:gd name="T40" fmla="*/ 2147483646 w 117"/>
              <a:gd name="T41" fmla="*/ 2147483646 h 200"/>
              <a:gd name="T42" fmla="*/ 2147483646 w 117"/>
              <a:gd name="T43" fmla="*/ 2147483646 h 200"/>
              <a:gd name="T44" fmla="*/ 2147483646 w 117"/>
              <a:gd name="T45" fmla="*/ 2147483646 h 200"/>
              <a:gd name="T46" fmla="*/ 2147483646 w 117"/>
              <a:gd name="T47" fmla="*/ 2147483646 h 200"/>
              <a:gd name="T48" fmla="*/ 2147483646 w 117"/>
              <a:gd name="T49" fmla="*/ 2147483646 h 200"/>
              <a:gd name="T50" fmla="*/ 2147483646 w 117"/>
              <a:gd name="T51" fmla="*/ 2147483646 h 20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17"/>
              <a:gd name="T79" fmla="*/ 0 h 200"/>
              <a:gd name="T80" fmla="*/ 117 w 117"/>
              <a:gd name="T81" fmla="*/ 200 h 20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17" h="200">
                <a:moveTo>
                  <a:pt x="43" y="16"/>
                </a:moveTo>
                <a:cubicBezTo>
                  <a:pt x="38" y="20"/>
                  <a:pt x="20" y="0"/>
                  <a:pt x="17" y="13"/>
                </a:cubicBezTo>
                <a:cubicBezTo>
                  <a:pt x="15" y="27"/>
                  <a:pt x="0" y="81"/>
                  <a:pt x="15" y="92"/>
                </a:cubicBezTo>
                <a:cubicBezTo>
                  <a:pt x="29" y="102"/>
                  <a:pt x="36" y="101"/>
                  <a:pt x="36" y="112"/>
                </a:cubicBezTo>
                <a:cubicBezTo>
                  <a:pt x="36" y="123"/>
                  <a:pt x="24" y="124"/>
                  <a:pt x="28" y="132"/>
                </a:cubicBezTo>
                <a:cubicBezTo>
                  <a:pt x="32" y="140"/>
                  <a:pt x="36" y="146"/>
                  <a:pt x="44" y="151"/>
                </a:cubicBezTo>
                <a:cubicBezTo>
                  <a:pt x="52" y="157"/>
                  <a:pt x="52" y="147"/>
                  <a:pt x="63" y="151"/>
                </a:cubicBezTo>
                <a:cubicBezTo>
                  <a:pt x="74" y="155"/>
                  <a:pt x="92" y="165"/>
                  <a:pt x="93" y="173"/>
                </a:cubicBezTo>
                <a:cubicBezTo>
                  <a:pt x="94" y="181"/>
                  <a:pt x="84" y="188"/>
                  <a:pt x="88" y="192"/>
                </a:cubicBezTo>
                <a:cubicBezTo>
                  <a:pt x="92" y="196"/>
                  <a:pt x="88" y="194"/>
                  <a:pt x="103" y="197"/>
                </a:cubicBezTo>
                <a:cubicBezTo>
                  <a:pt x="117" y="200"/>
                  <a:pt x="111" y="184"/>
                  <a:pt x="104" y="182"/>
                </a:cubicBezTo>
                <a:cubicBezTo>
                  <a:pt x="97" y="181"/>
                  <a:pt x="98" y="173"/>
                  <a:pt x="98" y="173"/>
                </a:cubicBezTo>
                <a:cubicBezTo>
                  <a:pt x="98" y="173"/>
                  <a:pt x="105" y="167"/>
                  <a:pt x="111" y="169"/>
                </a:cubicBezTo>
                <a:cubicBezTo>
                  <a:pt x="116" y="170"/>
                  <a:pt x="116" y="159"/>
                  <a:pt x="116" y="159"/>
                </a:cubicBezTo>
                <a:cubicBezTo>
                  <a:pt x="116" y="159"/>
                  <a:pt x="111" y="143"/>
                  <a:pt x="103" y="143"/>
                </a:cubicBezTo>
                <a:cubicBezTo>
                  <a:pt x="94" y="143"/>
                  <a:pt x="89" y="143"/>
                  <a:pt x="85" y="140"/>
                </a:cubicBezTo>
                <a:cubicBezTo>
                  <a:pt x="81" y="138"/>
                  <a:pt x="81" y="120"/>
                  <a:pt x="73" y="127"/>
                </a:cubicBezTo>
                <a:cubicBezTo>
                  <a:pt x="65" y="134"/>
                  <a:pt x="54" y="136"/>
                  <a:pt x="54" y="136"/>
                </a:cubicBezTo>
                <a:cubicBezTo>
                  <a:pt x="54" y="136"/>
                  <a:pt x="44" y="136"/>
                  <a:pt x="44" y="132"/>
                </a:cubicBezTo>
                <a:cubicBezTo>
                  <a:pt x="44" y="128"/>
                  <a:pt x="36" y="116"/>
                  <a:pt x="44" y="113"/>
                </a:cubicBezTo>
                <a:cubicBezTo>
                  <a:pt x="52" y="111"/>
                  <a:pt x="48" y="123"/>
                  <a:pt x="51" y="101"/>
                </a:cubicBezTo>
                <a:cubicBezTo>
                  <a:pt x="54" y="79"/>
                  <a:pt x="46" y="78"/>
                  <a:pt x="58" y="69"/>
                </a:cubicBezTo>
                <a:cubicBezTo>
                  <a:pt x="70" y="59"/>
                  <a:pt x="70" y="58"/>
                  <a:pt x="70" y="47"/>
                </a:cubicBezTo>
                <a:cubicBezTo>
                  <a:pt x="70" y="36"/>
                  <a:pt x="70" y="25"/>
                  <a:pt x="67" y="21"/>
                </a:cubicBezTo>
                <a:cubicBezTo>
                  <a:pt x="65" y="17"/>
                  <a:pt x="59" y="9"/>
                  <a:pt x="59" y="9"/>
                </a:cubicBezTo>
                <a:lnTo>
                  <a:pt x="43" y="1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5" name="Freeform 601"/>
          <p:cNvSpPr>
            <a:spLocks/>
          </p:cNvSpPr>
          <p:nvPr userDrawn="1"/>
        </p:nvSpPr>
        <p:spPr bwMode="auto">
          <a:xfrm>
            <a:off x="8333288" y="4738307"/>
            <a:ext cx="63653" cy="68679"/>
          </a:xfrm>
          <a:custGeom>
            <a:avLst/>
            <a:gdLst>
              <a:gd name="T0" fmla="*/ 2147483646 w 68"/>
              <a:gd name="T1" fmla="*/ 2147483646 h 74"/>
              <a:gd name="T2" fmla="*/ 2147483646 w 68"/>
              <a:gd name="T3" fmla="*/ 2147483646 h 74"/>
              <a:gd name="T4" fmla="*/ 2147483646 w 68"/>
              <a:gd name="T5" fmla="*/ 2147483646 h 74"/>
              <a:gd name="T6" fmla="*/ 2147483646 w 68"/>
              <a:gd name="T7" fmla="*/ 2147483646 h 74"/>
              <a:gd name="T8" fmla="*/ 2147483646 w 68"/>
              <a:gd name="T9" fmla="*/ 2147483646 h 74"/>
              <a:gd name="T10" fmla="*/ 2147483646 w 68"/>
              <a:gd name="T11" fmla="*/ 2147483646 h 74"/>
              <a:gd name="T12" fmla="*/ 2147483646 w 68"/>
              <a:gd name="T13" fmla="*/ 2147483646 h 74"/>
              <a:gd name="T14" fmla="*/ 2147483646 w 68"/>
              <a:gd name="T15" fmla="*/ 2147483646 h 74"/>
              <a:gd name="T16" fmla="*/ 2147483646 w 68"/>
              <a:gd name="T17" fmla="*/ 2147483646 h 7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8"/>
              <a:gd name="T28" fmla="*/ 0 h 74"/>
              <a:gd name="T29" fmla="*/ 68 w 68"/>
              <a:gd name="T30" fmla="*/ 74 h 7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8" h="74">
                <a:moveTo>
                  <a:pt x="66" y="3"/>
                </a:moveTo>
                <a:cubicBezTo>
                  <a:pt x="60" y="0"/>
                  <a:pt x="61" y="1"/>
                  <a:pt x="57" y="16"/>
                </a:cubicBezTo>
                <a:cubicBezTo>
                  <a:pt x="53" y="31"/>
                  <a:pt x="49" y="46"/>
                  <a:pt x="41" y="49"/>
                </a:cubicBezTo>
                <a:cubicBezTo>
                  <a:pt x="32" y="51"/>
                  <a:pt x="26" y="59"/>
                  <a:pt x="20" y="62"/>
                </a:cubicBezTo>
                <a:cubicBezTo>
                  <a:pt x="15" y="65"/>
                  <a:pt x="0" y="54"/>
                  <a:pt x="3" y="63"/>
                </a:cubicBezTo>
                <a:cubicBezTo>
                  <a:pt x="5" y="73"/>
                  <a:pt x="13" y="74"/>
                  <a:pt x="32" y="67"/>
                </a:cubicBezTo>
                <a:cubicBezTo>
                  <a:pt x="51" y="61"/>
                  <a:pt x="61" y="39"/>
                  <a:pt x="61" y="39"/>
                </a:cubicBezTo>
                <a:cubicBezTo>
                  <a:pt x="68" y="20"/>
                  <a:pt x="68" y="20"/>
                  <a:pt x="68" y="20"/>
                </a:cubicBezTo>
                <a:lnTo>
                  <a:pt x="66" y="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6" name="Freeform 602"/>
          <p:cNvSpPr>
            <a:spLocks/>
          </p:cNvSpPr>
          <p:nvPr userDrawn="1"/>
        </p:nvSpPr>
        <p:spPr bwMode="auto">
          <a:xfrm>
            <a:off x="8440495" y="4716531"/>
            <a:ext cx="77055" cy="75379"/>
          </a:xfrm>
          <a:custGeom>
            <a:avLst/>
            <a:gdLst>
              <a:gd name="T0" fmla="*/ 2147483646 w 83"/>
              <a:gd name="T1" fmla="*/ 2147483646 h 81"/>
              <a:gd name="T2" fmla="*/ 2147483646 w 83"/>
              <a:gd name="T3" fmla="*/ 2147483646 h 81"/>
              <a:gd name="T4" fmla="*/ 2147483646 w 83"/>
              <a:gd name="T5" fmla="*/ 2147483646 h 81"/>
              <a:gd name="T6" fmla="*/ 2147483646 w 83"/>
              <a:gd name="T7" fmla="*/ 2147483646 h 81"/>
              <a:gd name="T8" fmla="*/ 2147483646 w 83"/>
              <a:gd name="T9" fmla="*/ 2147483646 h 81"/>
              <a:gd name="T10" fmla="*/ 2147483646 w 83"/>
              <a:gd name="T11" fmla="*/ 2147483646 h 81"/>
              <a:gd name="T12" fmla="*/ 2147483646 w 83"/>
              <a:gd name="T13" fmla="*/ 2147483646 h 81"/>
              <a:gd name="T14" fmla="*/ 2147483646 w 83"/>
              <a:gd name="T15" fmla="*/ 2147483646 h 81"/>
              <a:gd name="T16" fmla="*/ 2147483646 w 83"/>
              <a:gd name="T17" fmla="*/ 2147483646 h 81"/>
              <a:gd name="T18" fmla="*/ 2147483646 w 83"/>
              <a:gd name="T19" fmla="*/ 2147483646 h 81"/>
              <a:gd name="T20" fmla="*/ 2147483646 w 83"/>
              <a:gd name="T21" fmla="*/ 2147483646 h 81"/>
              <a:gd name="T22" fmla="*/ 2147483646 w 83"/>
              <a:gd name="T23" fmla="*/ 2147483646 h 81"/>
              <a:gd name="T24" fmla="*/ 2147483646 w 83"/>
              <a:gd name="T25" fmla="*/ 2147483646 h 81"/>
              <a:gd name="T26" fmla="*/ 2147483646 w 83"/>
              <a:gd name="T27" fmla="*/ 2147483646 h 81"/>
              <a:gd name="T28" fmla="*/ 2147483646 w 83"/>
              <a:gd name="T29" fmla="*/ 2147483646 h 8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83"/>
              <a:gd name="T46" fmla="*/ 0 h 81"/>
              <a:gd name="T47" fmla="*/ 83 w 83"/>
              <a:gd name="T48" fmla="*/ 81 h 8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83" h="81">
                <a:moveTo>
                  <a:pt x="27" y="11"/>
                </a:moveTo>
                <a:cubicBezTo>
                  <a:pt x="22" y="11"/>
                  <a:pt x="18" y="0"/>
                  <a:pt x="14" y="9"/>
                </a:cubicBezTo>
                <a:cubicBezTo>
                  <a:pt x="10" y="19"/>
                  <a:pt x="0" y="40"/>
                  <a:pt x="12" y="39"/>
                </a:cubicBezTo>
                <a:cubicBezTo>
                  <a:pt x="24" y="38"/>
                  <a:pt x="26" y="20"/>
                  <a:pt x="31" y="27"/>
                </a:cubicBezTo>
                <a:cubicBezTo>
                  <a:pt x="37" y="34"/>
                  <a:pt x="26" y="35"/>
                  <a:pt x="33" y="40"/>
                </a:cubicBezTo>
                <a:cubicBezTo>
                  <a:pt x="39" y="46"/>
                  <a:pt x="43" y="50"/>
                  <a:pt x="37" y="54"/>
                </a:cubicBezTo>
                <a:cubicBezTo>
                  <a:pt x="30" y="58"/>
                  <a:pt x="20" y="57"/>
                  <a:pt x="22" y="62"/>
                </a:cubicBezTo>
                <a:cubicBezTo>
                  <a:pt x="27" y="76"/>
                  <a:pt x="42" y="81"/>
                  <a:pt x="45" y="73"/>
                </a:cubicBezTo>
                <a:cubicBezTo>
                  <a:pt x="47" y="65"/>
                  <a:pt x="43" y="59"/>
                  <a:pt x="49" y="54"/>
                </a:cubicBezTo>
                <a:cubicBezTo>
                  <a:pt x="54" y="49"/>
                  <a:pt x="57" y="47"/>
                  <a:pt x="60" y="57"/>
                </a:cubicBezTo>
                <a:cubicBezTo>
                  <a:pt x="62" y="66"/>
                  <a:pt x="81" y="46"/>
                  <a:pt x="81" y="46"/>
                </a:cubicBezTo>
                <a:cubicBezTo>
                  <a:pt x="81" y="46"/>
                  <a:pt x="83" y="27"/>
                  <a:pt x="76" y="34"/>
                </a:cubicBezTo>
                <a:cubicBezTo>
                  <a:pt x="69" y="40"/>
                  <a:pt x="59" y="42"/>
                  <a:pt x="56" y="38"/>
                </a:cubicBezTo>
                <a:cubicBezTo>
                  <a:pt x="47" y="30"/>
                  <a:pt x="34" y="32"/>
                  <a:pt x="37" y="24"/>
                </a:cubicBezTo>
                <a:cubicBezTo>
                  <a:pt x="39" y="16"/>
                  <a:pt x="27" y="11"/>
                  <a:pt x="27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7" name="Freeform 603"/>
          <p:cNvSpPr>
            <a:spLocks/>
          </p:cNvSpPr>
          <p:nvPr userDrawn="1"/>
        </p:nvSpPr>
        <p:spPr bwMode="auto">
          <a:xfrm>
            <a:off x="8507499" y="4696430"/>
            <a:ext cx="40203" cy="63653"/>
          </a:xfrm>
          <a:custGeom>
            <a:avLst/>
            <a:gdLst>
              <a:gd name="T0" fmla="*/ 2147483646 w 42"/>
              <a:gd name="T1" fmla="*/ 2147483646 h 68"/>
              <a:gd name="T2" fmla="*/ 2147483646 w 42"/>
              <a:gd name="T3" fmla="*/ 2147483646 h 68"/>
              <a:gd name="T4" fmla="*/ 2147483646 w 42"/>
              <a:gd name="T5" fmla="*/ 2147483646 h 68"/>
              <a:gd name="T6" fmla="*/ 2147483646 w 42"/>
              <a:gd name="T7" fmla="*/ 2147483646 h 68"/>
              <a:gd name="T8" fmla="*/ 2147483646 w 42"/>
              <a:gd name="T9" fmla="*/ 2147483646 h 68"/>
              <a:gd name="T10" fmla="*/ 2147483646 w 42"/>
              <a:gd name="T11" fmla="*/ 2147483646 h 68"/>
              <a:gd name="T12" fmla="*/ 2147483646 w 42"/>
              <a:gd name="T13" fmla="*/ 2147483646 h 68"/>
              <a:gd name="T14" fmla="*/ 2147483646 w 42"/>
              <a:gd name="T15" fmla="*/ 2147483646 h 68"/>
              <a:gd name="T16" fmla="*/ 2147483646 w 42"/>
              <a:gd name="T17" fmla="*/ 2147483646 h 68"/>
              <a:gd name="T18" fmla="*/ 2147483646 w 42"/>
              <a:gd name="T19" fmla="*/ 2147483646 h 6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2"/>
              <a:gd name="T31" fmla="*/ 0 h 68"/>
              <a:gd name="T32" fmla="*/ 42 w 42"/>
              <a:gd name="T33" fmla="*/ 68 h 6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2" h="68">
                <a:moveTo>
                  <a:pt x="19" y="15"/>
                </a:moveTo>
                <a:cubicBezTo>
                  <a:pt x="15" y="17"/>
                  <a:pt x="0" y="28"/>
                  <a:pt x="7" y="36"/>
                </a:cubicBezTo>
                <a:cubicBezTo>
                  <a:pt x="13" y="44"/>
                  <a:pt x="19" y="40"/>
                  <a:pt x="20" y="47"/>
                </a:cubicBezTo>
                <a:cubicBezTo>
                  <a:pt x="21" y="53"/>
                  <a:pt x="9" y="63"/>
                  <a:pt x="19" y="65"/>
                </a:cubicBezTo>
                <a:cubicBezTo>
                  <a:pt x="28" y="68"/>
                  <a:pt x="35" y="53"/>
                  <a:pt x="34" y="49"/>
                </a:cubicBezTo>
                <a:cubicBezTo>
                  <a:pt x="32" y="45"/>
                  <a:pt x="23" y="34"/>
                  <a:pt x="32" y="34"/>
                </a:cubicBezTo>
                <a:cubicBezTo>
                  <a:pt x="42" y="34"/>
                  <a:pt x="42" y="25"/>
                  <a:pt x="40" y="21"/>
                </a:cubicBezTo>
                <a:cubicBezTo>
                  <a:pt x="39" y="17"/>
                  <a:pt x="36" y="0"/>
                  <a:pt x="32" y="9"/>
                </a:cubicBezTo>
                <a:cubicBezTo>
                  <a:pt x="28" y="17"/>
                  <a:pt x="23" y="23"/>
                  <a:pt x="23" y="23"/>
                </a:cubicBezTo>
                <a:lnTo>
                  <a:pt x="19" y="1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8" name="Freeform 604"/>
          <p:cNvSpPr>
            <a:spLocks/>
          </p:cNvSpPr>
          <p:nvPr userDrawn="1"/>
        </p:nvSpPr>
        <p:spPr bwMode="auto">
          <a:xfrm>
            <a:off x="8447195" y="4766785"/>
            <a:ext cx="107205" cy="110556"/>
          </a:xfrm>
          <a:custGeom>
            <a:avLst/>
            <a:gdLst>
              <a:gd name="T0" fmla="*/ 2147483646 w 115"/>
              <a:gd name="T1" fmla="*/ 2147483646 h 120"/>
              <a:gd name="T2" fmla="*/ 2147483646 w 115"/>
              <a:gd name="T3" fmla="*/ 2147483646 h 120"/>
              <a:gd name="T4" fmla="*/ 2147483646 w 115"/>
              <a:gd name="T5" fmla="*/ 2147483646 h 120"/>
              <a:gd name="T6" fmla="*/ 2147483646 w 115"/>
              <a:gd name="T7" fmla="*/ 2147483646 h 120"/>
              <a:gd name="T8" fmla="*/ 2147483646 w 115"/>
              <a:gd name="T9" fmla="*/ 2147483646 h 120"/>
              <a:gd name="T10" fmla="*/ 2147483646 w 115"/>
              <a:gd name="T11" fmla="*/ 2147483646 h 120"/>
              <a:gd name="T12" fmla="*/ 2147483646 w 115"/>
              <a:gd name="T13" fmla="*/ 2147483646 h 120"/>
              <a:gd name="T14" fmla="*/ 2147483646 w 115"/>
              <a:gd name="T15" fmla="*/ 2147483646 h 120"/>
              <a:gd name="T16" fmla="*/ 2147483646 w 115"/>
              <a:gd name="T17" fmla="*/ 2147483646 h 120"/>
              <a:gd name="T18" fmla="*/ 2147483646 w 115"/>
              <a:gd name="T19" fmla="*/ 2147483646 h 120"/>
              <a:gd name="T20" fmla="*/ 2147483646 w 115"/>
              <a:gd name="T21" fmla="*/ 2147483646 h 120"/>
              <a:gd name="T22" fmla="*/ 2147483646 w 115"/>
              <a:gd name="T23" fmla="*/ 2147483646 h 120"/>
              <a:gd name="T24" fmla="*/ 2147483646 w 115"/>
              <a:gd name="T25" fmla="*/ 2147483646 h 120"/>
              <a:gd name="T26" fmla="*/ 2147483646 w 115"/>
              <a:gd name="T27" fmla="*/ 2147483646 h 120"/>
              <a:gd name="T28" fmla="*/ 2147483646 w 115"/>
              <a:gd name="T29" fmla="*/ 2147483646 h 120"/>
              <a:gd name="T30" fmla="*/ 2147483646 w 115"/>
              <a:gd name="T31" fmla="*/ 2147483646 h 120"/>
              <a:gd name="T32" fmla="*/ 2147483646 w 115"/>
              <a:gd name="T33" fmla="*/ 2147483646 h 120"/>
              <a:gd name="T34" fmla="*/ 2147483646 w 115"/>
              <a:gd name="T35" fmla="*/ 2147483646 h 120"/>
              <a:gd name="T36" fmla="*/ 2147483646 w 115"/>
              <a:gd name="T37" fmla="*/ 2147483646 h 120"/>
              <a:gd name="T38" fmla="*/ 2147483646 w 115"/>
              <a:gd name="T39" fmla="*/ 2147483646 h 120"/>
              <a:gd name="T40" fmla="*/ 2147483646 w 115"/>
              <a:gd name="T41" fmla="*/ 2147483646 h 120"/>
              <a:gd name="T42" fmla="*/ 2147483646 w 115"/>
              <a:gd name="T43" fmla="*/ 2147483646 h 12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15"/>
              <a:gd name="T67" fmla="*/ 0 h 120"/>
              <a:gd name="T68" fmla="*/ 115 w 115"/>
              <a:gd name="T69" fmla="*/ 120 h 120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15" h="120">
                <a:moveTo>
                  <a:pt x="55" y="37"/>
                </a:moveTo>
                <a:cubicBezTo>
                  <a:pt x="50" y="44"/>
                  <a:pt x="39" y="48"/>
                  <a:pt x="32" y="44"/>
                </a:cubicBezTo>
                <a:cubicBezTo>
                  <a:pt x="26" y="40"/>
                  <a:pt x="30" y="31"/>
                  <a:pt x="20" y="44"/>
                </a:cubicBezTo>
                <a:cubicBezTo>
                  <a:pt x="11" y="58"/>
                  <a:pt x="5" y="47"/>
                  <a:pt x="3" y="58"/>
                </a:cubicBezTo>
                <a:cubicBezTo>
                  <a:pt x="0" y="69"/>
                  <a:pt x="5" y="78"/>
                  <a:pt x="16" y="71"/>
                </a:cubicBezTo>
                <a:cubicBezTo>
                  <a:pt x="27" y="65"/>
                  <a:pt x="26" y="56"/>
                  <a:pt x="38" y="59"/>
                </a:cubicBezTo>
                <a:cubicBezTo>
                  <a:pt x="50" y="62"/>
                  <a:pt x="47" y="65"/>
                  <a:pt x="54" y="63"/>
                </a:cubicBezTo>
                <a:cubicBezTo>
                  <a:pt x="61" y="62"/>
                  <a:pt x="73" y="61"/>
                  <a:pt x="66" y="77"/>
                </a:cubicBezTo>
                <a:cubicBezTo>
                  <a:pt x="59" y="93"/>
                  <a:pt x="51" y="109"/>
                  <a:pt x="59" y="111"/>
                </a:cubicBezTo>
                <a:cubicBezTo>
                  <a:pt x="67" y="112"/>
                  <a:pt x="70" y="93"/>
                  <a:pt x="80" y="107"/>
                </a:cubicBezTo>
                <a:cubicBezTo>
                  <a:pt x="89" y="120"/>
                  <a:pt x="89" y="113"/>
                  <a:pt x="96" y="107"/>
                </a:cubicBezTo>
                <a:cubicBezTo>
                  <a:pt x="103" y="100"/>
                  <a:pt x="103" y="86"/>
                  <a:pt x="96" y="84"/>
                </a:cubicBezTo>
                <a:cubicBezTo>
                  <a:pt x="89" y="81"/>
                  <a:pt x="81" y="71"/>
                  <a:pt x="89" y="69"/>
                </a:cubicBezTo>
                <a:cubicBezTo>
                  <a:pt x="97" y="66"/>
                  <a:pt x="103" y="51"/>
                  <a:pt x="104" y="63"/>
                </a:cubicBezTo>
                <a:cubicBezTo>
                  <a:pt x="105" y="75"/>
                  <a:pt x="104" y="89"/>
                  <a:pt x="109" y="84"/>
                </a:cubicBezTo>
                <a:cubicBezTo>
                  <a:pt x="115" y="78"/>
                  <a:pt x="111" y="63"/>
                  <a:pt x="111" y="52"/>
                </a:cubicBezTo>
                <a:cubicBezTo>
                  <a:pt x="111" y="42"/>
                  <a:pt x="113" y="24"/>
                  <a:pt x="113" y="24"/>
                </a:cubicBezTo>
                <a:cubicBezTo>
                  <a:pt x="113" y="24"/>
                  <a:pt x="115" y="0"/>
                  <a:pt x="105" y="8"/>
                </a:cubicBezTo>
                <a:cubicBezTo>
                  <a:pt x="96" y="16"/>
                  <a:pt x="89" y="8"/>
                  <a:pt x="86" y="17"/>
                </a:cubicBezTo>
                <a:cubicBezTo>
                  <a:pt x="84" y="27"/>
                  <a:pt x="73" y="33"/>
                  <a:pt x="69" y="36"/>
                </a:cubicBezTo>
                <a:cubicBezTo>
                  <a:pt x="65" y="39"/>
                  <a:pt x="65" y="27"/>
                  <a:pt x="61" y="29"/>
                </a:cubicBezTo>
                <a:cubicBezTo>
                  <a:pt x="57" y="32"/>
                  <a:pt x="55" y="37"/>
                  <a:pt x="55" y="3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9" name="Freeform 605"/>
          <p:cNvSpPr>
            <a:spLocks/>
          </p:cNvSpPr>
          <p:nvPr userDrawn="1"/>
        </p:nvSpPr>
        <p:spPr bwMode="auto">
          <a:xfrm>
            <a:off x="7624725" y="3518839"/>
            <a:ext cx="790644" cy="396997"/>
          </a:xfrm>
          <a:custGeom>
            <a:avLst/>
            <a:gdLst>
              <a:gd name="T0" fmla="*/ 2147483646 w 847"/>
              <a:gd name="T1" fmla="*/ 2147483646 h 426"/>
              <a:gd name="T2" fmla="*/ 2147483646 w 847"/>
              <a:gd name="T3" fmla="*/ 2147483646 h 426"/>
              <a:gd name="T4" fmla="*/ 2147483646 w 847"/>
              <a:gd name="T5" fmla="*/ 2147483646 h 426"/>
              <a:gd name="T6" fmla="*/ 2147483646 w 847"/>
              <a:gd name="T7" fmla="*/ 2147483646 h 426"/>
              <a:gd name="T8" fmla="*/ 2147483646 w 847"/>
              <a:gd name="T9" fmla="*/ 2147483646 h 426"/>
              <a:gd name="T10" fmla="*/ 2147483646 w 847"/>
              <a:gd name="T11" fmla="*/ 2147483646 h 426"/>
              <a:gd name="T12" fmla="*/ 2147483646 w 847"/>
              <a:gd name="T13" fmla="*/ 2147483646 h 426"/>
              <a:gd name="T14" fmla="*/ 2147483646 w 847"/>
              <a:gd name="T15" fmla="*/ 2147483646 h 426"/>
              <a:gd name="T16" fmla="*/ 2147483646 w 847"/>
              <a:gd name="T17" fmla="*/ 2147483646 h 426"/>
              <a:gd name="T18" fmla="*/ 2147483646 w 847"/>
              <a:gd name="T19" fmla="*/ 2147483646 h 426"/>
              <a:gd name="T20" fmla="*/ 2147483646 w 847"/>
              <a:gd name="T21" fmla="*/ 2147483646 h 426"/>
              <a:gd name="T22" fmla="*/ 2147483646 w 847"/>
              <a:gd name="T23" fmla="*/ 2147483646 h 426"/>
              <a:gd name="T24" fmla="*/ 2147483646 w 847"/>
              <a:gd name="T25" fmla="*/ 2147483646 h 426"/>
              <a:gd name="T26" fmla="*/ 2147483646 w 847"/>
              <a:gd name="T27" fmla="*/ 2147483646 h 426"/>
              <a:gd name="T28" fmla="*/ 2147483646 w 847"/>
              <a:gd name="T29" fmla="*/ 2147483646 h 426"/>
              <a:gd name="T30" fmla="*/ 2147483646 w 847"/>
              <a:gd name="T31" fmla="*/ 2147483646 h 426"/>
              <a:gd name="T32" fmla="*/ 2147483646 w 847"/>
              <a:gd name="T33" fmla="*/ 2147483646 h 426"/>
              <a:gd name="T34" fmla="*/ 2147483646 w 847"/>
              <a:gd name="T35" fmla="*/ 2147483646 h 426"/>
              <a:gd name="T36" fmla="*/ 2147483646 w 847"/>
              <a:gd name="T37" fmla="*/ 2147483646 h 426"/>
              <a:gd name="T38" fmla="*/ 2147483646 w 847"/>
              <a:gd name="T39" fmla="*/ 2147483646 h 426"/>
              <a:gd name="T40" fmla="*/ 2147483646 w 847"/>
              <a:gd name="T41" fmla="*/ 2147483646 h 426"/>
              <a:gd name="T42" fmla="*/ 2147483646 w 847"/>
              <a:gd name="T43" fmla="*/ 2147483646 h 426"/>
              <a:gd name="T44" fmla="*/ 2147483646 w 847"/>
              <a:gd name="T45" fmla="*/ 2147483646 h 426"/>
              <a:gd name="T46" fmla="*/ 2147483646 w 847"/>
              <a:gd name="T47" fmla="*/ 2147483646 h 426"/>
              <a:gd name="T48" fmla="*/ 2147483646 w 847"/>
              <a:gd name="T49" fmla="*/ 2147483646 h 426"/>
              <a:gd name="T50" fmla="*/ 2147483646 w 847"/>
              <a:gd name="T51" fmla="*/ 2147483646 h 426"/>
              <a:gd name="T52" fmla="*/ 2147483646 w 847"/>
              <a:gd name="T53" fmla="*/ 2147483646 h 426"/>
              <a:gd name="T54" fmla="*/ 2147483646 w 847"/>
              <a:gd name="T55" fmla="*/ 2147483646 h 426"/>
              <a:gd name="T56" fmla="*/ 2147483646 w 847"/>
              <a:gd name="T57" fmla="*/ 2147483646 h 426"/>
              <a:gd name="T58" fmla="*/ 2147483646 w 847"/>
              <a:gd name="T59" fmla="*/ 2147483646 h 426"/>
              <a:gd name="T60" fmla="*/ 2147483646 w 847"/>
              <a:gd name="T61" fmla="*/ 2147483646 h 426"/>
              <a:gd name="T62" fmla="*/ 2147483646 w 847"/>
              <a:gd name="T63" fmla="*/ 2147483646 h 426"/>
              <a:gd name="T64" fmla="*/ 2147483646 w 847"/>
              <a:gd name="T65" fmla="*/ 2147483646 h 426"/>
              <a:gd name="T66" fmla="*/ 2147483646 w 847"/>
              <a:gd name="T67" fmla="*/ 2147483646 h 426"/>
              <a:gd name="T68" fmla="*/ 2147483646 w 847"/>
              <a:gd name="T69" fmla="*/ 2147483646 h 426"/>
              <a:gd name="T70" fmla="*/ 2147483646 w 847"/>
              <a:gd name="T71" fmla="*/ 2147483646 h 426"/>
              <a:gd name="T72" fmla="*/ 2147483646 w 847"/>
              <a:gd name="T73" fmla="*/ 2147483646 h 426"/>
              <a:gd name="T74" fmla="*/ 2147483646 w 847"/>
              <a:gd name="T75" fmla="*/ 2147483646 h 426"/>
              <a:gd name="T76" fmla="*/ 2147483646 w 847"/>
              <a:gd name="T77" fmla="*/ 2147483646 h 426"/>
              <a:gd name="T78" fmla="*/ 2147483646 w 847"/>
              <a:gd name="T79" fmla="*/ 2147483646 h 426"/>
              <a:gd name="T80" fmla="*/ 2147483646 w 847"/>
              <a:gd name="T81" fmla="*/ 2147483646 h 426"/>
              <a:gd name="T82" fmla="*/ 2147483646 w 847"/>
              <a:gd name="T83" fmla="*/ 2147483646 h 426"/>
              <a:gd name="T84" fmla="*/ 2147483646 w 847"/>
              <a:gd name="T85" fmla="*/ 2147483646 h 426"/>
              <a:gd name="T86" fmla="*/ 0 w 847"/>
              <a:gd name="T87" fmla="*/ 2147483646 h 4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847"/>
              <a:gd name="T133" fmla="*/ 0 h 426"/>
              <a:gd name="T134" fmla="*/ 847 w 847"/>
              <a:gd name="T135" fmla="*/ 426 h 42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847" h="426">
                <a:moveTo>
                  <a:pt x="0" y="116"/>
                </a:moveTo>
                <a:cubicBezTo>
                  <a:pt x="0" y="116"/>
                  <a:pt x="11" y="124"/>
                  <a:pt x="14" y="132"/>
                </a:cubicBezTo>
                <a:cubicBezTo>
                  <a:pt x="17" y="140"/>
                  <a:pt x="42" y="152"/>
                  <a:pt x="42" y="152"/>
                </a:cubicBezTo>
                <a:cubicBezTo>
                  <a:pt x="42" y="152"/>
                  <a:pt x="71" y="165"/>
                  <a:pt x="86" y="179"/>
                </a:cubicBezTo>
                <a:cubicBezTo>
                  <a:pt x="102" y="193"/>
                  <a:pt x="109" y="219"/>
                  <a:pt x="109" y="219"/>
                </a:cubicBezTo>
                <a:cubicBezTo>
                  <a:pt x="103" y="244"/>
                  <a:pt x="103" y="244"/>
                  <a:pt x="103" y="244"/>
                </a:cubicBezTo>
                <a:cubicBezTo>
                  <a:pt x="103" y="244"/>
                  <a:pt x="107" y="261"/>
                  <a:pt x="119" y="269"/>
                </a:cubicBezTo>
                <a:cubicBezTo>
                  <a:pt x="131" y="277"/>
                  <a:pt x="147" y="278"/>
                  <a:pt x="147" y="278"/>
                </a:cubicBezTo>
                <a:cubicBezTo>
                  <a:pt x="180" y="291"/>
                  <a:pt x="180" y="291"/>
                  <a:pt x="180" y="291"/>
                </a:cubicBezTo>
                <a:cubicBezTo>
                  <a:pt x="201" y="308"/>
                  <a:pt x="201" y="308"/>
                  <a:pt x="201" y="308"/>
                </a:cubicBezTo>
                <a:cubicBezTo>
                  <a:pt x="201" y="308"/>
                  <a:pt x="219" y="330"/>
                  <a:pt x="225" y="337"/>
                </a:cubicBezTo>
                <a:cubicBezTo>
                  <a:pt x="231" y="344"/>
                  <a:pt x="239" y="354"/>
                  <a:pt x="239" y="354"/>
                </a:cubicBezTo>
                <a:cubicBezTo>
                  <a:pt x="259" y="370"/>
                  <a:pt x="259" y="370"/>
                  <a:pt x="259" y="370"/>
                </a:cubicBezTo>
                <a:cubicBezTo>
                  <a:pt x="259" y="370"/>
                  <a:pt x="283" y="375"/>
                  <a:pt x="298" y="372"/>
                </a:cubicBezTo>
                <a:cubicBezTo>
                  <a:pt x="312" y="370"/>
                  <a:pt x="319" y="382"/>
                  <a:pt x="319" y="382"/>
                </a:cubicBezTo>
                <a:cubicBezTo>
                  <a:pt x="319" y="382"/>
                  <a:pt x="340" y="377"/>
                  <a:pt x="344" y="362"/>
                </a:cubicBezTo>
                <a:cubicBezTo>
                  <a:pt x="349" y="347"/>
                  <a:pt x="364" y="358"/>
                  <a:pt x="364" y="358"/>
                </a:cubicBezTo>
                <a:cubicBezTo>
                  <a:pt x="364" y="358"/>
                  <a:pt x="369" y="365"/>
                  <a:pt x="373" y="372"/>
                </a:cubicBezTo>
                <a:cubicBezTo>
                  <a:pt x="376" y="379"/>
                  <a:pt x="388" y="383"/>
                  <a:pt x="388" y="383"/>
                </a:cubicBezTo>
                <a:cubicBezTo>
                  <a:pt x="388" y="383"/>
                  <a:pt x="407" y="386"/>
                  <a:pt x="414" y="385"/>
                </a:cubicBezTo>
                <a:cubicBezTo>
                  <a:pt x="421" y="384"/>
                  <a:pt x="433" y="393"/>
                  <a:pt x="433" y="393"/>
                </a:cubicBezTo>
                <a:cubicBezTo>
                  <a:pt x="440" y="410"/>
                  <a:pt x="440" y="410"/>
                  <a:pt x="440" y="410"/>
                </a:cubicBezTo>
                <a:cubicBezTo>
                  <a:pt x="440" y="410"/>
                  <a:pt x="445" y="426"/>
                  <a:pt x="450" y="426"/>
                </a:cubicBezTo>
                <a:cubicBezTo>
                  <a:pt x="455" y="426"/>
                  <a:pt x="461" y="417"/>
                  <a:pt x="459" y="408"/>
                </a:cubicBezTo>
                <a:cubicBezTo>
                  <a:pt x="458" y="398"/>
                  <a:pt x="470" y="388"/>
                  <a:pt x="470" y="388"/>
                </a:cubicBezTo>
                <a:cubicBezTo>
                  <a:pt x="470" y="388"/>
                  <a:pt x="485" y="374"/>
                  <a:pt x="499" y="374"/>
                </a:cubicBezTo>
                <a:cubicBezTo>
                  <a:pt x="513" y="374"/>
                  <a:pt x="530" y="368"/>
                  <a:pt x="530" y="368"/>
                </a:cubicBezTo>
                <a:cubicBezTo>
                  <a:pt x="555" y="357"/>
                  <a:pt x="555" y="357"/>
                  <a:pt x="555" y="357"/>
                </a:cubicBezTo>
                <a:cubicBezTo>
                  <a:pt x="555" y="357"/>
                  <a:pt x="557" y="360"/>
                  <a:pt x="567" y="362"/>
                </a:cubicBezTo>
                <a:cubicBezTo>
                  <a:pt x="577" y="363"/>
                  <a:pt x="586" y="364"/>
                  <a:pt x="586" y="364"/>
                </a:cubicBezTo>
                <a:cubicBezTo>
                  <a:pt x="586" y="364"/>
                  <a:pt x="593" y="357"/>
                  <a:pt x="591" y="345"/>
                </a:cubicBezTo>
                <a:cubicBezTo>
                  <a:pt x="589" y="332"/>
                  <a:pt x="599" y="341"/>
                  <a:pt x="603" y="340"/>
                </a:cubicBezTo>
                <a:cubicBezTo>
                  <a:pt x="607" y="340"/>
                  <a:pt x="616" y="337"/>
                  <a:pt x="622" y="330"/>
                </a:cubicBezTo>
                <a:cubicBezTo>
                  <a:pt x="627" y="323"/>
                  <a:pt x="624" y="309"/>
                  <a:pt x="624" y="309"/>
                </a:cubicBezTo>
                <a:cubicBezTo>
                  <a:pt x="624" y="309"/>
                  <a:pt x="618" y="310"/>
                  <a:pt x="607" y="306"/>
                </a:cubicBezTo>
                <a:cubicBezTo>
                  <a:pt x="596" y="303"/>
                  <a:pt x="617" y="280"/>
                  <a:pt x="617" y="280"/>
                </a:cubicBezTo>
                <a:cubicBezTo>
                  <a:pt x="623" y="286"/>
                  <a:pt x="623" y="286"/>
                  <a:pt x="623" y="286"/>
                </a:cubicBezTo>
                <a:cubicBezTo>
                  <a:pt x="623" y="286"/>
                  <a:pt x="631" y="289"/>
                  <a:pt x="638" y="285"/>
                </a:cubicBezTo>
                <a:cubicBezTo>
                  <a:pt x="645" y="281"/>
                  <a:pt x="652" y="284"/>
                  <a:pt x="656" y="289"/>
                </a:cubicBezTo>
                <a:cubicBezTo>
                  <a:pt x="659" y="294"/>
                  <a:pt x="680" y="295"/>
                  <a:pt x="680" y="295"/>
                </a:cubicBezTo>
                <a:cubicBezTo>
                  <a:pt x="699" y="295"/>
                  <a:pt x="699" y="295"/>
                  <a:pt x="699" y="295"/>
                </a:cubicBezTo>
                <a:cubicBezTo>
                  <a:pt x="699" y="295"/>
                  <a:pt x="702" y="290"/>
                  <a:pt x="702" y="283"/>
                </a:cubicBezTo>
                <a:cubicBezTo>
                  <a:pt x="702" y="276"/>
                  <a:pt x="709" y="281"/>
                  <a:pt x="715" y="278"/>
                </a:cubicBezTo>
                <a:cubicBezTo>
                  <a:pt x="722" y="274"/>
                  <a:pt x="725" y="277"/>
                  <a:pt x="725" y="277"/>
                </a:cubicBezTo>
                <a:cubicBezTo>
                  <a:pt x="725" y="277"/>
                  <a:pt x="729" y="285"/>
                  <a:pt x="738" y="286"/>
                </a:cubicBezTo>
                <a:cubicBezTo>
                  <a:pt x="747" y="286"/>
                  <a:pt x="746" y="287"/>
                  <a:pt x="750" y="280"/>
                </a:cubicBezTo>
                <a:cubicBezTo>
                  <a:pt x="754" y="273"/>
                  <a:pt x="765" y="281"/>
                  <a:pt x="765" y="281"/>
                </a:cubicBezTo>
                <a:cubicBezTo>
                  <a:pt x="765" y="281"/>
                  <a:pt x="770" y="272"/>
                  <a:pt x="770" y="261"/>
                </a:cubicBezTo>
                <a:cubicBezTo>
                  <a:pt x="770" y="250"/>
                  <a:pt x="793" y="252"/>
                  <a:pt x="793" y="252"/>
                </a:cubicBezTo>
                <a:cubicBezTo>
                  <a:pt x="793" y="252"/>
                  <a:pt x="803" y="252"/>
                  <a:pt x="810" y="245"/>
                </a:cubicBezTo>
                <a:cubicBezTo>
                  <a:pt x="817" y="239"/>
                  <a:pt x="841" y="245"/>
                  <a:pt x="841" y="245"/>
                </a:cubicBezTo>
                <a:cubicBezTo>
                  <a:pt x="841" y="245"/>
                  <a:pt x="847" y="235"/>
                  <a:pt x="844" y="223"/>
                </a:cubicBezTo>
                <a:cubicBezTo>
                  <a:pt x="842" y="211"/>
                  <a:pt x="835" y="209"/>
                  <a:pt x="823" y="200"/>
                </a:cubicBezTo>
                <a:cubicBezTo>
                  <a:pt x="810" y="190"/>
                  <a:pt x="813" y="192"/>
                  <a:pt x="810" y="182"/>
                </a:cubicBezTo>
                <a:cubicBezTo>
                  <a:pt x="807" y="171"/>
                  <a:pt x="801" y="174"/>
                  <a:pt x="795" y="175"/>
                </a:cubicBezTo>
                <a:cubicBezTo>
                  <a:pt x="788" y="175"/>
                  <a:pt x="785" y="174"/>
                  <a:pt x="783" y="182"/>
                </a:cubicBezTo>
                <a:cubicBezTo>
                  <a:pt x="781" y="191"/>
                  <a:pt x="767" y="186"/>
                  <a:pt x="763" y="187"/>
                </a:cubicBezTo>
                <a:cubicBezTo>
                  <a:pt x="760" y="188"/>
                  <a:pt x="758" y="191"/>
                  <a:pt x="752" y="182"/>
                </a:cubicBezTo>
                <a:cubicBezTo>
                  <a:pt x="745" y="173"/>
                  <a:pt x="745" y="182"/>
                  <a:pt x="736" y="180"/>
                </a:cubicBezTo>
                <a:cubicBezTo>
                  <a:pt x="727" y="178"/>
                  <a:pt x="726" y="175"/>
                  <a:pt x="727" y="162"/>
                </a:cubicBezTo>
                <a:cubicBezTo>
                  <a:pt x="729" y="149"/>
                  <a:pt x="736" y="155"/>
                  <a:pt x="738" y="146"/>
                </a:cubicBezTo>
                <a:cubicBezTo>
                  <a:pt x="739" y="138"/>
                  <a:pt x="745" y="120"/>
                  <a:pt x="745" y="120"/>
                </a:cubicBezTo>
                <a:cubicBezTo>
                  <a:pt x="738" y="115"/>
                  <a:pt x="727" y="94"/>
                  <a:pt x="727" y="94"/>
                </a:cubicBezTo>
                <a:cubicBezTo>
                  <a:pt x="727" y="94"/>
                  <a:pt x="690" y="96"/>
                  <a:pt x="677" y="91"/>
                </a:cubicBezTo>
                <a:cubicBezTo>
                  <a:pt x="664" y="86"/>
                  <a:pt x="659" y="94"/>
                  <a:pt x="641" y="104"/>
                </a:cubicBezTo>
                <a:cubicBezTo>
                  <a:pt x="623" y="114"/>
                  <a:pt x="608" y="115"/>
                  <a:pt x="594" y="114"/>
                </a:cubicBezTo>
                <a:cubicBezTo>
                  <a:pt x="579" y="112"/>
                  <a:pt x="548" y="117"/>
                  <a:pt x="537" y="109"/>
                </a:cubicBezTo>
                <a:cubicBezTo>
                  <a:pt x="525" y="101"/>
                  <a:pt x="502" y="89"/>
                  <a:pt x="502" y="89"/>
                </a:cubicBezTo>
                <a:cubicBezTo>
                  <a:pt x="502" y="89"/>
                  <a:pt x="496" y="68"/>
                  <a:pt x="485" y="68"/>
                </a:cubicBezTo>
                <a:cubicBezTo>
                  <a:pt x="473" y="68"/>
                  <a:pt x="475" y="55"/>
                  <a:pt x="450" y="68"/>
                </a:cubicBezTo>
                <a:cubicBezTo>
                  <a:pt x="426" y="81"/>
                  <a:pt x="416" y="89"/>
                  <a:pt x="402" y="81"/>
                </a:cubicBezTo>
                <a:cubicBezTo>
                  <a:pt x="387" y="73"/>
                  <a:pt x="371" y="57"/>
                  <a:pt x="371" y="57"/>
                </a:cubicBezTo>
                <a:cubicBezTo>
                  <a:pt x="371" y="57"/>
                  <a:pt x="371" y="32"/>
                  <a:pt x="356" y="18"/>
                </a:cubicBezTo>
                <a:cubicBezTo>
                  <a:pt x="341" y="3"/>
                  <a:pt x="332" y="10"/>
                  <a:pt x="315" y="5"/>
                </a:cubicBezTo>
                <a:cubicBezTo>
                  <a:pt x="299" y="0"/>
                  <a:pt x="288" y="8"/>
                  <a:pt x="288" y="8"/>
                </a:cubicBezTo>
                <a:cubicBezTo>
                  <a:pt x="288" y="8"/>
                  <a:pt x="270" y="50"/>
                  <a:pt x="276" y="60"/>
                </a:cubicBezTo>
                <a:cubicBezTo>
                  <a:pt x="283" y="70"/>
                  <a:pt x="297" y="80"/>
                  <a:pt x="286" y="91"/>
                </a:cubicBezTo>
                <a:cubicBezTo>
                  <a:pt x="275" y="102"/>
                  <a:pt x="249" y="102"/>
                  <a:pt x="249" y="102"/>
                </a:cubicBezTo>
                <a:cubicBezTo>
                  <a:pt x="249" y="102"/>
                  <a:pt x="227" y="101"/>
                  <a:pt x="205" y="94"/>
                </a:cubicBezTo>
                <a:cubicBezTo>
                  <a:pt x="182" y="88"/>
                  <a:pt x="167" y="86"/>
                  <a:pt x="167" y="86"/>
                </a:cubicBezTo>
                <a:cubicBezTo>
                  <a:pt x="167" y="86"/>
                  <a:pt x="164" y="72"/>
                  <a:pt x="157" y="68"/>
                </a:cubicBezTo>
                <a:cubicBezTo>
                  <a:pt x="151" y="65"/>
                  <a:pt x="140" y="62"/>
                  <a:pt x="140" y="62"/>
                </a:cubicBezTo>
                <a:cubicBezTo>
                  <a:pt x="140" y="62"/>
                  <a:pt x="131" y="75"/>
                  <a:pt x="117" y="67"/>
                </a:cubicBezTo>
                <a:cubicBezTo>
                  <a:pt x="102" y="59"/>
                  <a:pt x="89" y="55"/>
                  <a:pt x="89" y="55"/>
                </a:cubicBezTo>
                <a:cubicBezTo>
                  <a:pt x="89" y="55"/>
                  <a:pt x="68" y="76"/>
                  <a:pt x="58" y="86"/>
                </a:cubicBezTo>
                <a:cubicBezTo>
                  <a:pt x="48" y="96"/>
                  <a:pt x="22" y="96"/>
                  <a:pt x="22" y="96"/>
                </a:cubicBezTo>
                <a:cubicBezTo>
                  <a:pt x="0" y="115"/>
                  <a:pt x="0" y="115"/>
                  <a:pt x="0" y="115"/>
                </a:cubicBezTo>
                <a:lnTo>
                  <a:pt x="0" y="11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0" name="Freeform 606"/>
          <p:cNvSpPr>
            <a:spLocks/>
          </p:cNvSpPr>
          <p:nvPr userDrawn="1"/>
        </p:nvSpPr>
        <p:spPr bwMode="auto">
          <a:xfrm>
            <a:off x="6768752" y="3857209"/>
            <a:ext cx="348419" cy="268015"/>
          </a:xfrm>
          <a:custGeom>
            <a:avLst/>
            <a:gdLst>
              <a:gd name="T0" fmla="*/ 2147483646 w 374"/>
              <a:gd name="T1" fmla="*/ 2147483646 h 288"/>
              <a:gd name="T2" fmla="*/ 2147483646 w 374"/>
              <a:gd name="T3" fmla="*/ 2147483646 h 288"/>
              <a:gd name="T4" fmla="*/ 2147483646 w 374"/>
              <a:gd name="T5" fmla="*/ 2147483646 h 288"/>
              <a:gd name="T6" fmla="*/ 2147483646 w 374"/>
              <a:gd name="T7" fmla="*/ 2147483646 h 288"/>
              <a:gd name="T8" fmla="*/ 2147483646 w 374"/>
              <a:gd name="T9" fmla="*/ 2147483646 h 288"/>
              <a:gd name="T10" fmla="*/ 2147483646 w 374"/>
              <a:gd name="T11" fmla="*/ 2147483646 h 288"/>
              <a:gd name="T12" fmla="*/ 2147483646 w 374"/>
              <a:gd name="T13" fmla="*/ 2147483646 h 288"/>
              <a:gd name="T14" fmla="*/ 2147483646 w 374"/>
              <a:gd name="T15" fmla="*/ 2147483646 h 288"/>
              <a:gd name="T16" fmla="*/ 2147483646 w 374"/>
              <a:gd name="T17" fmla="*/ 2147483646 h 288"/>
              <a:gd name="T18" fmla="*/ 2147483646 w 374"/>
              <a:gd name="T19" fmla="*/ 2147483646 h 288"/>
              <a:gd name="T20" fmla="*/ 2147483646 w 374"/>
              <a:gd name="T21" fmla="*/ 2147483646 h 288"/>
              <a:gd name="T22" fmla="*/ 2147483646 w 374"/>
              <a:gd name="T23" fmla="*/ 2147483646 h 288"/>
              <a:gd name="T24" fmla="*/ 2147483646 w 374"/>
              <a:gd name="T25" fmla="*/ 2147483646 h 288"/>
              <a:gd name="T26" fmla="*/ 2147483646 w 374"/>
              <a:gd name="T27" fmla="*/ 2147483646 h 288"/>
              <a:gd name="T28" fmla="*/ 2147483646 w 374"/>
              <a:gd name="T29" fmla="*/ 2147483646 h 288"/>
              <a:gd name="T30" fmla="*/ 2147483646 w 374"/>
              <a:gd name="T31" fmla="*/ 2147483646 h 288"/>
              <a:gd name="T32" fmla="*/ 2147483646 w 374"/>
              <a:gd name="T33" fmla="*/ 2147483646 h 288"/>
              <a:gd name="T34" fmla="*/ 2147483646 w 374"/>
              <a:gd name="T35" fmla="*/ 2147483646 h 288"/>
              <a:gd name="T36" fmla="*/ 2147483646 w 374"/>
              <a:gd name="T37" fmla="*/ 2147483646 h 288"/>
              <a:gd name="T38" fmla="*/ 2147483646 w 374"/>
              <a:gd name="T39" fmla="*/ 2147483646 h 288"/>
              <a:gd name="T40" fmla="*/ 2147483646 w 374"/>
              <a:gd name="T41" fmla="*/ 2147483646 h 288"/>
              <a:gd name="T42" fmla="*/ 2147483646 w 374"/>
              <a:gd name="T43" fmla="*/ 2147483646 h 288"/>
              <a:gd name="T44" fmla="*/ 2147483646 w 374"/>
              <a:gd name="T45" fmla="*/ 2147483646 h 288"/>
              <a:gd name="T46" fmla="*/ 2147483646 w 374"/>
              <a:gd name="T47" fmla="*/ 2147483646 h 288"/>
              <a:gd name="T48" fmla="*/ 2147483646 w 374"/>
              <a:gd name="T49" fmla="*/ 2147483646 h 288"/>
              <a:gd name="T50" fmla="*/ 2147483646 w 374"/>
              <a:gd name="T51" fmla="*/ 2147483646 h 288"/>
              <a:gd name="T52" fmla="*/ 2147483646 w 374"/>
              <a:gd name="T53" fmla="*/ 2147483646 h 288"/>
              <a:gd name="T54" fmla="*/ 2147483646 w 374"/>
              <a:gd name="T55" fmla="*/ 2147483646 h 288"/>
              <a:gd name="T56" fmla="*/ 2147483646 w 374"/>
              <a:gd name="T57" fmla="*/ 2147483646 h 288"/>
              <a:gd name="T58" fmla="*/ 2147483646 w 374"/>
              <a:gd name="T59" fmla="*/ 2147483646 h 288"/>
              <a:gd name="T60" fmla="*/ 2147483646 w 374"/>
              <a:gd name="T61" fmla="*/ 2147483646 h 288"/>
              <a:gd name="T62" fmla="*/ 2147483646 w 374"/>
              <a:gd name="T63" fmla="*/ 2147483646 h 288"/>
              <a:gd name="T64" fmla="*/ 2147483646 w 374"/>
              <a:gd name="T65" fmla="*/ 2147483646 h 288"/>
              <a:gd name="T66" fmla="*/ 2147483646 w 374"/>
              <a:gd name="T67" fmla="*/ 2147483646 h 288"/>
              <a:gd name="T68" fmla="*/ 2147483646 w 374"/>
              <a:gd name="T69" fmla="*/ 2147483646 h 288"/>
              <a:gd name="T70" fmla="*/ 2147483646 w 374"/>
              <a:gd name="T71" fmla="*/ 2147483646 h 288"/>
              <a:gd name="T72" fmla="*/ 2147483646 w 374"/>
              <a:gd name="T73" fmla="*/ 2147483646 h 288"/>
              <a:gd name="T74" fmla="*/ 2147483646 w 374"/>
              <a:gd name="T75" fmla="*/ 2147483646 h 288"/>
              <a:gd name="T76" fmla="*/ 2147483646 w 374"/>
              <a:gd name="T77" fmla="*/ 2147483646 h 288"/>
              <a:gd name="T78" fmla="*/ 2147483646 w 374"/>
              <a:gd name="T79" fmla="*/ 2147483646 h 288"/>
              <a:gd name="T80" fmla="*/ 2147483646 w 374"/>
              <a:gd name="T81" fmla="*/ 2147483646 h 288"/>
              <a:gd name="T82" fmla="*/ 2147483646 w 374"/>
              <a:gd name="T83" fmla="*/ 2147483646 h 288"/>
              <a:gd name="T84" fmla="*/ 2147483646 w 374"/>
              <a:gd name="T85" fmla="*/ 2147483646 h 288"/>
              <a:gd name="T86" fmla="*/ 2147483646 w 374"/>
              <a:gd name="T87" fmla="*/ 2147483646 h 288"/>
              <a:gd name="T88" fmla="*/ 2147483646 w 374"/>
              <a:gd name="T89" fmla="*/ 2147483646 h 288"/>
              <a:gd name="T90" fmla="*/ 2147483646 w 374"/>
              <a:gd name="T91" fmla="*/ 2147483646 h 288"/>
              <a:gd name="T92" fmla="*/ 2147483646 w 374"/>
              <a:gd name="T93" fmla="*/ 2147483646 h 288"/>
              <a:gd name="T94" fmla="*/ 2147483646 w 374"/>
              <a:gd name="T95" fmla="*/ 2147483646 h 288"/>
              <a:gd name="T96" fmla="*/ 2147483646 w 374"/>
              <a:gd name="T97" fmla="*/ 2147483646 h 288"/>
              <a:gd name="T98" fmla="*/ 2147483646 w 374"/>
              <a:gd name="T99" fmla="*/ 2147483646 h 288"/>
              <a:gd name="T100" fmla="*/ 2147483646 w 374"/>
              <a:gd name="T101" fmla="*/ 2147483646 h 288"/>
              <a:gd name="T102" fmla="*/ 2147483646 w 374"/>
              <a:gd name="T103" fmla="*/ 2147483646 h 288"/>
              <a:gd name="T104" fmla="*/ 2147483646 w 374"/>
              <a:gd name="T105" fmla="*/ 2147483646 h 28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74"/>
              <a:gd name="T160" fmla="*/ 0 h 288"/>
              <a:gd name="T161" fmla="*/ 374 w 374"/>
              <a:gd name="T162" fmla="*/ 288 h 28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74" h="288">
                <a:moveTo>
                  <a:pt x="7" y="2"/>
                </a:moveTo>
                <a:cubicBezTo>
                  <a:pt x="7" y="2"/>
                  <a:pt x="3" y="23"/>
                  <a:pt x="9" y="40"/>
                </a:cubicBezTo>
                <a:cubicBezTo>
                  <a:pt x="15" y="57"/>
                  <a:pt x="24" y="45"/>
                  <a:pt x="22" y="29"/>
                </a:cubicBezTo>
                <a:cubicBezTo>
                  <a:pt x="20" y="12"/>
                  <a:pt x="35" y="27"/>
                  <a:pt x="50" y="14"/>
                </a:cubicBezTo>
                <a:cubicBezTo>
                  <a:pt x="65" y="0"/>
                  <a:pt x="67" y="19"/>
                  <a:pt x="84" y="34"/>
                </a:cubicBezTo>
                <a:cubicBezTo>
                  <a:pt x="101" y="49"/>
                  <a:pt x="105" y="53"/>
                  <a:pt x="112" y="53"/>
                </a:cubicBezTo>
                <a:cubicBezTo>
                  <a:pt x="112" y="53"/>
                  <a:pt x="130" y="62"/>
                  <a:pt x="138" y="63"/>
                </a:cubicBezTo>
                <a:cubicBezTo>
                  <a:pt x="146" y="64"/>
                  <a:pt x="147" y="52"/>
                  <a:pt x="145" y="48"/>
                </a:cubicBezTo>
                <a:cubicBezTo>
                  <a:pt x="144" y="44"/>
                  <a:pt x="158" y="35"/>
                  <a:pt x="169" y="25"/>
                </a:cubicBezTo>
                <a:cubicBezTo>
                  <a:pt x="180" y="15"/>
                  <a:pt x="211" y="41"/>
                  <a:pt x="211" y="41"/>
                </a:cubicBezTo>
                <a:cubicBezTo>
                  <a:pt x="211" y="41"/>
                  <a:pt x="220" y="55"/>
                  <a:pt x="227" y="61"/>
                </a:cubicBezTo>
                <a:cubicBezTo>
                  <a:pt x="235" y="67"/>
                  <a:pt x="239" y="62"/>
                  <a:pt x="248" y="57"/>
                </a:cubicBezTo>
                <a:cubicBezTo>
                  <a:pt x="258" y="52"/>
                  <a:pt x="255" y="60"/>
                  <a:pt x="258" y="67"/>
                </a:cubicBezTo>
                <a:cubicBezTo>
                  <a:pt x="262" y="73"/>
                  <a:pt x="257" y="82"/>
                  <a:pt x="260" y="87"/>
                </a:cubicBezTo>
                <a:cubicBezTo>
                  <a:pt x="262" y="92"/>
                  <a:pt x="272" y="102"/>
                  <a:pt x="272" y="102"/>
                </a:cubicBezTo>
                <a:cubicBezTo>
                  <a:pt x="292" y="122"/>
                  <a:pt x="292" y="122"/>
                  <a:pt x="292" y="122"/>
                </a:cubicBezTo>
                <a:cubicBezTo>
                  <a:pt x="292" y="122"/>
                  <a:pt x="309" y="131"/>
                  <a:pt x="311" y="135"/>
                </a:cubicBezTo>
                <a:cubicBezTo>
                  <a:pt x="314" y="139"/>
                  <a:pt x="340" y="140"/>
                  <a:pt x="343" y="137"/>
                </a:cubicBezTo>
                <a:cubicBezTo>
                  <a:pt x="347" y="135"/>
                  <a:pt x="358" y="137"/>
                  <a:pt x="358" y="137"/>
                </a:cubicBezTo>
                <a:cubicBezTo>
                  <a:pt x="361" y="145"/>
                  <a:pt x="361" y="145"/>
                  <a:pt x="361" y="145"/>
                </a:cubicBezTo>
                <a:cubicBezTo>
                  <a:pt x="361" y="145"/>
                  <a:pt x="359" y="149"/>
                  <a:pt x="348" y="143"/>
                </a:cubicBezTo>
                <a:cubicBezTo>
                  <a:pt x="338" y="137"/>
                  <a:pt x="339" y="154"/>
                  <a:pt x="341" y="158"/>
                </a:cubicBezTo>
                <a:cubicBezTo>
                  <a:pt x="343" y="163"/>
                  <a:pt x="352" y="170"/>
                  <a:pt x="363" y="170"/>
                </a:cubicBezTo>
                <a:cubicBezTo>
                  <a:pt x="374" y="170"/>
                  <a:pt x="368" y="190"/>
                  <a:pt x="368" y="190"/>
                </a:cubicBezTo>
                <a:cubicBezTo>
                  <a:pt x="368" y="190"/>
                  <a:pt x="354" y="195"/>
                  <a:pt x="347" y="197"/>
                </a:cubicBezTo>
                <a:cubicBezTo>
                  <a:pt x="340" y="200"/>
                  <a:pt x="331" y="204"/>
                  <a:pt x="328" y="214"/>
                </a:cubicBezTo>
                <a:cubicBezTo>
                  <a:pt x="326" y="223"/>
                  <a:pt x="325" y="232"/>
                  <a:pt x="316" y="239"/>
                </a:cubicBezTo>
                <a:cubicBezTo>
                  <a:pt x="306" y="246"/>
                  <a:pt x="296" y="245"/>
                  <a:pt x="290" y="250"/>
                </a:cubicBezTo>
                <a:cubicBezTo>
                  <a:pt x="284" y="255"/>
                  <a:pt x="274" y="250"/>
                  <a:pt x="269" y="258"/>
                </a:cubicBezTo>
                <a:cubicBezTo>
                  <a:pt x="263" y="266"/>
                  <a:pt x="259" y="288"/>
                  <a:pt x="250" y="266"/>
                </a:cubicBezTo>
                <a:cubicBezTo>
                  <a:pt x="240" y="245"/>
                  <a:pt x="251" y="238"/>
                  <a:pt x="251" y="238"/>
                </a:cubicBezTo>
                <a:cubicBezTo>
                  <a:pt x="251" y="238"/>
                  <a:pt x="256" y="229"/>
                  <a:pt x="251" y="228"/>
                </a:cubicBezTo>
                <a:cubicBezTo>
                  <a:pt x="246" y="226"/>
                  <a:pt x="230" y="212"/>
                  <a:pt x="219" y="212"/>
                </a:cubicBezTo>
                <a:cubicBezTo>
                  <a:pt x="209" y="212"/>
                  <a:pt x="179" y="197"/>
                  <a:pt x="173" y="192"/>
                </a:cubicBezTo>
                <a:cubicBezTo>
                  <a:pt x="168" y="188"/>
                  <a:pt x="156" y="176"/>
                  <a:pt x="149" y="176"/>
                </a:cubicBezTo>
                <a:cubicBezTo>
                  <a:pt x="142" y="176"/>
                  <a:pt x="129" y="173"/>
                  <a:pt x="121" y="169"/>
                </a:cubicBezTo>
                <a:cubicBezTo>
                  <a:pt x="112" y="165"/>
                  <a:pt x="98" y="170"/>
                  <a:pt x="98" y="170"/>
                </a:cubicBezTo>
                <a:cubicBezTo>
                  <a:pt x="50" y="192"/>
                  <a:pt x="50" y="192"/>
                  <a:pt x="50" y="192"/>
                </a:cubicBezTo>
                <a:cubicBezTo>
                  <a:pt x="50" y="192"/>
                  <a:pt x="53" y="171"/>
                  <a:pt x="53" y="158"/>
                </a:cubicBezTo>
                <a:cubicBezTo>
                  <a:pt x="53" y="146"/>
                  <a:pt x="49" y="131"/>
                  <a:pt x="57" y="127"/>
                </a:cubicBezTo>
                <a:cubicBezTo>
                  <a:pt x="66" y="122"/>
                  <a:pt x="70" y="122"/>
                  <a:pt x="73" y="119"/>
                </a:cubicBezTo>
                <a:cubicBezTo>
                  <a:pt x="75" y="115"/>
                  <a:pt x="76" y="104"/>
                  <a:pt x="66" y="104"/>
                </a:cubicBezTo>
                <a:cubicBezTo>
                  <a:pt x="55" y="104"/>
                  <a:pt x="50" y="96"/>
                  <a:pt x="47" y="102"/>
                </a:cubicBezTo>
                <a:cubicBezTo>
                  <a:pt x="43" y="108"/>
                  <a:pt x="36" y="111"/>
                  <a:pt x="31" y="111"/>
                </a:cubicBezTo>
                <a:cubicBezTo>
                  <a:pt x="27" y="111"/>
                  <a:pt x="15" y="107"/>
                  <a:pt x="15" y="99"/>
                </a:cubicBezTo>
                <a:cubicBezTo>
                  <a:pt x="15" y="90"/>
                  <a:pt x="16" y="80"/>
                  <a:pt x="22" y="77"/>
                </a:cubicBezTo>
                <a:cubicBezTo>
                  <a:pt x="28" y="75"/>
                  <a:pt x="27" y="65"/>
                  <a:pt x="36" y="72"/>
                </a:cubicBezTo>
                <a:cubicBezTo>
                  <a:pt x="46" y="79"/>
                  <a:pt x="54" y="76"/>
                  <a:pt x="60" y="74"/>
                </a:cubicBezTo>
                <a:cubicBezTo>
                  <a:pt x="66" y="72"/>
                  <a:pt x="68" y="65"/>
                  <a:pt x="63" y="59"/>
                </a:cubicBezTo>
                <a:cubicBezTo>
                  <a:pt x="58" y="53"/>
                  <a:pt x="47" y="30"/>
                  <a:pt x="47" y="30"/>
                </a:cubicBezTo>
                <a:cubicBezTo>
                  <a:pt x="47" y="30"/>
                  <a:pt x="35" y="42"/>
                  <a:pt x="28" y="52"/>
                </a:cubicBezTo>
                <a:cubicBezTo>
                  <a:pt x="21" y="61"/>
                  <a:pt x="2" y="59"/>
                  <a:pt x="1" y="41"/>
                </a:cubicBezTo>
                <a:cubicBezTo>
                  <a:pt x="0" y="23"/>
                  <a:pt x="7" y="2"/>
                  <a:pt x="7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1" name="Freeform 607"/>
          <p:cNvSpPr>
            <a:spLocks/>
          </p:cNvSpPr>
          <p:nvPr userDrawn="1"/>
        </p:nvSpPr>
        <p:spPr bwMode="auto">
          <a:xfrm>
            <a:off x="7135597" y="3920861"/>
            <a:ext cx="195987" cy="135683"/>
          </a:xfrm>
          <a:custGeom>
            <a:avLst/>
            <a:gdLst>
              <a:gd name="T0" fmla="*/ 2147483646 w 210"/>
              <a:gd name="T1" fmla="*/ 2147483646 h 144"/>
              <a:gd name="T2" fmla="*/ 2147483646 w 210"/>
              <a:gd name="T3" fmla="*/ 2147483646 h 144"/>
              <a:gd name="T4" fmla="*/ 2147483646 w 210"/>
              <a:gd name="T5" fmla="*/ 2147483646 h 144"/>
              <a:gd name="T6" fmla="*/ 2147483646 w 210"/>
              <a:gd name="T7" fmla="*/ 2147483646 h 144"/>
              <a:gd name="T8" fmla="*/ 2147483646 w 210"/>
              <a:gd name="T9" fmla="*/ 2147483646 h 144"/>
              <a:gd name="T10" fmla="*/ 2147483646 w 210"/>
              <a:gd name="T11" fmla="*/ 2147483646 h 144"/>
              <a:gd name="T12" fmla="*/ 2147483646 w 210"/>
              <a:gd name="T13" fmla="*/ 2147483646 h 144"/>
              <a:gd name="T14" fmla="*/ 2147483646 w 210"/>
              <a:gd name="T15" fmla="*/ 2147483646 h 144"/>
              <a:gd name="T16" fmla="*/ 2147483646 w 210"/>
              <a:gd name="T17" fmla="*/ 2147483646 h 144"/>
              <a:gd name="T18" fmla="*/ 2147483646 w 210"/>
              <a:gd name="T19" fmla="*/ 2147483646 h 144"/>
              <a:gd name="T20" fmla="*/ 2147483646 w 210"/>
              <a:gd name="T21" fmla="*/ 2147483646 h 144"/>
              <a:gd name="T22" fmla="*/ 2147483646 w 210"/>
              <a:gd name="T23" fmla="*/ 2147483646 h 144"/>
              <a:gd name="T24" fmla="*/ 2147483646 w 210"/>
              <a:gd name="T25" fmla="*/ 2147483646 h 144"/>
              <a:gd name="T26" fmla="*/ 2147483646 w 210"/>
              <a:gd name="T27" fmla="*/ 2147483646 h 144"/>
              <a:gd name="T28" fmla="*/ 2147483646 w 210"/>
              <a:gd name="T29" fmla="*/ 2147483646 h 144"/>
              <a:gd name="T30" fmla="*/ 2147483646 w 210"/>
              <a:gd name="T31" fmla="*/ 0 h 144"/>
              <a:gd name="T32" fmla="*/ 2147483646 w 210"/>
              <a:gd name="T33" fmla="*/ 2147483646 h 144"/>
              <a:gd name="T34" fmla="*/ 2147483646 w 210"/>
              <a:gd name="T35" fmla="*/ 2147483646 h 144"/>
              <a:gd name="T36" fmla="*/ 2147483646 w 210"/>
              <a:gd name="T37" fmla="*/ 2147483646 h 144"/>
              <a:gd name="T38" fmla="*/ 2147483646 w 210"/>
              <a:gd name="T39" fmla="*/ 2147483646 h 144"/>
              <a:gd name="T40" fmla="*/ 2147483646 w 210"/>
              <a:gd name="T41" fmla="*/ 2147483646 h 144"/>
              <a:gd name="T42" fmla="*/ 2147483646 w 210"/>
              <a:gd name="T43" fmla="*/ 2147483646 h 144"/>
              <a:gd name="T44" fmla="*/ 2147483646 w 210"/>
              <a:gd name="T45" fmla="*/ 2147483646 h 144"/>
              <a:gd name="T46" fmla="*/ 0 w 210"/>
              <a:gd name="T47" fmla="*/ 2147483646 h 144"/>
              <a:gd name="T48" fmla="*/ 2147483646 w 210"/>
              <a:gd name="T49" fmla="*/ 2147483646 h 144"/>
              <a:gd name="T50" fmla="*/ 2147483646 w 210"/>
              <a:gd name="T51" fmla="*/ 2147483646 h 144"/>
              <a:gd name="T52" fmla="*/ 2147483646 w 210"/>
              <a:gd name="T53" fmla="*/ 2147483646 h 144"/>
              <a:gd name="T54" fmla="*/ 2147483646 w 210"/>
              <a:gd name="T55" fmla="*/ 2147483646 h 144"/>
              <a:gd name="T56" fmla="*/ 2147483646 w 210"/>
              <a:gd name="T57" fmla="*/ 2147483646 h 144"/>
              <a:gd name="T58" fmla="*/ 2147483646 w 210"/>
              <a:gd name="T59" fmla="*/ 2147483646 h 144"/>
              <a:gd name="T60" fmla="*/ 2147483646 w 210"/>
              <a:gd name="T61" fmla="*/ 2147483646 h 144"/>
              <a:gd name="T62" fmla="*/ 2147483646 w 210"/>
              <a:gd name="T63" fmla="*/ 2147483646 h 14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10"/>
              <a:gd name="T97" fmla="*/ 0 h 144"/>
              <a:gd name="T98" fmla="*/ 210 w 210"/>
              <a:gd name="T99" fmla="*/ 144 h 14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10" h="144">
                <a:moveTo>
                  <a:pt x="210" y="125"/>
                </a:moveTo>
                <a:cubicBezTo>
                  <a:pt x="207" y="116"/>
                  <a:pt x="209" y="107"/>
                  <a:pt x="209" y="107"/>
                </a:cubicBezTo>
                <a:cubicBezTo>
                  <a:pt x="209" y="107"/>
                  <a:pt x="208" y="88"/>
                  <a:pt x="201" y="82"/>
                </a:cubicBezTo>
                <a:cubicBezTo>
                  <a:pt x="194" y="77"/>
                  <a:pt x="187" y="82"/>
                  <a:pt x="181" y="78"/>
                </a:cubicBezTo>
                <a:cubicBezTo>
                  <a:pt x="174" y="74"/>
                  <a:pt x="181" y="57"/>
                  <a:pt x="179" y="53"/>
                </a:cubicBezTo>
                <a:cubicBezTo>
                  <a:pt x="178" y="48"/>
                  <a:pt x="166" y="48"/>
                  <a:pt x="166" y="48"/>
                </a:cubicBezTo>
                <a:cubicBezTo>
                  <a:pt x="158" y="53"/>
                  <a:pt x="127" y="47"/>
                  <a:pt x="127" y="47"/>
                </a:cubicBezTo>
                <a:cubicBezTo>
                  <a:pt x="113" y="51"/>
                  <a:pt x="113" y="51"/>
                  <a:pt x="113" y="51"/>
                </a:cubicBezTo>
                <a:cubicBezTo>
                  <a:pt x="113" y="51"/>
                  <a:pt x="103" y="58"/>
                  <a:pt x="96" y="57"/>
                </a:cubicBezTo>
                <a:cubicBezTo>
                  <a:pt x="90" y="56"/>
                  <a:pt x="82" y="57"/>
                  <a:pt x="73" y="56"/>
                </a:cubicBezTo>
                <a:cubicBezTo>
                  <a:pt x="63" y="55"/>
                  <a:pt x="65" y="51"/>
                  <a:pt x="68" y="41"/>
                </a:cubicBezTo>
                <a:cubicBezTo>
                  <a:pt x="70" y="30"/>
                  <a:pt x="76" y="40"/>
                  <a:pt x="77" y="41"/>
                </a:cubicBezTo>
                <a:cubicBezTo>
                  <a:pt x="79" y="41"/>
                  <a:pt x="91" y="37"/>
                  <a:pt x="94" y="36"/>
                </a:cubicBezTo>
                <a:cubicBezTo>
                  <a:pt x="97" y="35"/>
                  <a:pt x="105" y="29"/>
                  <a:pt x="105" y="29"/>
                </a:cubicBezTo>
                <a:cubicBezTo>
                  <a:pt x="105" y="29"/>
                  <a:pt x="87" y="26"/>
                  <a:pt x="95" y="17"/>
                </a:cubicBezTo>
                <a:cubicBezTo>
                  <a:pt x="103" y="8"/>
                  <a:pt x="102" y="0"/>
                  <a:pt x="102" y="0"/>
                </a:cubicBezTo>
                <a:cubicBezTo>
                  <a:pt x="102" y="0"/>
                  <a:pt x="87" y="0"/>
                  <a:pt x="78" y="2"/>
                </a:cubicBezTo>
                <a:cubicBezTo>
                  <a:pt x="69" y="4"/>
                  <a:pt x="58" y="5"/>
                  <a:pt x="58" y="5"/>
                </a:cubicBezTo>
                <a:cubicBezTo>
                  <a:pt x="47" y="28"/>
                  <a:pt x="47" y="28"/>
                  <a:pt x="47" y="28"/>
                </a:cubicBezTo>
                <a:cubicBezTo>
                  <a:pt x="44" y="49"/>
                  <a:pt x="44" y="49"/>
                  <a:pt x="44" y="49"/>
                </a:cubicBezTo>
                <a:cubicBezTo>
                  <a:pt x="44" y="49"/>
                  <a:pt x="26" y="53"/>
                  <a:pt x="19" y="50"/>
                </a:cubicBezTo>
                <a:cubicBezTo>
                  <a:pt x="12" y="48"/>
                  <a:pt x="4" y="58"/>
                  <a:pt x="4" y="58"/>
                </a:cubicBezTo>
                <a:cubicBezTo>
                  <a:pt x="10" y="81"/>
                  <a:pt x="10" y="81"/>
                  <a:pt x="10" y="81"/>
                </a:cubicBezTo>
                <a:cubicBezTo>
                  <a:pt x="10" y="81"/>
                  <a:pt x="0" y="128"/>
                  <a:pt x="0" y="128"/>
                </a:cubicBezTo>
                <a:cubicBezTo>
                  <a:pt x="0" y="128"/>
                  <a:pt x="7" y="135"/>
                  <a:pt x="12" y="134"/>
                </a:cubicBezTo>
                <a:cubicBezTo>
                  <a:pt x="16" y="134"/>
                  <a:pt x="28" y="144"/>
                  <a:pt x="34" y="140"/>
                </a:cubicBezTo>
                <a:cubicBezTo>
                  <a:pt x="40" y="136"/>
                  <a:pt x="65" y="121"/>
                  <a:pt x="69" y="116"/>
                </a:cubicBezTo>
                <a:cubicBezTo>
                  <a:pt x="73" y="111"/>
                  <a:pt x="90" y="98"/>
                  <a:pt x="95" y="107"/>
                </a:cubicBezTo>
                <a:cubicBezTo>
                  <a:pt x="101" y="117"/>
                  <a:pt x="109" y="127"/>
                  <a:pt x="121" y="135"/>
                </a:cubicBezTo>
                <a:cubicBezTo>
                  <a:pt x="134" y="143"/>
                  <a:pt x="149" y="125"/>
                  <a:pt x="154" y="123"/>
                </a:cubicBezTo>
                <a:cubicBezTo>
                  <a:pt x="159" y="121"/>
                  <a:pt x="167" y="129"/>
                  <a:pt x="174" y="132"/>
                </a:cubicBezTo>
                <a:cubicBezTo>
                  <a:pt x="182" y="134"/>
                  <a:pt x="200" y="141"/>
                  <a:pt x="210" y="12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2" name="Freeform 608"/>
          <p:cNvSpPr>
            <a:spLocks/>
          </p:cNvSpPr>
          <p:nvPr userDrawn="1"/>
        </p:nvSpPr>
        <p:spPr bwMode="auto">
          <a:xfrm>
            <a:off x="6969763" y="4012992"/>
            <a:ext cx="361820" cy="266339"/>
          </a:xfrm>
          <a:custGeom>
            <a:avLst/>
            <a:gdLst>
              <a:gd name="T0" fmla="*/ 2147483646 w 387"/>
              <a:gd name="T1" fmla="*/ 2147483646 h 286"/>
              <a:gd name="T2" fmla="*/ 2147483646 w 387"/>
              <a:gd name="T3" fmla="*/ 2147483646 h 286"/>
              <a:gd name="T4" fmla="*/ 2147483646 w 387"/>
              <a:gd name="T5" fmla="*/ 2147483646 h 286"/>
              <a:gd name="T6" fmla="*/ 2147483646 w 387"/>
              <a:gd name="T7" fmla="*/ 2147483646 h 286"/>
              <a:gd name="T8" fmla="*/ 2147483646 w 387"/>
              <a:gd name="T9" fmla="*/ 2147483646 h 286"/>
              <a:gd name="T10" fmla="*/ 2147483646 w 387"/>
              <a:gd name="T11" fmla="*/ 2147483646 h 286"/>
              <a:gd name="T12" fmla="*/ 2147483646 w 387"/>
              <a:gd name="T13" fmla="*/ 2147483646 h 286"/>
              <a:gd name="T14" fmla="*/ 2147483646 w 387"/>
              <a:gd name="T15" fmla="*/ 2147483646 h 286"/>
              <a:gd name="T16" fmla="*/ 2147483646 w 387"/>
              <a:gd name="T17" fmla="*/ 2147483646 h 286"/>
              <a:gd name="T18" fmla="*/ 2147483646 w 387"/>
              <a:gd name="T19" fmla="*/ 2147483646 h 286"/>
              <a:gd name="T20" fmla="*/ 2147483646 w 387"/>
              <a:gd name="T21" fmla="*/ 2147483646 h 286"/>
              <a:gd name="T22" fmla="*/ 2147483646 w 387"/>
              <a:gd name="T23" fmla="*/ 2147483646 h 286"/>
              <a:gd name="T24" fmla="*/ 2147483646 w 387"/>
              <a:gd name="T25" fmla="*/ 2147483646 h 286"/>
              <a:gd name="T26" fmla="*/ 2147483646 w 387"/>
              <a:gd name="T27" fmla="*/ 2147483646 h 286"/>
              <a:gd name="T28" fmla="*/ 2147483646 w 387"/>
              <a:gd name="T29" fmla="*/ 2147483646 h 286"/>
              <a:gd name="T30" fmla="*/ 2147483646 w 387"/>
              <a:gd name="T31" fmla="*/ 2147483646 h 286"/>
              <a:gd name="T32" fmla="*/ 2147483646 w 387"/>
              <a:gd name="T33" fmla="*/ 2147483646 h 286"/>
              <a:gd name="T34" fmla="*/ 2147483646 w 387"/>
              <a:gd name="T35" fmla="*/ 2147483646 h 286"/>
              <a:gd name="T36" fmla="*/ 2147483646 w 387"/>
              <a:gd name="T37" fmla="*/ 2147483646 h 286"/>
              <a:gd name="T38" fmla="*/ 2147483646 w 387"/>
              <a:gd name="T39" fmla="*/ 2147483646 h 286"/>
              <a:gd name="T40" fmla="*/ 2147483646 w 387"/>
              <a:gd name="T41" fmla="*/ 2147483646 h 286"/>
              <a:gd name="T42" fmla="*/ 2147483646 w 387"/>
              <a:gd name="T43" fmla="*/ 2147483646 h 286"/>
              <a:gd name="T44" fmla="*/ 2147483646 w 387"/>
              <a:gd name="T45" fmla="*/ 2147483646 h 286"/>
              <a:gd name="T46" fmla="*/ 2147483646 w 387"/>
              <a:gd name="T47" fmla="*/ 2147483646 h 286"/>
              <a:gd name="T48" fmla="*/ 2147483646 w 387"/>
              <a:gd name="T49" fmla="*/ 2147483646 h 286"/>
              <a:gd name="T50" fmla="*/ 2147483646 w 387"/>
              <a:gd name="T51" fmla="*/ 2147483646 h 286"/>
              <a:gd name="T52" fmla="*/ 2147483646 w 387"/>
              <a:gd name="T53" fmla="*/ 2147483646 h 286"/>
              <a:gd name="T54" fmla="*/ 2147483646 w 387"/>
              <a:gd name="T55" fmla="*/ 2147483646 h 286"/>
              <a:gd name="T56" fmla="*/ 2147483646 w 387"/>
              <a:gd name="T57" fmla="*/ 2147483646 h 286"/>
              <a:gd name="T58" fmla="*/ 2147483646 w 387"/>
              <a:gd name="T59" fmla="*/ 2147483646 h 286"/>
              <a:gd name="T60" fmla="*/ 2147483646 w 387"/>
              <a:gd name="T61" fmla="*/ 2147483646 h 286"/>
              <a:gd name="T62" fmla="*/ 2147483646 w 387"/>
              <a:gd name="T63" fmla="*/ 2147483646 h 286"/>
              <a:gd name="T64" fmla="*/ 2147483646 w 387"/>
              <a:gd name="T65" fmla="*/ 2147483646 h 286"/>
              <a:gd name="T66" fmla="*/ 2147483646 w 387"/>
              <a:gd name="T67" fmla="*/ 2147483646 h 286"/>
              <a:gd name="T68" fmla="*/ 2147483646 w 387"/>
              <a:gd name="T69" fmla="*/ 2147483646 h 286"/>
              <a:gd name="T70" fmla="*/ 2147483646 w 387"/>
              <a:gd name="T71" fmla="*/ 2147483646 h 286"/>
              <a:gd name="T72" fmla="*/ 2147483646 w 387"/>
              <a:gd name="T73" fmla="*/ 2147483646 h 286"/>
              <a:gd name="T74" fmla="*/ 2147483646 w 387"/>
              <a:gd name="T75" fmla="*/ 2147483646 h 286"/>
              <a:gd name="T76" fmla="*/ 2147483646 w 387"/>
              <a:gd name="T77" fmla="*/ 2147483646 h 286"/>
              <a:gd name="T78" fmla="*/ 2147483646 w 387"/>
              <a:gd name="T79" fmla="*/ 2147483646 h 28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87"/>
              <a:gd name="T121" fmla="*/ 0 h 286"/>
              <a:gd name="T122" fmla="*/ 387 w 387"/>
              <a:gd name="T123" fmla="*/ 286 h 28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87" h="286">
                <a:moveTo>
                  <a:pt x="387" y="27"/>
                </a:moveTo>
                <a:cubicBezTo>
                  <a:pt x="377" y="43"/>
                  <a:pt x="359" y="36"/>
                  <a:pt x="351" y="34"/>
                </a:cubicBezTo>
                <a:cubicBezTo>
                  <a:pt x="344" y="31"/>
                  <a:pt x="336" y="23"/>
                  <a:pt x="331" y="25"/>
                </a:cubicBezTo>
                <a:cubicBezTo>
                  <a:pt x="326" y="27"/>
                  <a:pt x="311" y="45"/>
                  <a:pt x="298" y="37"/>
                </a:cubicBezTo>
                <a:cubicBezTo>
                  <a:pt x="286" y="29"/>
                  <a:pt x="278" y="19"/>
                  <a:pt x="272" y="9"/>
                </a:cubicBezTo>
                <a:cubicBezTo>
                  <a:pt x="267" y="0"/>
                  <a:pt x="250" y="13"/>
                  <a:pt x="246" y="18"/>
                </a:cubicBezTo>
                <a:cubicBezTo>
                  <a:pt x="242" y="23"/>
                  <a:pt x="217" y="38"/>
                  <a:pt x="211" y="42"/>
                </a:cubicBezTo>
                <a:cubicBezTo>
                  <a:pt x="205" y="46"/>
                  <a:pt x="193" y="36"/>
                  <a:pt x="189" y="36"/>
                </a:cubicBezTo>
                <a:cubicBezTo>
                  <a:pt x="184" y="37"/>
                  <a:pt x="177" y="30"/>
                  <a:pt x="177" y="30"/>
                </a:cubicBezTo>
                <a:cubicBezTo>
                  <a:pt x="173" y="32"/>
                  <a:pt x="158" y="27"/>
                  <a:pt x="152" y="23"/>
                </a:cubicBezTo>
                <a:cubicBezTo>
                  <a:pt x="152" y="23"/>
                  <a:pt x="138" y="28"/>
                  <a:pt x="131" y="30"/>
                </a:cubicBezTo>
                <a:cubicBezTo>
                  <a:pt x="124" y="33"/>
                  <a:pt x="115" y="37"/>
                  <a:pt x="112" y="47"/>
                </a:cubicBezTo>
                <a:cubicBezTo>
                  <a:pt x="110" y="56"/>
                  <a:pt x="109" y="65"/>
                  <a:pt x="100" y="72"/>
                </a:cubicBezTo>
                <a:cubicBezTo>
                  <a:pt x="90" y="79"/>
                  <a:pt x="80" y="78"/>
                  <a:pt x="74" y="83"/>
                </a:cubicBezTo>
                <a:cubicBezTo>
                  <a:pt x="68" y="88"/>
                  <a:pt x="58" y="83"/>
                  <a:pt x="53" y="91"/>
                </a:cubicBezTo>
                <a:cubicBezTo>
                  <a:pt x="47" y="99"/>
                  <a:pt x="43" y="121"/>
                  <a:pt x="34" y="99"/>
                </a:cubicBezTo>
                <a:cubicBezTo>
                  <a:pt x="24" y="78"/>
                  <a:pt x="35" y="71"/>
                  <a:pt x="35" y="71"/>
                </a:cubicBezTo>
                <a:cubicBezTo>
                  <a:pt x="35" y="71"/>
                  <a:pt x="14" y="86"/>
                  <a:pt x="20" y="104"/>
                </a:cubicBezTo>
                <a:cubicBezTo>
                  <a:pt x="26" y="122"/>
                  <a:pt x="24" y="136"/>
                  <a:pt x="15" y="142"/>
                </a:cubicBezTo>
                <a:cubicBezTo>
                  <a:pt x="6" y="148"/>
                  <a:pt x="0" y="150"/>
                  <a:pt x="4" y="163"/>
                </a:cubicBezTo>
                <a:cubicBezTo>
                  <a:pt x="9" y="176"/>
                  <a:pt x="11" y="187"/>
                  <a:pt x="21" y="199"/>
                </a:cubicBezTo>
                <a:cubicBezTo>
                  <a:pt x="30" y="211"/>
                  <a:pt x="37" y="223"/>
                  <a:pt x="37" y="229"/>
                </a:cubicBezTo>
                <a:cubicBezTo>
                  <a:pt x="37" y="234"/>
                  <a:pt x="38" y="239"/>
                  <a:pt x="31" y="247"/>
                </a:cubicBezTo>
                <a:cubicBezTo>
                  <a:pt x="24" y="256"/>
                  <a:pt x="10" y="266"/>
                  <a:pt x="10" y="266"/>
                </a:cubicBezTo>
                <a:cubicBezTo>
                  <a:pt x="10" y="266"/>
                  <a:pt x="17" y="279"/>
                  <a:pt x="31" y="282"/>
                </a:cubicBezTo>
                <a:cubicBezTo>
                  <a:pt x="46" y="286"/>
                  <a:pt x="95" y="278"/>
                  <a:pt x="112" y="275"/>
                </a:cubicBezTo>
                <a:cubicBezTo>
                  <a:pt x="130" y="273"/>
                  <a:pt x="150" y="272"/>
                  <a:pt x="155" y="263"/>
                </a:cubicBezTo>
                <a:cubicBezTo>
                  <a:pt x="159" y="253"/>
                  <a:pt x="158" y="248"/>
                  <a:pt x="162" y="232"/>
                </a:cubicBezTo>
                <a:cubicBezTo>
                  <a:pt x="165" y="216"/>
                  <a:pt x="168" y="203"/>
                  <a:pt x="177" y="205"/>
                </a:cubicBezTo>
                <a:cubicBezTo>
                  <a:pt x="186" y="207"/>
                  <a:pt x="179" y="205"/>
                  <a:pt x="200" y="200"/>
                </a:cubicBezTo>
                <a:cubicBezTo>
                  <a:pt x="222" y="196"/>
                  <a:pt x="231" y="177"/>
                  <a:pt x="238" y="173"/>
                </a:cubicBezTo>
                <a:cubicBezTo>
                  <a:pt x="245" y="170"/>
                  <a:pt x="254" y="143"/>
                  <a:pt x="257" y="135"/>
                </a:cubicBezTo>
                <a:cubicBezTo>
                  <a:pt x="259" y="126"/>
                  <a:pt x="269" y="119"/>
                  <a:pt x="278" y="117"/>
                </a:cubicBezTo>
                <a:cubicBezTo>
                  <a:pt x="287" y="115"/>
                  <a:pt x="292" y="104"/>
                  <a:pt x="296" y="95"/>
                </a:cubicBezTo>
                <a:cubicBezTo>
                  <a:pt x="299" y="85"/>
                  <a:pt x="301" y="77"/>
                  <a:pt x="296" y="72"/>
                </a:cubicBezTo>
                <a:cubicBezTo>
                  <a:pt x="290" y="68"/>
                  <a:pt x="288" y="59"/>
                  <a:pt x="296" y="58"/>
                </a:cubicBezTo>
                <a:cubicBezTo>
                  <a:pt x="303" y="57"/>
                  <a:pt x="304" y="45"/>
                  <a:pt x="310" y="48"/>
                </a:cubicBezTo>
                <a:cubicBezTo>
                  <a:pt x="315" y="50"/>
                  <a:pt x="320" y="48"/>
                  <a:pt x="328" y="44"/>
                </a:cubicBezTo>
                <a:cubicBezTo>
                  <a:pt x="337" y="41"/>
                  <a:pt x="334" y="38"/>
                  <a:pt x="347" y="43"/>
                </a:cubicBezTo>
                <a:cubicBezTo>
                  <a:pt x="360" y="48"/>
                  <a:pt x="387" y="43"/>
                  <a:pt x="387" y="2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3" name="Freeform 609"/>
          <p:cNvSpPr>
            <a:spLocks/>
          </p:cNvSpPr>
          <p:nvPr userDrawn="1"/>
        </p:nvSpPr>
        <p:spPr bwMode="auto">
          <a:xfrm>
            <a:off x="6483987" y="3823706"/>
            <a:ext cx="169184" cy="97156"/>
          </a:xfrm>
          <a:custGeom>
            <a:avLst/>
            <a:gdLst>
              <a:gd name="T0" fmla="*/ 2147483646 w 182"/>
              <a:gd name="T1" fmla="*/ 2147483646 h 104"/>
              <a:gd name="T2" fmla="*/ 2147483646 w 182"/>
              <a:gd name="T3" fmla="*/ 2147483646 h 104"/>
              <a:gd name="T4" fmla="*/ 2147483646 w 182"/>
              <a:gd name="T5" fmla="*/ 2147483646 h 104"/>
              <a:gd name="T6" fmla="*/ 0 w 182"/>
              <a:gd name="T7" fmla="*/ 2147483646 h 104"/>
              <a:gd name="T8" fmla="*/ 2147483646 w 182"/>
              <a:gd name="T9" fmla="*/ 2147483646 h 104"/>
              <a:gd name="T10" fmla="*/ 2147483646 w 182"/>
              <a:gd name="T11" fmla="*/ 2147483646 h 104"/>
              <a:gd name="T12" fmla="*/ 2147483646 w 182"/>
              <a:gd name="T13" fmla="*/ 2147483646 h 104"/>
              <a:gd name="T14" fmla="*/ 2147483646 w 182"/>
              <a:gd name="T15" fmla="*/ 2147483646 h 104"/>
              <a:gd name="T16" fmla="*/ 2147483646 w 182"/>
              <a:gd name="T17" fmla="*/ 2147483646 h 104"/>
              <a:gd name="T18" fmla="*/ 2147483646 w 182"/>
              <a:gd name="T19" fmla="*/ 2147483646 h 104"/>
              <a:gd name="T20" fmla="*/ 2147483646 w 182"/>
              <a:gd name="T21" fmla="*/ 2147483646 h 104"/>
              <a:gd name="T22" fmla="*/ 2147483646 w 182"/>
              <a:gd name="T23" fmla="*/ 2147483646 h 104"/>
              <a:gd name="T24" fmla="*/ 2147483646 w 182"/>
              <a:gd name="T25" fmla="*/ 2147483646 h 10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82"/>
              <a:gd name="T40" fmla="*/ 0 h 104"/>
              <a:gd name="T41" fmla="*/ 182 w 182"/>
              <a:gd name="T42" fmla="*/ 104 h 10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82" h="104">
                <a:moveTo>
                  <a:pt x="180" y="78"/>
                </a:moveTo>
                <a:cubicBezTo>
                  <a:pt x="154" y="55"/>
                  <a:pt x="163" y="42"/>
                  <a:pt x="144" y="41"/>
                </a:cubicBezTo>
                <a:cubicBezTo>
                  <a:pt x="124" y="39"/>
                  <a:pt x="89" y="31"/>
                  <a:pt x="77" y="29"/>
                </a:cubicBezTo>
                <a:cubicBezTo>
                  <a:pt x="66" y="28"/>
                  <a:pt x="28" y="0"/>
                  <a:pt x="0" y="9"/>
                </a:cubicBezTo>
                <a:cubicBezTo>
                  <a:pt x="0" y="9"/>
                  <a:pt x="6" y="23"/>
                  <a:pt x="13" y="27"/>
                </a:cubicBezTo>
                <a:cubicBezTo>
                  <a:pt x="19" y="31"/>
                  <a:pt x="37" y="48"/>
                  <a:pt x="38" y="54"/>
                </a:cubicBezTo>
                <a:cubicBezTo>
                  <a:pt x="39" y="59"/>
                  <a:pt x="20" y="71"/>
                  <a:pt x="27" y="83"/>
                </a:cubicBezTo>
                <a:cubicBezTo>
                  <a:pt x="34" y="94"/>
                  <a:pt x="56" y="98"/>
                  <a:pt x="66" y="97"/>
                </a:cubicBezTo>
                <a:cubicBezTo>
                  <a:pt x="76" y="96"/>
                  <a:pt x="90" y="95"/>
                  <a:pt x="105" y="95"/>
                </a:cubicBezTo>
                <a:cubicBezTo>
                  <a:pt x="120" y="95"/>
                  <a:pt x="118" y="91"/>
                  <a:pt x="130" y="97"/>
                </a:cubicBezTo>
                <a:cubicBezTo>
                  <a:pt x="141" y="104"/>
                  <a:pt x="150" y="104"/>
                  <a:pt x="153" y="100"/>
                </a:cubicBezTo>
                <a:cubicBezTo>
                  <a:pt x="156" y="96"/>
                  <a:pt x="182" y="104"/>
                  <a:pt x="179" y="98"/>
                </a:cubicBezTo>
                <a:cubicBezTo>
                  <a:pt x="176" y="92"/>
                  <a:pt x="180" y="78"/>
                  <a:pt x="180" y="7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4" name="Freeform 610"/>
          <p:cNvSpPr>
            <a:spLocks/>
          </p:cNvSpPr>
          <p:nvPr userDrawn="1"/>
        </p:nvSpPr>
        <p:spPr bwMode="auto">
          <a:xfrm>
            <a:off x="6604594" y="3862234"/>
            <a:ext cx="135681" cy="150759"/>
          </a:xfrm>
          <a:custGeom>
            <a:avLst/>
            <a:gdLst>
              <a:gd name="T0" fmla="*/ 0 w 145"/>
              <a:gd name="T1" fmla="*/ 2147483646 h 163"/>
              <a:gd name="T2" fmla="*/ 2147483646 w 145"/>
              <a:gd name="T3" fmla="*/ 2147483646 h 163"/>
              <a:gd name="T4" fmla="*/ 2147483646 w 145"/>
              <a:gd name="T5" fmla="*/ 2147483646 h 163"/>
              <a:gd name="T6" fmla="*/ 2147483646 w 145"/>
              <a:gd name="T7" fmla="*/ 2147483646 h 163"/>
              <a:gd name="T8" fmla="*/ 2147483646 w 145"/>
              <a:gd name="T9" fmla="*/ 2147483646 h 163"/>
              <a:gd name="T10" fmla="*/ 2147483646 w 145"/>
              <a:gd name="T11" fmla="*/ 0 h 163"/>
              <a:gd name="T12" fmla="*/ 2147483646 w 145"/>
              <a:gd name="T13" fmla="*/ 2147483646 h 163"/>
              <a:gd name="T14" fmla="*/ 2147483646 w 145"/>
              <a:gd name="T15" fmla="*/ 2147483646 h 163"/>
              <a:gd name="T16" fmla="*/ 2147483646 w 145"/>
              <a:gd name="T17" fmla="*/ 2147483646 h 163"/>
              <a:gd name="T18" fmla="*/ 2147483646 w 145"/>
              <a:gd name="T19" fmla="*/ 2147483646 h 163"/>
              <a:gd name="T20" fmla="*/ 2147483646 w 145"/>
              <a:gd name="T21" fmla="*/ 2147483646 h 163"/>
              <a:gd name="T22" fmla="*/ 2147483646 w 145"/>
              <a:gd name="T23" fmla="*/ 2147483646 h 163"/>
              <a:gd name="T24" fmla="*/ 2147483646 w 145"/>
              <a:gd name="T25" fmla="*/ 2147483646 h 163"/>
              <a:gd name="T26" fmla="*/ 2147483646 w 145"/>
              <a:gd name="T27" fmla="*/ 2147483646 h 163"/>
              <a:gd name="T28" fmla="*/ 2147483646 w 145"/>
              <a:gd name="T29" fmla="*/ 2147483646 h 163"/>
              <a:gd name="T30" fmla="*/ 2147483646 w 145"/>
              <a:gd name="T31" fmla="*/ 2147483646 h 163"/>
              <a:gd name="T32" fmla="*/ 2147483646 w 145"/>
              <a:gd name="T33" fmla="*/ 2147483646 h 163"/>
              <a:gd name="T34" fmla="*/ 2147483646 w 145"/>
              <a:gd name="T35" fmla="*/ 2147483646 h 163"/>
              <a:gd name="T36" fmla="*/ 2147483646 w 145"/>
              <a:gd name="T37" fmla="*/ 2147483646 h 163"/>
              <a:gd name="T38" fmla="*/ 0 w 145"/>
              <a:gd name="T39" fmla="*/ 2147483646 h 16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45"/>
              <a:gd name="T61" fmla="*/ 0 h 163"/>
              <a:gd name="T62" fmla="*/ 145 w 145"/>
              <a:gd name="T63" fmla="*/ 163 h 16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45" h="163">
                <a:moveTo>
                  <a:pt x="0" y="56"/>
                </a:moveTo>
                <a:cubicBezTo>
                  <a:pt x="11" y="63"/>
                  <a:pt x="20" y="63"/>
                  <a:pt x="23" y="59"/>
                </a:cubicBezTo>
                <a:cubicBezTo>
                  <a:pt x="26" y="55"/>
                  <a:pt x="52" y="63"/>
                  <a:pt x="49" y="57"/>
                </a:cubicBezTo>
                <a:cubicBezTo>
                  <a:pt x="46" y="51"/>
                  <a:pt x="50" y="37"/>
                  <a:pt x="50" y="37"/>
                </a:cubicBezTo>
                <a:cubicBezTo>
                  <a:pt x="76" y="60"/>
                  <a:pt x="90" y="47"/>
                  <a:pt x="82" y="37"/>
                </a:cubicBezTo>
                <a:cubicBezTo>
                  <a:pt x="74" y="27"/>
                  <a:pt x="76" y="0"/>
                  <a:pt x="76" y="0"/>
                </a:cubicBezTo>
                <a:cubicBezTo>
                  <a:pt x="76" y="0"/>
                  <a:pt x="89" y="26"/>
                  <a:pt x="97" y="34"/>
                </a:cubicBezTo>
                <a:cubicBezTo>
                  <a:pt x="104" y="43"/>
                  <a:pt x="111" y="59"/>
                  <a:pt x="120" y="64"/>
                </a:cubicBezTo>
                <a:cubicBezTo>
                  <a:pt x="129" y="68"/>
                  <a:pt x="137" y="76"/>
                  <a:pt x="141" y="81"/>
                </a:cubicBezTo>
                <a:cubicBezTo>
                  <a:pt x="145" y="85"/>
                  <a:pt x="136" y="89"/>
                  <a:pt x="132" y="93"/>
                </a:cubicBezTo>
                <a:cubicBezTo>
                  <a:pt x="128" y="97"/>
                  <a:pt x="120" y="95"/>
                  <a:pt x="120" y="105"/>
                </a:cubicBezTo>
                <a:cubicBezTo>
                  <a:pt x="120" y="115"/>
                  <a:pt x="116" y="121"/>
                  <a:pt x="112" y="129"/>
                </a:cubicBezTo>
                <a:cubicBezTo>
                  <a:pt x="109" y="137"/>
                  <a:pt x="109" y="150"/>
                  <a:pt x="109" y="156"/>
                </a:cubicBezTo>
                <a:cubicBezTo>
                  <a:pt x="109" y="163"/>
                  <a:pt x="94" y="160"/>
                  <a:pt x="88" y="156"/>
                </a:cubicBezTo>
                <a:cubicBezTo>
                  <a:pt x="82" y="152"/>
                  <a:pt x="76" y="133"/>
                  <a:pt x="77" y="128"/>
                </a:cubicBezTo>
                <a:cubicBezTo>
                  <a:pt x="78" y="124"/>
                  <a:pt x="80" y="115"/>
                  <a:pt x="71" y="119"/>
                </a:cubicBezTo>
                <a:cubicBezTo>
                  <a:pt x="63" y="124"/>
                  <a:pt x="54" y="128"/>
                  <a:pt x="51" y="124"/>
                </a:cubicBezTo>
                <a:cubicBezTo>
                  <a:pt x="47" y="120"/>
                  <a:pt x="43" y="110"/>
                  <a:pt x="40" y="107"/>
                </a:cubicBezTo>
                <a:cubicBezTo>
                  <a:pt x="38" y="104"/>
                  <a:pt x="19" y="88"/>
                  <a:pt x="16" y="85"/>
                </a:cubicBezTo>
                <a:cubicBezTo>
                  <a:pt x="13" y="82"/>
                  <a:pt x="0" y="56"/>
                  <a:pt x="0" y="5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5" name="Freeform 611"/>
          <p:cNvSpPr>
            <a:spLocks/>
          </p:cNvSpPr>
          <p:nvPr userDrawn="1"/>
        </p:nvSpPr>
        <p:spPr bwMode="auto">
          <a:xfrm>
            <a:off x="6545964" y="3907461"/>
            <a:ext cx="107205" cy="80404"/>
          </a:xfrm>
          <a:custGeom>
            <a:avLst/>
            <a:gdLst>
              <a:gd name="T0" fmla="*/ 2147483646 w 115"/>
              <a:gd name="T1" fmla="*/ 2147483646 h 86"/>
              <a:gd name="T2" fmla="*/ 2147483646 w 115"/>
              <a:gd name="T3" fmla="*/ 2147483646 h 86"/>
              <a:gd name="T4" fmla="*/ 2147483646 w 115"/>
              <a:gd name="T5" fmla="*/ 2147483646 h 86"/>
              <a:gd name="T6" fmla="*/ 2147483646 w 115"/>
              <a:gd name="T7" fmla="*/ 2147483646 h 86"/>
              <a:gd name="T8" fmla="*/ 2147483646 w 115"/>
              <a:gd name="T9" fmla="*/ 2147483646 h 86"/>
              <a:gd name="T10" fmla="*/ 0 w 115"/>
              <a:gd name="T11" fmla="*/ 2147483646 h 86"/>
              <a:gd name="T12" fmla="*/ 2147483646 w 115"/>
              <a:gd name="T13" fmla="*/ 2147483646 h 86"/>
              <a:gd name="T14" fmla="*/ 2147483646 w 115"/>
              <a:gd name="T15" fmla="*/ 2147483646 h 86"/>
              <a:gd name="T16" fmla="*/ 2147483646 w 115"/>
              <a:gd name="T17" fmla="*/ 2147483646 h 86"/>
              <a:gd name="T18" fmla="*/ 2147483646 w 115"/>
              <a:gd name="T19" fmla="*/ 2147483646 h 86"/>
              <a:gd name="T20" fmla="*/ 2147483646 w 115"/>
              <a:gd name="T21" fmla="*/ 2147483646 h 86"/>
              <a:gd name="T22" fmla="*/ 2147483646 w 115"/>
              <a:gd name="T23" fmla="*/ 2147483646 h 8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15"/>
              <a:gd name="T37" fmla="*/ 0 h 86"/>
              <a:gd name="T38" fmla="*/ 115 w 115"/>
              <a:gd name="T39" fmla="*/ 86 h 8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15" h="86">
                <a:moveTo>
                  <a:pt x="115" y="74"/>
                </a:moveTo>
                <a:cubicBezTo>
                  <a:pt x="111" y="70"/>
                  <a:pt x="107" y="60"/>
                  <a:pt x="104" y="57"/>
                </a:cubicBezTo>
                <a:cubicBezTo>
                  <a:pt x="102" y="54"/>
                  <a:pt x="83" y="38"/>
                  <a:pt x="80" y="35"/>
                </a:cubicBezTo>
                <a:cubicBezTo>
                  <a:pt x="77" y="32"/>
                  <a:pt x="64" y="6"/>
                  <a:pt x="64" y="6"/>
                </a:cubicBezTo>
                <a:cubicBezTo>
                  <a:pt x="52" y="0"/>
                  <a:pt x="54" y="4"/>
                  <a:pt x="39" y="4"/>
                </a:cubicBezTo>
                <a:cubicBezTo>
                  <a:pt x="24" y="4"/>
                  <a:pt x="10" y="5"/>
                  <a:pt x="0" y="6"/>
                </a:cubicBezTo>
                <a:cubicBezTo>
                  <a:pt x="0" y="6"/>
                  <a:pt x="13" y="28"/>
                  <a:pt x="20" y="32"/>
                </a:cubicBezTo>
                <a:cubicBezTo>
                  <a:pt x="26" y="35"/>
                  <a:pt x="31" y="43"/>
                  <a:pt x="31" y="54"/>
                </a:cubicBezTo>
                <a:cubicBezTo>
                  <a:pt x="32" y="64"/>
                  <a:pt x="35" y="71"/>
                  <a:pt x="41" y="71"/>
                </a:cubicBezTo>
                <a:cubicBezTo>
                  <a:pt x="47" y="72"/>
                  <a:pt x="50" y="65"/>
                  <a:pt x="60" y="69"/>
                </a:cubicBezTo>
                <a:cubicBezTo>
                  <a:pt x="71" y="74"/>
                  <a:pt x="70" y="74"/>
                  <a:pt x="80" y="78"/>
                </a:cubicBezTo>
                <a:cubicBezTo>
                  <a:pt x="89" y="82"/>
                  <a:pt x="113" y="86"/>
                  <a:pt x="115" y="7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6" name="Freeform 612"/>
          <p:cNvSpPr>
            <a:spLocks/>
          </p:cNvSpPr>
          <p:nvPr userDrawn="1"/>
        </p:nvSpPr>
        <p:spPr bwMode="auto">
          <a:xfrm>
            <a:off x="6581142" y="3969441"/>
            <a:ext cx="455625" cy="405372"/>
          </a:xfrm>
          <a:custGeom>
            <a:avLst/>
            <a:gdLst>
              <a:gd name="T0" fmla="*/ 2147483646 w 489"/>
              <a:gd name="T1" fmla="*/ 2147483646 h 434"/>
              <a:gd name="T2" fmla="*/ 2147483646 w 489"/>
              <a:gd name="T3" fmla="*/ 2147483646 h 434"/>
              <a:gd name="T4" fmla="*/ 2147483646 w 489"/>
              <a:gd name="T5" fmla="*/ 2147483646 h 434"/>
              <a:gd name="T6" fmla="*/ 2147483646 w 489"/>
              <a:gd name="T7" fmla="*/ 2147483646 h 434"/>
              <a:gd name="T8" fmla="*/ 2147483646 w 489"/>
              <a:gd name="T9" fmla="*/ 2147483646 h 434"/>
              <a:gd name="T10" fmla="*/ 2147483646 w 489"/>
              <a:gd name="T11" fmla="*/ 2147483646 h 434"/>
              <a:gd name="T12" fmla="*/ 2147483646 w 489"/>
              <a:gd name="T13" fmla="*/ 2147483646 h 434"/>
              <a:gd name="T14" fmla="*/ 2147483646 w 489"/>
              <a:gd name="T15" fmla="*/ 2147483646 h 434"/>
              <a:gd name="T16" fmla="*/ 2147483646 w 489"/>
              <a:gd name="T17" fmla="*/ 2147483646 h 434"/>
              <a:gd name="T18" fmla="*/ 2147483646 w 489"/>
              <a:gd name="T19" fmla="*/ 2147483646 h 434"/>
              <a:gd name="T20" fmla="*/ 2147483646 w 489"/>
              <a:gd name="T21" fmla="*/ 2147483646 h 434"/>
              <a:gd name="T22" fmla="*/ 2147483646 w 489"/>
              <a:gd name="T23" fmla="*/ 2147483646 h 434"/>
              <a:gd name="T24" fmla="*/ 2147483646 w 489"/>
              <a:gd name="T25" fmla="*/ 2147483646 h 434"/>
              <a:gd name="T26" fmla="*/ 2147483646 w 489"/>
              <a:gd name="T27" fmla="*/ 2147483646 h 434"/>
              <a:gd name="T28" fmla="*/ 2147483646 w 489"/>
              <a:gd name="T29" fmla="*/ 2147483646 h 434"/>
              <a:gd name="T30" fmla="*/ 2147483646 w 489"/>
              <a:gd name="T31" fmla="*/ 2147483646 h 434"/>
              <a:gd name="T32" fmla="*/ 2147483646 w 489"/>
              <a:gd name="T33" fmla="*/ 2147483646 h 434"/>
              <a:gd name="T34" fmla="*/ 2147483646 w 489"/>
              <a:gd name="T35" fmla="*/ 2147483646 h 434"/>
              <a:gd name="T36" fmla="*/ 2147483646 w 489"/>
              <a:gd name="T37" fmla="*/ 2147483646 h 434"/>
              <a:gd name="T38" fmla="*/ 2147483646 w 489"/>
              <a:gd name="T39" fmla="*/ 2147483646 h 434"/>
              <a:gd name="T40" fmla="*/ 2147483646 w 489"/>
              <a:gd name="T41" fmla="*/ 2147483646 h 434"/>
              <a:gd name="T42" fmla="*/ 2147483646 w 489"/>
              <a:gd name="T43" fmla="*/ 2147483646 h 434"/>
              <a:gd name="T44" fmla="*/ 2147483646 w 489"/>
              <a:gd name="T45" fmla="*/ 2147483646 h 434"/>
              <a:gd name="T46" fmla="*/ 2147483646 w 489"/>
              <a:gd name="T47" fmla="*/ 2147483646 h 434"/>
              <a:gd name="T48" fmla="*/ 2147483646 w 489"/>
              <a:gd name="T49" fmla="*/ 2147483646 h 434"/>
              <a:gd name="T50" fmla="*/ 2147483646 w 489"/>
              <a:gd name="T51" fmla="*/ 2147483646 h 434"/>
              <a:gd name="T52" fmla="*/ 2147483646 w 489"/>
              <a:gd name="T53" fmla="*/ 2147483646 h 434"/>
              <a:gd name="T54" fmla="*/ 2147483646 w 489"/>
              <a:gd name="T55" fmla="*/ 2147483646 h 434"/>
              <a:gd name="T56" fmla="*/ 2147483646 w 489"/>
              <a:gd name="T57" fmla="*/ 2147483646 h 434"/>
              <a:gd name="T58" fmla="*/ 2147483646 w 489"/>
              <a:gd name="T59" fmla="*/ 2147483646 h 434"/>
              <a:gd name="T60" fmla="*/ 2147483646 w 489"/>
              <a:gd name="T61" fmla="*/ 2147483646 h 434"/>
              <a:gd name="T62" fmla="*/ 2147483646 w 489"/>
              <a:gd name="T63" fmla="*/ 2147483646 h 434"/>
              <a:gd name="T64" fmla="*/ 2147483646 w 489"/>
              <a:gd name="T65" fmla="*/ 2147483646 h 434"/>
              <a:gd name="T66" fmla="*/ 2147483646 w 489"/>
              <a:gd name="T67" fmla="*/ 2147483646 h 434"/>
              <a:gd name="T68" fmla="*/ 2147483646 w 489"/>
              <a:gd name="T69" fmla="*/ 2147483646 h 434"/>
              <a:gd name="T70" fmla="*/ 2147483646 w 489"/>
              <a:gd name="T71" fmla="*/ 2147483646 h 434"/>
              <a:gd name="T72" fmla="*/ 2147483646 w 489"/>
              <a:gd name="T73" fmla="*/ 2147483646 h 434"/>
              <a:gd name="T74" fmla="*/ 2147483646 w 489"/>
              <a:gd name="T75" fmla="*/ 2147483646 h 434"/>
              <a:gd name="T76" fmla="*/ 2147483646 w 489"/>
              <a:gd name="T77" fmla="*/ 2147483646 h 434"/>
              <a:gd name="T78" fmla="*/ 2147483646 w 489"/>
              <a:gd name="T79" fmla="*/ 2147483646 h 434"/>
              <a:gd name="T80" fmla="*/ 2147483646 w 489"/>
              <a:gd name="T81" fmla="*/ 2147483646 h 434"/>
              <a:gd name="T82" fmla="*/ 2147483646 w 489"/>
              <a:gd name="T83" fmla="*/ 2147483646 h 434"/>
              <a:gd name="T84" fmla="*/ 2147483646 w 489"/>
              <a:gd name="T85" fmla="*/ 2147483646 h 434"/>
              <a:gd name="T86" fmla="*/ 2147483646 w 489"/>
              <a:gd name="T87" fmla="*/ 2147483646 h 434"/>
              <a:gd name="T88" fmla="*/ 2147483646 w 489"/>
              <a:gd name="T89" fmla="*/ 2147483646 h 434"/>
              <a:gd name="T90" fmla="*/ 2147483646 w 489"/>
              <a:gd name="T91" fmla="*/ 2147483646 h 434"/>
              <a:gd name="T92" fmla="*/ 2147483646 w 489"/>
              <a:gd name="T93" fmla="*/ 2147483646 h 434"/>
              <a:gd name="T94" fmla="*/ 2147483646 w 489"/>
              <a:gd name="T95" fmla="*/ 2147483646 h 434"/>
              <a:gd name="T96" fmla="*/ 2147483646 w 489"/>
              <a:gd name="T97" fmla="*/ 2147483646 h 434"/>
              <a:gd name="T98" fmla="*/ 2147483646 w 489"/>
              <a:gd name="T99" fmla="*/ 2147483646 h 434"/>
              <a:gd name="T100" fmla="*/ 2147483646 w 489"/>
              <a:gd name="T101" fmla="*/ 2147483646 h 434"/>
              <a:gd name="T102" fmla="*/ 2147483646 w 489"/>
              <a:gd name="T103" fmla="*/ 2147483646 h 434"/>
              <a:gd name="T104" fmla="*/ 2147483646 w 489"/>
              <a:gd name="T105" fmla="*/ 2147483646 h 434"/>
              <a:gd name="T106" fmla="*/ 2147483646 w 489"/>
              <a:gd name="T107" fmla="*/ 2147483646 h 43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89"/>
              <a:gd name="T163" fmla="*/ 0 h 434"/>
              <a:gd name="T164" fmla="*/ 489 w 489"/>
              <a:gd name="T165" fmla="*/ 434 h 43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89" h="434">
                <a:moveTo>
                  <a:pt x="449" y="329"/>
                </a:moveTo>
                <a:cubicBezTo>
                  <a:pt x="435" y="326"/>
                  <a:pt x="428" y="313"/>
                  <a:pt x="428" y="313"/>
                </a:cubicBezTo>
                <a:cubicBezTo>
                  <a:pt x="428" y="313"/>
                  <a:pt x="442" y="303"/>
                  <a:pt x="449" y="294"/>
                </a:cubicBezTo>
                <a:cubicBezTo>
                  <a:pt x="456" y="286"/>
                  <a:pt x="455" y="281"/>
                  <a:pt x="455" y="276"/>
                </a:cubicBezTo>
                <a:cubicBezTo>
                  <a:pt x="455" y="270"/>
                  <a:pt x="448" y="258"/>
                  <a:pt x="439" y="246"/>
                </a:cubicBezTo>
                <a:cubicBezTo>
                  <a:pt x="429" y="234"/>
                  <a:pt x="427" y="223"/>
                  <a:pt x="422" y="210"/>
                </a:cubicBezTo>
                <a:cubicBezTo>
                  <a:pt x="418" y="197"/>
                  <a:pt x="424" y="195"/>
                  <a:pt x="433" y="189"/>
                </a:cubicBezTo>
                <a:cubicBezTo>
                  <a:pt x="442" y="183"/>
                  <a:pt x="444" y="169"/>
                  <a:pt x="438" y="151"/>
                </a:cubicBezTo>
                <a:cubicBezTo>
                  <a:pt x="432" y="133"/>
                  <a:pt x="453" y="118"/>
                  <a:pt x="453" y="118"/>
                </a:cubicBezTo>
                <a:cubicBezTo>
                  <a:pt x="453" y="118"/>
                  <a:pt x="458" y="109"/>
                  <a:pt x="453" y="108"/>
                </a:cubicBezTo>
                <a:cubicBezTo>
                  <a:pt x="448" y="106"/>
                  <a:pt x="432" y="92"/>
                  <a:pt x="421" y="92"/>
                </a:cubicBezTo>
                <a:cubicBezTo>
                  <a:pt x="411" y="92"/>
                  <a:pt x="381" y="77"/>
                  <a:pt x="375" y="72"/>
                </a:cubicBezTo>
                <a:cubicBezTo>
                  <a:pt x="370" y="68"/>
                  <a:pt x="358" y="56"/>
                  <a:pt x="351" y="56"/>
                </a:cubicBezTo>
                <a:cubicBezTo>
                  <a:pt x="344" y="56"/>
                  <a:pt x="331" y="53"/>
                  <a:pt x="323" y="49"/>
                </a:cubicBezTo>
                <a:cubicBezTo>
                  <a:pt x="314" y="45"/>
                  <a:pt x="300" y="50"/>
                  <a:pt x="300" y="50"/>
                </a:cubicBezTo>
                <a:cubicBezTo>
                  <a:pt x="252" y="72"/>
                  <a:pt x="252" y="72"/>
                  <a:pt x="252" y="72"/>
                </a:cubicBezTo>
                <a:cubicBezTo>
                  <a:pt x="252" y="72"/>
                  <a:pt x="236" y="85"/>
                  <a:pt x="233" y="87"/>
                </a:cubicBezTo>
                <a:cubicBezTo>
                  <a:pt x="229" y="89"/>
                  <a:pt x="218" y="92"/>
                  <a:pt x="213" y="94"/>
                </a:cubicBezTo>
                <a:cubicBezTo>
                  <a:pt x="213" y="94"/>
                  <a:pt x="185" y="96"/>
                  <a:pt x="181" y="95"/>
                </a:cubicBezTo>
                <a:cubicBezTo>
                  <a:pt x="176" y="94"/>
                  <a:pt x="156" y="84"/>
                  <a:pt x="153" y="80"/>
                </a:cubicBezTo>
                <a:cubicBezTo>
                  <a:pt x="150" y="75"/>
                  <a:pt x="135" y="41"/>
                  <a:pt x="135" y="41"/>
                </a:cubicBezTo>
                <a:cubicBezTo>
                  <a:pt x="135" y="48"/>
                  <a:pt x="120" y="45"/>
                  <a:pt x="114" y="41"/>
                </a:cubicBezTo>
                <a:cubicBezTo>
                  <a:pt x="108" y="37"/>
                  <a:pt x="102" y="18"/>
                  <a:pt x="103" y="13"/>
                </a:cubicBezTo>
                <a:cubicBezTo>
                  <a:pt x="104" y="9"/>
                  <a:pt x="106" y="0"/>
                  <a:pt x="97" y="4"/>
                </a:cubicBezTo>
                <a:cubicBezTo>
                  <a:pt x="89" y="9"/>
                  <a:pt x="80" y="13"/>
                  <a:pt x="77" y="9"/>
                </a:cubicBezTo>
                <a:cubicBezTo>
                  <a:pt x="75" y="21"/>
                  <a:pt x="51" y="17"/>
                  <a:pt x="42" y="13"/>
                </a:cubicBezTo>
                <a:cubicBezTo>
                  <a:pt x="32" y="9"/>
                  <a:pt x="33" y="9"/>
                  <a:pt x="22" y="4"/>
                </a:cubicBezTo>
                <a:cubicBezTo>
                  <a:pt x="22" y="4"/>
                  <a:pt x="10" y="18"/>
                  <a:pt x="5" y="19"/>
                </a:cubicBezTo>
                <a:cubicBezTo>
                  <a:pt x="0" y="20"/>
                  <a:pt x="0" y="28"/>
                  <a:pt x="11" y="42"/>
                </a:cubicBezTo>
                <a:cubicBezTo>
                  <a:pt x="23" y="55"/>
                  <a:pt x="16" y="82"/>
                  <a:pt x="12" y="78"/>
                </a:cubicBezTo>
                <a:cubicBezTo>
                  <a:pt x="12" y="78"/>
                  <a:pt x="18" y="95"/>
                  <a:pt x="23" y="101"/>
                </a:cubicBezTo>
                <a:cubicBezTo>
                  <a:pt x="29" y="106"/>
                  <a:pt x="39" y="126"/>
                  <a:pt x="45" y="129"/>
                </a:cubicBezTo>
                <a:cubicBezTo>
                  <a:pt x="50" y="131"/>
                  <a:pt x="54" y="133"/>
                  <a:pt x="57" y="141"/>
                </a:cubicBezTo>
                <a:cubicBezTo>
                  <a:pt x="61" y="148"/>
                  <a:pt x="53" y="165"/>
                  <a:pt x="46" y="173"/>
                </a:cubicBezTo>
                <a:cubicBezTo>
                  <a:pt x="39" y="182"/>
                  <a:pt x="37" y="189"/>
                  <a:pt x="37" y="189"/>
                </a:cubicBezTo>
                <a:cubicBezTo>
                  <a:pt x="37" y="189"/>
                  <a:pt x="55" y="197"/>
                  <a:pt x="61" y="206"/>
                </a:cubicBezTo>
                <a:cubicBezTo>
                  <a:pt x="67" y="216"/>
                  <a:pt x="61" y="217"/>
                  <a:pt x="75" y="230"/>
                </a:cubicBezTo>
                <a:cubicBezTo>
                  <a:pt x="89" y="243"/>
                  <a:pt x="99" y="246"/>
                  <a:pt x="102" y="257"/>
                </a:cubicBezTo>
                <a:cubicBezTo>
                  <a:pt x="106" y="267"/>
                  <a:pt x="107" y="287"/>
                  <a:pt x="109" y="293"/>
                </a:cubicBezTo>
                <a:cubicBezTo>
                  <a:pt x="111" y="299"/>
                  <a:pt x="109" y="300"/>
                  <a:pt x="116" y="301"/>
                </a:cubicBezTo>
                <a:cubicBezTo>
                  <a:pt x="123" y="303"/>
                  <a:pt x="140" y="293"/>
                  <a:pt x="155" y="299"/>
                </a:cubicBezTo>
                <a:cubicBezTo>
                  <a:pt x="170" y="305"/>
                  <a:pt x="177" y="314"/>
                  <a:pt x="182" y="329"/>
                </a:cubicBezTo>
                <a:cubicBezTo>
                  <a:pt x="187" y="345"/>
                  <a:pt x="204" y="364"/>
                  <a:pt x="204" y="364"/>
                </a:cubicBezTo>
                <a:cubicBezTo>
                  <a:pt x="231" y="385"/>
                  <a:pt x="231" y="385"/>
                  <a:pt x="231" y="385"/>
                </a:cubicBezTo>
                <a:cubicBezTo>
                  <a:pt x="231" y="385"/>
                  <a:pt x="246" y="391"/>
                  <a:pt x="262" y="391"/>
                </a:cubicBezTo>
                <a:cubicBezTo>
                  <a:pt x="277" y="391"/>
                  <a:pt x="260" y="391"/>
                  <a:pt x="295" y="391"/>
                </a:cubicBezTo>
                <a:cubicBezTo>
                  <a:pt x="329" y="391"/>
                  <a:pt x="341" y="400"/>
                  <a:pt x="347" y="413"/>
                </a:cubicBezTo>
                <a:cubicBezTo>
                  <a:pt x="353" y="426"/>
                  <a:pt x="354" y="426"/>
                  <a:pt x="370" y="428"/>
                </a:cubicBezTo>
                <a:cubicBezTo>
                  <a:pt x="385" y="430"/>
                  <a:pt x="407" y="425"/>
                  <a:pt x="407" y="425"/>
                </a:cubicBezTo>
                <a:cubicBezTo>
                  <a:pt x="431" y="434"/>
                  <a:pt x="431" y="434"/>
                  <a:pt x="431" y="434"/>
                </a:cubicBezTo>
                <a:cubicBezTo>
                  <a:pt x="431" y="434"/>
                  <a:pt x="451" y="420"/>
                  <a:pt x="459" y="413"/>
                </a:cubicBezTo>
                <a:cubicBezTo>
                  <a:pt x="467" y="406"/>
                  <a:pt x="445" y="410"/>
                  <a:pt x="467" y="391"/>
                </a:cubicBezTo>
                <a:cubicBezTo>
                  <a:pt x="489" y="371"/>
                  <a:pt x="482" y="356"/>
                  <a:pt x="478" y="355"/>
                </a:cubicBezTo>
                <a:lnTo>
                  <a:pt x="449" y="329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7" name="Freeform 613"/>
          <p:cNvSpPr>
            <a:spLocks/>
          </p:cNvSpPr>
          <p:nvPr userDrawn="1"/>
        </p:nvSpPr>
        <p:spPr bwMode="auto">
          <a:xfrm>
            <a:off x="6448810" y="4038117"/>
            <a:ext cx="232839" cy="251264"/>
          </a:xfrm>
          <a:custGeom>
            <a:avLst/>
            <a:gdLst>
              <a:gd name="T0" fmla="*/ 2147483646 w 251"/>
              <a:gd name="T1" fmla="*/ 0 h 270"/>
              <a:gd name="T2" fmla="*/ 2147483646 w 251"/>
              <a:gd name="T3" fmla="*/ 2147483646 h 270"/>
              <a:gd name="T4" fmla="*/ 2147483646 w 251"/>
              <a:gd name="T5" fmla="*/ 2147483646 h 270"/>
              <a:gd name="T6" fmla="*/ 2147483646 w 251"/>
              <a:gd name="T7" fmla="*/ 2147483646 h 270"/>
              <a:gd name="T8" fmla="*/ 2147483646 w 251"/>
              <a:gd name="T9" fmla="*/ 2147483646 h 270"/>
              <a:gd name="T10" fmla="*/ 2147483646 w 251"/>
              <a:gd name="T11" fmla="*/ 2147483646 h 270"/>
              <a:gd name="T12" fmla="*/ 2147483646 w 251"/>
              <a:gd name="T13" fmla="*/ 2147483646 h 270"/>
              <a:gd name="T14" fmla="*/ 2147483646 w 251"/>
              <a:gd name="T15" fmla="*/ 2147483646 h 270"/>
              <a:gd name="T16" fmla="*/ 2147483646 w 251"/>
              <a:gd name="T17" fmla="*/ 2147483646 h 270"/>
              <a:gd name="T18" fmla="*/ 2147483646 w 251"/>
              <a:gd name="T19" fmla="*/ 2147483646 h 270"/>
              <a:gd name="T20" fmla="*/ 2147483646 w 251"/>
              <a:gd name="T21" fmla="*/ 2147483646 h 270"/>
              <a:gd name="T22" fmla="*/ 2147483646 w 251"/>
              <a:gd name="T23" fmla="*/ 2147483646 h 270"/>
              <a:gd name="T24" fmla="*/ 2147483646 w 251"/>
              <a:gd name="T25" fmla="*/ 2147483646 h 270"/>
              <a:gd name="T26" fmla="*/ 2147483646 w 251"/>
              <a:gd name="T27" fmla="*/ 2147483646 h 270"/>
              <a:gd name="T28" fmla="*/ 2147483646 w 251"/>
              <a:gd name="T29" fmla="*/ 2147483646 h 270"/>
              <a:gd name="T30" fmla="*/ 2147483646 w 251"/>
              <a:gd name="T31" fmla="*/ 2147483646 h 270"/>
              <a:gd name="T32" fmla="*/ 2147483646 w 251"/>
              <a:gd name="T33" fmla="*/ 2147483646 h 270"/>
              <a:gd name="T34" fmla="*/ 2147483646 w 251"/>
              <a:gd name="T35" fmla="*/ 2147483646 h 270"/>
              <a:gd name="T36" fmla="*/ 2147483646 w 251"/>
              <a:gd name="T37" fmla="*/ 2147483646 h 270"/>
              <a:gd name="T38" fmla="*/ 2147483646 w 251"/>
              <a:gd name="T39" fmla="*/ 2147483646 h 270"/>
              <a:gd name="T40" fmla="*/ 0 w 251"/>
              <a:gd name="T41" fmla="*/ 2147483646 h 270"/>
              <a:gd name="T42" fmla="*/ 2147483646 w 251"/>
              <a:gd name="T43" fmla="*/ 2147483646 h 270"/>
              <a:gd name="T44" fmla="*/ 2147483646 w 251"/>
              <a:gd name="T45" fmla="*/ 2147483646 h 270"/>
              <a:gd name="T46" fmla="*/ 2147483646 w 251"/>
              <a:gd name="T47" fmla="*/ 2147483646 h 270"/>
              <a:gd name="T48" fmla="*/ 2147483646 w 251"/>
              <a:gd name="T49" fmla="*/ 2147483646 h 270"/>
              <a:gd name="T50" fmla="*/ 2147483646 w 251"/>
              <a:gd name="T51" fmla="*/ 0 h 27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51"/>
              <a:gd name="T79" fmla="*/ 0 h 270"/>
              <a:gd name="T80" fmla="*/ 251 w 251"/>
              <a:gd name="T81" fmla="*/ 270 h 27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51" h="270">
                <a:moveTo>
                  <a:pt x="120" y="0"/>
                </a:moveTo>
                <a:cubicBezTo>
                  <a:pt x="127" y="7"/>
                  <a:pt x="150" y="0"/>
                  <a:pt x="154" y="4"/>
                </a:cubicBezTo>
                <a:cubicBezTo>
                  <a:pt x="154" y="4"/>
                  <a:pt x="160" y="21"/>
                  <a:pt x="165" y="27"/>
                </a:cubicBezTo>
                <a:cubicBezTo>
                  <a:pt x="171" y="32"/>
                  <a:pt x="181" y="52"/>
                  <a:pt x="187" y="55"/>
                </a:cubicBezTo>
                <a:cubicBezTo>
                  <a:pt x="192" y="57"/>
                  <a:pt x="196" y="59"/>
                  <a:pt x="199" y="67"/>
                </a:cubicBezTo>
                <a:cubicBezTo>
                  <a:pt x="203" y="74"/>
                  <a:pt x="195" y="91"/>
                  <a:pt x="188" y="99"/>
                </a:cubicBezTo>
                <a:cubicBezTo>
                  <a:pt x="181" y="108"/>
                  <a:pt x="179" y="115"/>
                  <a:pt x="179" y="115"/>
                </a:cubicBezTo>
                <a:cubicBezTo>
                  <a:pt x="179" y="115"/>
                  <a:pt x="197" y="123"/>
                  <a:pt x="203" y="132"/>
                </a:cubicBezTo>
                <a:cubicBezTo>
                  <a:pt x="209" y="142"/>
                  <a:pt x="203" y="143"/>
                  <a:pt x="217" y="156"/>
                </a:cubicBezTo>
                <a:cubicBezTo>
                  <a:pt x="231" y="169"/>
                  <a:pt x="241" y="172"/>
                  <a:pt x="244" y="183"/>
                </a:cubicBezTo>
                <a:cubicBezTo>
                  <a:pt x="248" y="193"/>
                  <a:pt x="249" y="213"/>
                  <a:pt x="251" y="219"/>
                </a:cubicBezTo>
                <a:cubicBezTo>
                  <a:pt x="251" y="219"/>
                  <a:pt x="246" y="233"/>
                  <a:pt x="239" y="237"/>
                </a:cubicBezTo>
                <a:cubicBezTo>
                  <a:pt x="232" y="240"/>
                  <a:pt x="228" y="245"/>
                  <a:pt x="226" y="254"/>
                </a:cubicBezTo>
                <a:cubicBezTo>
                  <a:pt x="225" y="264"/>
                  <a:pt x="214" y="270"/>
                  <a:pt x="205" y="268"/>
                </a:cubicBezTo>
                <a:cubicBezTo>
                  <a:pt x="197" y="267"/>
                  <a:pt x="185" y="263"/>
                  <a:pt x="172" y="263"/>
                </a:cubicBezTo>
                <a:cubicBezTo>
                  <a:pt x="160" y="263"/>
                  <a:pt x="148" y="260"/>
                  <a:pt x="141" y="253"/>
                </a:cubicBezTo>
                <a:cubicBezTo>
                  <a:pt x="134" y="246"/>
                  <a:pt x="117" y="218"/>
                  <a:pt x="111" y="210"/>
                </a:cubicBezTo>
                <a:cubicBezTo>
                  <a:pt x="106" y="202"/>
                  <a:pt x="95" y="189"/>
                  <a:pt x="90" y="189"/>
                </a:cubicBezTo>
                <a:cubicBezTo>
                  <a:pt x="86" y="189"/>
                  <a:pt x="48" y="167"/>
                  <a:pt x="39" y="167"/>
                </a:cubicBezTo>
                <a:cubicBezTo>
                  <a:pt x="29" y="167"/>
                  <a:pt x="15" y="163"/>
                  <a:pt x="12" y="162"/>
                </a:cubicBezTo>
                <a:cubicBezTo>
                  <a:pt x="8" y="160"/>
                  <a:pt x="0" y="126"/>
                  <a:pt x="0" y="126"/>
                </a:cubicBezTo>
                <a:cubicBezTo>
                  <a:pt x="0" y="126"/>
                  <a:pt x="12" y="118"/>
                  <a:pt x="27" y="110"/>
                </a:cubicBezTo>
                <a:cubicBezTo>
                  <a:pt x="42" y="102"/>
                  <a:pt x="57" y="88"/>
                  <a:pt x="63" y="79"/>
                </a:cubicBezTo>
                <a:cubicBezTo>
                  <a:pt x="69" y="71"/>
                  <a:pt x="76" y="59"/>
                  <a:pt x="77" y="42"/>
                </a:cubicBezTo>
                <a:cubicBezTo>
                  <a:pt x="79" y="24"/>
                  <a:pt x="95" y="9"/>
                  <a:pt x="102" y="11"/>
                </a:cubicBezTo>
                <a:cubicBezTo>
                  <a:pt x="109" y="14"/>
                  <a:pt x="120" y="0"/>
                  <a:pt x="12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8" name="Freeform 614"/>
          <p:cNvSpPr>
            <a:spLocks/>
          </p:cNvSpPr>
          <p:nvPr userDrawn="1"/>
        </p:nvSpPr>
        <p:spPr bwMode="auto">
          <a:xfrm>
            <a:off x="6373431" y="4031418"/>
            <a:ext cx="185935" cy="159135"/>
          </a:xfrm>
          <a:custGeom>
            <a:avLst/>
            <a:gdLst>
              <a:gd name="T0" fmla="*/ 2147483646 w 201"/>
              <a:gd name="T1" fmla="*/ 2147483646 h 170"/>
              <a:gd name="T2" fmla="*/ 2147483646 w 201"/>
              <a:gd name="T3" fmla="*/ 2147483646 h 170"/>
              <a:gd name="T4" fmla="*/ 2147483646 w 201"/>
              <a:gd name="T5" fmla="*/ 2147483646 h 170"/>
              <a:gd name="T6" fmla="*/ 2147483646 w 201"/>
              <a:gd name="T7" fmla="*/ 2147483646 h 170"/>
              <a:gd name="T8" fmla="*/ 2147483646 w 201"/>
              <a:gd name="T9" fmla="*/ 2147483646 h 170"/>
              <a:gd name="T10" fmla="*/ 2147483646 w 201"/>
              <a:gd name="T11" fmla="*/ 2147483646 h 170"/>
              <a:gd name="T12" fmla="*/ 2147483646 w 201"/>
              <a:gd name="T13" fmla="*/ 2147483646 h 170"/>
              <a:gd name="T14" fmla="*/ 2147483646 w 201"/>
              <a:gd name="T15" fmla="*/ 2147483646 h 170"/>
              <a:gd name="T16" fmla="*/ 2147483646 w 201"/>
              <a:gd name="T17" fmla="*/ 2147483646 h 170"/>
              <a:gd name="T18" fmla="*/ 2147483646 w 201"/>
              <a:gd name="T19" fmla="*/ 2147483646 h 170"/>
              <a:gd name="T20" fmla="*/ 2147483646 w 201"/>
              <a:gd name="T21" fmla="*/ 2147483646 h 170"/>
              <a:gd name="T22" fmla="*/ 2147483646 w 201"/>
              <a:gd name="T23" fmla="*/ 2147483646 h 170"/>
              <a:gd name="T24" fmla="*/ 2147483646 w 201"/>
              <a:gd name="T25" fmla="*/ 2147483646 h 170"/>
              <a:gd name="T26" fmla="*/ 2147483646 w 201"/>
              <a:gd name="T27" fmla="*/ 2147483646 h 170"/>
              <a:gd name="T28" fmla="*/ 2147483646 w 201"/>
              <a:gd name="T29" fmla="*/ 2147483646 h 170"/>
              <a:gd name="T30" fmla="*/ 2147483646 w 201"/>
              <a:gd name="T31" fmla="*/ 2147483646 h 170"/>
              <a:gd name="T32" fmla="*/ 2147483646 w 201"/>
              <a:gd name="T33" fmla="*/ 2147483646 h 170"/>
              <a:gd name="T34" fmla="*/ 2147483646 w 201"/>
              <a:gd name="T35" fmla="*/ 2147483646 h 170"/>
              <a:gd name="T36" fmla="*/ 2147483646 w 201"/>
              <a:gd name="T37" fmla="*/ 2147483646 h 170"/>
              <a:gd name="T38" fmla="*/ 2147483646 w 201"/>
              <a:gd name="T39" fmla="*/ 2147483646 h 17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1"/>
              <a:gd name="T61" fmla="*/ 0 h 170"/>
              <a:gd name="T62" fmla="*/ 201 w 201"/>
              <a:gd name="T63" fmla="*/ 170 h 17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1" h="170">
                <a:moveTo>
                  <a:pt x="25" y="44"/>
                </a:moveTo>
                <a:cubicBezTo>
                  <a:pt x="32" y="41"/>
                  <a:pt x="39" y="32"/>
                  <a:pt x="47" y="28"/>
                </a:cubicBezTo>
                <a:cubicBezTo>
                  <a:pt x="55" y="24"/>
                  <a:pt x="51" y="11"/>
                  <a:pt x="64" y="20"/>
                </a:cubicBezTo>
                <a:cubicBezTo>
                  <a:pt x="76" y="29"/>
                  <a:pt x="75" y="17"/>
                  <a:pt x="92" y="17"/>
                </a:cubicBezTo>
                <a:cubicBezTo>
                  <a:pt x="109" y="17"/>
                  <a:pt x="138" y="11"/>
                  <a:pt x="147" y="14"/>
                </a:cubicBezTo>
                <a:cubicBezTo>
                  <a:pt x="155" y="16"/>
                  <a:pt x="165" y="10"/>
                  <a:pt x="177" y="8"/>
                </a:cubicBezTo>
                <a:cubicBezTo>
                  <a:pt x="189" y="7"/>
                  <a:pt x="194" y="0"/>
                  <a:pt x="201" y="7"/>
                </a:cubicBezTo>
                <a:cubicBezTo>
                  <a:pt x="201" y="7"/>
                  <a:pt x="190" y="21"/>
                  <a:pt x="183" y="18"/>
                </a:cubicBezTo>
                <a:cubicBezTo>
                  <a:pt x="176" y="16"/>
                  <a:pt x="160" y="31"/>
                  <a:pt x="158" y="49"/>
                </a:cubicBezTo>
                <a:cubicBezTo>
                  <a:pt x="157" y="66"/>
                  <a:pt x="150" y="78"/>
                  <a:pt x="144" y="86"/>
                </a:cubicBezTo>
                <a:cubicBezTo>
                  <a:pt x="138" y="95"/>
                  <a:pt x="123" y="109"/>
                  <a:pt x="108" y="117"/>
                </a:cubicBezTo>
                <a:cubicBezTo>
                  <a:pt x="93" y="125"/>
                  <a:pt x="81" y="133"/>
                  <a:pt x="81" y="133"/>
                </a:cubicBezTo>
                <a:cubicBezTo>
                  <a:pt x="81" y="133"/>
                  <a:pt x="67" y="140"/>
                  <a:pt x="63" y="145"/>
                </a:cubicBezTo>
                <a:cubicBezTo>
                  <a:pt x="60" y="150"/>
                  <a:pt x="50" y="165"/>
                  <a:pt x="43" y="167"/>
                </a:cubicBezTo>
                <a:cubicBezTo>
                  <a:pt x="36" y="170"/>
                  <a:pt x="25" y="170"/>
                  <a:pt x="21" y="162"/>
                </a:cubicBezTo>
                <a:cubicBezTo>
                  <a:pt x="18" y="153"/>
                  <a:pt x="14" y="136"/>
                  <a:pt x="7" y="137"/>
                </a:cubicBezTo>
                <a:cubicBezTo>
                  <a:pt x="0" y="138"/>
                  <a:pt x="11" y="130"/>
                  <a:pt x="15" y="124"/>
                </a:cubicBezTo>
                <a:cubicBezTo>
                  <a:pt x="20" y="118"/>
                  <a:pt x="30" y="106"/>
                  <a:pt x="25" y="99"/>
                </a:cubicBezTo>
                <a:cubicBezTo>
                  <a:pt x="19" y="92"/>
                  <a:pt x="11" y="90"/>
                  <a:pt x="11" y="90"/>
                </a:cubicBezTo>
                <a:cubicBezTo>
                  <a:pt x="11" y="90"/>
                  <a:pt x="12" y="51"/>
                  <a:pt x="25" y="4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9" name="Freeform 615"/>
          <p:cNvSpPr>
            <a:spLocks/>
          </p:cNvSpPr>
          <p:nvPr userDrawn="1"/>
        </p:nvSpPr>
        <p:spPr bwMode="auto">
          <a:xfrm>
            <a:off x="6371755" y="4115172"/>
            <a:ext cx="28477" cy="43552"/>
          </a:xfrm>
          <a:custGeom>
            <a:avLst/>
            <a:gdLst>
              <a:gd name="T0" fmla="*/ 2147483646 w 31"/>
              <a:gd name="T1" fmla="*/ 0 h 47"/>
              <a:gd name="T2" fmla="*/ 2147483646 w 31"/>
              <a:gd name="T3" fmla="*/ 2147483646 h 47"/>
              <a:gd name="T4" fmla="*/ 2147483646 w 31"/>
              <a:gd name="T5" fmla="*/ 2147483646 h 47"/>
              <a:gd name="T6" fmla="*/ 2147483646 w 31"/>
              <a:gd name="T7" fmla="*/ 0 h 47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47"/>
              <a:gd name="T14" fmla="*/ 31 w 31"/>
              <a:gd name="T15" fmla="*/ 47 h 4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47">
                <a:moveTo>
                  <a:pt x="12" y="0"/>
                </a:moveTo>
                <a:cubicBezTo>
                  <a:pt x="12" y="0"/>
                  <a:pt x="31" y="10"/>
                  <a:pt x="28" y="18"/>
                </a:cubicBezTo>
                <a:cubicBezTo>
                  <a:pt x="25" y="26"/>
                  <a:pt x="5" y="47"/>
                  <a:pt x="5" y="47"/>
                </a:cubicBezTo>
                <a:cubicBezTo>
                  <a:pt x="5" y="47"/>
                  <a:pt x="0" y="16"/>
                  <a:pt x="12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0" name="Freeform 616"/>
          <p:cNvSpPr>
            <a:spLocks/>
          </p:cNvSpPr>
          <p:nvPr userDrawn="1"/>
        </p:nvSpPr>
        <p:spPr bwMode="auto">
          <a:xfrm>
            <a:off x="6334903" y="4150350"/>
            <a:ext cx="41877" cy="110556"/>
          </a:xfrm>
          <a:custGeom>
            <a:avLst/>
            <a:gdLst>
              <a:gd name="T0" fmla="*/ 2147483646 w 44"/>
              <a:gd name="T1" fmla="*/ 2147483646 h 118"/>
              <a:gd name="T2" fmla="*/ 2147483646 w 44"/>
              <a:gd name="T3" fmla="*/ 2147483646 h 118"/>
              <a:gd name="T4" fmla="*/ 2147483646 w 44"/>
              <a:gd name="T5" fmla="*/ 2147483646 h 118"/>
              <a:gd name="T6" fmla="*/ 2147483646 w 44"/>
              <a:gd name="T7" fmla="*/ 2147483646 h 118"/>
              <a:gd name="T8" fmla="*/ 2147483646 w 44"/>
              <a:gd name="T9" fmla="*/ 2147483646 h 118"/>
              <a:gd name="T10" fmla="*/ 2147483646 w 44"/>
              <a:gd name="T11" fmla="*/ 2147483646 h 118"/>
              <a:gd name="T12" fmla="*/ 2147483646 w 44"/>
              <a:gd name="T13" fmla="*/ 2147483646 h 1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4"/>
              <a:gd name="T22" fmla="*/ 0 h 118"/>
              <a:gd name="T23" fmla="*/ 44 w 44"/>
              <a:gd name="T24" fmla="*/ 118 h 1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4" h="118">
                <a:moveTo>
                  <a:pt x="44" y="8"/>
                </a:moveTo>
                <a:cubicBezTo>
                  <a:pt x="44" y="8"/>
                  <a:pt x="21" y="42"/>
                  <a:pt x="27" y="51"/>
                </a:cubicBezTo>
                <a:cubicBezTo>
                  <a:pt x="32" y="61"/>
                  <a:pt x="31" y="107"/>
                  <a:pt x="24" y="118"/>
                </a:cubicBezTo>
                <a:cubicBezTo>
                  <a:pt x="24" y="118"/>
                  <a:pt x="5" y="94"/>
                  <a:pt x="4" y="73"/>
                </a:cubicBezTo>
                <a:cubicBezTo>
                  <a:pt x="2" y="53"/>
                  <a:pt x="0" y="45"/>
                  <a:pt x="8" y="39"/>
                </a:cubicBezTo>
                <a:cubicBezTo>
                  <a:pt x="17" y="32"/>
                  <a:pt x="17" y="29"/>
                  <a:pt x="21" y="20"/>
                </a:cubicBezTo>
                <a:cubicBezTo>
                  <a:pt x="25" y="11"/>
                  <a:pt x="34" y="0"/>
                  <a:pt x="44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1" name="Freeform 617"/>
          <p:cNvSpPr>
            <a:spLocks/>
          </p:cNvSpPr>
          <p:nvPr userDrawn="1"/>
        </p:nvSpPr>
        <p:spPr bwMode="auto">
          <a:xfrm>
            <a:off x="6355004" y="4155375"/>
            <a:ext cx="103856" cy="123957"/>
          </a:xfrm>
          <a:custGeom>
            <a:avLst/>
            <a:gdLst>
              <a:gd name="T0" fmla="*/ 2147483646 w 112"/>
              <a:gd name="T1" fmla="*/ 2147483646 h 133"/>
              <a:gd name="T2" fmla="*/ 2147483646 w 112"/>
              <a:gd name="T3" fmla="*/ 0 h 133"/>
              <a:gd name="T4" fmla="*/ 2147483646 w 112"/>
              <a:gd name="T5" fmla="*/ 2147483646 h 133"/>
              <a:gd name="T6" fmla="*/ 2147483646 w 112"/>
              <a:gd name="T7" fmla="*/ 2147483646 h 133"/>
              <a:gd name="T8" fmla="*/ 2147483646 w 112"/>
              <a:gd name="T9" fmla="*/ 2147483646 h 133"/>
              <a:gd name="T10" fmla="*/ 2147483646 w 112"/>
              <a:gd name="T11" fmla="*/ 2147483646 h 133"/>
              <a:gd name="T12" fmla="*/ 2147483646 w 112"/>
              <a:gd name="T13" fmla="*/ 2147483646 h 133"/>
              <a:gd name="T14" fmla="*/ 2147483646 w 112"/>
              <a:gd name="T15" fmla="*/ 2147483646 h 133"/>
              <a:gd name="T16" fmla="*/ 2147483646 w 112"/>
              <a:gd name="T17" fmla="*/ 2147483646 h 133"/>
              <a:gd name="T18" fmla="*/ 2147483646 w 112"/>
              <a:gd name="T19" fmla="*/ 2147483646 h 133"/>
              <a:gd name="T20" fmla="*/ 2147483646 w 112"/>
              <a:gd name="T21" fmla="*/ 2147483646 h 133"/>
              <a:gd name="T22" fmla="*/ 2147483646 w 112"/>
              <a:gd name="T23" fmla="*/ 2147483646 h 133"/>
              <a:gd name="T24" fmla="*/ 2147483646 w 112"/>
              <a:gd name="T25" fmla="*/ 2147483646 h 133"/>
              <a:gd name="T26" fmla="*/ 2147483646 w 112"/>
              <a:gd name="T27" fmla="*/ 2147483646 h 133"/>
              <a:gd name="T28" fmla="*/ 2147483646 w 112"/>
              <a:gd name="T29" fmla="*/ 2147483646 h 13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12"/>
              <a:gd name="T46" fmla="*/ 0 h 133"/>
              <a:gd name="T47" fmla="*/ 112 w 112"/>
              <a:gd name="T48" fmla="*/ 133 h 13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12" h="133">
                <a:moveTo>
                  <a:pt x="112" y="36"/>
                </a:moveTo>
                <a:cubicBezTo>
                  <a:pt x="108" y="34"/>
                  <a:pt x="100" y="0"/>
                  <a:pt x="100" y="0"/>
                </a:cubicBezTo>
                <a:cubicBezTo>
                  <a:pt x="100" y="0"/>
                  <a:pt x="86" y="7"/>
                  <a:pt x="82" y="12"/>
                </a:cubicBezTo>
                <a:cubicBezTo>
                  <a:pt x="79" y="17"/>
                  <a:pt x="69" y="32"/>
                  <a:pt x="62" y="34"/>
                </a:cubicBezTo>
                <a:cubicBezTo>
                  <a:pt x="55" y="37"/>
                  <a:pt x="44" y="37"/>
                  <a:pt x="40" y="29"/>
                </a:cubicBezTo>
                <a:cubicBezTo>
                  <a:pt x="37" y="20"/>
                  <a:pt x="33" y="3"/>
                  <a:pt x="26" y="4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3"/>
                  <a:pt x="0" y="37"/>
                  <a:pt x="6" y="46"/>
                </a:cubicBezTo>
                <a:cubicBezTo>
                  <a:pt x="11" y="56"/>
                  <a:pt x="10" y="102"/>
                  <a:pt x="3" y="113"/>
                </a:cubicBezTo>
                <a:cubicBezTo>
                  <a:pt x="19" y="130"/>
                  <a:pt x="19" y="130"/>
                  <a:pt x="19" y="130"/>
                </a:cubicBezTo>
                <a:cubicBezTo>
                  <a:pt x="19" y="130"/>
                  <a:pt x="43" y="133"/>
                  <a:pt x="48" y="128"/>
                </a:cubicBezTo>
                <a:cubicBezTo>
                  <a:pt x="53" y="122"/>
                  <a:pt x="68" y="103"/>
                  <a:pt x="72" y="95"/>
                </a:cubicBezTo>
                <a:cubicBezTo>
                  <a:pt x="77" y="87"/>
                  <a:pt x="79" y="85"/>
                  <a:pt x="86" y="83"/>
                </a:cubicBezTo>
                <a:cubicBezTo>
                  <a:pt x="93" y="80"/>
                  <a:pt x="95" y="74"/>
                  <a:pt x="95" y="69"/>
                </a:cubicBezTo>
                <a:cubicBezTo>
                  <a:pt x="95" y="63"/>
                  <a:pt x="106" y="39"/>
                  <a:pt x="112" y="3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2" name="Freeform 618"/>
          <p:cNvSpPr>
            <a:spLocks/>
          </p:cNvSpPr>
          <p:nvPr userDrawn="1"/>
        </p:nvSpPr>
        <p:spPr bwMode="auto">
          <a:xfrm>
            <a:off x="6349979" y="4188876"/>
            <a:ext cx="495828" cy="428824"/>
          </a:xfrm>
          <a:custGeom>
            <a:avLst/>
            <a:gdLst>
              <a:gd name="T0" fmla="*/ 2147483646 w 532"/>
              <a:gd name="T1" fmla="*/ 2147483646 h 459"/>
              <a:gd name="T2" fmla="*/ 2147483646 w 532"/>
              <a:gd name="T3" fmla="*/ 2147483646 h 459"/>
              <a:gd name="T4" fmla="*/ 2147483646 w 532"/>
              <a:gd name="T5" fmla="*/ 2147483646 h 459"/>
              <a:gd name="T6" fmla="*/ 2147483646 w 532"/>
              <a:gd name="T7" fmla="*/ 2147483646 h 459"/>
              <a:gd name="T8" fmla="*/ 2147483646 w 532"/>
              <a:gd name="T9" fmla="*/ 2147483646 h 459"/>
              <a:gd name="T10" fmla="*/ 2147483646 w 532"/>
              <a:gd name="T11" fmla="*/ 2147483646 h 459"/>
              <a:gd name="T12" fmla="*/ 2147483646 w 532"/>
              <a:gd name="T13" fmla="*/ 2147483646 h 459"/>
              <a:gd name="T14" fmla="*/ 2147483646 w 532"/>
              <a:gd name="T15" fmla="*/ 0 h 459"/>
              <a:gd name="T16" fmla="*/ 2147483646 w 532"/>
              <a:gd name="T17" fmla="*/ 2147483646 h 459"/>
              <a:gd name="T18" fmla="*/ 2147483646 w 532"/>
              <a:gd name="T19" fmla="*/ 2147483646 h 459"/>
              <a:gd name="T20" fmla="*/ 2147483646 w 532"/>
              <a:gd name="T21" fmla="*/ 2147483646 h 459"/>
              <a:gd name="T22" fmla="*/ 2147483646 w 532"/>
              <a:gd name="T23" fmla="*/ 2147483646 h 459"/>
              <a:gd name="T24" fmla="*/ 2147483646 w 532"/>
              <a:gd name="T25" fmla="*/ 2147483646 h 459"/>
              <a:gd name="T26" fmla="*/ 2147483646 w 532"/>
              <a:gd name="T27" fmla="*/ 2147483646 h 459"/>
              <a:gd name="T28" fmla="*/ 2147483646 w 532"/>
              <a:gd name="T29" fmla="*/ 2147483646 h 459"/>
              <a:gd name="T30" fmla="*/ 2147483646 w 532"/>
              <a:gd name="T31" fmla="*/ 2147483646 h 459"/>
              <a:gd name="T32" fmla="*/ 2147483646 w 532"/>
              <a:gd name="T33" fmla="*/ 2147483646 h 459"/>
              <a:gd name="T34" fmla="*/ 2147483646 w 532"/>
              <a:gd name="T35" fmla="*/ 2147483646 h 459"/>
              <a:gd name="T36" fmla="*/ 2147483646 w 532"/>
              <a:gd name="T37" fmla="*/ 2147483646 h 459"/>
              <a:gd name="T38" fmla="*/ 2147483646 w 532"/>
              <a:gd name="T39" fmla="*/ 2147483646 h 459"/>
              <a:gd name="T40" fmla="*/ 2147483646 w 532"/>
              <a:gd name="T41" fmla="*/ 2147483646 h 459"/>
              <a:gd name="T42" fmla="*/ 2147483646 w 532"/>
              <a:gd name="T43" fmla="*/ 2147483646 h 459"/>
              <a:gd name="T44" fmla="*/ 2147483646 w 532"/>
              <a:gd name="T45" fmla="*/ 2147483646 h 459"/>
              <a:gd name="T46" fmla="*/ 2147483646 w 532"/>
              <a:gd name="T47" fmla="*/ 2147483646 h 459"/>
              <a:gd name="T48" fmla="*/ 2147483646 w 532"/>
              <a:gd name="T49" fmla="*/ 2147483646 h 459"/>
              <a:gd name="T50" fmla="*/ 2147483646 w 532"/>
              <a:gd name="T51" fmla="*/ 2147483646 h 459"/>
              <a:gd name="T52" fmla="*/ 2147483646 w 532"/>
              <a:gd name="T53" fmla="*/ 2147483646 h 459"/>
              <a:gd name="T54" fmla="*/ 2147483646 w 532"/>
              <a:gd name="T55" fmla="*/ 2147483646 h 459"/>
              <a:gd name="T56" fmla="*/ 2147483646 w 532"/>
              <a:gd name="T57" fmla="*/ 2147483646 h 459"/>
              <a:gd name="T58" fmla="*/ 2147483646 w 532"/>
              <a:gd name="T59" fmla="*/ 2147483646 h 459"/>
              <a:gd name="T60" fmla="*/ 2147483646 w 532"/>
              <a:gd name="T61" fmla="*/ 2147483646 h 459"/>
              <a:gd name="T62" fmla="*/ 2147483646 w 532"/>
              <a:gd name="T63" fmla="*/ 2147483646 h 459"/>
              <a:gd name="T64" fmla="*/ 2147483646 w 532"/>
              <a:gd name="T65" fmla="*/ 2147483646 h 459"/>
              <a:gd name="T66" fmla="*/ 2147483646 w 532"/>
              <a:gd name="T67" fmla="*/ 2147483646 h 459"/>
              <a:gd name="T68" fmla="*/ 2147483646 w 532"/>
              <a:gd name="T69" fmla="*/ 2147483646 h 459"/>
              <a:gd name="T70" fmla="*/ 2147483646 w 532"/>
              <a:gd name="T71" fmla="*/ 2147483646 h 459"/>
              <a:gd name="T72" fmla="*/ 2147483646 w 532"/>
              <a:gd name="T73" fmla="*/ 2147483646 h 459"/>
              <a:gd name="T74" fmla="*/ 2147483646 w 532"/>
              <a:gd name="T75" fmla="*/ 2147483646 h 459"/>
              <a:gd name="T76" fmla="*/ 2147483646 w 532"/>
              <a:gd name="T77" fmla="*/ 2147483646 h 459"/>
              <a:gd name="T78" fmla="*/ 2147483646 w 532"/>
              <a:gd name="T79" fmla="*/ 2147483646 h 459"/>
              <a:gd name="T80" fmla="*/ 2147483646 w 532"/>
              <a:gd name="T81" fmla="*/ 2147483646 h 459"/>
              <a:gd name="T82" fmla="*/ 2147483646 w 532"/>
              <a:gd name="T83" fmla="*/ 2147483646 h 459"/>
              <a:gd name="T84" fmla="*/ 2147483646 w 532"/>
              <a:gd name="T85" fmla="*/ 2147483646 h 459"/>
              <a:gd name="T86" fmla="*/ 2147483646 w 532"/>
              <a:gd name="T87" fmla="*/ 2147483646 h 459"/>
              <a:gd name="T88" fmla="*/ 2147483646 w 532"/>
              <a:gd name="T89" fmla="*/ 2147483646 h 459"/>
              <a:gd name="T90" fmla="*/ 2147483646 w 532"/>
              <a:gd name="T91" fmla="*/ 2147483646 h 459"/>
              <a:gd name="T92" fmla="*/ 2147483646 w 532"/>
              <a:gd name="T93" fmla="*/ 2147483646 h 459"/>
              <a:gd name="T94" fmla="*/ 2147483646 w 532"/>
              <a:gd name="T95" fmla="*/ 2147483646 h 459"/>
              <a:gd name="T96" fmla="*/ 2147483646 w 532"/>
              <a:gd name="T97" fmla="*/ 2147483646 h 459"/>
              <a:gd name="T98" fmla="*/ 2147483646 w 532"/>
              <a:gd name="T99" fmla="*/ 2147483646 h 459"/>
              <a:gd name="T100" fmla="*/ 2147483646 w 532"/>
              <a:gd name="T101" fmla="*/ 2147483646 h 459"/>
              <a:gd name="T102" fmla="*/ 2147483646 w 532"/>
              <a:gd name="T103" fmla="*/ 2147483646 h 459"/>
              <a:gd name="T104" fmla="*/ 2147483646 w 532"/>
              <a:gd name="T105" fmla="*/ 2147483646 h 459"/>
              <a:gd name="T106" fmla="*/ 2147483646 w 532"/>
              <a:gd name="T107" fmla="*/ 2147483646 h 459"/>
              <a:gd name="T108" fmla="*/ 2147483646 w 532"/>
              <a:gd name="T109" fmla="*/ 2147483646 h 459"/>
              <a:gd name="T110" fmla="*/ 2147483646 w 532"/>
              <a:gd name="T111" fmla="*/ 2147483646 h 459"/>
              <a:gd name="T112" fmla="*/ 2147483646 w 532"/>
              <a:gd name="T113" fmla="*/ 2147483646 h 459"/>
              <a:gd name="T114" fmla="*/ 2147483646 w 532"/>
              <a:gd name="T115" fmla="*/ 2147483646 h 459"/>
              <a:gd name="T116" fmla="*/ 2147483646 w 532"/>
              <a:gd name="T117" fmla="*/ 2147483646 h 459"/>
              <a:gd name="T118" fmla="*/ 2147483646 w 532"/>
              <a:gd name="T119" fmla="*/ 2147483646 h 459"/>
              <a:gd name="T120" fmla="*/ 2147483646 w 532"/>
              <a:gd name="T121" fmla="*/ 2147483646 h 459"/>
              <a:gd name="T122" fmla="*/ 2147483646 w 532"/>
              <a:gd name="T123" fmla="*/ 2147483646 h 45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32"/>
              <a:gd name="T187" fmla="*/ 0 h 459"/>
              <a:gd name="T188" fmla="*/ 532 w 532"/>
              <a:gd name="T189" fmla="*/ 459 h 45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32" h="459">
                <a:moveTo>
                  <a:pt x="332" y="92"/>
                </a:moveTo>
                <a:cubicBezTo>
                  <a:pt x="331" y="102"/>
                  <a:pt x="320" y="108"/>
                  <a:pt x="311" y="106"/>
                </a:cubicBezTo>
                <a:cubicBezTo>
                  <a:pt x="303" y="105"/>
                  <a:pt x="291" y="101"/>
                  <a:pt x="278" y="101"/>
                </a:cubicBezTo>
                <a:cubicBezTo>
                  <a:pt x="266" y="101"/>
                  <a:pt x="254" y="98"/>
                  <a:pt x="247" y="91"/>
                </a:cubicBezTo>
                <a:cubicBezTo>
                  <a:pt x="240" y="84"/>
                  <a:pt x="223" y="56"/>
                  <a:pt x="217" y="48"/>
                </a:cubicBezTo>
                <a:cubicBezTo>
                  <a:pt x="212" y="40"/>
                  <a:pt x="201" y="27"/>
                  <a:pt x="196" y="27"/>
                </a:cubicBezTo>
                <a:cubicBezTo>
                  <a:pt x="192" y="27"/>
                  <a:pt x="154" y="5"/>
                  <a:pt x="145" y="5"/>
                </a:cubicBezTo>
                <a:cubicBezTo>
                  <a:pt x="135" y="5"/>
                  <a:pt x="121" y="1"/>
                  <a:pt x="118" y="0"/>
                </a:cubicBezTo>
                <a:cubicBezTo>
                  <a:pt x="112" y="3"/>
                  <a:pt x="101" y="27"/>
                  <a:pt x="101" y="33"/>
                </a:cubicBezTo>
                <a:cubicBezTo>
                  <a:pt x="101" y="38"/>
                  <a:pt x="99" y="44"/>
                  <a:pt x="92" y="47"/>
                </a:cubicBezTo>
                <a:cubicBezTo>
                  <a:pt x="85" y="49"/>
                  <a:pt x="83" y="51"/>
                  <a:pt x="78" y="59"/>
                </a:cubicBezTo>
                <a:cubicBezTo>
                  <a:pt x="74" y="67"/>
                  <a:pt x="59" y="86"/>
                  <a:pt x="54" y="92"/>
                </a:cubicBezTo>
                <a:cubicBezTo>
                  <a:pt x="49" y="97"/>
                  <a:pt x="25" y="94"/>
                  <a:pt x="25" y="94"/>
                </a:cubicBezTo>
                <a:cubicBezTo>
                  <a:pt x="9" y="77"/>
                  <a:pt x="9" y="77"/>
                  <a:pt x="9" y="77"/>
                </a:cubicBezTo>
                <a:cubicBezTo>
                  <a:pt x="9" y="77"/>
                  <a:pt x="0" y="110"/>
                  <a:pt x="7" y="115"/>
                </a:cubicBezTo>
                <a:cubicBezTo>
                  <a:pt x="14" y="121"/>
                  <a:pt x="25" y="126"/>
                  <a:pt x="28" y="131"/>
                </a:cubicBezTo>
                <a:cubicBezTo>
                  <a:pt x="30" y="136"/>
                  <a:pt x="27" y="142"/>
                  <a:pt x="32" y="148"/>
                </a:cubicBezTo>
                <a:cubicBezTo>
                  <a:pt x="38" y="155"/>
                  <a:pt x="50" y="161"/>
                  <a:pt x="53" y="163"/>
                </a:cubicBezTo>
                <a:cubicBezTo>
                  <a:pt x="55" y="165"/>
                  <a:pt x="57" y="172"/>
                  <a:pt x="61" y="180"/>
                </a:cubicBezTo>
                <a:cubicBezTo>
                  <a:pt x="66" y="189"/>
                  <a:pt x="72" y="212"/>
                  <a:pt x="70" y="216"/>
                </a:cubicBezTo>
                <a:cubicBezTo>
                  <a:pt x="68" y="220"/>
                  <a:pt x="67" y="228"/>
                  <a:pt x="72" y="228"/>
                </a:cubicBezTo>
                <a:cubicBezTo>
                  <a:pt x="78" y="228"/>
                  <a:pt x="79" y="223"/>
                  <a:pt x="85" y="222"/>
                </a:cubicBezTo>
                <a:cubicBezTo>
                  <a:pt x="91" y="221"/>
                  <a:pt x="88" y="221"/>
                  <a:pt x="93" y="224"/>
                </a:cubicBezTo>
                <a:cubicBezTo>
                  <a:pt x="99" y="227"/>
                  <a:pt x="102" y="238"/>
                  <a:pt x="102" y="238"/>
                </a:cubicBezTo>
                <a:cubicBezTo>
                  <a:pt x="102" y="238"/>
                  <a:pt x="87" y="243"/>
                  <a:pt x="99" y="244"/>
                </a:cubicBezTo>
                <a:cubicBezTo>
                  <a:pt x="111" y="245"/>
                  <a:pt x="111" y="237"/>
                  <a:pt x="114" y="245"/>
                </a:cubicBezTo>
                <a:cubicBezTo>
                  <a:pt x="116" y="252"/>
                  <a:pt x="104" y="260"/>
                  <a:pt x="104" y="263"/>
                </a:cubicBezTo>
                <a:cubicBezTo>
                  <a:pt x="104" y="266"/>
                  <a:pt x="100" y="267"/>
                  <a:pt x="104" y="271"/>
                </a:cubicBezTo>
                <a:cubicBezTo>
                  <a:pt x="109" y="275"/>
                  <a:pt x="118" y="266"/>
                  <a:pt x="118" y="277"/>
                </a:cubicBezTo>
                <a:cubicBezTo>
                  <a:pt x="118" y="287"/>
                  <a:pt x="110" y="280"/>
                  <a:pt x="116" y="294"/>
                </a:cubicBezTo>
                <a:cubicBezTo>
                  <a:pt x="122" y="307"/>
                  <a:pt x="133" y="320"/>
                  <a:pt x="140" y="327"/>
                </a:cubicBezTo>
                <a:cubicBezTo>
                  <a:pt x="148" y="333"/>
                  <a:pt x="153" y="352"/>
                  <a:pt x="153" y="352"/>
                </a:cubicBezTo>
                <a:cubicBezTo>
                  <a:pt x="153" y="352"/>
                  <a:pt x="150" y="351"/>
                  <a:pt x="161" y="357"/>
                </a:cubicBezTo>
                <a:cubicBezTo>
                  <a:pt x="173" y="363"/>
                  <a:pt x="176" y="360"/>
                  <a:pt x="181" y="370"/>
                </a:cubicBezTo>
                <a:cubicBezTo>
                  <a:pt x="186" y="381"/>
                  <a:pt x="187" y="381"/>
                  <a:pt x="194" y="395"/>
                </a:cubicBezTo>
                <a:cubicBezTo>
                  <a:pt x="200" y="408"/>
                  <a:pt x="215" y="434"/>
                  <a:pt x="219" y="436"/>
                </a:cubicBezTo>
                <a:cubicBezTo>
                  <a:pt x="224" y="439"/>
                  <a:pt x="227" y="416"/>
                  <a:pt x="240" y="421"/>
                </a:cubicBezTo>
                <a:cubicBezTo>
                  <a:pt x="252" y="427"/>
                  <a:pt x="281" y="434"/>
                  <a:pt x="284" y="437"/>
                </a:cubicBezTo>
                <a:cubicBezTo>
                  <a:pt x="286" y="440"/>
                  <a:pt x="296" y="459"/>
                  <a:pt x="303" y="453"/>
                </a:cubicBezTo>
                <a:cubicBezTo>
                  <a:pt x="310" y="448"/>
                  <a:pt x="311" y="439"/>
                  <a:pt x="317" y="435"/>
                </a:cubicBezTo>
                <a:cubicBezTo>
                  <a:pt x="323" y="432"/>
                  <a:pt x="332" y="424"/>
                  <a:pt x="334" y="421"/>
                </a:cubicBezTo>
                <a:cubicBezTo>
                  <a:pt x="337" y="417"/>
                  <a:pt x="330" y="406"/>
                  <a:pt x="343" y="402"/>
                </a:cubicBezTo>
                <a:cubicBezTo>
                  <a:pt x="356" y="397"/>
                  <a:pt x="351" y="384"/>
                  <a:pt x="367" y="389"/>
                </a:cubicBezTo>
                <a:cubicBezTo>
                  <a:pt x="384" y="395"/>
                  <a:pt x="381" y="383"/>
                  <a:pt x="395" y="382"/>
                </a:cubicBezTo>
                <a:cubicBezTo>
                  <a:pt x="409" y="381"/>
                  <a:pt x="419" y="376"/>
                  <a:pt x="419" y="376"/>
                </a:cubicBezTo>
                <a:cubicBezTo>
                  <a:pt x="442" y="369"/>
                  <a:pt x="442" y="369"/>
                  <a:pt x="442" y="369"/>
                </a:cubicBezTo>
                <a:cubicBezTo>
                  <a:pt x="442" y="369"/>
                  <a:pt x="460" y="366"/>
                  <a:pt x="473" y="362"/>
                </a:cubicBezTo>
                <a:cubicBezTo>
                  <a:pt x="486" y="358"/>
                  <a:pt x="496" y="341"/>
                  <a:pt x="507" y="342"/>
                </a:cubicBezTo>
                <a:cubicBezTo>
                  <a:pt x="519" y="344"/>
                  <a:pt x="526" y="326"/>
                  <a:pt x="526" y="326"/>
                </a:cubicBezTo>
                <a:cubicBezTo>
                  <a:pt x="526" y="326"/>
                  <a:pt x="532" y="300"/>
                  <a:pt x="529" y="291"/>
                </a:cubicBezTo>
                <a:cubicBezTo>
                  <a:pt x="526" y="281"/>
                  <a:pt x="512" y="275"/>
                  <a:pt x="508" y="276"/>
                </a:cubicBezTo>
                <a:cubicBezTo>
                  <a:pt x="504" y="277"/>
                  <a:pt x="488" y="259"/>
                  <a:pt x="476" y="262"/>
                </a:cubicBezTo>
                <a:cubicBezTo>
                  <a:pt x="464" y="264"/>
                  <a:pt x="450" y="276"/>
                  <a:pt x="442" y="259"/>
                </a:cubicBezTo>
                <a:cubicBezTo>
                  <a:pt x="435" y="243"/>
                  <a:pt x="428" y="209"/>
                  <a:pt x="428" y="209"/>
                </a:cubicBezTo>
                <a:cubicBezTo>
                  <a:pt x="428" y="209"/>
                  <a:pt x="424" y="193"/>
                  <a:pt x="413" y="188"/>
                </a:cubicBezTo>
                <a:cubicBezTo>
                  <a:pt x="403" y="183"/>
                  <a:pt x="394" y="179"/>
                  <a:pt x="396" y="171"/>
                </a:cubicBezTo>
                <a:cubicBezTo>
                  <a:pt x="399" y="163"/>
                  <a:pt x="404" y="150"/>
                  <a:pt x="401" y="149"/>
                </a:cubicBezTo>
                <a:cubicBezTo>
                  <a:pt x="398" y="148"/>
                  <a:pt x="393" y="140"/>
                  <a:pt x="393" y="140"/>
                </a:cubicBezTo>
                <a:cubicBezTo>
                  <a:pt x="393" y="140"/>
                  <a:pt x="390" y="127"/>
                  <a:pt x="385" y="129"/>
                </a:cubicBezTo>
                <a:cubicBezTo>
                  <a:pt x="381" y="130"/>
                  <a:pt x="374" y="126"/>
                  <a:pt x="374" y="126"/>
                </a:cubicBezTo>
                <a:cubicBezTo>
                  <a:pt x="370" y="110"/>
                  <a:pt x="370" y="110"/>
                  <a:pt x="370" y="110"/>
                </a:cubicBezTo>
                <a:cubicBezTo>
                  <a:pt x="370" y="110"/>
                  <a:pt x="335" y="113"/>
                  <a:pt x="332" y="9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3" name="Freeform 619"/>
          <p:cNvSpPr>
            <a:spLocks/>
          </p:cNvSpPr>
          <p:nvPr userDrawn="1"/>
        </p:nvSpPr>
        <p:spPr bwMode="auto">
          <a:xfrm>
            <a:off x="6547641" y="4527246"/>
            <a:ext cx="257964" cy="169185"/>
          </a:xfrm>
          <a:custGeom>
            <a:avLst/>
            <a:gdLst>
              <a:gd name="T0" fmla="*/ 2147483646 w 277"/>
              <a:gd name="T1" fmla="*/ 2147483646 h 182"/>
              <a:gd name="T2" fmla="*/ 2147483646 w 277"/>
              <a:gd name="T3" fmla="*/ 2147483646 h 182"/>
              <a:gd name="T4" fmla="*/ 2147483646 w 277"/>
              <a:gd name="T5" fmla="*/ 2147483646 h 182"/>
              <a:gd name="T6" fmla="*/ 2147483646 w 277"/>
              <a:gd name="T7" fmla="*/ 2147483646 h 182"/>
              <a:gd name="T8" fmla="*/ 2147483646 w 277"/>
              <a:gd name="T9" fmla="*/ 2147483646 h 182"/>
              <a:gd name="T10" fmla="*/ 2147483646 w 277"/>
              <a:gd name="T11" fmla="*/ 2147483646 h 182"/>
              <a:gd name="T12" fmla="*/ 2147483646 w 277"/>
              <a:gd name="T13" fmla="*/ 2147483646 h 182"/>
              <a:gd name="T14" fmla="*/ 2147483646 w 277"/>
              <a:gd name="T15" fmla="*/ 2147483646 h 182"/>
              <a:gd name="T16" fmla="*/ 2147483646 w 277"/>
              <a:gd name="T17" fmla="*/ 2147483646 h 182"/>
              <a:gd name="T18" fmla="*/ 2147483646 w 277"/>
              <a:gd name="T19" fmla="*/ 2147483646 h 182"/>
              <a:gd name="T20" fmla="*/ 2147483646 w 277"/>
              <a:gd name="T21" fmla="*/ 2147483646 h 182"/>
              <a:gd name="T22" fmla="*/ 2147483646 w 277"/>
              <a:gd name="T23" fmla="*/ 0 h 182"/>
              <a:gd name="T24" fmla="*/ 2147483646 w 277"/>
              <a:gd name="T25" fmla="*/ 2147483646 h 182"/>
              <a:gd name="T26" fmla="*/ 2147483646 w 277"/>
              <a:gd name="T27" fmla="*/ 2147483646 h 182"/>
              <a:gd name="T28" fmla="*/ 2147483646 w 277"/>
              <a:gd name="T29" fmla="*/ 2147483646 h 182"/>
              <a:gd name="T30" fmla="*/ 2147483646 w 277"/>
              <a:gd name="T31" fmla="*/ 2147483646 h 182"/>
              <a:gd name="T32" fmla="*/ 2147483646 w 277"/>
              <a:gd name="T33" fmla="*/ 2147483646 h 182"/>
              <a:gd name="T34" fmla="*/ 2147483646 w 277"/>
              <a:gd name="T35" fmla="*/ 2147483646 h 182"/>
              <a:gd name="T36" fmla="*/ 2147483646 w 277"/>
              <a:gd name="T37" fmla="*/ 2147483646 h 182"/>
              <a:gd name="T38" fmla="*/ 2147483646 w 277"/>
              <a:gd name="T39" fmla="*/ 2147483646 h 182"/>
              <a:gd name="T40" fmla="*/ 2147483646 w 277"/>
              <a:gd name="T41" fmla="*/ 2147483646 h 182"/>
              <a:gd name="T42" fmla="*/ 2147483646 w 277"/>
              <a:gd name="T43" fmla="*/ 2147483646 h 182"/>
              <a:gd name="T44" fmla="*/ 2147483646 w 277"/>
              <a:gd name="T45" fmla="*/ 2147483646 h 182"/>
              <a:gd name="T46" fmla="*/ 2147483646 w 277"/>
              <a:gd name="T47" fmla="*/ 2147483646 h 182"/>
              <a:gd name="T48" fmla="*/ 2147483646 w 277"/>
              <a:gd name="T49" fmla="*/ 2147483646 h 182"/>
              <a:gd name="T50" fmla="*/ 2147483646 w 277"/>
              <a:gd name="T51" fmla="*/ 2147483646 h 182"/>
              <a:gd name="T52" fmla="*/ 2147483646 w 277"/>
              <a:gd name="T53" fmla="*/ 2147483646 h 182"/>
              <a:gd name="T54" fmla="*/ 2147483646 w 277"/>
              <a:gd name="T55" fmla="*/ 2147483646 h 182"/>
              <a:gd name="T56" fmla="*/ 2147483646 w 277"/>
              <a:gd name="T57" fmla="*/ 2147483646 h 18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77"/>
              <a:gd name="T88" fmla="*/ 0 h 182"/>
              <a:gd name="T89" fmla="*/ 277 w 277"/>
              <a:gd name="T90" fmla="*/ 182 h 18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77" h="182">
                <a:moveTo>
                  <a:pt x="7" y="74"/>
                </a:moveTo>
                <a:cubicBezTo>
                  <a:pt x="12" y="77"/>
                  <a:pt x="15" y="54"/>
                  <a:pt x="28" y="59"/>
                </a:cubicBezTo>
                <a:cubicBezTo>
                  <a:pt x="40" y="65"/>
                  <a:pt x="69" y="72"/>
                  <a:pt x="72" y="75"/>
                </a:cubicBezTo>
                <a:cubicBezTo>
                  <a:pt x="74" y="78"/>
                  <a:pt x="84" y="97"/>
                  <a:pt x="91" y="91"/>
                </a:cubicBezTo>
                <a:cubicBezTo>
                  <a:pt x="98" y="86"/>
                  <a:pt x="99" y="77"/>
                  <a:pt x="105" y="73"/>
                </a:cubicBezTo>
                <a:cubicBezTo>
                  <a:pt x="111" y="70"/>
                  <a:pt x="120" y="62"/>
                  <a:pt x="122" y="59"/>
                </a:cubicBezTo>
                <a:cubicBezTo>
                  <a:pt x="125" y="55"/>
                  <a:pt x="118" y="44"/>
                  <a:pt x="131" y="40"/>
                </a:cubicBezTo>
                <a:cubicBezTo>
                  <a:pt x="144" y="35"/>
                  <a:pt x="139" y="22"/>
                  <a:pt x="155" y="27"/>
                </a:cubicBezTo>
                <a:cubicBezTo>
                  <a:pt x="172" y="33"/>
                  <a:pt x="169" y="21"/>
                  <a:pt x="183" y="20"/>
                </a:cubicBezTo>
                <a:cubicBezTo>
                  <a:pt x="197" y="19"/>
                  <a:pt x="207" y="14"/>
                  <a:pt x="207" y="14"/>
                </a:cubicBezTo>
                <a:cubicBezTo>
                  <a:pt x="230" y="7"/>
                  <a:pt x="230" y="7"/>
                  <a:pt x="230" y="7"/>
                </a:cubicBezTo>
                <a:cubicBezTo>
                  <a:pt x="230" y="7"/>
                  <a:pt x="248" y="4"/>
                  <a:pt x="261" y="0"/>
                </a:cubicBezTo>
                <a:cubicBezTo>
                  <a:pt x="261" y="0"/>
                  <a:pt x="258" y="19"/>
                  <a:pt x="265" y="28"/>
                </a:cubicBezTo>
                <a:cubicBezTo>
                  <a:pt x="272" y="38"/>
                  <a:pt x="272" y="54"/>
                  <a:pt x="274" y="60"/>
                </a:cubicBezTo>
                <a:cubicBezTo>
                  <a:pt x="277" y="66"/>
                  <a:pt x="274" y="77"/>
                  <a:pt x="266" y="86"/>
                </a:cubicBezTo>
                <a:cubicBezTo>
                  <a:pt x="258" y="95"/>
                  <a:pt x="246" y="84"/>
                  <a:pt x="245" y="95"/>
                </a:cubicBezTo>
                <a:cubicBezTo>
                  <a:pt x="244" y="107"/>
                  <a:pt x="233" y="87"/>
                  <a:pt x="228" y="106"/>
                </a:cubicBezTo>
                <a:cubicBezTo>
                  <a:pt x="224" y="125"/>
                  <a:pt x="205" y="126"/>
                  <a:pt x="198" y="128"/>
                </a:cubicBezTo>
                <a:cubicBezTo>
                  <a:pt x="191" y="131"/>
                  <a:pt x="184" y="122"/>
                  <a:pt x="178" y="131"/>
                </a:cubicBezTo>
                <a:cubicBezTo>
                  <a:pt x="172" y="139"/>
                  <a:pt x="149" y="146"/>
                  <a:pt x="144" y="145"/>
                </a:cubicBezTo>
                <a:cubicBezTo>
                  <a:pt x="139" y="143"/>
                  <a:pt x="129" y="128"/>
                  <a:pt x="127" y="136"/>
                </a:cubicBezTo>
                <a:cubicBezTo>
                  <a:pt x="126" y="145"/>
                  <a:pt x="125" y="146"/>
                  <a:pt x="124" y="152"/>
                </a:cubicBezTo>
                <a:cubicBezTo>
                  <a:pt x="123" y="158"/>
                  <a:pt x="106" y="158"/>
                  <a:pt x="102" y="160"/>
                </a:cubicBezTo>
                <a:cubicBezTo>
                  <a:pt x="97" y="162"/>
                  <a:pt x="90" y="149"/>
                  <a:pt x="88" y="158"/>
                </a:cubicBezTo>
                <a:cubicBezTo>
                  <a:pt x="85" y="166"/>
                  <a:pt x="99" y="182"/>
                  <a:pt x="66" y="181"/>
                </a:cubicBezTo>
                <a:cubicBezTo>
                  <a:pt x="34" y="180"/>
                  <a:pt x="27" y="159"/>
                  <a:pt x="25" y="152"/>
                </a:cubicBezTo>
                <a:cubicBezTo>
                  <a:pt x="24" y="145"/>
                  <a:pt x="15" y="129"/>
                  <a:pt x="11" y="128"/>
                </a:cubicBezTo>
                <a:cubicBezTo>
                  <a:pt x="8" y="127"/>
                  <a:pt x="0" y="113"/>
                  <a:pt x="2" y="109"/>
                </a:cubicBezTo>
                <a:cubicBezTo>
                  <a:pt x="4" y="106"/>
                  <a:pt x="7" y="74"/>
                  <a:pt x="7" y="7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4" name="Freeform 620"/>
          <p:cNvSpPr>
            <a:spLocks/>
          </p:cNvSpPr>
          <p:nvPr userDrawn="1"/>
        </p:nvSpPr>
        <p:spPr bwMode="auto">
          <a:xfrm>
            <a:off x="6787178" y="4379836"/>
            <a:ext cx="170860" cy="217763"/>
          </a:xfrm>
          <a:custGeom>
            <a:avLst/>
            <a:gdLst>
              <a:gd name="T0" fmla="*/ 2147483646 w 183"/>
              <a:gd name="T1" fmla="*/ 2147483646 h 233"/>
              <a:gd name="T2" fmla="*/ 2147483646 w 183"/>
              <a:gd name="T3" fmla="*/ 2147483646 h 233"/>
              <a:gd name="T4" fmla="*/ 2147483646 w 183"/>
              <a:gd name="T5" fmla="*/ 2147483646 h 233"/>
              <a:gd name="T6" fmla="*/ 2147483646 w 183"/>
              <a:gd name="T7" fmla="*/ 2147483646 h 233"/>
              <a:gd name="T8" fmla="*/ 2147483646 w 183"/>
              <a:gd name="T9" fmla="*/ 2147483646 h 233"/>
              <a:gd name="T10" fmla="*/ 2147483646 w 183"/>
              <a:gd name="T11" fmla="*/ 2147483646 h 233"/>
              <a:gd name="T12" fmla="*/ 2147483646 w 183"/>
              <a:gd name="T13" fmla="*/ 2147483646 h 233"/>
              <a:gd name="T14" fmla="*/ 2147483646 w 183"/>
              <a:gd name="T15" fmla="*/ 2147483646 h 233"/>
              <a:gd name="T16" fmla="*/ 2147483646 w 183"/>
              <a:gd name="T17" fmla="*/ 2147483646 h 233"/>
              <a:gd name="T18" fmla="*/ 2147483646 w 183"/>
              <a:gd name="T19" fmla="*/ 2147483646 h 233"/>
              <a:gd name="T20" fmla="*/ 2147483646 w 183"/>
              <a:gd name="T21" fmla="*/ 2147483646 h 233"/>
              <a:gd name="T22" fmla="*/ 2147483646 w 183"/>
              <a:gd name="T23" fmla="*/ 2147483646 h 233"/>
              <a:gd name="T24" fmla="*/ 2147483646 w 183"/>
              <a:gd name="T25" fmla="*/ 2147483646 h 233"/>
              <a:gd name="T26" fmla="*/ 2147483646 w 183"/>
              <a:gd name="T27" fmla="*/ 2147483646 h 233"/>
              <a:gd name="T28" fmla="*/ 2147483646 w 183"/>
              <a:gd name="T29" fmla="*/ 2147483646 h 233"/>
              <a:gd name="T30" fmla="*/ 2147483646 w 183"/>
              <a:gd name="T31" fmla="*/ 2147483646 h 233"/>
              <a:gd name="T32" fmla="*/ 2147483646 w 183"/>
              <a:gd name="T33" fmla="*/ 2147483646 h 233"/>
              <a:gd name="T34" fmla="*/ 2147483646 w 183"/>
              <a:gd name="T35" fmla="*/ 2147483646 h 233"/>
              <a:gd name="T36" fmla="*/ 2147483646 w 183"/>
              <a:gd name="T37" fmla="*/ 2147483646 h 233"/>
              <a:gd name="T38" fmla="*/ 2147483646 w 183"/>
              <a:gd name="T39" fmla="*/ 2147483646 h 233"/>
              <a:gd name="T40" fmla="*/ 2147483646 w 183"/>
              <a:gd name="T41" fmla="*/ 2147483646 h 233"/>
              <a:gd name="T42" fmla="*/ 2147483646 w 183"/>
              <a:gd name="T43" fmla="*/ 2147483646 h 233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83"/>
              <a:gd name="T67" fmla="*/ 0 h 233"/>
              <a:gd name="T68" fmla="*/ 183 w 183"/>
              <a:gd name="T69" fmla="*/ 233 h 233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83" h="233">
                <a:moveTo>
                  <a:pt x="59" y="87"/>
                </a:moveTo>
                <a:cubicBezTo>
                  <a:pt x="62" y="96"/>
                  <a:pt x="56" y="122"/>
                  <a:pt x="56" y="122"/>
                </a:cubicBezTo>
                <a:cubicBezTo>
                  <a:pt x="56" y="122"/>
                  <a:pt x="49" y="140"/>
                  <a:pt x="37" y="138"/>
                </a:cubicBezTo>
                <a:cubicBezTo>
                  <a:pt x="26" y="137"/>
                  <a:pt x="16" y="154"/>
                  <a:pt x="3" y="158"/>
                </a:cubicBezTo>
                <a:cubicBezTo>
                  <a:pt x="3" y="158"/>
                  <a:pt x="0" y="177"/>
                  <a:pt x="7" y="186"/>
                </a:cubicBezTo>
                <a:cubicBezTo>
                  <a:pt x="14" y="196"/>
                  <a:pt x="14" y="212"/>
                  <a:pt x="16" y="218"/>
                </a:cubicBezTo>
                <a:cubicBezTo>
                  <a:pt x="16" y="218"/>
                  <a:pt x="22" y="233"/>
                  <a:pt x="34" y="230"/>
                </a:cubicBezTo>
                <a:cubicBezTo>
                  <a:pt x="46" y="226"/>
                  <a:pt x="62" y="222"/>
                  <a:pt x="71" y="220"/>
                </a:cubicBezTo>
                <a:cubicBezTo>
                  <a:pt x="81" y="219"/>
                  <a:pt x="97" y="215"/>
                  <a:pt x="98" y="210"/>
                </a:cubicBezTo>
                <a:cubicBezTo>
                  <a:pt x="100" y="205"/>
                  <a:pt x="90" y="196"/>
                  <a:pt x="105" y="185"/>
                </a:cubicBezTo>
                <a:cubicBezTo>
                  <a:pt x="121" y="175"/>
                  <a:pt x="124" y="157"/>
                  <a:pt x="134" y="157"/>
                </a:cubicBezTo>
                <a:cubicBezTo>
                  <a:pt x="143" y="157"/>
                  <a:pt x="143" y="166"/>
                  <a:pt x="143" y="157"/>
                </a:cubicBezTo>
                <a:cubicBezTo>
                  <a:pt x="143" y="148"/>
                  <a:pt x="155" y="129"/>
                  <a:pt x="159" y="124"/>
                </a:cubicBezTo>
                <a:cubicBezTo>
                  <a:pt x="164" y="120"/>
                  <a:pt x="173" y="103"/>
                  <a:pt x="178" y="97"/>
                </a:cubicBezTo>
                <a:cubicBezTo>
                  <a:pt x="183" y="91"/>
                  <a:pt x="166" y="63"/>
                  <a:pt x="161" y="62"/>
                </a:cubicBezTo>
                <a:cubicBezTo>
                  <a:pt x="155" y="61"/>
                  <a:pt x="144" y="36"/>
                  <a:pt x="137" y="36"/>
                </a:cubicBezTo>
                <a:cubicBezTo>
                  <a:pt x="130" y="36"/>
                  <a:pt x="116" y="34"/>
                  <a:pt x="111" y="26"/>
                </a:cubicBezTo>
                <a:cubicBezTo>
                  <a:pt x="107" y="17"/>
                  <a:pt x="98" y="14"/>
                  <a:pt x="94" y="12"/>
                </a:cubicBezTo>
                <a:cubicBezTo>
                  <a:pt x="89" y="9"/>
                  <a:pt x="84" y="0"/>
                  <a:pt x="83" y="6"/>
                </a:cubicBezTo>
                <a:cubicBezTo>
                  <a:pt x="82" y="12"/>
                  <a:pt x="81" y="33"/>
                  <a:pt x="81" y="33"/>
                </a:cubicBezTo>
                <a:cubicBezTo>
                  <a:pt x="81" y="33"/>
                  <a:pt x="71" y="46"/>
                  <a:pt x="69" y="49"/>
                </a:cubicBezTo>
                <a:cubicBezTo>
                  <a:pt x="67" y="53"/>
                  <a:pt x="59" y="87"/>
                  <a:pt x="59" y="8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5" name="Freeform 621"/>
          <p:cNvSpPr>
            <a:spLocks/>
          </p:cNvSpPr>
          <p:nvPr userDrawn="1"/>
        </p:nvSpPr>
        <p:spPr bwMode="auto">
          <a:xfrm>
            <a:off x="6735251" y="4348011"/>
            <a:ext cx="139032" cy="112231"/>
          </a:xfrm>
          <a:custGeom>
            <a:avLst/>
            <a:gdLst>
              <a:gd name="T0" fmla="*/ 0 w 150"/>
              <a:gd name="T1" fmla="*/ 2147483646 h 121"/>
              <a:gd name="T2" fmla="*/ 2147483646 w 150"/>
              <a:gd name="T3" fmla="*/ 2147483646 h 121"/>
              <a:gd name="T4" fmla="*/ 2147483646 w 150"/>
              <a:gd name="T5" fmla="*/ 2147483646 h 121"/>
              <a:gd name="T6" fmla="*/ 2147483646 w 150"/>
              <a:gd name="T7" fmla="*/ 2147483646 h 121"/>
              <a:gd name="T8" fmla="*/ 2147483646 w 150"/>
              <a:gd name="T9" fmla="*/ 2147483646 h 121"/>
              <a:gd name="T10" fmla="*/ 2147483646 w 150"/>
              <a:gd name="T11" fmla="*/ 2147483646 h 121"/>
              <a:gd name="T12" fmla="*/ 2147483646 w 150"/>
              <a:gd name="T13" fmla="*/ 2147483646 h 121"/>
              <a:gd name="T14" fmla="*/ 2147483646 w 150"/>
              <a:gd name="T15" fmla="*/ 2147483646 h 121"/>
              <a:gd name="T16" fmla="*/ 2147483646 w 150"/>
              <a:gd name="T17" fmla="*/ 2147483646 h 121"/>
              <a:gd name="T18" fmla="*/ 2147483646 w 150"/>
              <a:gd name="T19" fmla="*/ 2147483646 h 121"/>
              <a:gd name="T20" fmla="*/ 2147483646 w 150"/>
              <a:gd name="T21" fmla="*/ 2147483646 h 121"/>
              <a:gd name="T22" fmla="*/ 2147483646 w 150"/>
              <a:gd name="T23" fmla="*/ 0 h 121"/>
              <a:gd name="T24" fmla="*/ 2147483646 w 150"/>
              <a:gd name="T25" fmla="*/ 2147483646 h 121"/>
              <a:gd name="T26" fmla="*/ 2147483646 w 150"/>
              <a:gd name="T27" fmla="*/ 2147483646 h 121"/>
              <a:gd name="T28" fmla="*/ 2147483646 w 150"/>
              <a:gd name="T29" fmla="*/ 2147483646 h 121"/>
              <a:gd name="T30" fmla="*/ 2147483646 w 150"/>
              <a:gd name="T31" fmla="*/ 2147483646 h 121"/>
              <a:gd name="T32" fmla="*/ 2147483646 w 150"/>
              <a:gd name="T33" fmla="*/ 2147483646 h 121"/>
              <a:gd name="T34" fmla="*/ 2147483646 w 150"/>
              <a:gd name="T35" fmla="*/ 2147483646 h 121"/>
              <a:gd name="T36" fmla="*/ 0 w 150"/>
              <a:gd name="T37" fmla="*/ 2147483646 h 12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50"/>
              <a:gd name="T58" fmla="*/ 0 h 121"/>
              <a:gd name="T59" fmla="*/ 150 w 150"/>
              <a:gd name="T60" fmla="*/ 121 h 121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50" h="121">
                <a:moveTo>
                  <a:pt x="0" y="18"/>
                </a:moveTo>
                <a:cubicBezTo>
                  <a:pt x="11" y="23"/>
                  <a:pt x="15" y="39"/>
                  <a:pt x="15" y="39"/>
                </a:cubicBezTo>
                <a:cubicBezTo>
                  <a:pt x="15" y="39"/>
                  <a:pt x="22" y="73"/>
                  <a:pt x="29" y="89"/>
                </a:cubicBezTo>
                <a:cubicBezTo>
                  <a:pt x="37" y="106"/>
                  <a:pt x="51" y="94"/>
                  <a:pt x="63" y="92"/>
                </a:cubicBezTo>
                <a:cubicBezTo>
                  <a:pt x="75" y="89"/>
                  <a:pt x="91" y="107"/>
                  <a:pt x="95" y="106"/>
                </a:cubicBezTo>
                <a:cubicBezTo>
                  <a:pt x="99" y="105"/>
                  <a:pt x="113" y="111"/>
                  <a:pt x="116" y="121"/>
                </a:cubicBezTo>
                <a:cubicBezTo>
                  <a:pt x="116" y="121"/>
                  <a:pt x="124" y="87"/>
                  <a:pt x="126" y="83"/>
                </a:cubicBezTo>
                <a:cubicBezTo>
                  <a:pt x="128" y="80"/>
                  <a:pt x="138" y="67"/>
                  <a:pt x="138" y="67"/>
                </a:cubicBezTo>
                <a:cubicBezTo>
                  <a:pt x="138" y="67"/>
                  <a:pt x="139" y="46"/>
                  <a:pt x="140" y="40"/>
                </a:cubicBezTo>
                <a:cubicBezTo>
                  <a:pt x="140" y="40"/>
                  <a:pt x="145" y="30"/>
                  <a:pt x="148" y="27"/>
                </a:cubicBezTo>
                <a:cubicBezTo>
                  <a:pt x="150" y="24"/>
                  <a:pt x="149" y="11"/>
                  <a:pt x="149" y="9"/>
                </a:cubicBezTo>
                <a:cubicBezTo>
                  <a:pt x="149" y="7"/>
                  <a:pt x="148" y="0"/>
                  <a:pt x="148" y="0"/>
                </a:cubicBezTo>
                <a:cubicBezTo>
                  <a:pt x="148" y="0"/>
                  <a:pt x="134" y="11"/>
                  <a:pt x="132" y="16"/>
                </a:cubicBezTo>
                <a:cubicBezTo>
                  <a:pt x="130" y="20"/>
                  <a:pt x="123" y="24"/>
                  <a:pt x="118" y="30"/>
                </a:cubicBezTo>
                <a:cubicBezTo>
                  <a:pt x="113" y="36"/>
                  <a:pt x="112" y="37"/>
                  <a:pt x="109" y="42"/>
                </a:cubicBezTo>
                <a:cubicBezTo>
                  <a:pt x="106" y="46"/>
                  <a:pt x="71" y="55"/>
                  <a:pt x="66" y="55"/>
                </a:cubicBezTo>
                <a:cubicBezTo>
                  <a:pt x="62" y="54"/>
                  <a:pt x="48" y="53"/>
                  <a:pt x="45" y="52"/>
                </a:cubicBezTo>
                <a:cubicBezTo>
                  <a:pt x="42" y="51"/>
                  <a:pt x="32" y="47"/>
                  <a:pt x="30" y="44"/>
                </a:cubicBezTo>
                <a:cubicBezTo>
                  <a:pt x="29" y="40"/>
                  <a:pt x="13" y="20"/>
                  <a:pt x="0" y="1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6" name="Freeform 622"/>
          <p:cNvSpPr>
            <a:spLocks/>
          </p:cNvSpPr>
          <p:nvPr userDrawn="1"/>
        </p:nvSpPr>
        <p:spPr bwMode="auto">
          <a:xfrm>
            <a:off x="6983165" y="4038117"/>
            <a:ext cx="405372" cy="386947"/>
          </a:xfrm>
          <a:custGeom>
            <a:avLst/>
            <a:gdLst>
              <a:gd name="T0" fmla="*/ 0 w 435"/>
              <a:gd name="T1" fmla="*/ 2147483646 h 415"/>
              <a:gd name="T2" fmla="*/ 2147483646 w 435"/>
              <a:gd name="T3" fmla="*/ 2147483646 h 415"/>
              <a:gd name="T4" fmla="*/ 2147483646 w 435"/>
              <a:gd name="T5" fmla="*/ 2147483646 h 415"/>
              <a:gd name="T6" fmla="*/ 2147483646 w 435"/>
              <a:gd name="T7" fmla="*/ 2147483646 h 415"/>
              <a:gd name="T8" fmla="*/ 2147483646 w 435"/>
              <a:gd name="T9" fmla="*/ 2147483646 h 415"/>
              <a:gd name="T10" fmla="*/ 2147483646 w 435"/>
              <a:gd name="T11" fmla="*/ 2147483646 h 415"/>
              <a:gd name="T12" fmla="*/ 2147483646 w 435"/>
              <a:gd name="T13" fmla="*/ 2147483646 h 415"/>
              <a:gd name="T14" fmla="*/ 2147483646 w 435"/>
              <a:gd name="T15" fmla="*/ 2147483646 h 415"/>
              <a:gd name="T16" fmla="*/ 2147483646 w 435"/>
              <a:gd name="T17" fmla="*/ 2147483646 h 415"/>
              <a:gd name="T18" fmla="*/ 2147483646 w 435"/>
              <a:gd name="T19" fmla="*/ 2147483646 h 415"/>
              <a:gd name="T20" fmla="*/ 2147483646 w 435"/>
              <a:gd name="T21" fmla="*/ 2147483646 h 415"/>
              <a:gd name="T22" fmla="*/ 2147483646 w 435"/>
              <a:gd name="T23" fmla="*/ 2147483646 h 415"/>
              <a:gd name="T24" fmla="*/ 2147483646 w 435"/>
              <a:gd name="T25" fmla="*/ 2147483646 h 415"/>
              <a:gd name="T26" fmla="*/ 2147483646 w 435"/>
              <a:gd name="T27" fmla="*/ 2147483646 h 415"/>
              <a:gd name="T28" fmla="*/ 2147483646 w 435"/>
              <a:gd name="T29" fmla="*/ 2147483646 h 415"/>
              <a:gd name="T30" fmla="*/ 2147483646 w 435"/>
              <a:gd name="T31" fmla="*/ 2147483646 h 415"/>
              <a:gd name="T32" fmla="*/ 2147483646 w 435"/>
              <a:gd name="T33" fmla="*/ 2147483646 h 415"/>
              <a:gd name="T34" fmla="*/ 2147483646 w 435"/>
              <a:gd name="T35" fmla="*/ 2147483646 h 415"/>
              <a:gd name="T36" fmla="*/ 2147483646 w 435"/>
              <a:gd name="T37" fmla="*/ 2147483646 h 415"/>
              <a:gd name="T38" fmla="*/ 2147483646 w 435"/>
              <a:gd name="T39" fmla="*/ 2147483646 h 415"/>
              <a:gd name="T40" fmla="*/ 2147483646 w 435"/>
              <a:gd name="T41" fmla="*/ 0 h 415"/>
              <a:gd name="T42" fmla="*/ 2147483646 w 435"/>
              <a:gd name="T43" fmla="*/ 2147483646 h 415"/>
              <a:gd name="T44" fmla="*/ 2147483646 w 435"/>
              <a:gd name="T45" fmla="*/ 2147483646 h 415"/>
              <a:gd name="T46" fmla="*/ 2147483646 w 435"/>
              <a:gd name="T47" fmla="*/ 2147483646 h 415"/>
              <a:gd name="T48" fmla="*/ 2147483646 w 435"/>
              <a:gd name="T49" fmla="*/ 2147483646 h 415"/>
              <a:gd name="T50" fmla="*/ 2147483646 w 435"/>
              <a:gd name="T51" fmla="*/ 2147483646 h 415"/>
              <a:gd name="T52" fmla="*/ 2147483646 w 435"/>
              <a:gd name="T53" fmla="*/ 2147483646 h 415"/>
              <a:gd name="T54" fmla="*/ 2147483646 w 435"/>
              <a:gd name="T55" fmla="*/ 2147483646 h 415"/>
              <a:gd name="T56" fmla="*/ 2147483646 w 435"/>
              <a:gd name="T57" fmla="*/ 2147483646 h 415"/>
              <a:gd name="T58" fmla="*/ 2147483646 w 435"/>
              <a:gd name="T59" fmla="*/ 2147483646 h 415"/>
              <a:gd name="T60" fmla="*/ 2147483646 w 435"/>
              <a:gd name="T61" fmla="*/ 2147483646 h 415"/>
              <a:gd name="T62" fmla="*/ 2147483646 w 435"/>
              <a:gd name="T63" fmla="*/ 2147483646 h 415"/>
              <a:gd name="T64" fmla="*/ 2147483646 w 435"/>
              <a:gd name="T65" fmla="*/ 2147483646 h 415"/>
              <a:gd name="T66" fmla="*/ 2147483646 w 435"/>
              <a:gd name="T67" fmla="*/ 2147483646 h 415"/>
              <a:gd name="T68" fmla="*/ 2147483646 w 435"/>
              <a:gd name="T69" fmla="*/ 2147483646 h 415"/>
              <a:gd name="T70" fmla="*/ 2147483646 w 435"/>
              <a:gd name="T71" fmla="*/ 2147483646 h 415"/>
              <a:gd name="T72" fmla="*/ 2147483646 w 435"/>
              <a:gd name="T73" fmla="*/ 2147483646 h 415"/>
              <a:gd name="T74" fmla="*/ 2147483646 w 435"/>
              <a:gd name="T75" fmla="*/ 2147483646 h 415"/>
              <a:gd name="T76" fmla="*/ 2147483646 w 435"/>
              <a:gd name="T77" fmla="*/ 2147483646 h 415"/>
              <a:gd name="T78" fmla="*/ 2147483646 w 435"/>
              <a:gd name="T79" fmla="*/ 2147483646 h 415"/>
              <a:gd name="T80" fmla="*/ 2147483646 w 435"/>
              <a:gd name="T81" fmla="*/ 2147483646 h 415"/>
              <a:gd name="T82" fmla="*/ 2147483646 w 435"/>
              <a:gd name="T83" fmla="*/ 2147483646 h 415"/>
              <a:gd name="T84" fmla="*/ 2147483646 w 435"/>
              <a:gd name="T85" fmla="*/ 2147483646 h 415"/>
              <a:gd name="T86" fmla="*/ 2147483646 w 435"/>
              <a:gd name="T87" fmla="*/ 2147483646 h 415"/>
              <a:gd name="T88" fmla="*/ 2147483646 w 435"/>
              <a:gd name="T89" fmla="*/ 2147483646 h 415"/>
              <a:gd name="T90" fmla="*/ 2147483646 w 435"/>
              <a:gd name="T91" fmla="*/ 2147483646 h 415"/>
              <a:gd name="T92" fmla="*/ 2147483646 w 435"/>
              <a:gd name="T93" fmla="*/ 2147483646 h 415"/>
              <a:gd name="T94" fmla="*/ 2147483646 w 435"/>
              <a:gd name="T95" fmla="*/ 2147483646 h 415"/>
              <a:gd name="T96" fmla="*/ 0 w 435"/>
              <a:gd name="T97" fmla="*/ 2147483646 h 41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35"/>
              <a:gd name="T148" fmla="*/ 0 h 415"/>
              <a:gd name="T149" fmla="*/ 435 w 435"/>
              <a:gd name="T150" fmla="*/ 415 h 41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35" h="415">
                <a:moveTo>
                  <a:pt x="0" y="360"/>
                </a:moveTo>
                <a:cubicBezTo>
                  <a:pt x="0" y="360"/>
                  <a:pt x="20" y="346"/>
                  <a:pt x="28" y="339"/>
                </a:cubicBezTo>
                <a:cubicBezTo>
                  <a:pt x="36" y="332"/>
                  <a:pt x="14" y="336"/>
                  <a:pt x="36" y="317"/>
                </a:cubicBezTo>
                <a:cubicBezTo>
                  <a:pt x="58" y="297"/>
                  <a:pt x="51" y="282"/>
                  <a:pt x="47" y="281"/>
                </a:cubicBezTo>
                <a:cubicBezTo>
                  <a:pt x="18" y="255"/>
                  <a:pt x="18" y="255"/>
                  <a:pt x="18" y="255"/>
                </a:cubicBezTo>
                <a:cubicBezTo>
                  <a:pt x="33" y="259"/>
                  <a:pt x="82" y="251"/>
                  <a:pt x="99" y="248"/>
                </a:cubicBezTo>
                <a:cubicBezTo>
                  <a:pt x="117" y="246"/>
                  <a:pt x="137" y="245"/>
                  <a:pt x="142" y="236"/>
                </a:cubicBezTo>
                <a:cubicBezTo>
                  <a:pt x="146" y="226"/>
                  <a:pt x="145" y="221"/>
                  <a:pt x="149" y="205"/>
                </a:cubicBezTo>
                <a:cubicBezTo>
                  <a:pt x="152" y="189"/>
                  <a:pt x="155" y="176"/>
                  <a:pt x="164" y="178"/>
                </a:cubicBezTo>
                <a:cubicBezTo>
                  <a:pt x="173" y="180"/>
                  <a:pt x="166" y="178"/>
                  <a:pt x="187" y="173"/>
                </a:cubicBezTo>
                <a:cubicBezTo>
                  <a:pt x="209" y="169"/>
                  <a:pt x="218" y="150"/>
                  <a:pt x="225" y="146"/>
                </a:cubicBezTo>
                <a:cubicBezTo>
                  <a:pt x="232" y="143"/>
                  <a:pt x="241" y="116"/>
                  <a:pt x="244" y="108"/>
                </a:cubicBezTo>
                <a:cubicBezTo>
                  <a:pt x="246" y="99"/>
                  <a:pt x="256" y="92"/>
                  <a:pt x="265" y="90"/>
                </a:cubicBezTo>
                <a:cubicBezTo>
                  <a:pt x="274" y="88"/>
                  <a:pt x="279" y="77"/>
                  <a:pt x="283" y="68"/>
                </a:cubicBezTo>
                <a:cubicBezTo>
                  <a:pt x="286" y="58"/>
                  <a:pt x="288" y="50"/>
                  <a:pt x="283" y="45"/>
                </a:cubicBezTo>
                <a:cubicBezTo>
                  <a:pt x="277" y="41"/>
                  <a:pt x="275" y="32"/>
                  <a:pt x="283" y="31"/>
                </a:cubicBezTo>
                <a:cubicBezTo>
                  <a:pt x="290" y="30"/>
                  <a:pt x="291" y="18"/>
                  <a:pt x="297" y="21"/>
                </a:cubicBezTo>
                <a:cubicBezTo>
                  <a:pt x="302" y="23"/>
                  <a:pt x="307" y="21"/>
                  <a:pt x="315" y="17"/>
                </a:cubicBezTo>
                <a:cubicBezTo>
                  <a:pt x="324" y="14"/>
                  <a:pt x="321" y="11"/>
                  <a:pt x="334" y="16"/>
                </a:cubicBezTo>
                <a:cubicBezTo>
                  <a:pt x="347" y="21"/>
                  <a:pt x="375" y="17"/>
                  <a:pt x="375" y="1"/>
                </a:cubicBezTo>
                <a:cubicBezTo>
                  <a:pt x="374" y="0"/>
                  <a:pt x="374" y="0"/>
                  <a:pt x="374" y="0"/>
                </a:cubicBezTo>
                <a:cubicBezTo>
                  <a:pt x="378" y="10"/>
                  <a:pt x="398" y="24"/>
                  <a:pt x="398" y="24"/>
                </a:cubicBezTo>
                <a:cubicBezTo>
                  <a:pt x="398" y="24"/>
                  <a:pt x="431" y="43"/>
                  <a:pt x="435" y="43"/>
                </a:cubicBezTo>
                <a:cubicBezTo>
                  <a:pt x="435" y="43"/>
                  <a:pt x="429" y="59"/>
                  <a:pt x="426" y="63"/>
                </a:cubicBezTo>
                <a:cubicBezTo>
                  <a:pt x="422" y="67"/>
                  <a:pt x="427" y="82"/>
                  <a:pt x="421" y="85"/>
                </a:cubicBezTo>
                <a:cubicBezTo>
                  <a:pt x="415" y="89"/>
                  <a:pt x="390" y="85"/>
                  <a:pt x="382" y="83"/>
                </a:cubicBezTo>
                <a:cubicBezTo>
                  <a:pt x="374" y="81"/>
                  <a:pt x="374" y="78"/>
                  <a:pt x="360" y="79"/>
                </a:cubicBezTo>
                <a:cubicBezTo>
                  <a:pt x="346" y="81"/>
                  <a:pt x="328" y="84"/>
                  <a:pt x="333" y="97"/>
                </a:cubicBezTo>
                <a:cubicBezTo>
                  <a:pt x="338" y="110"/>
                  <a:pt x="351" y="136"/>
                  <a:pt x="356" y="139"/>
                </a:cubicBezTo>
                <a:cubicBezTo>
                  <a:pt x="362" y="143"/>
                  <a:pt x="373" y="148"/>
                  <a:pt x="378" y="153"/>
                </a:cubicBezTo>
                <a:cubicBezTo>
                  <a:pt x="382" y="159"/>
                  <a:pt x="375" y="179"/>
                  <a:pt x="371" y="185"/>
                </a:cubicBezTo>
                <a:cubicBezTo>
                  <a:pt x="366" y="191"/>
                  <a:pt x="360" y="194"/>
                  <a:pt x="353" y="207"/>
                </a:cubicBezTo>
                <a:cubicBezTo>
                  <a:pt x="346" y="220"/>
                  <a:pt x="325" y="237"/>
                  <a:pt x="321" y="247"/>
                </a:cubicBezTo>
                <a:cubicBezTo>
                  <a:pt x="318" y="258"/>
                  <a:pt x="295" y="284"/>
                  <a:pt x="287" y="286"/>
                </a:cubicBezTo>
                <a:cubicBezTo>
                  <a:pt x="279" y="288"/>
                  <a:pt x="265" y="301"/>
                  <a:pt x="253" y="301"/>
                </a:cubicBezTo>
                <a:cubicBezTo>
                  <a:pt x="241" y="301"/>
                  <a:pt x="223" y="291"/>
                  <a:pt x="226" y="308"/>
                </a:cubicBezTo>
                <a:cubicBezTo>
                  <a:pt x="230" y="326"/>
                  <a:pt x="241" y="347"/>
                  <a:pt x="251" y="351"/>
                </a:cubicBezTo>
                <a:cubicBezTo>
                  <a:pt x="260" y="354"/>
                  <a:pt x="252" y="361"/>
                  <a:pt x="260" y="362"/>
                </a:cubicBezTo>
                <a:cubicBezTo>
                  <a:pt x="268" y="363"/>
                  <a:pt x="279" y="367"/>
                  <a:pt x="277" y="379"/>
                </a:cubicBezTo>
                <a:cubicBezTo>
                  <a:pt x="274" y="390"/>
                  <a:pt x="263" y="392"/>
                  <a:pt x="253" y="389"/>
                </a:cubicBezTo>
                <a:cubicBezTo>
                  <a:pt x="244" y="387"/>
                  <a:pt x="233" y="375"/>
                  <a:pt x="227" y="383"/>
                </a:cubicBezTo>
                <a:cubicBezTo>
                  <a:pt x="221" y="392"/>
                  <a:pt x="214" y="393"/>
                  <a:pt x="210" y="401"/>
                </a:cubicBezTo>
                <a:cubicBezTo>
                  <a:pt x="205" y="409"/>
                  <a:pt x="197" y="415"/>
                  <a:pt x="197" y="415"/>
                </a:cubicBezTo>
                <a:cubicBezTo>
                  <a:pt x="197" y="415"/>
                  <a:pt x="177" y="398"/>
                  <a:pt x="171" y="390"/>
                </a:cubicBezTo>
                <a:cubicBezTo>
                  <a:pt x="165" y="383"/>
                  <a:pt x="160" y="375"/>
                  <a:pt x="158" y="367"/>
                </a:cubicBezTo>
                <a:cubicBezTo>
                  <a:pt x="156" y="359"/>
                  <a:pt x="135" y="348"/>
                  <a:pt x="125" y="355"/>
                </a:cubicBezTo>
                <a:cubicBezTo>
                  <a:pt x="116" y="362"/>
                  <a:pt x="101" y="363"/>
                  <a:pt x="94" y="365"/>
                </a:cubicBezTo>
                <a:cubicBezTo>
                  <a:pt x="87" y="366"/>
                  <a:pt x="78" y="358"/>
                  <a:pt x="69" y="363"/>
                </a:cubicBezTo>
                <a:cubicBezTo>
                  <a:pt x="60" y="369"/>
                  <a:pt x="0" y="360"/>
                  <a:pt x="0" y="36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7" name="Freeform 623"/>
          <p:cNvSpPr>
            <a:spLocks/>
          </p:cNvSpPr>
          <p:nvPr userDrawn="1"/>
        </p:nvSpPr>
        <p:spPr bwMode="auto">
          <a:xfrm>
            <a:off x="7452189" y="4234105"/>
            <a:ext cx="192635" cy="120607"/>
          </a:xfrm>
          <a:custGeom>
            <a:avLst/>
            <a:gdLst>
              <a:gd name="T0" fmla="*/ 2147483646 w 206"/>
              <a:gd name="T1" fmla="*/ 0 h 129"/>
              <a:gd name="T2" fmla="*/ 2147483646 w 206"/>
              <a:gd name="T3" fmla="*/ 2147483646 h 129"/>
              <a:gd name="T4" fmla="*/ 2147483646 w 206"/>
              <a:gd name="T5" fmla="*/ 2147483646 h 129"/>
              <a:gd name="T6" fmla="*/ 2147483646 w 206"/>
              <a:gd name="T7" fmla="*/ 2147483646 h 129"/>
              <a:gd name="T8" fmla="*/ 2147483646 w 206"/>
              <a:gd name="T9" fmla="*/ 2147483646 h 129"/>
              <a:gd name="T10" fmla="*/ 2147483646 w 206"/>
              <a:gd name="T11" fmla="*/ 2147483646 h 129"/>
              <a:gd name="T12" fmla="*/ 2147483646 w 206"/>
              <a:gd name="T13" fmla="*/ 2147483646 h 129"/>
              <a:gd name="T14" fmla="*/ 2147483646 w 206"/>
              <a:gd name="T15" fmla="*/ 2147483646 h 129"/>
              <a:gd name="T16" fmla="*/ 2147483646 w 206"/>
              <a:gd name="T17" fmla="*/ 2147483646 h 129"/>
              <a:gd name="T18" fmla="*/ 2147483646 w 206"/>
              <a:gd name="T19" fmla="*/ 2147483646 h 129"/>
              <a:gd name="T20" fmla="*/ 2147483646 w 206"/>
              <a:gd name="T21" fmla="*/ 2147483646 h 129"/>
              <a:gd name="T22" fmla="*/ 2147483646 w 206"/>
              <a:gd name="T23" fmla="*/ 2147483646 h 129"/>
              <a:gd name="T24" fmla="*/ 2147483646 w 206"/>
              <a:gd name="T25" fmla="*/ 2147483646 h 129"/>
              <a:gd name="T26" fmla="*/ 2147483646 w 206"/>
              <a:gd name="T27" fmla="*/ 2147483646 h 129"/>
              <a:gd name="T28" fmla="*/ 2147483646 w 206"/>
              <a:gd name="T29" fmla="*/ 0 h 12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6"/>
              <a:gd name="T46" fmla="*/ 0 h 129"/>
              <a:gd name="T47" fmla="*/ 206 w 206"/>
              <a:gd name="T48" fmla="*/ 129 h 12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6" h="129">
                <a:moveTo>
                  <a:pt x="27" y="0"/>
                </a:moveTo>
                <a:cubicBezTo>
                  <a:pt x="33" y="17"/>
                  <a:pt x="27" y="6"/>
                  <a:pt x="46" y="21"/>
                </a:cubicBezTo>
                <a:cubicBezTo>
                  <a:pt x="65" y="36"/>
                  <a:pt x="85" y="45"/>
                  <a:pt x="85" y="45"/>
                </a:cubicBezTo>
                <a:cubicBezTo>
                  <a:pt x="115" y="63"/>
                  <a:pt x="115" y="63"/>
                  <a:pt x="115" y="63"/>
                </a:cubicBezTo>
                <a:cubicBezTo>
                  <a:pt x="115" y="63"/>
                  <a:pt x="136" y="61"/>
                  <a:pt x="150" y="68"/>
                </a:cubicBezTo>
                <a:cubicBezTo>
                  <a:pt x="164" y="75"/>
                  <a:pt x="167" y="53"/>
                  <a:pt x="177" y="71"/>
                </a:cubicBezTo>
                <a:cubicBezTo>
                  <a:pt x="188" y="90"/>
                  <a:pt x="180" y="92"/>
                  <a:pt x="194" y="94"/>
                </a:cubicBezTo>
                <a:cubicBezTo>
                  <a:pt x="194" y="94"/>
                  <a:pt x="206" y="109"/>
                  <a:pt x="206" y="112"/>
                </a:cubicBezTo>
                <a:cubicBezTo>
                  <a:pt x="206" y="115"/>
                  <a:pt x="197" y="125"/>
                  <a:pt x="197" y="125"/>
                </a:cubicBezTo>
                <a:cubicBezTo>
                  <a:pt x="197" y="125"/>
                  <a:pt x="165" y="129"/>
                  <a:pt x="155" y="118"/>
                </a:cubicBezTo>
                <a:cubicBezTo>
                  <a:pt x="145" y="107"/>
                  <a:pt x="137" y="107"/>
                  <a:pt x="112" y="97"/>
                </a:cubicBezTo>
                <a:cubicBezTo>
                  <a:pt x="86" y="87"/>
                  <a:pt x="57" y="78"/>
                  <a:pt x="45" y="71"/>
                </a:cubicBezTo>
                <a:cubicBezTo>
                  <a:pt x="33" y="64"/>
                  <a:pt x="16" y="57"/>
                  <a:pt x="8" y="44"/>
                </a:cubicBezTo>
                <a:cubicBezTo>
                  <a:pt x="0" y="31"/>
                  <a:pt x="3" y="21"/>
                  <a:pt x="11" y="18"/>
                </a:cubicBezTo>
                <a:cubicBezTo>
                  <a:pt x="19" y="15"/>
                  <a:pt x="27" y="0"/>
                  <a:pt x="27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8" name="Freeform 624"/>
          <p:cNvSpPr>
            <a:spLocks/>
          </p:cNvSpPr>
          <p:nvPr userDrawn="1"/>
        </p:nvSpPr>
        <p:spPr bwMode="auto">
          <a:xfrm>
            <a:off x="7626400" y="4267606"/>
            <a:ext cx="221112" cy="204361"/>
          </a:xfrm>
          <a:custGeom>
            <a:avLst/>
            <a:gdLst>
              <a:gd name="T0" fmla="*/ 2147483646 w 237"/>
              <a:gd name="T1" fmla="*/ 2147483646 h 219"/>
              <a:gd name="T2" fmla="*/ 2147483646 w 237"/>
              <a:gd name="T3" fmla="*/ 2147483646 h 219"/>
              <a:gd name="T4" fmla="*/ 2147483646 w 237"/>
              <a:gd name="T5" fmla="*/ 2147483646 h 219"/>
              <a:gd name="T6" fmla="*/ 2147483646 w 237"/>
              <a:gd name="T7" fmla="*/ 2147483646 h 219"/>
              <a:gd name="T8" fmla="*/ 2147483646 w 237"/>
              <a:gd name="T9" fmla="*/ 2147483646 h 219"/>
              <a:gd name="T10" fmla="*/ 2147483646 w 237"/>
              <a:gd name="T11" fmla="*/ 2147483646 h 219"/>
              <a:gd name="T12" fmla="*/ 2147483646 w 237"/>
              <a:gd name="T13" fmla="*/ 2147483646 h 219"/>
              <a:gd name="T14" fmla="*/ 2147483646 w 237"/>
              <a:gd name="T15" fmla="*/ 2147483646 h 219"/>
              <a:gd name="T16" fmla="*/ 2147483646 w 237"/>
              <a:gd name="T17" fmla="*/ 2147483646 h 219"/>
              <a:gd name="T18" fmla="*/ 2147483646 w 237"/>
              <a:gd name="T19" fmla="*/ 2147483646 h 219"/>
              <a:gd name="T20" fmla="*/ 2147483646 w 237"/>
              <a:gd name="T21" fmla="*/ 2147483646 h 219"/>
              <a:gd name="T22" fmla="*/ 2147483646 w 237"/>
              <a:gd name="T23" fmla="*/ 2147483646 h 219"/>
              <a:gd name="T24" fmla="*/ 2147483646 w 237"/>
              <a:gd name="T25" fmla="*/ 2147483646 h 219"/>
              <a:gd name="T26" fmla="*/ 2147483646 w 237"/>
              <a:gd name="T27" fmla="*/ 2147483646 h 219"/>
              <a:gd name="T28" fmla="*/ 2147483646 w 237"/>
              <a:gd name="T29" fmla="*/ 2147483646 h 219"/>
              <a:gd name="T30" fmla="*/ 2147483646 w 237"/>
              <a:gd name="T31" fmla="*/ 2147483646 h 219"/>
              <a:gd name="T32" fmla="*/ 2147483646 w 237"/>
              <a:gd name="T33" fmla="*/ 2147483646 h 219"/>
              <a:gd name="T34" fmla="*/ 2147483646 w 237"/>
              <a:gd name="T35" fmla="*/ 2147483646 h 219"/>
              <a:gd name="T36" fmla="*/ 2147483646 w 237"/>
              <a:gd name="T37" fmla="*/ 2147483646 h 219"/>
              <a:gd name="T38" fmla="*/ 2147483646 w 237"/>
              <a:gd name="T39" fmla="*/ 2147483646 h 219"/>
              <a:gd name="T40" fmla="*/ 2147483646 w 237"/>
              <a:gd name="T41" fmla="*/ 2147483646 h 219"/>
              <a:gd name="T42" fmla="*/ 2147483646 w 237"/>
              <a:gd name="T43" fmla="*/ 2147483646 h 219"/>
              <a:gd name="T44" fmla="*/ 2147483646 w 237"/>
              <a:gd name="T45" fmla="*/ 2147483646 h 219"/>
              <a:gd name="T46" fmla="*/ 2147483646 w 237"/>
              <a:gd name="T47" fmla="*/ 2147483646 h 219"/>
              <a:gd name="T48" fmla="*/ 2147483646 w 237"/>
              <a:gd name="T49" fmla="*/ 2147483646 h 219"/>
              <a:gd name="T50" fmla="*/ 2147483646 w 237"/>
              <a:gd name="T51" fmla="*/ 2147483646 h 219"/>
              <a:gd name="T52" fmla="*/ 2147483646 w 237"/>
              <a:gd name="T53" fmla="*/ 2147483646 h 219"/>
              <a:gd name="T54" fmla="*/ 2147483646 w 237"/>
              <a:gd name="T55" fmla="*/ 2147483646 h 219"/>
              <a:gd name="T56" fmla="*/ 2147483646 w 237"/>
              <a:gd name="T57" fmla="*/ 2147483646 h 219"/>
              <a:gd name="T58" fmla="*/ 2147483646 w 237"/>
              <a:gd name="T59" fmla="*/ 2147483646 h 219"/>
              <a:gd name="T60" fmla="*/ 2147483646 w 237"/>
              <a:gd name="T61" fmla="*/ 2147483646 h 219"/>
              <a:gd name="T62" fmla="*/ 2147483646 w 237"/>
              <a:gd name="T63" fmla="*/ 2147483646 h 219"/>
              <a:gd name="T64" fmla="*/ 2147483646 w 237"/>
              <a:gd name="T65" fmla="*/ 2147483646 h 21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37"/>
              <a:gd name="T100" fmla="*/ 0 h 219"/>
              <a:gd name="T101" fmla="*/ 237 w 237"/>
              <a:gd name="T102" fmla="*/ 219 h 21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37" h="219">
                <a:moveTo>
                  <a:pt x="237" y="41"/>
                </a:moveTo>
                <a:cubicBezTo>
                  <a:pt x="233" y="42"/>
                  <a:pt x="225" y="38"/>
                  <a:pt x="225" y="29"/>
                </a:cubicBezTo>
                <a:cubicBezTo>
                  <a:pt x="225" y="21"/>
                  <a:pt x="223" y="15"/>
                  <a:pt x="210" y="8"/>
                </a:cubicBezTo>
                <a:cubicBezTo>
                  <a:pt x="197" y="1"/>
                  <a:pt x="202" y="15"/>
                  <a:pt x="192" y="22"/>
                </a:cubicBezTo>
                <a:cubicBezTo>
                  <a:pt x="183" y="29"/>
                  <a:pt x="191" y="27"/>
                  <a:pt x="175" y="21"/>
                </a:cubicBezTo>
                <a:cubicBezTo>
                  <a:pt x="158" y="15"/>
                  <a:pt x="172" y="17"/>
                  <a:pt x="162" y="8"/>
                </a:cubicBezTo>
                <a:cubicBezTo>
                  <a:pt x="151" y="0"/>
                  <a:pt x="155" y="19"/>
                  <a:pt x="148" y="21"/>
                </a:cubicBezTo>
                <a:cubicBezTo>
                  <a:pt x="141" y="24"/>
                  <a:pt x="137" y="29"/>
                  <a:pt x="125" y="32"/>
                </a:cubicBezTo>
                <a:cubicBezTo>
                  <a:pt x="114" y="34"/>
                  <a:pt x="97" y="42"/>
                  <a:pt x="97" y="42"/>
                </a:cubicBezTo>
                <a:cubicBezTo>
                  <a:pt x="97" y="42"/>
                  <a:pt x="90" y="51"/>
                  <a:pt x="87" y="47"/>
                </a:cubicBezTo>
                <a:cubicBezTo>
                  <a:pt x="83" y="44"/>
                  <a:pt x="82" y="42"/>
                  <a:pt x="68" y="32"/>
                </a:cubicBezTo>
                <a:cubicBezTo>
                  <a:pt x="54" y="21"/>
                  <a:pt x="55" y="45"/>
                  <a:pt x="55" y="45"/>
                </a:cubicBezTo>
                <a:cubicBezTo>
                  <a:pt x="55" y="45"/>
                  <a:pt x="49" y="55"/>
                  <a:pt x="24" y="49"/>
                </a:cubicBezTo>
                <a:cubicBezTo>
                  <a:pt x="0" y="44"/>
                  <a:pt x="21" y="59"/>
                  <a:pt x="7" y="58"/>
                </a:cubicBezTo>
                <a:cubicBezTo>
                  <a:pt x="7" y="58"/>
                  <a:pt x="19" y="73"/>
                  <a:pt x="19" y="76"/>
                </a:cubicBezTo>
                <a:cubicBezTo>
                  <a:pt x="19" y="76"/>
                  <a:pt x="36" y="85"/>
                  <a:pt x="44" y="88"/>
                </a:cubicBezTo>
                <a:cubicBezTo>
                  <a:pt x="53" y="90"/>
                  <a:pt x="68" y="90"/>
                  <a:pt x="72" y="96"/>
                </a:cubicBezTo>
                <a:cubicBezTo>
                  <a:pt x="76" y="101"/>
                  <a:pt x="63" y="110"/>
                  <a:pt x="73" y="110"/>
                </a:cubicBezTo>
                <a:cubicBezTo>
                  <a:pt x="84" y="109"/>
                  <a:pt x="91" y="110"/>
                  <a:pt x="105" y="110"/>
                </a:cubicBezTo>
                <a:cubicBezTo>
                  <a:pt x="118" y="110"/>
                  <a:pt x="123" y="112"/>
                  <a:pt x="126" y="115"/>
                </a:cubicBezTo>
                <a:cubicBezTo>
                  <a:pt x="129" y="118"/>
                  <a:pt x="115" y="141"/>
                  <a:pt x="112" y="146"/>
                </a:cubicBezTo>
                <a:cubicBezTo>
                  <a:pt x="109" y="150"/>
                  <a:pt x="93" y="147"/>
                  <a:pt x="103" y="159"/>
                </a:cubicBezTo>
                <a:cubicBezTo>
                  <a:pt x="113" y="171"/>
                  <a:pt x="116" y="160"/>
                  <a:pt x="120" y="165"/>
                </a:cubicBezTo>
                <a:cubicBezTo>
                  <a:pt x="124" y="171"/>
                  <a:pt x="126" y="188"/>
                  <a:pt x="127" y="191"/>
                </a:cubicBezTo>
                <a:cubicBezTo>
                  <a:pt x="129" y="194"/>
                  <a:pt x="136" y="214"/>
                  <a:pt x="137" y="217"/>
                </a:cubicBezTo>
                <a:cubicBezTo>
                  <a:pt x="137" y="219"/>
                  <a:pt x="149" y="200"/>
                  <a:pt x="148" y="193"/>
                </a:cubicBezTo>
                <a:cubicBezTo>
                  <a:pt x="148" y="186"/>
                  <a:pt x="141" y="172"/>
                  <a:pt x="148" y="164"/>
                </a:cubicBezTo>
                <a:cubicBezTo>
                  <a:pt x="156" y="155"/>
                  <a:pt x="162" y="151"/>
                  <a:pt x="168" y="152"/>
                </a:cubicBezTo>
                <a:cubicBezTo>
                  <a:pt x="174" y="153"/>
                  <a:pt x="179" y="145"/>
                  <a:pt x="181" y="139"/>
                </a:cubicBezTo>
                <a:cubicBezTo>
                  <a:pt x="182" y="134"/>
                  <a:pt x="177" y="120"/>
                  <a:pt x="178" y="110"/>
                </a:cubicBezTo>
                <a:cubicBezTo>
                  <a:pt x="179" y="101"/>
                  <a:pt x="189" y="82"/>
                  <a:pt x="194" y="79"/>
                </a:cubicBezTo>
                <a:cubicBezTo>
                  <a:pt x="199" y="76"/>
                  <a:pt x="220" y="59"/>
                  <a:pt x="223" y="57"/>
                </a:cubicBezTo>
                <a:cubicBezTo>
                  <a:pt x="226" y="56"/>
                  <a:pt x="237" y="41"/>
                  <a:pt x="237" y="4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" name="Freeform 625"/>
          <p:cNvSpPr>
            <a:spLocks/>
          </p:cNvSpPr>
          <p:nvPr userDrawn="1"/>
        </p:nvSpPr>
        <p:spPr bwMode="auto">
          <a:xfrm>
            <a:off x="7636451" y="4337961"/>
            <a:ext cx="117256" cy="155783"/>
          </a:xfrm>
          <a:custGeom>
            <a:avLst/>
            <a:gdLst>
              <a:gd name="T0" fmla="*/ 0 w 127"/>
              <a:gd name="T1" fmla="*/ 2147483646 h 167"/>
              <a:gd name="T2" fmla="*/ 2147483646 w 127"/>
              <a:gd name="T3" fmla="*/ 0 h 167"/>
              <a:gd name="T4" fmla="*/ 2147483646 w 127"/>
              <a:gd name="T5" fmla="*/ 2147483646 h 167"/>
              <a:gd name="T6" fmla="*/ 2147483646 w 127"/>
              <a:gd name="T7" fmla="*/ 2147483646 h 167"/>
              <a:gd name="T8" fmla="*/ 2147483646 w 127"/>
              <a:gd name="T9" fmla="*/ 2147483646 h 167"/>
              <a:gd name="T10" fmla="*/ 2147483646 w 127"/>
              <a:gd name="T11" fmla="*/ 2147483646 h 167"/>
              <a:gd name="T12" fmla="*/ 2147483646 w 127"/>
              <a:gd name="T13" fmla="*/ 2147483646 h 167"/>
              <a:gd name="T14" fmla="*/ 2147483646 w 127"/>
              <a:gd name="T15" fmla="*/ 2147483646 h 167"/>
              <a:gd name="T16" fmla="*/ 2147483646 w 127"/>
              <a:gd name="T17" fmla="*/ 2147483646 h 167"/>
              <a:gd name="T18" fmla="*/ 2147483646 w 127"/>
              <a:gd name="T19" fmla="*/ 2147483646 h 167"/>
              <a:gd name="T20" fmla="*/ 2147483646 w 127"/>
              <a:gd name="T21" fmla="*/ 2147483646 h 167"/>
              <a:gd name="T22" fmla="*/ 2147483646 w 127"/>
              <a:gd name="T23" fmla="*/ 2147483646 h 167"/>
              <a:gd name="T24" fmla="*/ 2147483646 w 127"/>
              <a:gd name="T25" fmla="*/ 2147483646 h 167"/>
              <a:gd name="T26" fmla="*/ 2147483646 w 127"/>
              <a:gd name="T27" fmla="*/ 2147483646 h 167"/>
              <a:gd name="T28" fmla="*/ 2147483646 w 127"/>
              <a:gd name="T29" fmla="*/ 2147483646 h 167"/>
              <a:gd name="T30" fmla="*/ 2147483646 w 127"/>
              <a:gd name="T31" fmla="*/ 2147483646 h 167"/>
              <a:gd name="T32" fmla="*/ 2147483646 w 127"/>
              <a:gd name="T33" fmla="*/ 2147483646 h 167"/>
              <a:gd name="T34" fmla="*/ 2147483646 w 127"/>
              <a:gd name="T35" fmla="*/ 2147483646 h 167"/>
              <a:gd name="T36" fmla="*/ 2147483646 w 127"/>
              <a:gd name="T37" fmla="*/ 2147483646 h 167"/>
              <a:gd name="T38" fmla="*/ 2147483646 w 127"/>
              <a:gd name="T39" fmla="*/ 2147483646 h 167"/>
              <a:gd name="T40" fmla="*/ 2147483646 w 127"/>
              <a:gd name="T41" fmla="*/ 2147483646 h 167"/>
              <a:gd name="T42" fmla="*/ 2147483646 w 127"/>
              <a:gd name="T43" fmla="*/ 2147483646 h 167"/>
              <a:gd name="T44" fmla="*/ 2147483646 w 127"/>
              <a:gd name="T45" fmla="*/ 2147483646 h 167"/>
              <a:gd name="T46" fmla="*/ 2147483646 w 127"/>
              <a:gd name="T47" fmla="*/ 2147483646 h 167"/>
              <a:gd name="T48" fmla="*/ 2147483646 w 127"/>
              <a:gd name="T49" fmla="*/ 2147483646 h 167"/>
              <a:gd name="T50" fmla="*/ 0 w 127"/>
              <a:gd name="T51" fmla="*/ 2147483646 h 16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27"/>
              <a:gd name="T79" fmla="*/ 0 h 167"/>
              <a:gd name="T80" fmla="*/ 127 w 127"/>
              <a:gd name="T81" fmla="*/ 167 h 16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27" h="167">
                <a:moveTo>
                  <a:pt x="0" y="13"/>
                </a:moveTo>
                <a:cubicBezTo>
                  <a:pt x="0" y="13"/>
                  <a:pt x="9" y="3"/>
                  <a:pt x="9" y="0"/>
                </a:cubicBezTo>
                <a:cubicBezTo>
                  <a:pt x="9" y="0"/>
                  <a:pt x="26" y="9"/>
                  <a:pt x="34" y="12"/>
                </a:cubicBezTo>
                <a:cubicBezTo>
                  <a:pt x="43" y="14"/>
                  <a:pt x="58" y="14"/>
                  <a:pt x="62" y="20"/>
                </a:cubicBezTo>
                <a:cubicBezTo>
                  <a:pt x="66" y="25"/>
                  <a:pt x="53" y="34"/>
                  <a:pt x="63" y="34"/>
                </a:cubicBezTo>
                <a:cubicBezTo>
                  <a:pt x="74" y="33"/>
                  <a:pt x="81" y="34"/>
                  <a:pt x="95" y="34"/>
                </a:cubicBezTo>
                <a:cubicBezTo>
                  <a:pt x="108" y="34"/>
                  <a:pt x="113" y="36"/>
                  <a:pt x="116" y="39"/>
                </a:cubicBezTo>
                <a:cubicBezTo>
                  <a:pt x="119" y="42"/>
                  <a:pt x="105" y="65"/>
                  <a:pt x="102" y="70"/>
                </a:cubicBezTo>
                <a:cubicBezTo>
                  <a:pt x="99" y="74"/>
                  <a:pt x="83" y="71"/>
                  <a:pt x="93" y="83"/>
                </a:cubicBezTo>
                <a:cubicBezTo>
                  <a:pt x="103" y="95"/>
                  <a:pt x="106" y="84"/>
                  <a:pt x="110" y="89"/>
                </a:cubicBezTo>
                <a:cubicBezTo>
                  <a:pt x="114" y="95"/>
                  <a:pt x="116" y="112"/>
                  <a:pt x="117" y="115"/>
                </a:cubicBezTo>
                <a:cubicBezTo>
                  <a:pt x="119" y="118"/>
                  <a:pt x="126" y="138"/>
                  <a:pt x="127" y="141"/>
                </a:cubicBezTo>
                <a:cubicBezTo>
                  <a:pt x="127" y="141"/>
                  <a:pt x="118" y="155"/>
                  <a:pt x="119" y="157"/>
                </a:cubicBezTo>
                <a:cubicBezTo>
                  <a:pt x="120" y="160"/>
                  <a:pt x="104" y="167"/>
                  <a:pt x="104" y="160"/>
                </a:cubicBezTo>
                <a:cubicBezTo>
                  <a:pt x="103" y="153"/>
                  <a:pt x="99" y="137"/>
                  <a:pt x="99" y="133"/>
                </a:cubicBezTo>
                <a:cubicBezTo>
                  <a:pt x="98" y="128"/>
                  <a:pt x="98" y="117"/>
                  <a:pt x="92" y="116"/>
                </a:cubicBezTo>
                <a:cubicBezTo>
                  <a:pt x="86" y="115"/>
                  <a:pt x="67" y="119"/>
                  <a:pt x="67" y="125"/>
                </a:cubicBezTo>
                <a:cubicBezTo>
                  <a:pt x="66" y="131"/>
                  <a:pt x="48" y="144"/>
                  <a:pt x="45" y="144"/>
                </a:cubicBezTo>
                <a:cubicBezTo>
                  <a:pt x="41" y="144"/>
                  <a:pt x="33" y="133"/>
                  <a:pt x="34" y="128"/>
                </a:cubicBezTo>
                <a:cubicBezTo>
                  <a:pt x="36" y="123"/>
                  <a:pt x="29" y="93"/>
                  <a:pt x="27" y="90"/>
                </a:cubicBezTo>
                <a:cubicBezTo>
                  <a:pt x="25" y="88"/>
                  <a:pt x="19" y="83"/>
                  <a:pt x="19" y="77"/>
                </a:cubicBezTo>
                <a:cubicBezTo>
                  <a:pt x="19" y="70"/>
                  <a:pt x="21" y="56"/>
                  <a:pt x="22" y="53"/>
                </a:cubicBezTo>
                <a:cubicBezTo>
                  <a:pt x="23" y="50"/>
                  <a:pt x="26" y="40"/>
                  <a:pt x="23" y="38"/>
                </a:cubicBezTo>
                <a:cubicBezTo>
                  <a:pt x="19" y="35"/>
                  <a:pt x="18" y="32"/>
                  <a:pt x="15" y="33"/>
                </a:cubicBezTo>
                <a:cubicBezTo>
                  <a:pt x="12" y="34"/>
                  <a:pt x="7" y="41"/>
                  <a:pt x="4" y="35"/>
                </a:cubicBezTo>
                <a:lnTo>
                  <a:pt x="0" y="1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0" name="Freeform 626"/>
          <p:cNvSpPr>
            <a:spLocks/>
          </p:cNvSpPr>
          <p:nvPr userDrawn="1"/>
        </p:nvSpPr>
        <p:spPr bwMode="auto">
          <a:xfrm>
            <a:off x="7745331" y="4291058"/>
            <a:ext cx="216088" cy="467351"/>
          </a:xfrm>
          <a:custGeom>
            <a:avLst/>
            <a:gdLst>
              <a:gd name="T0" fmla="*/ 2147483646 w 231"/>
              <a:gd name="T1" fmla="*/ 2147483646 h 501"/>
              <a:gd name="T2" fmla="*/ 2147483646 w 231"/>
              <a:gd name="T3" fmla="*/ 2147483646 h 501"/>
              <a:gd name="T4" fmla="*/ 2147483646 w 231"/>
              <a:gd name="T5" fmla="*/ 2147483646 h 501"/>
              <a:gd name="T6" fmla="*/ 2147483646 w 231"/>
              <a:gd name="T7" fmla="*/ 2147483646 h 501"/>
              <a:gd name="T8" fmla="*/ 2147483646 w 231"/>
              <a:gd name="T9" fmla="*/ 2147483646 h 501"/>
              <a:gd name="T10" fmla="*/ 2147483646 w 231"/>
              <a:gd name="T11" fmla="*/ 2147483646 h 501"/>
              <a:gd name="T12" fmla="*/ 2147483646 w 231"/>
              <a:gd name="T13" fmla="*/ 2147483646 h 501"/>
              <a:gd name="T14" fmla="*/ 2147483646 w 231"/>
              <a:gd name="T15" fmla="*/ 2147483646 h 501"/>
              <a:gd name="T16" fmla="*/ 2147483646 w 231"/>
              <a:gd name="T17" fmla="*/ 2147483646 h 501"/>
              <a:gd name="T18" fmla="*/ 2147483646 w 231"/>
              <a:gd name="T19" fmla="*/ 2147483646 h 501"/>
              <a:gd name="T20" fmla="*/ 2147483646 w 231"/>
              <a:gd name="T21" fmla="*/ 2147483646 h 501"/>
              <a:gd name="T22" fmla="*/ 2147483646 w 231"/>
              <a:gd name="T23" fmla="*/ 2147483646 h 501"/>
              <a:gd name="T24" fmla="*/ 2147483646 w 231"/>
              <a:gd name="T25" fmla="*/ 2147483646 h 501"/>
              <a:gd name="T26" fmla="*/ 2147483646 w 231"/>
              <a:gd name="T27" fmla="*/ 2147483646 h 501"/>
              <a:gd name="T28" fmla="*/ 2147483646 w 231"/>
              <a:gd name="T29" fmla="*/ 2147483646 h 501"/>
              <a:gd name="T30" fmla="*/ 2147483646 w 231"/>
              <a:gd name="T31" fmla="*/ 2147483646 h 501"/>
              <a:gd name="T32" fmla="*/ 2147483646 w 231"/>
              <a:gd name="T33" fmla="*/ 2147483646 h 501"/>
              <a:gd name="T34" fmla="*/ 2147483646 w 231"/>
              <a:gd name="T35" fmla="*/ 2147483646 h 501"/>
              <a:gd name="T36" fmla="*/ 2147483646 w 231"/>
              <a:gd name="T37" fmla="*/ 2147483646 h 501"/>
              <a:gd name="T38" fmla="*/ 2147483646 w 231"/>
              <a:gd name="T39" fmla="*/ 2147483646 h 501"/>
              <a:gd name="T40" fmla="*/ 2147483646 w 231"/>
              <a:gd name="T41" fmla="*/ 2147483646 h 501"/>
              <a:gd name="T42" fmla="*/ 2147483646 w 231"/>
              <a:gd name="T43" fmla="*/ 2147483646 h 501"/>
              <a:gd name="T44" fmla="*/ 2147483646 w 231"/>
              <a:gd name="T45" fmla="*/ 2147483646 h 501"/>
              <a:gd name="T46" fmla="*/ 2147483646 w 231"/>
              <a:gd name="T47" fmla="*/ 2147483646 h 501"/>
              <a:gd name="T48" fmla="*/ 2147483646 w 231"/>
              <a:gd name="T49" fmla="*/ 2147483646 h 501"/>
              <a:gd name="T50" fmla="*/ 2147483646 w 231"/>
              <a:gd name="T51" fmla="*/ 2147483646 h 501"/>
              <a:gd name="T52" fmla="*/ 2147483646 w 231"/>
              <a:gd name="T53" fmla="*/ 2147483646 h 501"/>
              <a:gd name="T54" fmla="*/ 2147483646 w 231"/>
              <a:gd name="T55" fmla="*/ 2147483646 h 501"/>
              <a:gd name="T56" fmla="*/ 2147483646 w 231"/>
              <a:gd name="T57" fmla="*/ 2147483646 h 501"/>
              <a:gd name="T58" fmla="*/ 2147483646 w 231"/>
              <a:gd name="T59" fmla="*/ 2147483646 h 501"/>
              <a:gd name="T60" fmla="*/ 2147483646 w 231"/>
              <a:gd name="T61" fmla="*/ 2147483646 h 501"/>
              <a:gd name="T62" fmla="*/ 2147483646 w 231"/>
              <a:gd name="T63" fmla="*/ 2147483646 h 501"/>
              <a:gd name="T64" fmla="*/ 2147483646 w 231"/>
              <a:gd name="T65" fmla="*/ 2147483646 h 501"/>
              <a:gd name="T66" fmla="*/ 2147483646 w 231"/>
              <a:gd name="T67" fmla="*/ 2147483646 h 501"/>
              <a:gd name="T68" fmla="*/ 2147483646 w 231"/>
              <a:gd name="T69" fmla="*/ 2147483646 h 501"/>
              <a:gd name="T70" fmla="*/ 2147483646 w 231"/>
              <a:gd name="T71" fmla="*/ 2147483646 h 501"/>
              <a:gd name="T72" fmla="*/ 2147483646 w 231"/>
              <a:gd name="T73" fmla="*/ 2147483646 h 501"/>
              <a:gd name="T74" fmla="*/ 2147483646 w 231"/>
              <a:gd name="T75" fmla="*/ 2147483646 h 501"/>
              <a:gd name="T76" fmla="*/ 2147483646 w 231"/>
              <a:gd name="T77" fmla="*/ 2147483646 h 501"/>
              <a:gd name="T78" fmla="*/ 2147483646 w 231"/>
              <a:gd name="T79" fmla="*/ 2147483646 h 501"/>
              <a:gd name="T80" fmla="*/ 2147483646 w 231"/>
              <a:gd name="T81" fmla="*/ 2147483646 h 501"/>
              <a:gd name="T82" fmla="*/ 2147483646 w 231"/>
              <a:gd name="T83" fmla="*/ 2147483646 h 501"/>
              <a:gd name="T84" fmla="*/ 2147483646 w 231"/>
              <a:gd name="T85" fmla="*/ 2147483646 h 501"/>
              <a:gd name="T86" fmla="*/ 2147483646 w 231"/>
              <a:gd name="T87" fmla="*/ 2147483646 h 501"/>
              <a:gd name="T88" fmla="*/ 2147483646 w 231"/>
              <a:gd name="T89" fmla="*/ 2147483646 h 501"/>
              <a:gd name="T90" fmla="*/ 2147483646 w 231"/>
              <a:gd name="T91" fmla="*/ 2147483646 h 501"/>
              <a:gd name="T92" fmla="*/ 2147483646 w 231"/>
              <a:gd name="T93" fmla="*/ 2147483646 h 501"/>
              <a:gd name="T94" fmla="*/ 2147483646 w 231"/>
              <a:gd name="T95" fmla="*/ 2147483646 h 501"/>
              <a:gd name="T96" fmla="*/ 2147483646 w 231"/>
              <a:gd name="T97" fmla="*/ 2147483646 h 501"/>
              <a:gd name="T98" fmla="*/ 2147483646 w 231"/>
              <a:gd name="T99" fmla="*/ 2147483646 h 501"/>
              <a:gd name="T100" fmla="*/ 2147483646 w 231"/>
              <a:gd name="T101" fmla="*/ 2147483646 h 501"/>
              <a:gd name="T102" fmla="*/ 2147483646 w 231"/>
              <a:gd name="T103" fmla="*/ 2147483646 h 501"/>
              <a:gd name="T104" fmla="*/ 2147483646 w 231"/>
              <a:gd name="T105" fmla="*/ 2147483646 h 501"/>
              <a:gd name="T106" fmla="*/ 2147483646 w 231"/>
              <a:gd name="T107" fmla="*/ 2147483646 h 501"/>
              <a:gd name="T108" fmla="*/ 2147483646 w 231"/>
              <a:gd name="T109" fmla="*/ 2147483646 h 501"/>
              <a:gd name="T110" fmla="*/ 2147483646 w 231"/>
              <a:gd name="T111" fmla="*/ 2147483646 h 501"/>
              <a:gd name="T112" fmla="*/ 2147483646 w 231"/>
              <a:gd name="T113" fmla="*/ 2147483646 h 501"/>
              <a:gd name="T114" fmla="*/ 2147483646 w 231"/>
              <a:gd name="T115" fmla="*/ 2147483646 h 501"/>
              <a:gd name="T116" fmla="*/ 2147483646 w 231"/>
              <a:gd name="T117" fmla="*/ 2147483646 h 50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31"/>
              <a:gd name="T178" fmla="*/ 0 h 501"/>
              <a:gd name="T179" fmla="*/ 231 w 231"/>
              <a:gd name="T180" fmla="*/ 501 h 50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31" h="501">
                <a:moveTo>
                  <a:pt x="1" y="208"/>
                </a:moveTo>
                <a:cubicBezTo>
                  <a:pt x="0" y="206"/>
                  <a:pt x="9" y="192"/>
                  <a:pt x="9" y="192"/>
                </a:cubicBezTo>
                <a:cubicBezTo>
                  <a:pt x="9" y="194"/>
                  <a:pt x="21" y="175"/>
                  <a:pt x="20" y="168"/>
                </a:cubicBezTo>
                <a:cubicBezTo>
                  <a:pt x="20" y="161"/>
                  <a:pt x="13" y="147"/>
                  <a:pt x="20" y="139"/>
                </a:cubicBezTo>
                <a:cubicBezTo>
                  <a:pt x="28" y="130"/>
                  <a:pt x="34" y="126"/>
                  <a:pt x="40" y="127"/>
                </a:cubicBezTo>
                <a:cubicBezTo>
                  <a:pt x="46" y="128"/>
                  <a:pt x="51" y="120"/>
                  <a:pt x="53" y="114"/>
                </a:cubicBezTo>
                <a:cubicBezTo>
                  <a:pt x="54" y="109"/>
                  <a:pt x="49" y="95"/>
                  <a:pt x="50" y="85"/>
                </a:cubicBezTo>
                <a:cubicBezTo>
                  <a:pt x="51" y="76"/>
                  <a:pt x="61" y="57"/>
                  <a:pt x="66" y="54"/>
                </a:cubicBezTo>
                <a:cubicBezTo>
                  <a:pt x="71" y="51"/>
                  <a:pt x="92" y="34"/>
                  <a:pt x="95" y="32"/>
                </a:cubicBezTo>
                <a:cubicBezTo>
                  <a:pt x="98" y="31"/>
                  <a:pt x="109" y="16"/>
                  <a:pt x="109" y="16"/>
                </a:cubicBezTo>
                <a:cubicBezTo>
                  <a:pt x="112" y="15"/>
                  <a:pt x="123" y="8"/>
                  <a:pt x="123" y="8"/>
                </a:cubicBezTo>
                <a:cubicBezTo>
                  <a:pt x="123" y="8"/>
                  <a:pt x="128" y="0"/>
                  <a:pt x="137" y="7"/>
                </a:cubicBezTo>
                <a:cubicBezTo>
                  <a:pt x="146" y="14"/>
                  <a:pt x="151" y="6"/>
                  <a:pt x="152" y="26"/>
                </a:cubicBezTo>
                <a:cubicBezTo>
                  <a:pt x="153" y="46"/>
                  <a:pt x="150" y="62"/>
                  <a:pt x="150" y="62"/>
                </a:cubicBezTo>
                <a:cubicBezTo>
                  <a:pt x="133" y="85"/>
                  <a:pt x="133" y="85"/>
                  <a:pt x="133" y="85"/>
                </a:cubicBezTo>
                <a:cubicBezTo>
                  <a:pt x="133" y="85"/>
                  <a:pt x="123" y="90"/>
                  <a:pt x="126" y="105"/>
                </a:cubicBezTo>
                <a:cubicBezTo>
                  <a:pt x="130" y="121"/>
                  <a:pt x="123" y="127"/>
                  <a:pt x="135" y="129"/>
                </a:cubicBezTo>
                <a:cubicBezTo>
                  <a:pt x="146" y="131"/>
                  <a:pt x="144" y="115"/>
                  <a:pt x="159" y="124"/>
                </a:cubicBezTo>
                <a:cubicBezTo>
                  <a:pt x="175" y="134"/>
                  <a:pt x="168" y="137"/>
                  <a:pt x="171" y="146"/>
                </a:cubicBezTo>
                <a:cubicBezTo>
                  <a:pt x="175" y="156"/>
                  <a:pt x="187" y="145"/>
                  <a:pt x="175" y="156"/>
                </a:cubicBezTo>
                <a:cubicBezTo>
                  <a:pt x="162" y="166"/>
                  <a:pt x="157" y="150"/>
                  <a:pt x="162" y="166"/>
                </a:cubicBezTo>
                <a:cubicBezTo>
                  <a:pt x="166" y="183"/>
                  <a:pt x="160" y="176"/>
                  <a:pt x="171" y="180"/>
                </a:cubicBezTo>
                <a:cubicBezTo>
                  <a:pt x="182" y="185"/>
                  <a:pt x="170" y="172"/>
                  <a:pt x="196" y="185"/>
                </a:cubicBezTo>
                <a:cubicBezTo>
                  <a:pt x="222" y="198"/>
                  <a:pt x="230" y="190"/>
                  <a:pt x="231" y="184"/>
                </a:cubicBezTo>
                <a:cubicBezTo>
                  <a:pt x="231" y="184"/>
                  <a:pt x="228" y="211"/>
                  <a:pt x="218" y="211"/>
                </a:cubicBezTo>
                <a:cubicBezTo>
                  <a:pt x="207" y="212"/>
                  <a:pt x="195" y="213"/>
                  <a:pt x="196" y="221"/>
                </a:cubicBezTo>
                <a:cubicBezTo>
                  <a:pt x="197" y="229"/>
                  <a:pt x="186" y="229"/>
                  <a:pt x="180" y="229"/>
                </a:cubicBezTo>
                <a:cubicBezTo>
                  <a:pt x="174" y="229"/>
                  <a:pt x="173" y="217"/>
                  <a:pt x="165" y="230"/>
                </a:cubicBezTo>
                <a:cubicBezTo>
                  <a:pt x="157" y="243"/>
                  <a:pt x="137" y="257"/>
                  <a:pt x="138" y="264"/>
                </a:cubicBezTo>
                <a:cubicBezTo>
                  <a:pt x="139" y="271"/>
                  <a:pt x="132" y="277"/>
                  <a:pt x="127" y="279"/>
                </a:cubicBezTo>
                <a:cubicBezTo>
                  <a:pt x="122" y="282"/>
                  <a:pt x="117" y="286"/>
                  <a:pt x="125" y="292"/>
                </a:cubicBezTo>
                <a:cubicBezTo>
                  <a:pt x="132" y="299"/>
                  <a:pt x="146" y="306"/>
                  <a:pt x="151" y="316"/>
                </a:cubicBezTo>
                <a:cubicBezTo>
                  <a:pt x="156" y="326"/>
                  <a:pt x="153" y="327"/>
                  <a:pt x="155" y="342"/>
                </a:cubicBezTo>
                <a:cubicBezTo>
                  <a:pt x="158" y="357"/>
                  <a:pt x="142" y="362"/>
                  <a:pt x="150" y="374"/>
                </a:cubicBezTo>
                <a:cubicBezTo>
                  <a:pt x="158" y="387"/>
                  <a:pt x="167" y="401"/>
                  <a:pt x="170" y="408"/>
                </a:cubicBezTo>
                <a:cubicBezTo>
                  <a:pt x="173" y="414"/>
                  <a:pt x="180" y="415"/>
                  <a:pt x="178" y="428"/>
                </a:cubicBezTo>
                <a:cubicBezTo>
                  <a:pt x="176" y="441"/>
                  <a:pt x="171" y="445"/>
                  <a:pt x="173" y="452"/>
                </a:cubicBezTo>
                <a:cubicBezTo>
                  <a:pt x="176" y="459"/>
                  <a:pt x="176" y="479"/>
                  <a:pt x="173" y="485"/>
                </a:cubicBezTo>
                <a:cubicBezTo>
                  <a:pt x="171" y="491"/>
                  <a:pt x="170" y="496"/>
                  <a:pt x="165" y="498"/>
                </a:cubicBezTo>
                <a:cubicBezTo>
                  <a:pt x="159" y="501"/>
                  <a:pt x="153" y="501"/>
                  <a:pt x="153" y="501"/>
                </a:cubicBezTo>
                <a:cubicBezTo>
                  <a:pt x="153" y="501"/>
                  <a:pt x="160" y="481"/>
                  <a:pt x="158" y="466"/>
                </a:cubicBezTo>
                <a:cubicBezTo>
                  <a:pt x="155" y="451"/>
                  <a:pt x="147" y="441"/>
                  <a:pt x="148" y="435"/>
                </a:cubicBezTo>
                <a:cubicBezTo>
                  <a:pt x="149" y="428"/>
                  <a:pt x="156" y="420"/>
                  <a:pt x="151" y="416"/>
                </a:cubicBezTo>
                <a:cubicBezTo>
                  <a:pt x="146" y="413"/>
                  <a:pt x="138" y="411"/>
                  <a:pt x="132" y="400"/>
                </a:cubicBezTo>
                <a:cubicBezTo>
                  <a:pt x="127" y="388"/>
                  <a:pt x="124" y="380"/>
                  <a:pt x="124" y="371"/>
                </a:cubicBezTo>
                <a:cubicBezTo>
                  <a:pt x="124" y="362"/>
                  <a:pt x="126" y="364"/>
                  <a:pt x="123" y="353"/>
                </a:cubicBezTo>
                <a:cubicBezTo>
                  <a:pt x="120" y="341"/>
                  <a:pt x="120" y="333"/>
                  <a:pt x="114" y="333"/>
                </a:cubicBezTo>
                <a:cubicBezTo>
                  <a:pt x="108" y="332"/>
                  <a:pt x="108" y="317"/>
                  <a:pt x="100" y="325"/>
                </a:cubicBezTo>
                <a:cubicBezTo>
                  <a:pt x="92" y="333"/>
                  <a:pt x="79" y="355"/>
                  <a:pt x="72" y="357"/>
                </a:cubicBezTo>
                <a:cubicBezTo>
                  <a:pt x="65" y="359"/>
                  <a:pt x="37" y="354"/>
                  <a:pt x="36" y="346"/>
                </a:cubicBezTo>
                <a:cubicBezTo>
                  <a:pt x="34" y="337"/>
                  <a:pt x="25" y="325"/>
                  <a:pt x="30" y="318"/>
                </a:cubicBezTo>
                <a:cubicBezTo>
                  <a:pt x="34" y="311"/>
                  <a:pt x="44" y="309"/>
                  <a:pt x="48" y="303"/>
                </a:cubicBezTo>
                <a:cubicBezTo>
                  <a:pt x="52" y="297"/>
                  <a:pt x="53" y="281"/>
                  <a:pt x="46" y="281"/>
                </a:cubicBezTo>
                <a:cubicBezTo>
                  <a:pt x="39" y="281"/>
                  <a:pt x="22" y="273"/>
                  <a:pt x="22" y="273"/>
                </a:cubicBezTo>
                <a:cubicBezTo>
                  <a:pt x="22" y="273"/>
                  <a:pt x="25" y="258"/>
                  <a:pt x="31" y="258"/>
                </a:cubicBezTo>
                <a:cubicBezTo>
                  <a:pt x="37" y="259"/>
                  <a:pt x="43" y="243"/>
                  <a:pt x="37" y="243"/>
                </a:cubicBezTo>
                <a:cubicBezTo>
                  <a:pt x="31" y="243"/>
                  <a:pt x="29" y="244"/>
                  <a:pt x="25" y="238"/>
                </a:cubicBezTo>
                <a:cubicBezTo>
                  <a:pt x="22" y="231"/>
                  <a:pt x="17" y="220"/>
                  <a:pt x="11" y="223"/>
                </a:cubicBezTo>
                <a:cubicBezTo>
                  <a:pt x="5" y="225"/>
                  <a:pt x="1" y="208"/>
                  <a:pt x="1" y="20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1" name="Freeform 627"/>
          <p:cNvSpPr>
            <a:spLocks/>
          </p:cNvSpPr>
          <p:nvPr userDrawn="1"/>
        </p:nvSpPr>
        <p:spPr bwMode="auto">
          <a:xfrm>
            <a:off x="7961419" y="4423390"/>
            <a:ext cx="190960" cy="380247"/>
          </a:xfrm>
          <a:custGeom>
            <a:avLst/>
            <a:gdLst>
              <a:gd name="T0" fmla="*/ 2147483646 w 205"/>
              <a:gd name="T1" fmla="*/ 2147483646 h 408"/>
              <a:gd name="T2" fmla="*/ 2147483646 w 205"/>
              <a:gd name="T3" fmla="*/ 2147483646 h 408"/>
              <a:gd name="T4" fmla="*/ 2147483646 w 205"/>
              <a:gd name="T5" fmla="*/ 2147483646 h 408"/>
              <a:gd name="T6" fmla="*/ 2147483646 w 205"/>
              <a:gd name="T7" fmla="*/ 2147483646 h 408"/>
              <a:gd name="T8" fmla="*/ 2147483646 w 205"/>
              <a:gd name="T9" fmla="*/ 2147483646 h 408"/>
              <a:gd name="T10" fmla="*/ 2147483646 w 205"/>
              <a:gd name="T11" fmla="*/ 2147483646 h 408"/>
              <a:gd name="T12" fmla="*/ 2147483646 w 205"/>
              <a:gd name="T13" fmla="*/ 2147483646 h 408"/>
              <a:gd name="T14" fmla="*/ 2147483646 w 205"/>
              <a:gd name="T15" fmla="*/ 2147483646 h 408"/>
              <a:gd name="T16" fmla="*/ 2147483646 w 205"/>
              <a:gd name="T17" fmla="*/ 2147483646 h 408"/>
              <a:gd name="T18" fmla="*/ 2147483646 w 205"/>
              <a:gd name="T19" fmla="*/ 2147483646 h 408"/>
              <a:gd name="T20" fmla="*/ 2147483646 w 205"/>
              <a:gd name="T21" fmla="*/ 2147483646 h 408"/>
              <a:gd name="T22" fmla="*/ 2147483646 w 205"/>
              <a:gd name="T23" fmla="*/ 2147483646 h 408"/>
              <a:gd name="T24" fmla="*/ 2147483646 w 205"/>
              <a:gd name="T25" fmla="*/ 2147483646 h 408"/>
              <a:gd name="T26" fmla="*/ 2147483646 w 205"/>
              <a:gd name="T27" fmla="*/ 2147483646 h 408"/>
              <a:gd name="T28" fmla="*/ 2147483646 w 205"/>
              <a:gd name="T29" fmla="*/ 2147483646 h 408"/>
              <a:gd name="T30" fmla="*/ 2147483646 w 205"/>
              <a:gd name="T31" fmla="*/ 2147483646 h 408"/>
              <a:gd name="T32" fmla="*/ 2147483646 w 205"/>
              <a:gd name="T33" fmla="*/ 2147483646 h 408"/>
              <a:gd name="T34" fmla="*/ 2147483646 w 205"/>
              <a:gd name="T35" fmla="*/ 2147483646 h 408"/>
              <a:gd name="T36" fmla="*/ 2147483646 w 205"/>
              <a:gd name="T37" fmla="*/ 2147483646 h 408"/>
              <a:gd name="T38" fmla="*/ 2147483646 w 205"/>
              <a:gd name="T39" fmla="*/ 2147483646 h 408"/>
              <a:gd name="T40" fmla="*/ 2147483646 w 205"/>
              <a:gd name="T41" fmla="*/ 2147483646 h 408"/>
              <a:gd name="T42" fmla="*/ 2147483646 w 205"/>
              <a:gd name="T43" fmla="*/ 2147483646 h 408"/>
              <a:gd name="T44" fmla="*/ 2147483646 w 205"/>
              <a:gd name="T45" fmla="*/ 2147483646 h 408"/>
              <a:gd name="T46" fmla="*/ 2147483646 w 205"/>
              <a:gd name="T47" fmla="*/ 2147483646 h 408"/>
              <a:gd name="T48" fmla="*/ 2147483646 w 205"/>
              <a:gd name="T49" fmla="*/ 2147483646 h 408"/>
              <a:gd name="T50" fmla="*/ 2147483646 w 205"/>
              <a:gd name="T51" fmla="*/ 2147483646 h 408"/>
              <a:gd name="T52" fmla="*/ 2147483646 w 205"/>
              <a:gd name="T53" fmla="*/ 2147483646 h 408"/>
              <a:gd name="T54" fmla="*/ 2147483646 w 205"/>
              <a:gd name="T55" fmla="*/ 2147483646 h 408"/>
              <a:gd name="T56" fmla="*/ 2147483646 w 205"/>
              <a:gd name="T57" fmla="*/ 2147483646 h 408"/>
              <a:gd name="T58" fmla="*/ 2147483646 w 205"/>
              <a:gd name="T59" fmla="*/ 2147483646 h 408"/>
              <a:gd name="T60" fmla="*/ 2147483646 w 205"/>
              <a:gd name="T61" fmla="*/ 2147483646 h 408"/>
              <a:gd name="T62" fmla="*/ 2147483646 w 205"/>
              <a:gd name="T63" fmla="*/ 2147483646 h 408"/>
              <a:gd name="T64" fmla="*/ 2147483646 w 205"/>
              <a:gd name="T65" fmla="*/ 2147483646 h 408"/>
              <a:gd name="T66" fmla="*/ 0 w 205"/>
              <a:gd name="T67" fmla="*/ 2147483646 h 40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05"/>
              <a:gd name="T103" fmla="*/ 0 h 408"/>
              <a:gd name="T104" fmla="*/ 205 w 205"/>
              <a:gd name="T105" fmla="*/ 408 h 40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05" h="408">
                <a:moveTo>
                  <a:pt x="0" y="43"/>
                </a:moveTo>
                <a:cubicBezTo>
                  <a:pt x="1" y="37"/>
                  <a:pt x="0" y="27"/>
                  <a:pt x="7" y="24"/>
                </a:cubicBezTo>
                <a:cubicBezTo>
                  <a:pt x="14" y="22"/>
                  <a:pt x="34" y="28"/>
                  <a:pt x="34" y="28"/>
                </a:cubicBezTo>
                <a:cubicBezTo>
                  <a:pt x="34" y="28"/>
                  <a:pt x="41" y="27"/>
                  <a:pt x="52" y="31"/>
                </a:cubicBezTo>
                <a:cubicBezTo>
                  <a:pt x="62" y="36"/>
                  <a:pt x="70" y="31"/>
                  <a:pt x="70" y="31"/>
                </a:cubicBezTo>
                <a:cubicBezTo>
                  <a:pt x="70" y="31"/>
                  <a:pt x="80" y="25"/>
                  <a:pt x="83" y="16"/>
                </a:cubicBezTo>
                <a:cubicBezTo>
                  <a:pt x="87" y="7"/>
                  <a:pt x="84" y="0"/>
                  <a:pt x="98" y="5"/>
                </a:cubicBezTo>
                <a:cubicBezTo>
                  <a:pt x="113" y="11"/>
                  <a:pt x="117" y="16"/>
                  <a:pt x="117" y="16"/>
                </a:cubicBezTo>
                <a:cubicBezTo>
                  <a:pt x="117" y="16"/>
                  <a:pt x="121" y="13"/>
                  <a:pt x="131" y="21"/>
                </a:cubicBezTo>
                <a:cubicBezTo>
                  <a:pt x="142" y="29"/>
                  <a:pt x="136" y="30"/>
                  <a:pt x="135" y="38"/>
                </a:cubicBezTo>
                <a:cubicBezTo>
                  <a:pt x="134" y="47"/>
                  <a:pt x="137" y="44"/>
                  <a:pt x="145" y="49"/>
                </a:cubicBezTo>
                <a:cubicBezTo>
                  <a:pt x="154" y="54"/>
                  <a:pt x="164" y="51"/>
                  <a:pt x="164" y="51"/>
                </a:cubicBezTo>
                <a:cubicBezTo>
                  <a:pt x="164" y="51"/>
                  <a:pt x="153" y="60"/>
                  <a:pt x="148" y="63"/>
                </a:cubicBezTo>
                <a:cubicBezTo>
                  <a:pt x="143" y="67"/>
                  <a:pt x="132" y="70"/>
                  <a:pt x="131" y="77"/>
                </a:cubicBezTo>
                <a:cubicBezTo>
                  <a:pt x="129" y="84"/>
                  <a:pt x="117" y="95"/>
                  <a:pt x="114" y="102"/>
                </a:cubicBezTo>
                <a:cubicBezTo>
                  <a:pt x="112" y="109"/>
                  <a:pt x="110" y="128"/>
                  <a:pt x="117" y="133"/>
                </a:cubicBezTo>
                <a:cubicBezTo>
                  <a:pt x="124" y="139"/>
                  <a:pt x="129" y="150"/>
                  <a:pt x="127" y="159"/>
                </a:cubicBezTo>
                <a:cubicBezTo>
                  <a:pt x="125" y="168"/>
                  <a:pt x="120" y="173"/>
                  <a:pt x="129" y="178"/>
                </a:cubicBezTo>
                <a:cubicBezTo>
                  <a:pt x="139" y="182"/>
                  <a:pt x="142" y="182"/>
                  <a:pt x="150" y="186"/>
                </a:cubicBezTo>
                <a:cubicBezTo>
                  <a:pt x="159" y="189"/>
                  <a:pt x="160" y="202"/>
                  <a:pt x="166" y="206"/>
                </a:cubicBezTo>
                <a:cubicBezTo>
                  <a:pt x="171" y="209"/>
                  <a:pt x="175" y="215"/>
                  <a:pt x="182" y="218"/>
                </a:cubicBezTo>
                <a:cubicBezTo>
                  <a:pt x="189" y="222"/>
                  <a:pt x="194" y="227"/>
                  <a:pt x="194" y="231"/>
                </a:cubicBezTo>
                <a:cubicBezTo>
                  <a:pt x="194" y="236"/>
                  <a:pt x="188" y="243"/>
                  <a:pt x="191" y="252"/>
                </a:cubicBezTo>
                <a:cubicBezTo>
                  <a:pt x="195" y="261"/>
                  <a:pt x="203" y="272"/>
                  <a:pt x="200" y="277"/>
                </a:cubicBezTo>
                <a:cubicBezTo>
                  <a:pt x="198" y="281"/>
                  <a:pt x="192" y="285"/>
                  <a:pt x="196" y="289"/>
                </a:cubicBezTo>
                <a:cubicBezTo>
                  <a:pt x="199" y="294"/>
                  <a:pt x="205" y="305"/>
                  <a:pt x="204" y="312"/>
                </a:cubicBezTo>
                <a:cubicBezTo>
                  <a:pt x="203" y="319"/>
                  <a:pt x="203" y="329"/>
                  <a:pt x="199" y="328"/>
                </a:cubicBezTo>
                <a:cubicBezTo>
                  <a:pt x="196" y="327"/>
                  <a:pt x="199" y="330"/>
                  <a:pt x="196" y="336"/>
                </a:cubicBezTo>
                <a:cubicBezTo>
                  <a:pt x="192" y="342"/>
                  <a:pt x="184" y="346"/>
                  <a:pt x="182" y="343"/>
                </a:cubicBezTo>
                <a:cubicBezTo>
                  <a:pt x="167" y="349"/>
                  <a:pt x="167" y="349"/>
                  <a:pt x="167" y="349"/>
                </a:cubicBezTo>
                <a:cubicBezTo>
                  <a:pt x="167" y="349"/>
                  <a:pt x="159" y="337"/>
                  <a:pt x="157" y="345"/>
                </a:cubicBezTo>
                <a:cubicBezTo>
                  <a:pt x="156" y="353"/>
                  <a:pt x="150" y="358"/>
                  <a:pt x="150" y="358"/>
                </a:cubicBezTo>
                <a:cubicBezTo>
                  <a:pt x="150" y="358"/>
                  <a:pt x="138" y="349"/>
                  <a:pt x="139" y="353"/>
                </a:cubicBezTo>
                <a:cubicBezTo>
                  <a:pt x="140" y="358"/>
                  <a:pt x="136" y="365"/>
                  <a:pt x="136" y="365"/>
                </a:cubicBezTo>
                <a:cubicBezTo>
                  <a:pt x="136" y="365"/>
                  <a:pt x="132" y="373"/>
                  <a:pt x="128" y="373"/>
                </a:cubicBezTo>
                <a:cubicBezTo>
                  <a:pt x="125" y="373"/>
                  <a:pt x="121" y="367"/>
                  <a:pt x="119" y="371"/>
                </a:cubicBezTo>
                <a:cubicBezTo>
                  <a:pt x="117" y="374"/>
                  <a:pt x="119" y="390"/>
                  <a:pt x="119" y="390"/>
                </a:cubicBezTo>
                <a:cubicBezTo>
                  <a:pt x="119" y="390"/>
                  <a:pt x="110" y="395"/>
                  <a:pt x="106" y="397"/>
                </a:cubicBezTo>
                <a:cubicBezTo>
                  <a:pt x="103" y="398"/>
                  <a:pt x="97" y="390"/>
                  <a:pt x="97" y="395"/>
                </a:cubicBezTo>
                <a:cubicBezTo>
                  <a:pt x="97" y="401"/>
                  <a:pt x="96" y="404"/>
                  <a:pt x="92" y="406"/>
                </a:cubicBezTo>
                <a:cubicBezTo>
                  <a:pt x="89" y="408"/>
                  <a:pt x="81" y="404"/>
                  <a:pt x="81" y="404"/>
                </a:cubicBezTo>
                <a:cubicBezTo>
                  <a:pt x="79" y="393"/>
                  <a:pt x="82" y="390"/>
                  <a:pt x="86" y="384"/>
                </a:cubicBezTo>
                <a:cubicBezTo>
                  <a:pt x="91" y="378"/>
                  <a:pt x="97" y="373"/>
                  <a:pt x="90" y="372"/>
                </a:cubicBezTo>
                <a:cubicBezTo>
                  <a:pt x="83" y="371"/>
                  <a:pt x="79" y="366"/>
                  <a:pt x="79" y="366"/>
                </a:cubicBezTo>
                <a:cubicBezTo>
                  <a:pt x="79" y="366"/>
                  <a:pt x="77" y="359"/>
                  <a:pt x="84" y="353"/>
                </a:cubicBezTo>
                <a:cubicBezTo>
                  <a:pt x="91" y="348"/>
                  <a:pt x="85" y="342"/>
                  <a:pt x="94" y="346"/>
                </a:cubicBezTo>
                <a:cubicBezTo>
                  <a:pt x="104" y="351"/>
                  <a:pt x="104" y="344"/>
                  <a:pt x="108" y="343"/>
                </a:cubicBezTo>
                <a:cubicBezTo>
                  <a:pt x="113" y="342"/>
                  <a:pt x="112" y="319"/>
                  <a:pt x="119" y="316"/>
                </a:cubicBezTo>
                <a:cubicBezTo>
                  <a:pt x="126" y="314"/>
                  <a:pt x="129" y="314"/>
                  <a:pt x="138" y="310"/>
                </a:cubicBezTo>
                <a:cubicBezTo>
                  <a:pt x="146" y="307"/>
                  <a:pt x="159" y="307"/>
                  <a:pt x="157" y="295"/>
                </a:cubicBezTo>
                <a:cubicBezTo>
                  <a:pt x="156" y="284"/>
                  <a:pt x="154" y="281"/>
                  <a:pt x="154" y="271"/>
                </a:cubicBezTo>
                <a:cubicBezTo>
                  <a:pt x="154" y="260"/>
                  <a:pt x="153" y="251"/>
                  <a:pt x="147" y="250"/>
                </a:cubicBezTo>
                <a:cubicBezTo>
                  <a:pt x="141" y="249"/>
                  <a:pt x="134" y="250"/>
                  <a:pt x="139" y="237"/>
                </a:cubicBezTo>
                <a:cubicBezTo>
                  <a:pt x="143" y="224"/>
                  <a:pt x="143" y="216"/>
                  <a:pt x="143" y="216"/>
                </a:cubicBezTo>
                <a:cubicBezTo>
                  <a:pt x="142" y="208"/>
                  <a:pt x="146" y="200"/>
                  <a:pt x="140" y="203"/>
                </a:cubicBezTo>
                <a:cubicBezTo>
                  <a:pt x="134" y="207"/>
                  <a:pt x="129" y="203"/>
                  <a:pt x="128" y="196"/>
                </a:cubicBezTo>
                <a:cubicBezTo>
                  <a:pt x="127" y="189"/>
                  <a:pt x="129" y="182"/>
                  <a:pt x="124" y="186"/>
                </a:cubicBezTo>
                <a:cubicBezTo>
                  <a:pt x="118" y="189"/>
                  <a:pt x="113" y="185"/>
                  <a:pt x="108" y="180"/>
                </a:cubicBezTo>
                <a:cubicBezTo>
                  <a:pt x="104" y="175"/>
                  <a:pt x="99" y="173"/>
                  <a:pt x="93" y="155"/>
                </a:cubicBezTo>
                <a:cubicBezTo>
                  <a:pt x="88" y="138"/>
                  <a:pt x="89" y="130"/>
                  <a:pt x="76" y="124"/>
                </a:cubicBezTo>
                <a:cubicBezTo>
                  <a:pt x="63" y="118"/>
                  <a:pt x="54" y="102"/>
                  <a:pt x="60" y="102"/>
                </a:cubicBezTo>
                <a:cubicBezTo>
                  <a:pt x="65" y="102"/>
                  <a:pt x="65" y="95"/>
                  <a:pt x="70" y="94"/>
                </a:cubicBezTo>
                <a:cubicBezTo>
                  <a:pt x="75" y="93"/>
                  <a:pt x="71" y="76"/>
                  <a:pt x="64" y="74"/>
                </a:cubicBezTo>
                <a:cubicBezTo>
                  <a:pt x="57" y="72"/>
                  <a:pt x="56" y="62"/>
                  <a:pt x="50" y="66"/>
                </a:cubicBezTo>
                <a:cubicBezTo>
                  <a:pt x="44" y="69"/>
                  <a:pt x="41" y="74"/>
                  <a:pt x="36" y="72"/>
                </a:cubicBezTo>
                <a:cubicBezTo>
                  <a:pt x="32" y="69"/>
                  <a:pt x="23" y="63"/>
                  <a:pt x="25" y="58"/>
                </a:cubicBezTo>
                <a:cubicBezTo>
                  <a:pt x="26" y="52"/>
                  <a:pt x="26" y="42"/>
                  <a:pt x="21" y="40"/>
                </a:cubicBezTo>
                <a:cubicBezTo>
                  <a:pt x="16" y="38"/>
                  <a:pt x="0" y="43"/>
                  <a:pt x="0" y="4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2" name="Freeform 628"/>
          <p:cNvSpPr>
            <a:spLocks/>
          </p:cNvSpPr>
          <p:nvPr userDrawn="1"/>
        </p:nvSpPr>
        <p:spPr bwMode="auto">
          <a:xfrm>
            <a:off x="7914516" y="4458567"/>
            <a:ext cx="182584" cy="194311"/>
          </a:xfrm>
          <a:custGeom>
            <a:avLst/>
            <a:gdLst>
              <a:gd name="T0" fmla="*/ 0 w 196"/>
              <a:gd name="T1" fmla="*/ 2147483646 h 208"/>
              <a:gd name="T2" fmla="*/ 2147483646 w 196"/>
              <a:gd name="T3" fmla="*/ 2147483646 h 208"/>
              <a:gd name="T4" fmla="*/ 2147483646 w 196"/>
              <a:gd name="T5" fmla="*/ 2147483646 h 208"/>
              <a:gd name="T6" fmla="*/ 2147483646 w 196"/>
              <a:gd name="T7" fmla="*/ 2147483646 h 208"/>
              <a:gd name="T8" fmla="*/ 2147483646 w 196"/>
              <a:gd name="T9" fmla="*/ 2147483646 h 208"/>
              <a:gd name="T10" fmla="*/ 2147483646 w 196"/>
              <a:gd name="T11" fmla="*/ 2147483646 h 208"/>
              <a:gd name="T12" fmla="*/ 2147483646 w 196"/>
              <a:gd name="T13" fmla="*/ 2147483646 h 208"/>
              <a:gd name="T14" fmla="*/ 2147483646 w 196"/>
              <a:gd name="T15" fmla="*/ 2147483646 h 208"/>
              <a:gd name="T16" fmla="*/ 2147483646 w 196"/>
              <a:gd name="T17" fmla="*/ 2147483646 h 208"/>
              <a:gd name="T18" fmla="*/ 2147483646 w 196"/>
              <a:gd name="T19" fmla="*/ 2147483646 h 208"/>
              <a:gd name="T20" fmla="*/ 2147483646 w 196"/>
              <a:gd name="T21" fmla="*/ 2147483646 h 208"/>
              <a:gd name="T22" fmla="*/ 2147483646 w 196"/>
              <a:gd name="T23" fmla="*/ 2147483646 h 208"/>
              <a:gd name="T24" fmla="*/ 2147483646 w 196"/>
              <a:gd name="T25" fmla="*/ 2147483646 h 208"/>
              <a:gd name="T26" fmla="*/ 2147483646 w 196"/>
              <a:gd name="T27" fmla="*/ 2147483646 h 208"/>
              <a:gd name="T28" fmla="*/ 2147483646 w 196"/>
              <a:gd name="T29" fmla="*/ 2147483646 h 208"/>
              <a:gd name="T30" fmla="*/ 2147483646 w 196"/>
              <a:gd name="T31" fmla="*/ 2147483646 h 208"/>
              <a:gd name="T32" fmla="*/ 2147483646 w 196"/>
              <a:gd name="T33" fmla="*/ 2147483646 h 208"/>
              <a:gd name="T34" fmla="*/ 2147483646 w 196"/>
              <a:gd name="T35" fmla="*/ 2147483646 h 208"/>
              <a:gd name="T36" fmla="*/ 2147483646 w 196"/>
              <a:gd name="T37" fmla="*/ 2147483646 h 208"/>
              <a:gd name="T38" fmla="*/ 2147483646 w 196"/>
              <a:gd name="T39" fmla="*/ 2147483646 h 208"/>
              <a:gd name="T40" fmla="*/ 2147483646 w 196"/>
              <a:gd name="T41" fmla="*/ 2147483646 h 208"/>
              <a:gd name="T42" fmla="*/ 2147483646 w 196"/>
              <a:gd name="T43" fmla="*/ 2147483646 h 208"/>
              <a:gd name="T44" fmla="*/ 2147483646 w 196"/>
              <a:gd name="T45" fmla="*/ 2147483646 h 208"/>
              <a:gd name="T46" fmla="*/ 2147483646 w 196"/>
              <a:gd name="T47" fmla="*/ 2147483646 h 208"/>
              <a:gd name="T48" fmla="*/ 2147483646 w 196"/>
              <a:gd name="T49" fmla="*/ 2147483646 h 208"/>
              <a:gd name="T50" fmla="*/ 2147483646 w 196"/>
              <a:gd name="T51" fmla="*/ 2147483646 h 208"/>
              <a:gd name="T52" fmla="*/ 2147483646 w 196"/>
              <a:gd name="T53" fmla="*/ 2147483646 h 208"/>
              <a:gd name="T54" fmla="*/ 2147483646 w 196"/>
              <a:gd name="T55" fmla="*/ 2147483646 h 208"/>
              <a:gd name="T56" fmla="*/ 2147483646 w 196"/>
              <a:gd name="T57" fmla="*/ 2147483646 h 208"/>
              <a:gd name="T58" fmla="*/ 2147483646 w 196"/>
              <a:gd name="T59" fmla="*/ 2147483646 h 208"/>
              <a:gd name="T60" fmla="*/ 2147483646 w 196"/>
              <a:gd name="T61" fmla="*/ 2147483646 h 208"/>
              <a:gd name="T62" fmla="*/ 2147483646 w 196"/>
              <a:gd name="T63" fmla="*/ 2147483646 h 208"/>
              <a:gd name="T64" fmla="*/ 2147483646 w 196"/>
              <a:gd name="T65" fmla="*/ 2147483646 h 208"/>
              <a:gd name="T66" fmla="*/ 2147483646 w 196"/>
              <a:gd name="T67" fmla="*/ 2147483646 h 208"/>
              <a:gd name="T68" fmla="*/ 2147483646 w 196"/>
              <a:gd name="T69" fmla="*/ 2147483646 h 208"/>
              <a:gd name="T70" fmla="*/ 2147483646 w 196"/>
              <a:gd name="T71" fmla="*/ 2147483646 h 208"/>
              <a:gd name="T72" fmla="*/ 2147483646 w 196"/>
              <a:gd name="T73" fmla="*/ 2147483646 h 208"/>
              <a:gd name="T74" fmla="*/ 2147483646 w 196"/>
              <a:gd name="T75" fmla="*/ 2147483646 h 208"/>
              <a:gd name="T76" fmla="*/ 2147483646 w 196"/>
              <a:gd name="T77" fmla="*/ 2147483646 h 208"/>
              <a:gd name="T78" fmla="*/ 2147483646 w 196"/>
              <a:gd name="T79" fmla="*/ 2147483646 h 208"/>
              <a:gd name="T80" fmla="*/ 2147483646 w 196"/>
              <a:gd name="T81" fmla="*/ 2147483646 h 208"/>
              <a:gd name="T82" fmla="*/ 2147483646 w 196"/>
              <a:gd name="T83" fmla="*/ 2147483646 h 208"/>
              <a:gd name="T84" fmla="*/ 2147483646 w 196"/>
              <a:gd name="T85" fmla="*/ 2147483646 h 208"/>
              <a:gd name="T86" fmla="*/ 2147483646 w 196"/>
              <a:gd name="T87" fmla="*/ 2147483646 h 208"/>
              <a:gd name="T88" fmla="*/ 0 w 196"/>
              <a:gd name="T89" fmla="*/ 2147483646 h 20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96"/>
              <a:gd name="T136" fmla="*/ 0 h 208"/>
              <a:gd name="T137" fmla="*/ 196 w 196"/>
              <a:gd name="T138" fmla="*/ 208 h 20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96" h="208">
                <a:moveTo>
                  <a:pt x="0" y="50"/>
                </a:moveTo>
                <a:cubicBezTo>
                  <a:pt x="6" y="50"/>
                  <a:pt x="16" y="50"/>
                  <a:pt x="16" y="42"/>
                </a:cubicBezTo>
                <a:cubicBezTo>
                  <a:pt x="15" y="34"/>
                  <a:pt x="27" y="34"/>
                  <a:pt x="37" y="33"/>
                </a:cubicBezTo>
                <a:cubicBezTo>
                  <a:pt x="48" y="32"/>
                  <a:pt x="50" y="6"/>
                  <a:pt x="50" y="6"/>
                </a:cubicBezTo>
                <a:cubicBezTo>
                  <a:pt x="51" y="5"/>
                  <a:pt x="51" y="5"/>
                  <a:pt x="51" y="5"/>
                </a:cubicBezTo>
                <a:cubicBezTo>
                  <a:pt x="51" y="5"/>
                  <a:pt x="67" y="0"/>
                  <a:pt x="72" y="2"/>
                </a:cubicBezTo>
                <a:cubicBezTo>
                  <a:pt x="76" y="5"/>
                  <a:pt x="76" y="14"/>
                  <a:pt x="75" y="20"/>
                </a:cubicBezTo>
                <a:cubicBezTo>
                  <a:pt x="74" y="26"/>
                  <a:pt x="82" y="31"/>
                  <a:pt x="87" y="34"/>
                </a:cubicBezTo>
                <a:cubicBezTo>
                  <a:pt x="91" y="36"/>
                  <a:pt x="95" y="31"/>
                  <a:pt x="101" y="28"/>
                </a:cubicBezTo>
                <a:cubicBezTo>
                  <a:pt x="107" y="24"/>
                  <a:pt x="108" y="34"/>
                  <a:pt x="115" y="36"/>
                </a:cubicBezTo>
                <a:cubicBezTo>
                  <a:pt x="122" y="38"/>
                  <a:pt x="125" y="55"/>
                  <a:pt x="121" y="56"/>
                </a:cubicBezTo>
                <a:cubicBezTo>
                  <a:pt x="116" y="57"/>
                  <a:pt x="116" y="64"/>
                  <a:pt x="110" y="64"/>
                </a:cubicBezTo>
                <a:cubicBezTo>
                  <a:pt x="104" y="64"/>
                  <a:pt x="114" y="80"/>
                  <a:pt x="126" y="86"/>
                </a:cubicBezTo>
                <a:cubicBezTo>
                  <a:pt x="139" y="92"/>
                  <a:pt x="138" y="100"/>
                  <a:pt x="144" y="118"/>
                </a:cubicBezTo>
                <a:cubicBezTo>
                  <a:pt x="150" y="135"/>
                  <a:pt x="154" y="137"/>
                  <a:pt x="159" y="142"/>
                </a:cubicBezTo>
                <a:cubicBezTo>
                  <a:pt x="164" y="147"/>
                  <a:pt x="168" y="151"/>
                  <a:pt x="174" y="148"/>
                </a:cubicBezTo>
                <a:cubicBezTo>
                  <a:pt x="180" y="144"/>
                  <a:pt x="178" y="151"/>
                  <a:pt x="179" y="158"/>
                </a:cubicBezTo>
                <a:cubicBezTo>
                  <a:pt x="180" y="165"/>
                  <a:pt x="185" y="169"/>
                  <a:pt x="190" y="165"/>
                </a:cubicBezTo>
                <a:cubicBezTo>
                  <a:pt x="196" y="162"/>
                  <a:pt x="193" y="170"/>
                  <a:pt x="194" y="178"/>
                </a:cubicBezTo>
                <a:cubicBezTo>
                  <a:pt x="194" y="178"/>
                  <a:pt x="194" y="186"/>
                  <a:pt x="189" y="199"/>
                </a:cubicBezTo>
                <a:cubicBezTo>
                  <a:pt x="189" y="199"/>
                  <a:pt x="184" y="204"/>
                  <a:pt x="182" y="206"/>
                </a:cubicBezTo>
                <a:cubicBezTo>
                  <a:pt x="179" y="208"/>
                  <a:pt x="170" y="203"/>
                  <a:pt x="170" y="203"/>
                </a:cubicBezTo>
                <a:cubicBezTo>
                  <a:pt x="170" y="203"/>
                  <a:pt x="168" y="200"/>
                  <a:pt x="166" y="201"/>
                </a:cubicBezTo>
                <a:cubicBezTo>
                  <a:pt x="164" y="203"/>
                  <a:pt x="157" y="205"/>
                  <a:pt x="154" y="201"/>
                </a:cubicBezTo>
                <a:cubicBezTo>
                  <a:pt x="152" y="197"/>
                  <a:pt x="149" y="191"/>
                  <a:pt x="153" y="188"/>
                </a:cubicBezTo>
                <a:cubicBezTo>
                  <a:pt x="157" y="185"/>
                  <a:pt x="155" y="175"/>
                  <a:pt x="152" y="172"/>
                </a:cubicBezTo>
                <a:cubicBezTo>
                  <a:pt x="149" y="169"/>
                  <a:pt x="142" y="162"/>
                  <a:pt x="142" y="160"/>
                </a:cubicBezTo>
                <a:cubicBezTo>
                  <a:pt x="142" y="158"/>
                  <a:pt x="137" y="153"/>
                  <a:pt x="135" y="154"/>
                </a:cubicBezTo>
                <a:cubicBezTo>
                  <a:pt x="132" y="154"/>
                  <a:pt x="124" y="153"/>
                  <a:pt x="124" y="147"/>
                </a:cubicBezTo>
                <a:cubicBezTo>
                  <a:pt x="124" y="140"/>
                  <a:pt x="126" y="132"/>
                  <a:pt x="121" y="130"/>
                </a:cubicBezTo>
                <a:cubicBezTo>
                  <a:pt x="115" y="129"/>
                  <a:pt x="110" y="106"/>
                  <a:pt x="110" y="106"/>
                </a:cubicBezTo>
                <a:cubicBezTo>
                  <a:pt x="110" y="106"/>
                  <a:pt x="103" y="104"/>
                  <a:pt x="100" y="104"/>
                </a:cubicBezTo>
                <a:cubicBezTo>
                  <a:pt x="97" y="104"/>
                  <a:pt x="92" y="104"/>
                  <a:pt x="91" y="110"/>
                </a:cubicBezTo>
                <a:cubicBezTo>
                  <a:pt x="89" y="116"/>
                  <a:pt x="75" y="125"/>
                  <a:pt x="75" y="125"/>
                </a:cubicBezTo>
                <a:cubicBezTo>
                  <a:pt x="66" y="111"/>
                  <a:pt x="66" y="111"/>
                  <a:pt x="66" y="111"/>
                </a:cubicBezTo>
                <a:cubicBezTo>
                  <a:pt x="66" y="111"/>
                  <a:pt x="60" y="115"/>
                  <a:pt x="60" y="118"/>
                </a:cubicBezTo>
                <a:cubicBezTo>
                  <a:pt x="59" y="122"/>
                  <a:pt x="59" y="126"/>
                  <a:pt x="53" y="127"/>
                </a:cubicBezTo>
                <a:cubicBezTo>
                  <a:pt x="48" y="128"/>
                  <a:pt x="44" y="133"/>
                  <a:pt x="41" y="127"/>
                </a:cubicBezTo>
                <a:cubicBezTo>
                  <a:pt x="38" y="121"/>
                  <a:pt x="34" y="115"/>
                  <a:pt x="36" y="114"/>
                </a:cubicBezTo>
                <a:cubicBezTo>
                  <a:pt x="38" y="112"/>
                  <a:pt x="44" y="96"/>
                  <a:pt x="45" y="93"/>
                </a:cubicBezTo>
                <a:cubicBezTo>
                  <a:pt x="45" y="90"/>
                  <a:pt x="49" y="84"/>
                  <a:pt x="45" y="81"/>
                </a:cubicBezTo>
                <a:cubicBezTo>
                  <a:pt x="42" y="78"/>
                  <a:pt x="40" y="71"/>
                  <a:pt x="37" y="72"/>
                </a:cubicBezTo>
                <a:cubicBezTo>
                  <a:pt x="34" y="72"/>
                  <a:pt x="31" y="64"/>
                  <a:pt x="27" y="64"/>
                </a:cubicBezTo>
                <a:cubicBezTo>
                  <a:pt x="23" y="64"/>
                  <a:pt x="17" y="61"/>
                  <a:pt x="17" y="57"/>
                </a:cubicBezTo>
                <a:cubicBezTo>
                  <a:pt x="17" y="54"/>
                  <a:pt x="0" y="50"/>
                  <a:pt x="0" y="5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3" name="Freeform 629"/>
          <p:cNvSpPr>
            <a:spLocks/>
          </p:cNvSpPr>
          <p:nvPr userDrawn="1"/>
        </p:nvSpPr>
        <p:spPr bwMode="auto">
          <a:xfrm>
            <a:off x="7976494" y="4644501"/>
            <a:ext cx="132333" cy="125632"/>
          </a:xfrm>
          <a:custGeom>
            <a:avLst/>
            <a:gdLst>
              <a:gd name="T0" fmla="*/ 2147483646 w 141"/>
              <a:gd name="T1" fmla="*/ 2147483646 h 136"/>
              <a:gd name="T2" fmla="*/ 2147483646 w 141"/>
              <a:gd name="T3" fmla="*/ 2147483646 h 136"/>
              <a:gd name="T4" fmla="*/ 2147483646 w 141"/>
              <a:gd name="T5" fmla="*/ 2147483646 h 136"/>
              <a:gd name="T6" fmla="*/ 2147483646 w 141"/>
              <a:gd name="T7" fmla="*/ 2147483646 h 136"/>
              <a:gd name="T8" fmla="*/ 2147483646 w 141"/>
              <a:gd name="T9" fmla="*/ 2147483646 h 136"/>
              <a:gd name="T10" fmla="*/ 2147483646 w 141"/>
              <a:gd name="T11" fmla="*/ 2147483646 h 136"/>
              <a:gd name="T12" fmla="*/ 2147483646 w 141"/>
              <a:gd name="T13" fmla="*/ 2147483646 h 136"/>
              <a:gd name="T14" fmla="*/ 2147483646 w 141"/>
              <a:gd name="T15" fmla="*/ 2147483646 h 136"/>
              <a:gd name="T16" fmla="*/ 2147483646 w 141"/>
              <a:gd name="T17" fmla="*/ 2147483646 h 136"/>
              <a:gd name="T18" fmla="*/ 2147483646 w 141"/>
              <a:gd name="T19" fmla="*/ 0 h 136"/>
              <a:gd name="T20" fmla="*/ 2147483646 w 141"/>
              <a:gd name="T21" fmla="*/ 0 h 136"/>
              <a:gd name="T22" fmla="*/ 2147483646 w 141"/>
              <a:gd name="T23" fmla="*/ 2147483646 h 136"/>
              <a:gd name="T24" fmla="*/ 2147483646 w 141"/>
              <a:gd name="T25" fmla="*/ 2147483646 h 136"/>
              <a:gd name="T26" fmla="*/ 2147483646 w 141"/>
              <a:gd name="T27" fmla="*/ 2147483646 h 136"/>
              <a:gd name="T28" fmla="*/ 2147483646 w 141"/>
              <a:gd name="T29" fmla="*/ 2147483646 h 136"/>
              <a:gd name="T30" fmla="*/ 2147483646 w 141"/>
              <a:gd name="T31" fmla="*/ 2147483646 h 136"/>
              <a:gd name="T32" fmla="*/ 2147483646 w 141"/>
              <a:gd name="T33" fmla="*/ 2147483646 h 136"/>
              <a:gd name="T34" fmla="*/ 2147483646 w 141"/>
              <a:gd name="T35" fmla="*/ 2147483646 h 136"/>
              <a:gd name="T36" fmla="*/ 2147483646 w 141"/>
              <a:gd name="T37" fmla="*/ 2147483646 h 136"/>
              <a:gd name="T38" fmla="*/ 2147483646 w 141"/>
              <a:gd name="T39" fmla="*/ 2147483646 h 136"/>
              <a:gd name="T40" fmla="*/ 2147483646 w 141"/>
              <a:gd name="T41" fmla="*/ 2147483646 h 136"/>
              <a:gd name="T42" fmla="*/ 2147483646 w 141"/>
              <a:gd name="T43" fmla="*/ 2147483646 h 136"/>
              <a:gd name="T44" fmla="*/ 2147483646 w 141"/>
              <a:gd name="T45" fmla="*/ 2147483646 h 136"/>
              <a:gd name="T46" fmla="*/ 2147483646 w 141"/>
              <a:gd name="T47" fmla="*/ 2147483646 h 136"/>
              <a:gd name="T48" fmla="*/ 2147483646 w 141"/>
              <a:gd name="T49" fmla="*/ 2147483646 h 136"/>
              <a:gd name="T50" fmla="*/ 2147483646 w 141"/>
              <a:gd name="T51" fmla="*/ 2147483646 h 1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41"/>
              <a:gd name="T79" fmla="*/ 0 h 136"/>
              <a:gd name="T80" fmla="*/ 141 w 141"/>
              <a:gd name="T81" fmla="*/ 136 h 1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41" h="136">
                <a:moveTo>
                  <a:pt x="62" y="129"/>
                </a:moveTo>
                <a:cubicBezTo>
                  <a:pt x="62" y="129"/>
                  <a:pt x="59" y="123"/>
                  <a:pt x="66" y="117"/>
                </a:cubicBezTo>
                <a:cubicBezTo>
                  <a:pt x="73" y="111"/>
                  <a:pt x="68" y="105"/>
                  <a:pt x="77" y="110"/>
                </a:cubicBezTo>
                <a:cubicBezTo>
                  <a:pt x="86" y="114"/>
                  <a:pt x="86" y="107"/>
                  <a:pt x="91" y="106"/>
                </a:cubicBezTo>
                <a:cubicBezTo>
                  <a:pt x="96" y="105"/>
                  <a:pt x="94" y="82"/>
                  <a:pt x="101" y="79"/>
                </a:cubicBezTo>
                <a:cubicBezTo>
                  <a:pt x="108" y="77"/>
                  <a:pt x="112" y="77"/>
                  <a:pt x="120" y="74"/>
                </a:cubicBezTo>
                <a:cubicBezTo>
                  <a:pt x="128" y="70"/>
                  <a:pt x="141" y="70"/>
                  <a:pt x="140" y="58"/>
                </a:cubicBezTo>
                <a:cubicBezTo>
                  <a:pt x="139" y="47"/>
                  <a:pt x="136" y="44"/>
                  <a:pt x="136" y="34"/>
                </a:cubicBezTo>
                <a:cubicBezTo>
                  <a:pt x="136" y="24"/>
                  <a:pt x="135" y="14"/>
                  <a:pt x="129" y="13"/>
                </a:cubicBezTo>
                <a:cubicBezTo>
                  <a:pt x="124" y="12"/>
                  <a:pt x="117" y="13"/>
                  <a:pt x="121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15" y="5"/>
                  <a:pt x="113" y="7"/>
                </a:cubicBezTo>
                <a:cubicBezTo>
                  <a:pt x="111" y="10"/>
                  <a:pt x="101" y="4"/>
                  <a:pt x="101" y="4"/>
                </a:cubicBezTo>
                <a:cubicBezTo>
                  <a:pt x="101" y="4"/>
                  <a:pt x="100" y="1"/>
                  <a:pt x="97" y="3"/>
                </a:cubicBezTo>
                <a:cubicBezTo>
                  <a:pt x="95" y="4"/>
                  <a:pt x="88" y="7"/>
                  <a:pt x="86" y="3"/>
                </a:cubicBezTo>
                <a:cubicBezTo>
                  <a:pt x="86" y="3"/>
                  <a:pt x="72" y="7"/>
                  <a:pt x="69" y="8"/>
                </a:cubicBezTo>
                <a:cubicBezTo>
                  <a:pt x="65" y="10"/>
                  <a:pt x="50" y="12"/>
                  <a:pt x="50" y="12"/>
                </a:cubicBezTo>
                <a:cubicBezTo>
                  <a:pt x="50" y="12"/>
                  <a:pt x="34" y="10"/>
                  <a:pt x="30" y="11"/>
                </a:cubicBezTo>
                <a:cubicBezTo>
                  <a:pt x="26" y="12"/>
                  <a:pt x="18" y="13"/>
                  <a:pt x="15" y="17"/>
                </a:cubicBezTo>
                <a:cubicBezTo>
                  <a:pt x="13" y="21"/>
                  <a:pt x="0" y="24"/>
                  <a:pt x="7" y="34"/>
                </a:cubicBezTo>
                <a:cubicBezTo>
                  <a:pt x="14" y="44"/>
                  <a:pt x="19" y="55"/>
                  <a:pt x="20" y="60"/>
                </a:cubicBezTo>
                <a:cubicBezTo>
                  <a:pt x="20" y="65"/>
                  <a:pt x="20" y="77"/>
                  <a:pt x="21" y="81"/>
                </a:cubicBezTo>
                <a:cubicBezTo>
                  <a:pt x="22" y="85"/>
                  <a:pt x="21" y="93"/>
                  <a:pt x="23" y="96"/>
                </a:cubicBezTo>
                <a:cubicBezTo>
                  <a:pt x="25" y="100"/>
                  <a:pt x="22" y="118"/>
                  <a:pt x="28" y="122"/>
                </a:cubicBezTo>
                <a:cubicBezTo>
                  <a:pt x="33" y="126"/>
                  <a:pt x="45" y="121"/>
                  <a:pt x="45" y="121"/>
                </a:cubicBezTo>
                <a:cubicBezTo>
                  <a:pt x="45" y="121"/>
                  <a:pt x="55" y="136"/>
                  <a:pt x="62" y="1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4" name="Freeform 630"/>
          <p:cNvSpPr>
            <a:spLocks/>
          </p:cNvSpPr>
          <p:nvPr userDrawn="1"/>
        </p:nvSpPr>
        <p:spPr bwMode="auto">
          <a:xfrm>
            <a:off x="7854213" y="4493743"/>
            <a:ext cx="206036" cy="371871"/>
          </a:xfrm>
          <a:custGeom>
            <a:avLst/>
            <a:gdLst>
              <a:gd name="T0" fmla="*/ 2147483646 w 220"/>
              <a:gd name="T1" fmla="*/ 2147483646 h 397"/>
              <a:gd name="T2" fmla="*/ 2147483646 w 220"/>
              <a:gd name="T3" fmla="*/ 2147483646 h 397"/>
              <a:gd name="T4" fmla="*/ 2147483646 w 220"/>
              <a:gd name="T5" fmla="*/ 2147483646 h 397"/>
              <a:gd name="T6" fmla="*/ 2147483646 w 220"/>
              <a:gd name="T7" fmla="*/ 2147483646 h 397"/>
              <a:gd name="T8" fmla="*/ 2147483646 w 220"/>
              <a:gd name="T9" fmla="*/ 2147483646 h 397"/>
              <a:gd name="T10" fmla="*/ 2147483646 w 220"/>
              <a:gd name="T11" fmla="*/ 2147483646 h 397"/>
              <a:gd name="T12" fmla="*/ 2147483646 w 220"/>
              <a:gd name="T13" fmla="*/ 2147483646 h 397"/>
              <a:gd name="T14" fmla="*/ 2147483646 w 220"/>
              <a:gd name="T15" fmla="*/ 2147483646 h 397"/>
              <a:gd name="T16" fmla="*/ 2147483646 w 220"/>
              <a:gd name="T17" fmla="*/ 2147483646 h 397"/>
              <a:gd name="T18" fmla="*/ 2147483646 w 220"/>
              <a:gd name="T19" fmla="*/ 2147483646 h 397"/>
              <a:gd name="T20" fmla="*/ 2147483646 w 220"/>
              <a:gd name="T21" fmla="*/ 2147483646 h 397"/>
              <a:gd name="T22" fmla="*/ 2147483646 w 220"/>
              <a:gd name="T23" fmla="*/ 2147483646 h 397"/>
              <a:gd name="T24" fmla="*/ 2147483646 w 220"/>
              <a:gd name="T25" fmla="*/ 2147483646 h 397"/>
              <a:gd name="T26" fmla="*/ 2147483646 w 220"/>
              <a:gd name="T27" fmla="*/ 2147483646 h 397"/>
              <a:gd name="T28" fmla="*/ 2147483646 w 220"/>
              <a:gd name="T29" fmla="*/ 2147483646 h 397"/>
              <a:gd name="T30" fmla="*/ 2147483646 w 220"/>
              <a:gd name="T31" fmla="*/ 2147483646 h 397"/>
              <a:gd name="T32" fmla="*/ 2147483646 w 220"/>
              <a:gd name="T33" fmla="*/ 2147483646 h 397"/>
              <a:gd name="T34" fmla="*/ 2147483646 w 220"/>
              <a:gd name="T35" fmla="*/ 2147483646 h 397"/>
              <a:gd name="T36" fmla="*/ 2147483646 w 220"/>
              <a:gd name="T37" fmla="*/ 2147483646 h 397"/>
              <a:gd name="T38" fmla="*/ 2147483646 w 220"/>
              <a:gd name="T39" fmla="*/ 2147483646 h 397"/>
              <a:gd name="T40" fmla="*/ 2147483646 w 220"/>
              <a:gd name="T41" fmla="*/ 2147483646 h 397"/>
              <a:gd name="T42" fmla="*/ 2147483646 w 220"/>
              <a:gd name="T43" fmla="*/ 2147483646 h 397"/>
              <a:gd name="T44" fmla="*/ 2147483646 w 220"/>
              <a:gd name="T45" fmla="*/ 2147483646 h 397"/>
              <a:gd name="T46" fmla="*/ 2147483646 w 220"/>
              <a:gd name="T47" fmla="*/ 2147483646 h 397"/>
              <a:gd name="T48" fmla="*/ 2147483646 w 220"/>
              <a:gd name="T49" fmla="*/ 2147483646 h 397"/>
              <a:gd name="T50" fmla="*/ 2147483646 w 220"/>
              <a:gd name="T51" fmla="*/ 2147483646 h 397"/>
              <a:gd name="T52" fmla="*/ 2147483646 w 220"/>
              <a:gd name="T53" fmla="*/ 2147483646 h 397"/>
              <a:gd name="T54" fmla="*/ 2147483646 w 220"/>
              <a:gd name="T55" fmla="*/ 2147483646 h 397"/>
              <a:gd name="T56" fmla="*/ 2147483646 w 220"/>
              <a:gd name="T57" fmla="*/ 2147483646 h 397"/>
              <a:gd name="T58" fmla="*/ 2147483646 w 220"/>
              <a:gd name="T59" fmla="*/ 2147483646 h 397"/>
              <a:gd name="T60" fmla="*/ 2147483646 w 220"/>
              <a:gd name="T61" fmla="*/ 2147483646 h 397"/>
              <a:gd name="T62" fmla="*/ 2147483646 w 220"/>
              <a:gd name="T63" fmla="*/ 2147483646 h 397"/>
              <a:gd name="T64" fmla="*/ 2147483646 w 220"/>
              <a:gd name="T65" fmla="*/ 2147483646 h 397"/>
              <a:gd name="T66" fmla="*/ 2147483646 w 220"/>
              <a:gd name="T67" fmla="*/ 2147483646 h 39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20"/>
              <a:gd name="T103" fmla="*/ 0 h 397"/>
              <a:gd name="T104" fmla="*/ 220 w 220"/>
              <a:gd name="T105" fmla="*/ 397 h 397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20" h="397">
                <a:moveTo>
                  <a:pt x="159" y="282"/>
                </a:moveTo>
                <a:cubicBezTo>
                  <a:pt x="153" y="278"/>
                  <a:pt x="156" y="260"/>
                  <a:pt x="154" y="256"/>
                </a:cubicBezTo>
                <a:cubicBezTo>
                  <a:pt x="152" y="253"/>
                  <a:pt x="153" y="245"/>
                  <a:pt x="152" y="241"/>
                </a:cubicBezTo>
                <a:cubicBezTo>
                  <a:pt x="151" y="237"/>
                  <a:pt x="151" y="225"/>
                  <a:pt x="151" y="220"/>
                </a:cubicBezTo>
                <a:cubicBezTo>
                  <a:pt x="150" y="215"/>
                  <a:pt x="145" y="204"/>
                  <a:pt x="138" y="194"/>
                </a:cubicBezTo>
                <a:cubicBezTo>
                  <a:pt x="131" y="184"/>
                  <a:pt x="144" y="181"/>
                  <a:pt x="146" y="177"/>
                </a:cubicBezTo>
                <a:cubicBezTo>
                  <a:pt x="149" y="173"/>
                  <a:pt x="157" y="172"/>
                  <a:pt x="161" y="171"/>
                </a:cubicBezTo>
                <a:cubicBezTo>
                  <a:pt x="165" y="170"/>
                  <a:pt x="181" y="172"/>
                  <a:pt x="181" y="172"/>
                </a:cubicBezTo>
                <a:cubicBezTo>
                  <a:pt x="181" y="172"/>
                  <a:pt x="196" y="170"/>
                  <a:pt x="200" y="168"/>
                </a:cubicBezTo>
                <a:cubicBezTo>
                  <a:pt x="203" y="167"/>
                  <a:pt x="217" y="163"/>
                  <a:pt x="217" y="163"/>
                </a:cubicBezTo>
                <a:cubicBezTo>
                  <a:pt x="217" y="162"/>
                  <a:pt x="217" y="162"/>
                  <a:pt x="217" y="162"/>
                </a:cubicBezTo>
                <a:cubicBezTo>
                  <a:pt x="215" y="158"/>
                  <a:pt x="212" y="152"/>
                  <a:pt x="216" y="149"/>
                </a:cubicBezTo>
                <a:cubicBezTo>
                  <a:pt x="220" y="146"/>
                  <a:pt x="218" y="136"/>
                  <a:pt x="215" y="133"/>
                </a:cubicBezTo>
                <a:cubicBezTo>
                  <a:pt x="212" y="130"/>
                  <a:pt x="205" y="123"/>
                  <a:pt x="205" y="121"/>
                </a:cubicBezTo>
                <a:cubicBezTo>
                  <a:pt x="205" y="119"/>
                  <a:pt x="200" y="114"/>
                  <a:pt x="198" y="115"/>
                </a:cubicBezTo>
                <a:cubicBezTo>
                  <a:pt x="195" y="115"/>
                  <a:pt x="187" y="114"/>
                  <a:pt x="187" y="108"/>
                </a:cubicBezTo>
                <a:cubicBezTo>
                  <a:pt x="187" y="101"/>
                  <a:pt x="189" y="93"/>
                  <a:pt x="184" y="91"/>
                </a:cubicBezTo>
                <a:cubicBezTo>
                  <a:pt x="178" y="90"/>
                  <a:pt x="173" y="67"/>
                  <a:pt x="173" y="67"/>
                </a:cubicBezTo>
                <a:cubicBezTo>
                  <a:pt x="173" y="67"/>
                  <a:pt x="166" y="65"/>
                  <a:pt x="163" y="65"/>
                </a:cubicBezTo>
                <a:cubicBezTo>
                  <a:pt x="160" y="65"/>
                  <a:pt x="155" y="65"/>
                  <a:pt x="154" y="71"/>
                </a:cubicBezTo>
                <a:cubicBezTo>
                  <a:pt x="152" y="77"/>
                  <a:pt x="138" y="86"/>
                  <a:pt x="138" y="86"/>
                </a:cubicBezTo>
                <a:cubicBezTo>
                  <a:pt x="129" y="72"/>
                  <a:pt x="129" y="72"/>
                  <a:pt x="129" y="72"/>
                </a:cubicBezTo>
                <a:cubicBezTo>
                  <a:pt x="129" y="72"/>
                  <a:pt x="123" y="76"/>
                  <a:pt x="123" y="79"/>
                </a:cubicBezTo>
                <a:cubicBezTo>
                  <a:pt x="122" y="83"/>
                  <a:pt x="122" y="87"/>
                  <a:pt x="116" y="88"/>
                </a:cubicBezTo>
                <a:cubicBezTo>
                  <a:pt x="111" y="89"/>
                  <a:pt x="107" y="94"/>
                  <a:pt x="104" y="88"/>
                </a:cubicBezTo>
                <a:cubicBezTo>
                  <a:pt x="101" y="82"/>
                  <a:pt x="97" y="76"/>
                  <a:pt x="99" y="75"/>
                </a:cubicBezTo>
                <a:cubicBezTo>
                  <a:pt x="101" y="73"/>
                  <a:pt x="107" y="57"/>
                  <a:pt x="108" y="54"/>
                </a:cubicBezTo>
                <a:cubicBezTo>
                  <a:pt x="108" y="51"/>
                  <a:pt x="112" y="45"/>
                  <a:pt x="108" y="42"/>
                </a:cubicBezTo>
                <a:cubicBezTo>
                  <a:pt x="105" y="39"/>
                  <a:pt x="103" y="32"/>
                  <a:pt x="100" y="33"/>
                </a:cubicBezTo>
                <a:cubicBezTo>
                  <a:pt x="97" y="33"/>
                  <a:pt x="94" y="25"/>
                  <a:pt x="90" y="25"/>
                </a:cubicBezTo>
                <a:cubicBezTo>
                  <a:pt x="86" y="25"/>
                  <a:pt x="80" y="22"/>
                  <a:pt x="80" y="18"/>
                </a:cubicBezTo>
                <a:cubicBezTo>
                  <a:pt x="80" y="15"/>
                  <a:pt x="63" y="11"/>
                  <a:pt x="63" y="11"/>
                </a:cubicBezTo>
                <a:cubicBezTo>
                  <a:pt x="62" y="11"/>
                  <a:pt x="62" y="11"/>
                  <a:pt x="62" y="11"/>
                </a:cubicBezTo>
                <a:cubicBezTo>
                  <a:pt x="57" y="9"/>
                  <a:pt x="55" y="0"/>
                  <a:pt x="48" y="12"/>
                </a:cubicBezTo>
                <a:cubicBezTo>
                  <a:pt x="40" y="25"/>
                  <a:pt x="20" y="39"/>
                  <a:pt x="21" y="46"/>
                </a:cubicBezTo>
                <a:cubicBezTo>
                  <a:pt x="22" y="53"/>
                  <a:pt x="15" y="59"/>
                  <a:pt x="10" y="61"/>
                </a:cubicBezTo>
                <a:cubicBezTo>
                  <a:pt x="5" y="64"/>
                  <a:pt x="0" y="68"/>
                  <a:pt x="8" y="74"/>
                </a:cubicBezTo>
                <a:cubicBezTo>
                  <a:pt x="15" y="81"/>
                  <a:pt x="29" y="88"/>
                  <a:pt x="34" y="98"/>
                </a:cubicBezTo>
                <a:cubicBezTo>
                  <a:pt x="39" y="108"/>
                  <a:pt x="36" y="109"/>
                  <a:pt x="38" y="124"/>
                </a:cubicBezTo>
                <a:cubicBezTo>
                  <a:pt x="41" y="139"/>
                  <a:pt x="25" y="144"/>
                  <a:pt x="33" y="156"/>
                </a:cubicBezTo>
                <a:cubicBezTo>
                  <a:pt x="41" y="169"/>
                  <a:pt x="50" y="183"/>
                  <a:pt x="53" y="190"/>
                </a:cubicBezTo>
                <a:cubicBezTo>
                  <a:pt x="56" y="196"/>
                  <a:pt x="63" y="197"/>
                  <a:pt x="61" y="210"/>
                </a:cubicBezTo>
                <a:cubicBezTo>
                  <a:pt x="59" y="223"/>
                  <a:pt x="54" y="227"/>
                  <a:pt x="56" y="234"/>
                </a:cubicBezTo>
                <a:cubicBezTo>
                  <a:pt x="59" y="241"/>
                  <a:pt x="59" y="261"/>
                  <a:pt x="56" y="267"/>
                </a:cubicBezTo>
                <a:cubicBezTo>
                  <a:pt x="54" y="273"/>
                  <a:pt x="53" y="278"/>
                  <a:pt x="48" y="280"/>
                </a:cubicBezTo>
                <a:cubicBezTo>
                  <a:pt x="42" y="283"/>
                  <a:pt x="36" y="283"/>
                  <a:pt x="36" y="283"/>
                </a:cubicBezTo>
                <a:cubicBezTo>
                  <a:pt x="36" y="283"/>
                  <a:pt x="35" y="305"/>
                  <a:pt x="34" y="310"/>
                </a:cubicBezTo>
                <a:cubicBezTo>
                  <a:pt x="33" y="316"/>
                  <a:pt x="27" y="325"/>
                  <a:pt x="27" y="330"/>
                </a:cubicBezTo>
                <a:cubicBezTo>
                  <a:pt x="27" y="335"/>
                  <a:pt x="26" y="336"/>
                  <a:pt x="33" y="343"/>
                </a:cubicBezTo>
                <a:cubicBezTo>
                  <a:pt x="39" y="350"/>
                  <a:pt x="49" y="353"/>
                  <a:pt x="54" y="359"/>
                </a:cubicBezTo>
                <a:cubicBezTo>
                  <a:pt x="59" y="366"/>
                  <a:pt x="59" y="371"/>
                  <a:pt x="65" y="374"/>
                </a:cubicBezTo>
                <a:cubicBezTo>
                  <a:pt x="71" y="378"/>
                  <a:pt x="88" y="381"/>
                  <a:pt x="98" y="388"/>
                </a:cubicBezTo>
                <a:cubicBezTo>
                  <a:pt x="108" y="394"/>
                  <a:pt x="111" y="396"/>
                  <a:pt x="117" y="397"/>
                </a:cubicBezTo>
                <a:cubicBezTo>
                  <a:pt x="124" y="397"/>
                  <a:pt x="126" y="394"/>
                  <a:pt x="127" y="393"/>
                </a:cubicBezTo>
                <a:cubicBezTo>
                  <a:pt x="129" y="391"/>
                  <a:pt x="121" y="380"/>
                  <a:pt x="115" y="379"/>
                </a:cubicBezTo>
                <a:cubicBezTo>
                  <a:pt x="109" y="378"/>
                  <a:pt x="93" y="369"/>
                  <a:pt x="93" y="369"/>
                </a:cubicBezTo>
                <a:cubicBezTo>
                  <a:pt x="81" y="349"/>
                  <a:pt x="81" y="349"/>
                  <a:pt x="81" y="349"/>
                </a:cubicBezTo>
                <a:cubicBezTo>
                  <a:pt x="81" y="349"/>
                  <a:pt x="80" y="334"/>
                  <a:pt x="79" y="328"/>
                </a:cubicBezTo>
                <a:cubicBezTo>
                  <a:pt x="77" y="322"/>
                  <a:pt x="75" y="317"/>
                  <a:pt x="67" y="315"/>
                </a:cubicBezTo>
                <a:cubicBezTo>
                  <a:pt x="59" y="313"/>
                  <a:pt x="54" y="310"/>
                  <a:pt x="53" y="305"/>
                </a:cubicBezTo>
                <a:cubicBezTo>
                  <a:pt x="52" y="301"/>
                  <a:pt x="62" y="281"/>
                  <a:pt x="66" y="264"/>
                </a:cubicBezTo>
                <a:cubicBezTo>
                  <a:pt x="70" y="248"/>
                  <a:pt x="72" y="236"/>
                  <a:pt x="73" y="223"/>
                </a:cubicBezTo>
                <a:cubicBezTo>
                  <a:pt x="73" y="211"/>
                  <a:pt x="68" y="197"/>
                  <a:pt x="79" y="199"/>
                </a:cubicBezTo>
                <a:cubicBezTo>
                  <a:pt x="91" y="201"/>
                  <a:pt x="101" y="197"/>
                  <a:pt x="102" y="209"/>
                </a:cubicBezTo>
                <a:cubicBezTo>
                  <a:pt x="102" y="220"/>
                  <a:pt x="112" y="231"/>
                  <a:pt x="119" y="232"/>
                </a:cubicBezTo>
                <a:cubicBezTo>
                  <a:pt x="126" y="234"/>
                  <a:pt x="131" y="234"/>
                  <a:pt x="135" y="238"/>
                </a:cubicBezTo>
                <a:cubicBezTo>
                  <a:pt x="140" y="242"/>
                  <a:pt x="146" y="243"/>
                  <a:pt x="148" y="258"/>
                </a:cubicBezTo>
                <a:cubicBezTo>
                  <a:pt x="150" y="273"/>
                  <a:pt x="151" y="284"/>
                  <a:pt x="159" y="28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5" name="Freeform 631"/>
          <p:cNvSpPr>
            <a:spLocks/>
          </p:cNvSpPr>
          <p:nvPr userDrawn="1"/>
        </p:nvSpPr>
        <p:spPr bwMode="auto">
          <a:xfrm>
            <a:off x="7916191" y="4843837"/>
            <a:ext cx="113907" cy="139032"/>
          </a:xfrm>
          <a:custGeom>
            <a:avLst/>
            <a:gdLst>
              <a:gd name="T0" fmla="*/ 0 w 121"/>
              <a:gd name="T1" fmla="*/ 0 h 149"/>
              <a:gd name="T2" fmla="*/ 2147483646 w 121"/>
              <a:gd name="T3" fmla="*/ 2147483646 h 149"/>
              <a:gd name="T4" fmla="*/ 2147483646 w 121"/>
              <a:gd name="T5" fmla="*/ 2147483646 h 149"/>
              <a:gd name="T6" fmla="*/ 2147483646 w 121"/>
              <a:gd name="T7" fmla="*/ 2147483646 h 149"/>
              <a:gd name="T8" fmla="*/ 2147483646 w 121"/>
              <a:gd name="T9" fmla="*/ 2147483646 h 149"/>
              <a:gd name="T10" fmla="*/ 2147483646 w 121"/>
              <a:gd name="T11" fmla="*/ 2147483646 h 149"/>
              <a:gd name="T12" fmla="*/ 2147483646 w 121"/>
              <a:gd name="T13" fmla="*/ 2147483646 h 149"/>
              <a:gd name="T14" fmla="*/ 2147483646 w 121"/>
              <a:gd name="T15" fmla="*/ 2147483646 h 149"/>
              <a:gd name="T16" fmla="*/ 2147483646 w 121"/>
              <a:gd name="T17" fmla="*/ 2147483646 h 149"/>
              <a:gd name="T18" fmla="*/ 2147483646 w 121"/>
              <a:gd name="T19" fmla="*/ 2147483646 h 149"/>
              <a:gd name="T20" fmla="*/ 2147483646 w 121"/>
              <a:gd name="T21" fmla="*/ 2147483646 h 149"/>
              <a:gd name="T22" fmla="*/ 2147483646 w 121"/>
              <a:gd name="T23" fmla="*/ 2147483646 h 149"/>
              <a:gd name="T24" fmla="*/ 2147483646 w 121"/>
              <a:gd name="T25" fmla="*/ 2147483646 h 149"/>
              <a:gd name="T26" fmla="*/ 2147483646 w 121"/>
              <a:gd name="T27" fmla="*/ 2147483646 h 149"/>
              <a:gd name="T28" fmla="*/ 2147483646 w 121"/>
              <a:gd name="T29" fmla="*/ 2147483646 h 149"/>
              <a:gd name="T30" fmla="*/ 2147483646 w 121"/>
              <a:gd name="T31" fmla="*/ 2147483646 h 149"/>
              <a:gd name="T32" fmla="*/ 2147483646 w 121"/>
              <a:gd name="T33" fmla="*/ 2147483646 h 149"/>
              <a:gd name="T34" fmla="*/ 2147483646 w 121"/>
              <a:gd name="T35" fmla="*/ 2147483646 h 149"/>
              <a:gd name="T36" fmla="*/ 2147483646 w 121"/>
              <a:gd name="T37" fmla="*/ 2147483646 h 149"/>
              <a:gd name="T38" fmla="*/ 2147483646 w 121"/>
              <a:gd name="T39" fmla="*/ 2147483646 h 149"/>
              <a:gd name="T40" fmla="*/ 2147483646 w 121"/>
              <a:gd name="T41" fmla="*/ 2147483646 h 149"/>
              <a:gd name="T42" fmla="*/ 2147483646 w 121"/>
              <a:gd name="T43" fmla="*/ 2147483646 h 149"/>
              <a:gd name="T44" fmla="*/ 2147483646 w 121"/>
              <a:gd name="T45" fmla="*/ 2147483646 h 149"/>
              <a:gd name="T46" fmla="*/ 0 w 121"/>
              <a:gd name="T47" fmla="*/ 0 h 1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21"/>
              <a:gd name="T73" fmla="*/ 0 h 149"/>
              <a:gd name="T74" fmla="*/ 121 w 121"/>
              <a:gd name="T75" fmla="*/ 149 h 14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21" h="149">
                <a:moveTo>
                  <a:pt x="0" y="0"/>
                </a:moveTo>
                <a:cubicBezTo>
                  <a:pt x="6" y="4"/>
                  <a:pt x="23" y="7"/>
                  <a:pt x="33" y="14"/>
                </a:cubicBezTo>
                <a:cubicBezTo>
                  <a:pt x="43" y="20"/>
                  <a:pt x="46" y="22"/>
                  <a:pt x="52" y="23"/>
                </a:cubicBezTo>
                <a:cubicBezTo>
                  <a:pt x="59" y="23"/>
                  <a:pt x="61" y="20"/>
                  <a:pt x="62" y="19"/>
                </a:cubicBezTo>
                <a:cubicBezTo>
                  <a:pt x="62" y="19"/>
                  <a:pt x="67" y="27"/>
                  <a:pt x="72" y="31"/>
                </a:cubicBezTo>
                <a:cubicBezTo>
                  <a:pt x="77" y="36"/>
                  <a:pt x="84" y="40"/>
                  <a:pt x="87" y="46"/>
                </a:cubicBezTo>
                <a:cubicBezTo>
                  <a:pt x="91" y="52"/>
                  <a:pt x="95" y="53"/>
                  <a:pt x="96" y="62"/>
                </a:cubicBezTo>
                <a:cubicBezTo>
                  <a:pt x="96" y="72"/>
                  <a:pt x="91" y="72"/>
                  <a:pt x="93" y="82"/>
                </a:cubicBezTo>
                <a:cubicBezTo>
                  <a:pt x="95" y="92"/>
                  <a:pt x="90" y="102"/>
                  <a:pt x="96" y="109"/>
                </a:cubicBezTo>
                <a:cubicBezTo>
                  <a:pt x="103" y="116"/>
                  <a:pt x="106" y="117"/>
                  <a:pt x="109" y="120"/>
                </a:cubicBezTo>
                <a:cubicBezTo>
                  <a:pt x="113" y="123"/>
                  <a:pt x="109" y="125"/>
                  <a:pt x="113" y="126"/>
                </a:cubicBezTo>
                <a:cubicBezTo>
                  <a:pt x="117" y="126"/>
                  <a:pt x="121" y="131"/>
                  <a:pt x="120" y="133"/>
                </a:cubicBezTo>
                <a:cubicBezTo>
                  <a:pt x="119" y="135"/>
                  <a:pt x="112" y="132"/>
                  <a:pt x="112" y="137"/>
                </a:cubicBezTo>
                <a:cubicBezTo>
                  <a:pt x="112" y="141"/>
                  <a:pt x="110" y="139"/>
                  <a:pt x="108" y="143"/>
                </a:cubicBezTo>
                <a:cubicBezTo>
                  <a:pt x="106" y="147"/>
                  <a:pt x="103" y="149"/>
                  <a:pt x="99" y="146"/>
                </a:cubicBezTo>
                <a:cubicBezTo>
                  <a:pt x="94" y="142"/>
                  <a:pt x="93" y="138"/>
                  <a:pt x="91" y="135"/>
                </a:cubicBezTo>
                <a:cubicBezTo>
                  <a:pt x="89" y="131"/>
                  <a:pt x="88" y="127"/>
                  <a:pt x="81" y="124"/>
                </a:cubicBezTo>
                <a:cubicBezTo>
                  <a:pt x="73" y="120"/>
                  <a:pt x="58" y="112"/>
                  <a:pt x="52" y="108"/>
                </a:cubicBezTo>
                <a:cubicBezTo>
                  <a:pt x="46" y="105"/>
                  <a:pt x="38" y="96"/>
                  <a:pt x="35" y="92"/>
                </a:cubicBezTo>
                <a:cubicBezTo>
                  <a:pt x="33" y="88"/>
                  <a:pt x="29" y="81"/>
                  <a:pt x="28" y="77"/>
                </a:cubicBezTo>
                <a:cubicBezTo>
                  <a:pt x="28" y="73"/>
                  <a:pt x="25" y="64"/>
                  <a:pt x="22" y="61"/>
                </a:cubicBezTo>
                <a:cubicBezTo>
                  <a:pt x="20" y="58"/>
                  <a:pt x="17" y="54"/>
                  <a:pt x="14" y="49"/>
                </a:cubicBezTo>
                <a:cubicBezTo>
                  <a:pt x="11" y="44"/>
                  <a:pt x="13" y="33"/>
                  <a:pt x="13" y="30"/>
                </a:cubicBezTo>
                <a:cubicBezTo>
                  <a:pt x="14" y="26"/>
                  <a:pt x="11" y="8"/>
                  <a:pt x="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6" name="Freeform 632"/>
          <p:cNvSpPr>
            <a:spLocks/>
          </p:cNvSpPr>
          <p:nvPr userDrawn="1"/>
        </p:nvSpPr>
        <p:spPr bwMode="auto">
          <a:xfrm>
            <a:off x="7165749" y="4078320"/>
            <a:ext cx="504204" cy="745416"/>
          </a:xfrm>
          <a:custGeom>
            <a:avLst/>
            <a:gdLst>
              <a:gd name="T0" fmla="*/ 2147483646 w 539"/>
              <a:gd name="T1" fmla="*/ 2147483646 h 798"/>
              <a:gd name="T2" fmla="*/ 2147483646 w 539"/>
              <a:gd name="T3" fmla="*/ 2147483646 h 798"/>
              <a:gd name="T4" fmla="*/ 2147483646 w 539"/>
              <a:gd name="T5" fmla="*/ 2147483646 h 798"/>
              <a:gd name="T6" fmla="*/ 2147483646 w 539"/>
              <a:gd name="T7" fmla="*/ 2147483646 h 798"/>
              <a:gd name="T8" fmla="*/ 2147483646 w 539"/>
              <a:gd name="T9" fmla="*/ 2147483646 h 798"/>
              <a:gd name="T10" fmla="*/ 2147483646 w 539"/>
              <a:gd name="T11" fmla="*/ 2147483646 h 798"/>
              <a:gd name="T12" fmla="*/ 2147483646 w 539"/>
              <a:gd name="T13" fmla="*/ 0 h 798"/>
              <a:gd name="T14" fmla="*/ 2147483646 w 539"/>
              <a:gd name="T15" fmla="*/ 2147483646 h 798"/>
              <a:gd name="T16" fmla="*/ 2147483646 w 539"/>
              <a:gd name="T17" fmla="*/ 2147483646 h 798"/>
              <a:gd name="T18" fmla="*/ 2147483646 w 539"/>
              <a:gd name="T19" fmla="*/ 2147483646 h 798"/>
              <a:gd name="T20" fmla="*/ 2147483646 w 539"/>
              <a:gd name="T21" fmla="*/ 2147483646 h 798"/>
              <a:gd name="T22" fmla="*/ 2147483646 w 539"/>
              <a:gd name="T23" fmla="*/ 2147483646 h 798"/>
              <a:gd name="T24" fmla="*/ 2147483646 w 539"/>
              <a:gd name="T25" fmla="*/ 2147483646 h 798"/>
              <a:gd name="T26" fmla="*/ 2147483646 w 539"/>
              <a:gd name="T27" fmla="*/ 2147483646 h 798"/>
              <a:gd name="T28" fmla="*/ 2147483646 w 539"/>
              <a:gd name="T29" fmla="*/ 2147483646 h 798"/>
              <a:gd name="T30" fmla="*/ 2147483646 w 539"/>
              <a:gd name="T31" fmla="*/ 2147483646 h 798"/>
              <a:gd name="T32" fmla="*/ 2147483646 w 539"/>
              <a:gd name="T33" fmla="*/ 2147483646 h 798"/>
              <a:gd name="T34" fmla="*/ 2147483646 w 539"/>
              <a:gd name="T35" fmla="*/ 2147483646 h 798"/>
              <a:gd name="T36" fmla="*/ 2147483646 w 539"/>
              <a:gd name="T37" fmla="*/ 2147483646 h 798"/>
              <a:gd name="T38" fmla="*/ 2147483646 w 539"/>
              <a:gd name="T39" fmla="*/ 2147483646 h 798"/>
              <a:gd name="T40" fmla="*/ 2147483646 w 539"/>
              <a:gd name="T41" fmla="*/ 2147483646 h 798"/>
              <a:gd name="T42" fmla="*/ 2147483646 w 539"/>
              <a:gd name="T43" fmla="*/ 2147483646 h 798"/>
              <a:gd name="T44" fmla="*/ 2147483646 w 539"/>
              <a:gd name="T45" fmla="*/ 2147483646 h 798"/>
              <a:gd name="T46" fmla="*/ 2147483646 w 539"/>
              <a:gd name="T47" fmla="*/ 2147483646 h 798"/>
              <a:gd name="T48" fmla="*/ 2147483646 w 539"/>
              <a:gd name="T49" fmla="*/ 2147483646 h 798"/>
              <a:gd name="T50" fmla="*/ 2147483646 w 539"/>
              <a:gd name="T51" fmla="*/ 2147483646 h 798"/>
              <a:gd name="T52" fmla="*/ 2147483646 w 539"/>
              <a:gd name="T53" fmla="*/ 2147483646 h 798"/>
              <a:gd name="T54" fmla="*/ 2147483646 w 539"/>
              <a:gd name="T55" fmla="*/ 2147483646 h 798"/>
              <a:gd name="T56" fmla="*/ 2147483646 w 539"/>
              <a:gd name="T57" fmla="*/ 2147483646 h 798"/>
              <a:gd name="T58" fmla="*/ 2147483646 w 539"/>
              <a:gd name="T59" fmla="*/ 2147483646 h 798"/>
              <a:gd name="T60" fmla="*/ 2147483646 w 539"/>
              <a:gd name="T61" fmla="*/ 2147483646 h 798"/>
              <a:gd name="T62" fmla="*/ 2147483646 w 539"/>
              <a:gd name="T63" fmla="*/ 2147483646 h 798"/>
              <a:gd name="T64" fmla="*/ 2147483646 w 539"/>
              <a:gd name="T65" fmla="*/ 2147483646 h 798"/>
              <a:gd name="T66" fmla="*/ 2147483646 w 539"/>
              <a:gd name="T67" fmla="*/ 2147483646 h 798"/>
              <a:gd name="T68" fmla="*/ 2147483646 w 539"/>
              <a:gd name="T69" fmla="*/ 2147483646 h 798"/>
              <a:gd name="T70" fmla="*/ 2147483646 w 539"/>
              <a:gd name="T71" fmla="*/ 2147483646 h 798"/>
              <a:gd name="T72" fmla="*/ 2147483646 w 539"/>
              <a:gd name="T73" fmla="*/ 2147483646 h 798"/>
              <a:gd name="T74" fmla="*/ 2147483646 w 539"/>
              <a:gd name="T75" fmla="*/ 2147483646 h 798"/>
              <a:gd name="T76" fmla="*/ 2147483646 w 539"/>
              <a:gd name="T77" fmla="*/ 2147483646 h 798"/>
              <a:gd name="T78" fmla="*/ 2147483646 w 539"/>
              <a:gd name="T79" fmla="*/ 2147483646 h 798"/>
              <a:gd name="T80" fmla="*/ 2147483646 w 539"/>
              <a:gd name="T81" fmla="*/ 2147483646 h 798"/>
              <a:gd name="T82" fmla="*/ 2147483646 w 539"/>
              <a:gd name="T83" fmla="*/ 2147483646 h 798"/>
              <a:gd name="T84" fmla="*/ 2147483646 w 539"/>
              <a:gd name="T85" fmla="*/ 2147483646 h 79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39"/>
              <a:gd name="T130" fmla="*/ 0 h 798"/>
              <a:gd name="T131" fmla="*/ 539 w 539"/>
              <a:gd name="T132" fmla="*/ 798 h 798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39" h="798">
                <a:moveTo>
                  <a:pt x="0" y="372"/>
                </a:moveTo>
                <a:cubicBezTo>
                  <a:pt x="0" y="372"/>
                  <a:pt x="8" y="366"/>
                  <a:pt x="13" y="358"/>
                </a:cubicBezTo>
                <a:cubicBezTo>
                  <a:pt x="17" y="350"/>
                  <a:pt x="24" y="349"/>
                  <a:pt x="30" y="340"/>
                </a:cubicBezTo>
                <a:cubicBezTo>
                  <a:pt x="36" y="332"/>
                  <a:pt x="47" y="344"/>
                  <a:pt x="56" y="346"/>
                </a:cubicBezTo>
                <a:cubicBezTo>
                  <a:pt x="66" y="349"/>
                  <a:pt x="77" y="347"/>
                  <a:pt x="80" y="336"/>
                </a:cubicBezTo>
                <a:cubicBezTo>
                  <a:pt x="82" y="324"/>
                  <a:pt x="71" y="320"/>
                  <a:pt x="63" y="319"/>
                </a:cubicBezTo>
                <a:cubicBezTo>
                  <a:pt x="55" y="318"/>
                  <a:pt x="63" y="311"/>
                  <a:pt x="54" y="308"/>
                </a:cubicBezTo>
                <a:cubicBezTo>
                  <a:pt x="44" y="304"/>
                  <a:pt x="33" y="283"/>
                  <a:pt x="29" y="265"/>
                </a:cubicBezTo>
                <a:cubicBezTo>
                  <a:pt x="26" y="248"/>
                  <a:pt x="44" y="258"/>
                  <a:pt x="56" y="258"/>
                </a:cubicBezTo>
                <a:cubicBezTo>
                  <a:pt x="68" y="258"/>
                  <a:pt x="82" y="245"/>
                  <a:pt x="90" y="243"/>
                </a:cubicBezTo>
                <a:cubicBezTo>
                  <a:pt x="98" y="241"/>
                  <a:pt x="121" y="215"/>
                  <a:pt x="124" y="204"/>
                </a:cubicBezTo>
                <a:cubicBezTo>
                  <a:pt x="128" y="194"/>
                  <a:pt x="149" y="177"/>
                  <a:pt x="156" y="164"/>
                </a:cubicBezTo>
                <a:cubicBezTo>
                  <a:pt x="163" y="151"/>
                  <a:pt x="169" y="148"/>
                  <a:pt x="174" y="142"/>
                </a:cubicBezTo>
                <a:cubicBezTo>
                  <a:pt x="178" y="136"/>
                  <a:pt x="185" y="116"/>
                  <a:pt x="181" y="110"/>
                </a:cubicBezTo>
                <a:cubicBezTo>
                  <a:pt x="176" y="105"/>
                  <a:pt x="165" y="100"/>
                  <a:pt x="159" y="96"/>
                </a:cubicBezTo>
                <a:cubicBezTo>
                  <a:pt x="154" y="93"/>
                  <a:pt x="141" y="67"/>
                  <a:pt x="136" y="54"/>
                </a:cubicBezTo>
                <a:cubicBezTo>
                  <a:pt x="131" y="41"/>
                  <a:pt x="149" y="38"/>
                  <a:pt x="163" y="36"/>
                </a:cubicBezTo>
                <a:cubicBezTo>
                  <a:pt x="177" y="35"/>
                  <a:pt x="177" y="38"/>
                  <a:pt x="185" y="40"/>
                </a:cubicBezTo>
                <a:cubicBezTo>
                  <a:pt x="193" y="42"/>
                  <a:pt x="218" y="46"/>
                  <a:pt x="224" y="42"/>
                </a:cubicBezTo>
                <a:cubicBezTo>
                  <a:pt x="230" y="39"/>
                  <a:pt x="225" y="24"/>
                  <a:pt x="229" y="20"/>
                </a:cubicBezTo>
                <a:cubicBezTo>
                  <a:pt x="232" y="16"/>
                  <a:pt x="238" y="0"/>
                  <a:pt x="238" y="0"/>
                </a:cubicBezTo>
                <a:cubicBezTo>
                  <a:pt x="243" y="0"/>
                  <a:pt x="252" y="0"/>
                  <a:pt x="252" y="0"/>
                </a:cubicBezTo>
                <a:cubicBezTo>
                  <a:pt x="252" y="0"/>
                  <a:pt x="269" y="11"/>
                  <a:pt x="274" y="18"/>
                </a:cubicBezTo>
                <a:cubicBezTo>
                  <a:pt x="278" y="26"/>
                  <a:pt x="299" y="36"/>
                  <a:pt x="286" y="41"/>
                </a:cubicBezTo>
                <a:cubicBezTo>
                  <a:pt x="273" y="46"/>
                  <a:pt x="270" y="51"/>
                  <a:pt x="277" y="58"/>
                </a:cubicBezTo>
                <a:cubicBezTo>
                  <a:pt x="284" y="65"/>
                  <a:pt x="297" y="65"/>
                  <a:pt x="292" y="73"/>
                </a:cubicBezTo>
                <a:cubicBezTo>
                  <a:pt x="287" y="81"/>
                  <a:pt x="274" y="76"/>
                  <a:pt x="279" y="82"/>
                </a:cubicBezTo>
                <a:cubicBezTo>
                  <a:pt x="284" y="88"/>
                  <a:pt x="289" y="80"/>
                  <a:pt x="293" y="89"/>
                </a:cubicBezTo>
                <a:cubicBezTo>
                  <a:pt x="298" y="99"/>
                  <a:pt x="298" y="103"/>
                  <a:pt x="292" y="107"/>
                </a:cubicBezTo>
                <a:cubicBezTo>
                  <a:pt x="286" y="110"/>
                  <a:pt x="282" y="113"/>
                  <a:pt x="278" y="112"/>
                </a:cubicBezTo>
                <a:cubicBezTo>
                  <a:pt x="274" y="110"/>
                  <a:pt x="278" y="101"/>
                  <a:pt x="272" y="105"/>
                </a:cubicBezTo>
                <a:cubicBezTo>
                  <a:pt x="266" y="108"/>
                  <a:pt x="260" y="113"/>
                  <a:pt x="269" y="120"/>
                </a:cubicBezTo>
                <a:cubicBezTo>
                  <a:pt x="277" y="127"/>
                  <a:pt x="285" y="113"/>
                  <a:pt x="286" y="127"/>
                </a:cubicBezTo>
                <a:cubicBezTo>
                  <a:pt x="287" y="141"/>
                  <a:pt x="272" y="143"/>
                  <a:pt x="283" y="148"/>
                </a:cubicBezTo>
                <a:cubicBezTo>
                  <a:pt x="293" y="153"/>
                  <a:pt x="301" y="153"/>
                  <a:pt x="312" y="156"/>
                </a:cubicBezTo>
                <a:cubicBezTo>
                  <a:pt x="323" y="160"/>
                  <a:pt x="327" y="149"/>
                  <a:pt x="333" y="167"/>
                </a:cubicBezTo>
                <a:cubicBezTo>
                  <a:pt x="333" y="167"/>
                  <a:pt x="325" y="182"/>
                  <a:pt x="317" y="185"/>
                </a:cubicBezTo>
                <a:cubicBezTo>
                  <a:pt x="309" y="188"/>
                  <a:pt x="306" y="198"/>
                  <a:pt x="314" y="211"/>
                </a:cubicBezTo>
                <a:cubicBezTo>
                  <a:pt x="322" y="224"/>
                  <a:pt x="339" y="231"/>
                  <a:pt x="351" y="238"/>
                </a:cubicBezTo>
                <a:cubicBezTo>
                  <a:pt x="363" y="245"/>
                  <a:pt x="392" y="254"/>
                  <a:pt x="418" y="264"/>
                </a:cubicBezTo>
                <a:cubicBezTo>
                  <a:pt x="443" y="274"/>
                  <a:pt x="451" y="274"/>
                  <a:pt x="461" y="285"/>
                </a:cubicBezTo>
                <a:cubicBezTo>
                  <a:pt x="471" y="296"/>
                  <a:pt x="503" y="292"/>
                  <a:pt x="503" y="292"/>
                </a:cubicBezTo>
                <a:cubicBezTo>
                  <a:pt x="507" y="314"/>
                  <a:pt x="507" y="314"/>
                  <a:pt x="507" y="314"/>
                </a:cubicBezTo>
                <a:cubicBezTo>
                  <a:pt x="510" y="320"/>
                  <a:pt x="515" y="313"/>
                  <a:pt x="518" y="312"/>
                </a:cubicBezTo>
                <a:cubicBezTo>
                  <a:pt x="521" y="311"/>
                  <a:pt x="522" y="314"/>
                  <a:pt x="526" y="317"/>
                </a:cubicBezTo>
                <a:cubicBezTo>
                  <a:pt x="529" y="319"/>
                  <a:pt x="526" y="329"/>
                  <a:pt x="525" y="332"/>
                </a:cubicBezTo>
                <a:cubicBezTo>
                  <a:pt x="524" y="335"/>
                  <a:pt x="522" y="349"/>
                  <a:pt x="522" y="356"/>
                </a:cubicBezTo>
                <a:cubicBezTo>
                  <a:pt x="522" y="362"/>
                  <a:pt x="528" y="367"/>
                  <a:pt x="530" y="369"/>
                </a:cubicBezTo>
                <a:cubicBezTo>
                  <a:pt x="532" y="372"/>
                  <a:pt x="539" y="402"/>
                  <a:pt x="537" y="407"/>
                </a:cubicBezTo>
                <a:cubicBezTo>
                  <a:pt x="522" y="411"/>
                  <a:pt x="522" y="411"/>
                  <a:pt x="522" y="411"/>
                </a:cubicBezTo>
                <a:cubicBezTo>
                  <a:pt x="519" y="423"/>
                  <a:pt x="505" y="431"/>
                  <a:pt x="505" y="426"/>
                </a:cubicBezTo>
                <a:cubicBezTo>
                  <a:pt x="507" y="416"/>
                  <a:pt x="502" y="411"/>
                  <a:pt x="502" y="411"/>
                </a:cubicBezTo>
                <a:cubicBezTo>
                  <a:pt x="502" y="411"/>
                  <a:pt x="486" y="417"/>
                  <a:pt x="487" y="422"/>
                </a:cubicBezTo>
                <a:cubicBezTo>
                  <a:pt x="489" y="426"/>
                  <a:pt x="472" y="428"/>
                  <a:pt x="476" y="432"/>
                </a:cubicBezTo>
                <a:cubicBezTo>
                  <a:pt x="481" y="437"/>
                  <a:pt x="470" y="451"/>
                  <a:pt x="470" y="451"/>
                </a:cubicBezTo>
                <a:cubicBezTo>
                  <a:pt x="470" y="451"/>
                  <a:pt x="472" y="461"/>
                  <a:pt x="472" y="466"/>
                </a:cubicBezTo>
                <a:cubicBezTo>
                  <a:pt x="472" y="471"/>
                  <a:pt x="469" y="477"/>
                  <a:pt x="464" y="471"/>
                </a:cubicBezTo>
                <a:cubicBezTo>
                  <a:pt x="460" y="464"/>
                  <a:pt x="449" y="471"/>
                  <a:pt x="449" y="471"/>
                </a:cubicBezTo>
                <a:cubicBezTo>
                  <a:pt x="439" y="471"/>
                  <a:pt x="439" y="471"/>
                  <a:pt x="439" y="471"/>
                </a:cubicBezTo>
                <a:cubicBezTo>
                  <a:pt x="442" y="482"/>
                  <a:pt x="442" y="482"/>
                  <a:pt x="442" y="482"/>
                </a:cubicBezTo>
                <a:cubicBezTo>
                  <a:pt x="427" y="485"/>
                  <a:pt x="427" y="485"/>
                  <a:pt x="427" y="485"/>
                </a:cubicBezTo>
                <a:cubicBezTo>
                  <a:pt x="421" y="476"/>
                  <a:pt x="421" y="476"/>
                  <a:pt x="421" y="476"/>
                </a:cubicBezTo>
                <a:cubicBezTo>
                  <a:pt x="418" y="490"/>
                  <a:pt x="421" y="502"/>
                  <a:pt x="421" y="502"/>
                </a:cubicBezTo>
                <a:cubicBezTo>
                  <a:pt x="405" y="511"/>
                  <a:pt x="405" y="511"/>
                  <a:pt x="405" y="511"/>
                </a:cubicBezTo>
                <a:cubicBezTo>
                  <a:pt x="405" y="511"/>
                  <a:pt x="398" y="529"/>
                  <a:pt x="390" y="525"/>
                </a:cubicBezTo>
                <a:cubicBezTo>
                  <a:pt x="383" y="520"/>
                  <a:pt x="375" y="513"/>
                  <a:pt x="375" y="525"/>
                </a:cubicBezTo>
                <a:cubicBezTo>
                  <a:pt x="375" y="537"/>
                  <a:pt x="374" y="546"/>
                  <a:pt x="369" y="549"/>
                </a:cubicBezTo>
                <a:cubicBezTo>
                  <a:pt x="365" y="552"/>
                  <a:pt x="353" y="547"/>
                  <a:pt x="353" y="547"/>
                </a:cubicBezTo>
                <a:cubicBezTo>
                  <a:pt x="353" y="547"/>
                  <a:pt x="346" y="555"/>
                  <a:pt x="351" y="561"/>
                </a:cubicBezTo>
                <a:cubicBezTo>
                  <a:pt x="356" y="567"/>
                  <a:pt x="357" y="567"/>
                  <a:pt x="353" y="572"/>
                </a:cubicBezTo>
                <a:cubicBezTo>
                  <a:pt x="348" y="576"/>
                  <a:pt x="340" y="573"/>
                  <a:pt x="340" y="573"/>
                </a:cubicBezTo>
                <a:cubicBezTo>
                  <a:pt x="340" y="573"/>
                  <a:pt x="333" y="573"/>
                  <a:pt x="330" y="578"/>
                </a:cubicBezTo>
                <a:cubicBezTo>
                  <a:pt x="327" y="582"/>
                  <a:pt x="324" y="573"/>
                  <a:pt x="319" y="573"/>
                </a:cubicBezTo>
                <a:cubicBezTo>
                  <a:pt x="315" y="573"/>
                  <a:pt x="310" y="565"/>
                  <a:pt x="309" y="575"/>
                </a:cubicBezTo>
                <a:cubicBezTo>
                  <a:pt x="307" y="584"/>
                  <a:pt x="312" y="596"/>
                  <a:pt x="312" y="596"/>
                </a:cubicBezTo>
                <a:cubicBezTo>
                  <a:pt x="312" y="596"/>
                  <a:pt x="303" y="597"/>
                  <a:pt x="303" y="603"/>
                </a:cubicBezTo>
                <a:cubicBezTo>
                  <a:pt x="303" y="609"/>
                  <a:pt x="310" y="618"/>
                  <a:pt x="310" y="618"/>
                </a:cubicBezTo>
                <a:cubicBezTo>
                  <a:pt x="310" y="618"/>
                  <a:pt x="313" y="620"/>
                  <a:pt x="312" y="629"/>
                </a:cubicBezTo>
                <a:cubicBezTo>
                  <a:pt x="310" y="638"/>
                  <a:pt x="307" y="641"/>
                  <a:pt x="310" y="647"/>
                </a:cubicBezTo>
                <a:cubicBezTo>
                  <a:pt x="313" y="653"/>
                  <a:pt x="324" y="644"/>
                  <a:pt x="319" y="655"/>
                </a:cubicBezTo>
                <a:cubicBezTo>
                  <a:pt x="315" y="665"/>
                  <a:pt x="308" y="666"/>
                  <a:pt x="304" y="671"/>
                </a:cubicBezTo>
                <a:cubicBezTo>
                  <a:pt x="295" y="683"/>
                  <a:pt x="312" y="673"/>
                  <a:pt x="295" y="683"/>
                </a:cubicBezTo>
                <a:cubicBezTo>
                  <a:pt x="278" y="694"/>
                  <a:pt x="278" y="694"/>
                  <a:pt x="278" y="694"/>
                </a:cubicBezTo>
                <a:cubicBezTo>
                  <a:pt x="278" y="694"/>
                  <a:pt x="285" y="692"/>
                  <a:pt x="292" y="697"/>
                </a:cubicBezTo>
                <a:cubicBezTo>
                  <a:pt x="300" y="702"/>
                  <a:pt x="300" y="692"/>
                  <a:pt x="300" y="702"/>
                </a:cubicBezTo>
                <a:cubicBezTo>
                  <a:pt x="300" y="711"/>
                  <a:pt x="300" y="702"/>
                  <a:pt x="300" y="702"/>
                </a:cubicBezTo>
                <a:cubicBezTo>
                  <a:pt x="300" y="702"/>
                  <a:pt x="307" y="723"/>
                  <a:pt x="301" y="723"/>
                </a:cubicBezTo>
                <a:cubicBezTo>
                  <a:pt x="295" y="723"/>
                  <a:pt x="301" y="720"/>
                  <a:pt x="295" y="723"/>
                </a:cubicBezTo>
                <a:cubicBezTo>
                  <a:pt x="289" y="726"/>
                  <a:pt x="292" y="729"/>
                  <a:pt x="292" y="729"/>
                </a:cubicBezTo>
                <a:cubicBezTo>
                  <a:pt x="280" y="739"/>
                  <a:pt x="280" y="739"/>
                  <a:pt x="280" y="739"/>
                </a:cubicBezTo>
                <a:cubicBezTo>
                  <a:pt x="278" y="748"/>
                  <a:pt x="278" y="748"/>
                  <a:pt x="278" y="748"/>
                </a:cubicBezTo>
                <a:cubicBezTo>
                  <a:pt x="278" y="748"/>
                  <a:pt x="268" y="747"/>
                  <a:pt x="271" y="754"/>
                </a:cubicBezTo>
                <a:cubicBezTo>
                  <a:pt x="274" y="762"/>
                  <a:pt x="263" y="770"/>
                  <a:pt x="257" y="767"/>
                </a:cubicBezTo>
                <a:cubicBezTo>
                  <a:pt x="251" y="764"/>
                  <a:pt x="244" y="757"/>
                  <a:pt x="247" y="768"/>
                </a:cubicBezTo>
                <a:cubicBezTo>
                  <a:pt x="250" y="779"/>
                  <a:pt x="262" y="785"/>
                  <a:pt x="254" y="789"/>
                </a:cubicBezTo>
                <a:cubicBezTo>
                  <a:pt x="247" y="794"/>
                  <a:pt x="241" y="786"/>
                  <a:pt x="238" y="792"/>
                </a:cubicBezTo>
                <a:cubicBezTo>
                  <a:pt x="235" y="798"/>
                  <a:pt x="224" y="795"/>
                  <a:pt x="224" y="795"/>
                </a:cubicBezTo>
                <a:cubicBezTo>
                  <a:pt x="220" y="777"/>
                  <a:pt x="220" y="777"/>
                  <a:pt x="220" y="777"/>
                </a:cubicBezTo>
                <a:cubicBezTo>
                  <a:pt x="220" y="777"/>
                  <a:pt x="221" y="762"/>
                  <a:pt x="213" y="767"/>
                </a:cubicBezTo>
                <a:cubicBezTo>
                  <a:pt x="213" y="767"/>
                  <a:pt x="218" y="745"/>
                  <a:pt x="210" y="745"/>
                </a:cubicBezTo>
                <a:cubicBezTo>
                  <a:pt x="203" y="745"/>
                  <a:pt x="195" y="744"/>
                  <a:pt x="198" y="738"/>
                </a:cubicBezTo>
                <a:cubicBezTo>
                  <a:pt x="201" y="732"/>
                  <a:pt x="201" y="721"/>
                  <a:pt x="201" y="721"/>
                </a:cubicBezTo>
                <a:cubicBezTo>
                  <a:pt x="201" y="721"/>
                  <a:pt x="194" y="715"/>
                  <a:pt x="192" y="711"/>
                </a:cubicBezTo>
                <a:cubicBezTo>
                  <a:pt x="191" y="706"/>
                  <a:pt x="192" y="692"/>
                  <a:pt x="192" y="692"/>
                </a:cubicBezTo>
                <a:cubicBezTo>
                  <a:pt x="185" y="674"/>
                  <a:pt x="185" y="674"/>
                  <a:pt x="185" y="674"/>
                </a:cubicBezTo>
                <a:cubicBezTo>
                  <a:pt x="185" y="674"/>
                  <a:pt x="176" y="676"/>
                  <a:pt x="168" y="664"/>
                </a:cubicBezTo>
                <a:cubicBezTo>
                  <a:pt x="161" y="652"/>
                  <a:pt x="161" y="650"/>
                  <a:pt x="165" y="649"/>
                </a:cubicBezTo>
                <a:cubicBezTo>
                  <a:pt x="168" y="635"/>
                  <a:pt x="168" y="635"/>
                  <a:pt x="168" y="635"/>
                </a:cubicBezTo>
                <a:cubicBezTo>
                  <a:pt x="159" y="624"/>
                  <a:pt x="159" y="624"/>
                  <a:pt x="159" y="624"/>
                </a:cubicBezTo>
                <a:cubicBezTo>
                  <a:pt x="159" y="624"/>
                  <a:pt x="148" y="618"/>
                  <a:pt x="153" y="615"/>
                </a:cubicBezTo>
                <a:cubicBezTo>
                  <a:pt x="158" y="612"/>
                  <a:pt x="155" y="606"/>
                  <a:pt x="148" y="602"/>
                </a:cubicBezTo>
                <a:cubicBezTo>
                  <a:pt x="142" y="597"/>
                  <a:pt x="135" y="575"/>
                  <a:pt x="135" y="575"/>
                </a:cubicBezTo>
                <a:cubicBezTo>
                  <a:pt x="135" y="575"/>
                  <a:pt x="136" y="553"/>
                  <a:pt x="129" y="538"/>
                </a:cubicBezTo>
                <a:cubicBezTo>
                  <a:pt x="121" y="523"/>
                  <a:pt x="114" y="519"/>
                  <a:pt x="114" y="507"/>
                </a:cubicBezTo>
                <a:cubicBezTo>
                  <a:pt x="114" y="494"/>
                  <a:pt x="114" y="483"/>
                  <a:pt x="117" y="471"/>
                </a:cubicBezTo>
                <a:cubicBezTo>
                  <a:pt x="120" y="458"/>
                  <a:pt x="117" y="476"/>
                  <a:pt x="120" y="445"/>
                </a:cubicBezTo>
                <a:cubicBezTo>
                  <a:pt x="123" y="413"/>
                  <a:pt x="132" y="404"/>
                  <a:pt x="117" y="401"/>
                </a:cubicBezTo>
                <a:cubicBezTo>
                  <a:pt x="102" y="398"/>
                  <a:pt x="94" y="392"/>
                  <a:pt x="97" y="402"/>
                </a:cubicBezTo>
                <a:cubicBezTo>
                  <a:pt x="100" y="413"/>
                  <a:pt x="99" y="422"/>
                  <a:pt x="99" y="422"/>
                </a:cubicBezTo>
                <a:cubicBezTo>
                  <a:pt x="99" y="422"/>
                  <a:pt x="100" y="437"/>
                  <a:pt x="93" y="442"/>
                </a:cubicBezTo>
                <a:cubicBezTo>
                  <a:pt x="85" y="446"/>
                  <a:pt x="79" y="458"/>
                  <a:pt x="70" y="451"/>
                </a:cubicBezTo>
                <a:cubicBezTo>
                  <a:pt x="61" y="443"/>
                  <a:pt x="64" y="429"/>
                  <a:pt x="56" y="437"/>
                </a:cubicBezTo>
                <a:cubicBezTo>
                  <a:pt x="49" y="445"/>
                  <a:pt x="41" y="449"/>
                  <a:pt x="37" y="437"/>
                </a:cubicBezTo>
                <a:cubicBezTo>
                  <a:pt x="32" y="425"/>
                  <a:pt x="9" y="419"/>
                  <a:pt x="20" y="410"/>
                </a:cubicBezTo>
                <a:cubicBezTo>
                  <a:pt x="31" y="401"/>
                  <a:pt x="35" y="402"/>
                  <a:pt x="46" y="396"/>
                </a:cubicBezTo>
                <a:cubicBezTo>
                  <a:pt x="56" y="390"/>
                  <a:pt x="61" y="378"/>
                  <a:pt x="61" y="378"/>
                </a:cubicBezTo>
                <a:cubicBezTo>
                  <a:pt x="61" y="378"/>
                  <a:pt x="59" y="381"/>
                  <a:pt x="49" y="381"/>
                </a:cubicBezTo>
                <a:cubicBezTo>
                  <a:pt x="38" y="381"/>
                  <a:pt x="29" y="381"/>
                  <a:pt x="25" y="387"/>
                </a:cubicBezTo>
                <a:cubicBezTo>
                  <a:pt x="20" y="393"/>
                  <a:pt x="5" y="395"/>
                  <a:pt x="5" y="387"/>
                </a:cubicBezTo>
                <a:cubicBezTo>
                  <a:pt x="5" y="380"/>
                  <a:pt x="0" y="372"/>
                  <a:pt x="0" y="37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7" name="Freeform 633"/>
          <p:cNvSpPr>
            <a:spLocks/>
          </p:cNvSpPr>
          <p:nvPr userDrawn="1"/>
        </p:nvSpPr>
        <p:spPr bwMode="auto">
          <a:xfrm>
            <a:off x="8145679" y="4833787"/>
            <a:ext cx="244564" cy="164159"/>
          </a:xfrm>
          <a:custGeom>
            <a:avLst/>
            <a:gdLst>
              <a:gd name="T0" fmla="*/ 2147483646 w 262"/>
              <a:gd name="T1" fmla="*/ 2147483646 h 176"/>
              <a:gd name="T2" fmla="*/ 2147483646 w 262"/>
              <a:gd name="T3" fmla="*/ 2147483646 h 176"/>
              <a:gd name="T4" fmla="*/ 2147483646 w 262"/>
              <a:gd name="T5" fmla="*/ 2147483646 h 176"/>
              <a:gd name="T6" fmla="*/ 2147483646 w 262"/>
              <a:gd name="T7" fmla="*/ 2147483646 h 176"/>
              <a:gd name="T8" fmla="*/ 2147483646 w 262"/>
              <a:gd name="T9" fmla="*/ 2147483646 h 176"/>
              <a:gd name="T10" fmla="*/ 2147483646 w 262"/>
              <a:gd name="T11" fmla="*/ 2147483646 h 176"/>
              <a:gd name="T12" fmla="*/ 2147483646 w 262"/>
              <a:gd name="T13" fmla="*/ 2147483646 h 176"/>
              <a:gd name="T14" fmla="*/ 2147483646 w 262"/>
              <a:gd name="T15" fmla="*/ 2147483646 h 176"/>
              <a:gd name="T16" fmla="*/ 2147483646 w 262"/>
              <a:gd name="T17" fmla="*/ 2147483646 h 176"/>
              <a:gd name="T18" fmla="*/ 2147483646 w 262"/>
              <a:gd name="T19" fmla="*/ 2147483646 h 176"/>
              <a:gd name="T20" fmla="*/ 0 w 262"/>
              <a:gd name="T21" fmla="*/ 2147483646 h 176"/>
              <a:gd name="T22" fmla="*/ 2147483646 w 262"/>
              <a:gd name="T23" fmla="*/ 2147483646 h 176"/>
              <a:gd name="T24" fmla="*/ 2147483646 w 262"/>
              <a:gd name="T25" fmla="*/ 2147483646 h 176"/>
              <a:gd name="T26" fmla="*/ 2147483646 w 262"/>
              <a:gd name="T27" fmla="*/ 2147483646 h 176"/>
              <a:gd name="T28" fmla="*/ 2147483646 w 262"/>
              <a:gd name="T29" fmla="*/ 2147483646 h 176"/>
              <a:gd name="T30" fmla="*/ 2147483646 w 262"/>
              <a:gd name="T31" fmla="*/ 2147483646 h 176"/>
              <a:gd name="T32" fmla="*/ 2147483646 w 262"/>
              <a:gd name="T33" fmla="*/ 2147483646 h 176"/>
              <a:gd name="T34" fmla="*/ 2147483646 w 262"/>
              <a:gd name="T35" fmla="*/ 2147483646 h 176"/>
              <a:gd name="T36" fmla="*/ 2147483646 w 262"/>
              <a:gd name="T37" fmla="*/ 2147483646 h 176"/>
              <a:gd name="T38" fmla="*/ 2147483646 w 262"/>
              <a:gd name="T39" fmla="*/ 2147483646 h 176"/>
              <a:gd name="T40" fmla="*/ 2147483646 w 262"/>
              <a:gd name="T41" fmla="*/ 2147483646 h 176"/>
              <a:gd name="T42" fmla="*/ 2147483646 w 262"/>
              <a:gd name="T43" fmla="*/ 2147483646 h 176"/>
              <a:gd name="T44" fmla="*/ 2147483646 w 262"/>
              <a:gd name="T45" fmla="*/ 2147483646 h 176"/>
              <a:gd name="T46" fmla="*/ 2147483646 w 262"/>
              <a:gd name="T47" fmla="*/ 2147483646 h 176"/>
              <a:gd name="T48" fmla="*/ 2147483646 w 262"/>
              <a:gd name="T49" fmla="*/ 2147483646 h 176"/>
              <a:gd name="T50" fmla="*/ 2147483646 w 262"/>
              <a:gd name="T51" fmla="*/ 2147483646 h 176"/>
              <a:gd name="T52" fmla="*/ 2147483646 w 262"/>
              <a:gd name="T53" fmla="*/ 2147483646 h 176"/>
              <a:gd name="T54" fmla="*/ 2147483646 w 262"/>
              <a:gd name="T55" fmla="*/ 2147483646 h 176"/>
              <a:gd name="T56" fmla="*/ 2147483646 w 262"/>
              <a:gd name="T57" fmla="*/ 2147483646 h 176"/>
              <a:gd name="T58" fmla="*/ 2147483646 w 262"/>
              <a:gd name="T59" fmla="*/ 2147483646 h 176"/>
              <a:gd name="T60" fmla="*/ 2147483646 w 262"/>
              <a:gd name="T61" fmla="*/ 2147483646 h 176"/>
              <a:gd name="T62" fmla="*/ 2147483646 w 262"/>
              <a:gd name="T63" fmla="*/ 2147483646 h 176"/>
              <a:gd name="T64" fmla="*/ 2147483646 w 262"/>
              <a:gd name="T65" fmla="*/ 2147483646 h 176"/>
              <a:gd name="T66" fmla="*/ 2147483646 w 262"/>
              <a:gd name="T67" fmla="*/ 2147483646 h 17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62"/>
              <a:gd name="T103" fmla="*/ 0 h 176"/>
              <a:gd name="T104" fmla="*/ 262 w 262"/>
              <a:gd name="T105" fmla="*/ 176 h 17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62" h="176">
                <a:moveTo>
                  <a:pt x="212" y="10"/>
                </a:moveTo>
                <a:cubicBezTo>
                  <a:pt x="205" y="5"/>
                  <a:pt x="194" y="0"/>
                  <a:pt x="189" y="8"/>
                </a:cubicBezTo>
                <a:cubicBezTo>
                  <a:pt x="183" y="17"/>
                  <a:pt x="173" y="24"/>
                  <a:pt x="168" y="33"/>
                </a:cubicBezTo>
                <a:cubicBezTo>
                  <a:pt x="163" y="42"/>
                  <a:pt x="146" y="45"/>
                  <a:pt x="146" y="57"/>
                </a:cubicBezTo>
                <a:cubicBezTo>
                  <a:pt x="145" y="68"/>
                  <a:pt x="144" y="68"/>
                  <a:pt x="130" y="75"/>
                </a:cubicBezTo>
                <a:cubicBezTo>
                  <a:pt x="115" y="82"/>
                  <a:pt x="103" y="106"/>
                  <a:pt x="96" y="111"/>
                </a:cubicBezTo>
                <a:cubicBezTo>
                  <a:pt x="90" y="117"/>
                  <a:pt x="63" y="144"/>
                  <a:pt x="63" y="148"/>
                </a:cubicBezTo>
                <a:cubicBezTo>
                  <a:pt x="62" y="152"/>
                  <a:pt x="56" y="158"/>
                  <a:pt x="50" y="156"/>
                </a:cubicBezTo>
                <a:cubicBezTo>
                  <a:pt x="43" y="155"/>
                  <a:pt x="45" y="151"/>
                  <a:pt x="34" y="146"/>
                </a:cubicBezTo>
                <a:cubicBezTo>
                  <a:pt x="23" y="142"/>
                  <a:pt x="14" y="133"/>
                  <a:pt x="10" y="135"/>
                </a:cubicBezTo>
                <a:cubicBezTo>
                  <a:pt x="5" y="137"/>
                  <a:pt x="0" y="137"/>
                  <a:pt x="0" y="137"/>
                </a:cubicBezTo>
                <a:cubicBezTo>
                  <a:pt x="0" y="137"/>
                  <a:pt x="14" y="149"/>
                  <a:pt x="20" y="151"/>
                </a:cubicBezTo>
                <a:cubicBezTo>
                  <a:pt x="27" y="153"/>
                  <a:pt x="26" y="160"/>
                  <a:pt x="33" y="165"/>
                </a:cubicBezTo>
                <a:cubicBezTo>
                  <a:pt x="41" y="170"/>
                  <a:pt x="46" y="176"/>
                  <a:pt x="57" y="174"/>
                </a:cubicBezTo>
                <a:cubicBezTo>
                  <a:pt x="69" y="173"/>
                  <a:pt x="62" y="163"/>
                  <a:pt x="76" y="163"/>
                </a:cubicBezTo>
                <a:cubicBezTo>
                  <a:pt x="91" y="162"/>
                  <a:pt x="83" y="152"/>
                  <a:pt x="96" y="153"/>
                </a:cubicBezTo>
                <a:cubicBezTo>
                  <a:pt x="110" y="155"/>
                  <a:pt x="106" y="153"/>
                  <a:pt x="123" y="151"/>
                </a:cubicBezTo>
                <a:cubicBezTo>
                  <a:pt x="140" y="150"/>
                  <a:pt x="146" y="140"/>
                  <a:pt x="147" y="130"/>
                </a:cubicBezTo>
                <a:cubicBezTo>
                  <a:pt x="148" y="121"/>
                  <a:pt x="140" y="117"/>
                  <a:pt x="149" y="107"/>
                </a:cubicBezTo>
                <a:cubicBezTo>
                  <a:pt x="157" y="98"/>
                  <a:pt x="176" y="69"/>
                  <a:pt x="183" y="72"/>
                </a:cubicBezTo>
                <a:cubicBezTo>
                  <a:pt x="191" y="75"/>
                  <a:pt x="193" y="83"/>
                  <a:pt x="203" y="83"/>
                </a:cubicBezTo>
                <a:cubicBezTo>
                  <a:pt x="214" y="84"/>
                  <a:pt x="209" y="73"/>
                  <a:pt x="219" y="70"/>
                </a:cubicBezTo>
                <a:cubicBezTo>
                  <a:pt x="229" y="67"/>
                  <a:pt x="224" y="66"/>
                  <a:pt x="235" y="68"/>
                </a:cubicBezTo>
                <a:cubicBezTo>
                  <a:pt x="246" y="70"/>
                  <a:pt x="240" y="59"/>
                  <a:pt x="249" y="57"/>
                </a:cubicBezTo>
                <a:cubicBezTo>
                  <a:pt x="259" y="56"/>
                  <a:pt x="247" y="53"/>
                  <a:pt x="240" y="54"/>
                </a:cubicBezTo>
                <a:cubicBezTo>
                  <a:pt x="233" y="54"/>
                  <a:pt x="232" y="47"/>
                  <a:pt x="238" y="46"/>
                </a:cubicBezTo>
                <a:cubicBezTo>
                  <a:pt x="244" y="45"/>
                  <a:pt x="242" y="37"/>
                  <a:pt x="249" y="44"/>
                </a:cubicBezTo>
                <a:cubicBezTo>
                  <a:pt x="256" y="50"/>
                  <a:pt x="252" y="50"/>
                  <a:pt x="257" y="47"/>
                </a:cubicBezTo>
                <a:cubicBezTo>
                  <a:pt x="262" y="44"/>
                  <a:pt x="259" y="34"/>
                  <a:pt x="256" y="33"/>
                </a:cubicBezTo>
                <a:cubicBezTo>
                  <a:pt x="252" y="32"/>
                  <a:pt x="249" y="27"/>
                  <a:pt x="246" y="30"/>
                </a:cubicBezTo>
                <a:cubicBezTo>
                  <a:pt x="242" y="34"/>
                  <a:pt x="236" y="33"/>
                  <a:pt x="232" y="35"/>
                </a:cubicBezTo>
                <a:cubicBezTo>
                  <a:pt x="229" y="37"/>
                  <a:pt x="220" y="33"/>
                  <a:pt x="218" y="31"/>
                </a:cubicBezTo>
                <a:cubicBezTo>
                  <a:pt x="216" y="30"/>
                  <a:pt x="213" y="25"/>
                  <a:pt x="212" y="22"/>
                </a:cubicBezTo>
                <a:cubicBezTo>
                  <a:pt x="210" y="19"/>
                  <a:pt x="212" y="10"/>
                  <a:pt x="212" y="1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8" name="Freeform 634"/>
          <p:cNvSpPr>
            <a:spLocks/>
          </p:cNvSpPr>
          <p:nvPr userDrawn="1"/>
        </p:nvSpPr>
        <p:spPr bwMode="auto">
          <a:xfrm>
            <a:off x="8137303" y="4897442"/>
            <a:ext cx="252940" cy="219436"/>
          </a:xfrm>
          <a:custGeom>
            <a:avLst/>
            <a:gdLst>
              <a:gd name="T0" fmla="*/ 2147483646 w 270"/>
              <a:gd name="T1" fmla="*/ 2147483646 h 234"/>
              <a:gd name="T2" fmla="*/ 2147483646 w 270"/>
              <a:gd name="T3" fmla="*/ 2147483646 h 234"/>
              <a:gd name="T4" fmla="*/ 2147483646 w 270"/>
              <a:gd name="T5" fmla="*/ 2147483646 h 234"/>
              <a:gd name="T6" fmla="*/ 2147483646 w 270"/>
              <a:gd name="T7" fmla="*/ 2147483646 h 234"/>
              <a:gd name="T8" fmla="*/ 2147483646 w 270"/>
              <a:gd name="T9" fmla="*/ 2147483646 h 234"/>
              <a:gd name="T10" fmla="*/ 2147483646 w 270"/>
              <a:gd name="T11" fmla="*/ 2147483646 h 234"/>
              <a:gd name="T12" fmla="*/ 2147483646 w 270"/>
              <a:gd name="T13" fmla="*/ 2147483646 h 234"/>
              <a:gd name="T14" fmla="*/ 2147483646 w 270"/>
              <a:gd name="T15" fmla="*/ 2147483646 h 234"/>
              <a:gd name="T16" fmla="*/ 2147483646 w 270"/>
              <a:gd name="T17" fmla="*/ 2147483646 h 234"/>
              <a:gd name="T18" fmla="*/ 2147483646 w 270"/>
              <a:gd name="T19" fmla="*/ 2147483646 h 234"/>
              <a:gd name="T20" fmla="*/ 2147483646 w 270"/>
              <a:gd name="T21" fmla="*/ 2147483646 h 234"/>
              <a:gd name="T22" fmla="*/ 2147483646 w 270"/>
              <a:gd name="T23" fmla="*/ 2147483646 h 234"/>
              <a:gd name="T24" fmla="*/ 2147483646 w 270"/>
              <a:gd name="T25" fmla="*/ 2147483646 h 234"/>
              <a:gd name="T26" fmla="*/ 2147483646 w 270"/>
              <a:gd name="T27" fmla="*/ 2147483646 h 234"/>
              <a:gd name="T28" fmla="*/ 2147483646 w 270"/>
              <a:gd name="T29" fmla="*/ 2147483646 h 234"/>
              <a:gd name="T30" fmla="*/ 2147483646 w 270"/>
              <a:gd name="T31" fmla="*/ 2147483646 h 234"/>
              <a:gd name="T32" fmla="*/ 2147483646 w 270"/>
              <a:gd name="T33" fmla="*/ 2147483646 h 234"/>
              <a:gd name="T34" fmla="*/ 2147483646 w 270"/>
              <a:gd name="T35" fmla="*/ 2147483646 h 234"/>
              <a:gd name="T36" fmla="*/ 2147483646 w 270"/>
              <a:gd name="T37" fmla="*/ 2147483646 h 234"/>
              <a:gd name="T38" fmla="*/ 2147483646 w 270"/>
              <a:gd name="T39" fmla="*/ 2147483646 h 234"/>
              <a:gd name="T40" fmla="*/ 2147483646 w 270"/>
              <a:gd name="T41" fmla="*/ 2147483646 h 234"/>
              <a:gd name="T42" fmla="*/ 2147483646 w 270"/>
              <a:gd name="T43" fmla="*/ 2147483646 h 234"/>
              <a:gd name="T44" fmla="*/ 2147483646 w 270"/>
              <a:gd name="T45" fmla="*/ 2147483646 h 234"/>
              <a:gd name="T46" fmla="*/ 2147483646 w 270"/>
              <a:gd name="T47" fmla="*/ 2147483646 h 234"/>
              <a:gd name="T48" fmla="*/ 2147483646 w 270"/>
              <a:gd name="T49" fmla="*/ 2147483646 h 234"/>
              <a:gd name="T50" fmla="*/ 2147483646 w 270"/>
              <a:gd name="T51" fmla="*/ 2147483646 h 234"/>
              <a:gd name="T52" fmla="*/ 2147483646 w 270"/>
              <a:gd name="T53" fmla="*/ 2147483646 h 234"/>
              <a:gd name="T54" fmla="*/ 2147483646 w 270"/>
              <a:gd name="T55" fmla="*/ 2147483646 h 234"/>
              <a:gd name="T56" fmla="*/ 2147483646 w 270"/>
              <a:gd name="T57" fmla="*/ 2147483646 h 234"/>
              <a:gd name="T58" fmla="*/ 2147483646 w 270"/>
              <a:gd name="T59" fmla="*/ 2147483646 h 234"/>
              <a:gd name="T60" fmla="*/ 2147483646 w 270"/>
              <a:gd name="T61" fmla="*/ 2147483646 h 234"/>
              <a:gd name="T62" fmla="*/ 2147483646 w 270"/>
              <a:gd name="T63" fmla="*/ 2147483646 h 234"/>
              <a:gd name="T64" fmla="*/ 2147483646 w 270"/>
              <a:gd name="T65" fmla="*/ 2147483646 h 234"/>
              <a:gd name="T66" fmla="*/ 2147483646 w 270"/>
              <a:gd name="T67" fmla="*/ 2147483646 h 234"/>
              <a:gd name="T68" fmla="*/ 2147483646 w 270"/>
              <a:gd name="T69" fmla="*/ 2147483646 h 234"/>
              <a:gd name="T70" fmla="*/ 2147483646 w 270"/>
              <a:gd name="T71" fmla="*/ 2147483646 h 234"/>
              <a:gd name="T72" fmla="*/ 2147483646 w 270"/>
              <a:gd name="T73" fmla="*/ 2147483646 h 234"/>
              <a:gd name="T74" fmla="*/ 2147483646 w 270"/>
              <a:gd name="T75" fmla="*/ 2147483646 h 234"/>
              <a:gd name="T76" fmla="*/ 2147483646 w 270"/>
              <a:gd name="T77" fmla="*/ 2147483646 h 234"/>
              <a:gd name="T78" fmla="*/ 2147483646 w 270"/>
              <a:gd name="T79" fmla="*/ 2147483646 h 234"/>
              <a:gd name="T80" fmla="*/ 2147483646 w 270"/>
              <a:gd name="T81" fmla="*/ 2147483646 h 234"/>
              <a:gd name="T82" fmla="*/ 2147483646 w 270"/>
              <a:gd name="T83" fmla="*/ 2147483646 h 234"/>
              <a:gd name="T84" fmla="*/ 2147483646 w 270"/>
              <a:gd name="T85" fmla="*/ 2147483646 h 234"/>
              <a:gd name="T86" fmla="*/ 2147483646 w 270"/>
              <a:gd name="T87" fmla="*/ 2147483646 h 234"/>
              <a:gd name="T88" fmla="*/ 2147483646 w 270"/>
              <a:gd name="T89" fmla="*/ 2147483646 h 234"/>
              <a:gd name="T90" fmla="*/ 2147483646 w 270"/>
              <a:gd name="T91" fmla="*/ 2147483646 h 234"/>
              <a:gd name="T92" fmla="*/ 2147483646 w 270"/>
              <a:gd name="T93" fmla="*/ 2147483646 h 234"/>
              <a:gd name="T94" fmla="*/ 2147483646 w 270"/>
              <a:gd name="T95" fmla="*/ 2147483646 h 234"/>
              <a:gd name="T96" fmla="*/ 2147483646 w 270"/>
              <a:gd name="T97" fmla="*/ 2147483646 h 234"/>
              <a:gd name="T98" fmla="*/ 2147483646 w 270"/>
              <a:gd name="T99" fmla="*/ 2147483646 h 234"/>
              <a:gd name="T100" fmla="*/ 2147483646 w 270"/>
              <a:gd name="T101" fmla="*/ 2147483646 h 234"/>
              <a:gd name="T102" fmla="*/ 2147483646 w 270"/>
              <a:gd name="T103" fmla="*/ 2147483646 h 234"/>
              <a:gd name="T104" fmla="*/ 2147483646 w 270"/>
              <a:gd name="T105" fmla="*/ 2147483646 h 23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70"/>
              <a:gd name="T160" fmla="*/ 0 h 234"/>
              <a:gd name="T161" fmla="*/ 270 w 270"/>
              <a:gd name="T162" fmla="*/ 234 h 23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70" h="234">
                <a:moveTo>
                  <a:pt x="211" y="14"/>
                </a:moveTo>
                <a:cubicBezTo>
                  <a:pt x="201" y="14"/>
                  <a:pt x="199" y="6"/>
                  <a:pt x="191" y="3"/>
                </a:cubicBezTo>
                <a:cubicBezTo>
                  <a:pt x="184" y="0"/>
                  <a:pt x="165" y="29"/>
                  <a:pt x="157" y="38"/>
                </a:cubicBezTo>
                <a:cubicBezTo>
                  <a:pt x="148" y="48"/>
                  <a:pt x="156" y="52"/>
                  <a:pt x="155" y="61"/>
                </a:cubicBezTo>
                <a:cubicBezTo>
                  <a:pt x="154" y="71"/>
                  <a:pt x="148" y="81"/>
                  <a:pt x="131" y="82"/>
                </a:cubicBezTo>
                <a:cubicBezTo>
                  <a:pt x="114" y="84"/>
                  <a:pt x="118" y="86"/>
                  <a:pt x="104" y="84"/>
                </a:cubicBezTo>
                <a:cubicBezTo>
                  <a:pt x="91" y="83"/>
                  <a:pt x="99" y="93"/>
                  <a:pt x="84" y="94"/>
                </a:cubicBezTo>
                <a:cubicBezTo>
                  <a:pt x="70" y="94"/>
                  <a:pt x="77" y="104"/>
                  <a:pt x="65" y="105"/>
                </a:cubicBezTo>
                <a:cubicBezTo>
                  <a:pt x="54" y="107"/>
                  <a:pt x="49" y="101"/>
                  <a:pt x="41" y="96"/>
                </a:cubicBezTo>
                <a:cubicBezTo>
                  <a:pt x="34" y="91"/>
                  <a:pt x="35" y="84"/>
                  <a:pt x="28" y="82"/>
                </a:cubicBezTo>
                <a:cubicBezTo>
                  <a:pt x="22" y="80"/>
                  <a:pt x="8" y="68"/>
                  <a:pt x="8" y="68"/>
                </a:cubicBezTo>
                <a:cubicBezTo>
                  <a:pt x="8" y="68"/>
                  <a:pt x="11" y="83"/>
                  <a:pt x="8" y="86"/>
                </a:cubicBezTo>
                <a:cubicBezTo>
                  <a:pt x="5" y="89"/>
                  <a:pt x="0" y="98"/>
                  <a:pt x="5" y="107"/>
                </a:cubicBezTo>
                <a:cubicBezTo>
                  <a:pt x="11" y="115"/>
                  <a:pt x="15" y="128"/>
                  <a:pt x="16" y="131"/>
                </a:cubicBezTo>
                <a:cubicBezTo>
                  <a:pt x="18" y="134"/>
                  <a:pt x="15" y="141"/>
                  <a:pt x="18" y="145"/>
                </a:cubicBezTo>
                <a:cubicBezTo>
                  <a:pt x="20" y="150"/>
                  <a:pt x="28" y="154"/>
                  <a:pt x="31" y="155"/>
                </a:cubicBezTo>
                <a:cubicBezTo>
                  <a:pt x="34" y="156"/>
                  <a:pt x="38" y="158"/>
                  <a:pt x="38" y="162"/>
                </a:cubicBezTo>
                <a:cubicBezTo>
                  <a:pt x="38" y="166"/>
                  <a:pt x="39" y="177"/>
                  <a:pt x="39" y="184"/>
                </a:cubicBezTo>
                <a:cubicBezTo>
                  <a:pt x="39" y="190"/>
                  <a:pt x="38" y="188"/>
                  <a:pt x="39" y="194"/>
                </a:cubicBezTo>
                <a:cubicBezTo>
                  <a:pt x="40" y="200"/>
                  <a:pt x="45" y="202"/>
                  <a:pt x="49" y="200"/>
                </a:cubicBezTo>
                <a:cubicBezTo>
                  <a:pt x="54" y="197"/>
                  <a:pt x="57" y="191"/>
                  <a:pt x="58" y="197"/>
                </a:cubicBezTo>
                <a:cubicBezTo>
                  <a:pt x="60" y="204"/>
                  <a:pt x="55" y="213"/>
                  <a:pt x="61" y="210"/>
                </a:cubicBezTo>
                <a:cubicBezTo>
                  <a:pt x="67" y="208"/>
                  <a:pt x="62" y="201"/>
                  <a:pt x="70" y="203"/>
                </a:cubicBezTo>
                <a:cubicBezTo>
                  <a:pt x="78" y="204"/>
                  <a:pt x="75" y="203"/>
                  <a:pt x="78" y="204"/>
                </a:cubicBezTo>
                <a:cubicBezTo>
                  <a:pt x="81" y="206"/>
                  <a:pt x="84" y="198"/>
                  <a:pt x="84" y="205"/>
                </a:cubicBezTo>
                <a:cubicBezTo>
                  <a:pt x="84" y="212"/>
                  <a:pt x="74" y="209"/>
                  <a:pt x="78" y="215"/>
                </a:cubicBezTo>
                <a:cubicBezTo>
                  <a:pt x="83" y="221"/>
                  <a:pt x="88" y="215"/>
                  <a:pt x="91" y="214"/>
                </a:cubicBezTo>
                <a:cubicBezTo>
                  <a:pt x="94" y="212"/>
                  <a:pt x="89" y="200"/>
                  <a:pt x="98" y="206"/>
                </a:cubicBezTo>
                <a:cubicBezTo>
                  <a:pt x="108" y="211"/>
                  <a:pt x="106" y="196"/>
                  <a:pt x="112" y="197"/>
                </a:cubicBezTo>
                <a:cubicBezTo>
                  <a:pt x="118" y="199"/>
                  <a:pt x="118" y="197"/>
                  <a:pt x="122" y="204"/>
                </a:cubicBezTo>
                <a:cubicBezTo>
                  <a:pt x="126" y="212"/>
                  <a:pt x="125" y="202"/>
                  <a:pt x="134" y="207"/>
                </a:cubicBezTo>
                <a:cubicBezTo>
                  <a:pt x="142" y="211"/>
                  <a:pt x="138" y="213"/>
                  <a:pt x="139" y="218"/>
                </a:cubicBezTo>
                <a:cubicBezTo>
                  <a:pt x="140" y="223"/>
                  <a:pt x="136" y="220"/>
                  <a:pt x="143" y="227"/>
                </a:cubicBezTo>
                <a:cubicBezTo>
                  <a:pt x="150" y="234"/>
                  <a:pt x="156" y="229"/>
                  <a:pt x="156" y="229"/>
                </a:cubicBezTo>
                <a:cubicBezTo>
                  <a:pt x="156" y="229"/>
                  <a:pt x="153" y="214"/>
                  <a:pt x="160" y="216"/>
                </a:cubicBezTo>
                <a:cubicBezTo>
                  <a:pt x="167" y="218"/>
                  <a:pt x="169" y="219"/>
                  <a:pt x="169" y="219"/>
                </a:cubicBezTo>
                <a:cubicBezTo>
                  <a:pt x="169" y="219"/>
                  <a:pt x="187" y="228"/>
                  <a:pt x="191" y="221"/>
                </a:cubicBezTo>
                <a:cubicBezTo>
                  <a:pt x="194" y="214"/>
                  <a:pt x="195" y="204"/>
                  <a:pt x="191" y="200"/>
                </a:cubicBezTo>
                <a:cubicBezTo>
                  <a:pt x="186" y="197"/>
                  <a:pt x="180" y="189"/>
                  <a:pt x="186" y="184"/>
                </a:cubicBezTo>
                <a:cubicBezTo>
                  <a:pt x="192" y="180"/>
                  <a:pt x="191" y="167"/>
                  <a:pt x="192" y="163"/>
                </a:cubicBezTo>
                <a:cubicBezTo>
                  <a:pt x="194" y="158"/>
                  <a:pt x="187" y="143"/>
                  <a:pt x="197" y="147"/>
                </a:cubicBezTo>
                <a:cubicBezTo>
                  <a:pt x="206" y="151"/>
                  <a:pt x="204" y="146"/>
                  <a:pt x="214" y="150"/>
                </a:cubicBezTo>
                <a:cubicBezTo>
                  <a:pt x="224" y="154"/>
                  <a:pt x="217" y="154"/>
                  <a:pt x="224" y="131"/>
                </a:cubicBezTo>
                <a:cubicBezTo>
                  <a:pt x="231" y="108"/>
                  <a:pt x="226" y="94"/>
                  <a:pt x="234" y="94"/>
                </a:cubicBezTo>
                <a:cubicBezTo>
                  <a:pt x="243" y="94"/>
                  <a:pt x="238" y="87"/>
                  <a:pt x="248" y="93"/>
                </a:cubicBezTo>
                <a:cubicBezTo>
                  <a:pt x="258" y="98"/>
                  <a:pt x="267" y="101"/>
                  <a:pt x="269" y="97"/>
                </a:cubicBezTo>
                <a:cubicBezTo>
                  <a:pt x="270" y="94"/>
                  <a:pt x="257" y="83"/>
                  <a:pt x="254" y="83"/>
                </a:cubicBezTo>
                <a:cubicBezTo>
                  <a:pt x="250" y="83"/>
                  <a:pt x="240" y="79"/>
                  <a:pt x="236" y="76"/>
                </a:cubicBezTo>
                <a:cubicBezTo>
                  <a:pt x="232" y="73"/>
                  <a:pt x="227" y="69"/>
                  <a:pt x="225" y="68"/>
                </a:cubicBezTo>
                <a:cubicBezTo>
                  <a:pt x="223" y="66"/>
                  <a:pt x="218" y="61"/>
                  <a:pt x="224" y="54"/>
                </a:cubicBezTo>
                <a:cubicBezTo>
                  <a:pt x="229" y="47"/>
                  <a:pt x="227" y="38"/>
                  <a:pt x="225" y="33"/>
                </a:cubicBezTo>
                <a:cubicBezTo>
                  <a:pt x="223" y="28"/>
                  <a:pt x="221" y="23"/>
                  <a:pt x="224" y="21"/>
                </a:cubicBezTo>
                <a:cubicBezTo>
                  <a:pt x="227" y="18"/>
                  <a:pt x="211" y="14"/>
                  <a:pt x="211" y="1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9" name="Freeform 635"/>
          <p:cNvSpPr>
            <a:spLocks/>
          </p:cNvSpPr>
          <p:nvPr userDrawn="1"/>
        </p:nvSpPr>
        <p:spPr bwMode="auto">
          <a:xfrm>
            <a:off x="8376842" y="4956068"/>
            <a:ext cx="165833" cy="197661"/>
          </a:xfrm>
          <a:custGeom>
            <a:avLst/>
            <a:gdLst>
              <a:gd name="T0" fmla="*/ 2147483646 w 177"/>
              <a:gd name="T1" fmla="*/ 2147483646 h 213"/>
              <a:gd name="T2" fmla="*/ 2147483646 w 177"/>
              <a:gd name="T3" fmla="*/ 2147483646 h 213"/>
              <a:gd name="T4" fmla="*/ 2147483646 w 177"/>
              <a:gd name="T5" fmla="*/ 2147483646 h 213"/>
              <a:gd name="T6" fmla="*/ 2147483646 w 177"/>
              <a:gd name="T7" fmla="*/ 2147483646 h 213"/>
              <a:gd name="T8" fmla="*/ 2147483646 w 177"/>
              <a:gd name="T9" fmla="*/ 2147483646 h 213"/>
              <a:gd name="T10" fmla="*/ 2147483646 w 177"/>
              <a:gd name="T11" fmla="*/ 2147483646 h 213"/>
              <a:gd name="T12" fmla="*/ 2147483646 w 177"/>
              <a:gd name="T13" fmla="*/ 2147483646 h 213"/>
              <a:gd name="T14" fmla="*/ 2147483646 w 177"/>
              <a:gd name="T15" fmla="*/ 2147483646 h 213"/>
              <a:gd name="T16" fmla="*/ 2147483646 w 177"/>
              <a:gd name="T17" fmla="*/ 2147483646 h 213"/>
              <a:gd name="T18" fmla="*/ 2147483646 w 177"/>
              <a:gd name="T19" fmla="*/ 2147483646 h 213"/>
              <a:gd name="T20" fmla="*/ 2147483646 w 177"/>
              <a:gd name="T21" fmla="*/ 2147483646 h 213"/>
              <a:gd name="T22" fmla="*/ 2147483646 w 177"/>
              <a:gd name="T23" fmla="*/ 2147483646 h 213"/>
              <a:gd name="T24" fmla="*/ 2147483646 w 177"/>
              <a:gd name="T25" fmla="*/ 2147483646 h 213"/>
              <a:gd name="T26" fmla="*/ 2147483646 w 177"/>
              <a:gd name="T27" fmla="*/ 2147483646 h 213"/>
              <a:gd name="T28" fmla="*/ 2147483646 w 177"/>
              <a:gd name="T29" fmla="*/ 2147483646 h 213"/>
              <a:gd name="T30" fmla="*/ 2147483646 w 177"/>
              <a:gd name="T31" fmla="*/ 2147483646 h 213"/>
              <a:gd name="T32" fmla="*/ 2147483646 w 177"/>
              <a:gd name="T33" fmla="*/ 2147483646 h 213"/>
              <a:gd name="T34" fmla="*/ 2147483646 w 177"/>
              <a:gd name="T35" fmla="*/ 2147483646 h 213"/>
              <a:gd name="T36" fmla="*/ 2147483646 w 177"/>
              <a:gd name="T37" fmla="*/ 2147483646 h 213"/>
              <a:gd name="T38" fmla="*/ 2147483646 w 177"/>
              <a:gd name="T39" fmla="*/ 2147483646 h 213"/>
              <a:gd name="T40" fmla="*/ 2147483646 w 177"/>
              <a:gd name="T41" fmla="*/ 2147483646 h 213"/>
              <a:gd name="T42" fmla="*/ 2147483646 w 177"/>
              <a:gd name="T43" fmla="*/ 2147483646 h 213"/>
              <a:gd name="T44" fmla="*/ 2147483646 w 177"/>
              <a:gd name="T45" fmla="*/ 2147483646 h 213"/>
              <a:gd name="T46" fmla="*/ 2147483646 w 177"/>
              <a:gd name="T47" fmla="*/ 2147483646 h 213"/>
              <a:gd name="T48" fmla="*/ 2147483646 w 177"/>
              <a:gd name="T49" fmla="*/ 2147483646 h 213"/>
              <a:gd name="T50" fmla="*/ 2147483646 w 177"/>
              <a:gd name="T51" fmla="*/ 2147483646 h 213"/>
              <a:gd name="T52" fmla="*/ 2147483646 w 177"/>
              <a:gd name="T53" fmla="*/ 2147483646 h 213"/>
              <a:gd name="T54" fmla="*/ 2147483646 w 177"/>
              <a:gd name="T55" fmla="*/ 2147483646 h 213"/>
              <a:gd name="T56" fmla="*/ 2147483646 w 177"/>
              <a:gd name="T57" fmla="*/ 2147483646 h 213"/>
              <a:gd name="T58" fmla="*/ 2147483646 w 177"/>
              <a:gd name="T59" fmla="*/ 2147483646 h 213"/>
              <a:gd name="T60" fmla="*/ 2147483646 w 177"/>
              <a:gd name="T61" fmla="*/ 2147483646 h 213"/>
              <a:gd name="T62" fmla="*/ 2147483646 w 177"/>
              <a:gd name="T63" fmla="*/ 2147483646 h 213"/>
              <a:gd name="T64" fmla="*/ 2147483646 w 177"/>
              <a:gd name="T65" fmla="*/ 2147483646 h 213"/>
              <a:gd name="T66" fmla="*/ 2147483646 w 177"/>
              <a:gd name="T67" fmla="*/ 2147483646 h 213"/>
              <a:gd name="T68" fmla="*/ 2147483646 w 177"/>
              <a:gd name="T69" fmla="*/ 2147483646 h 213"/>
              <a:gd name="T70" fmla="*/ 2147483646 w 177"/>
              <a:gd name="T71" fmla="*/ 2147483646 h 213"/>
              <a:gd name="T72" fmla="*/ 2147483646 w 177"/>
              <a:gd name="T73" fmla="*/ 2147483646 h 213"/>
              <a:gd name="T74" fmla="*/ 2147483646 w 177"/>
              <a:gd name="T75" fmla="*/ 2147483646 h 213"/>
              <a:gd name="T76" fmla="*/ 2147483646 w 177"/>
              <a:gd name="T77" fmla="*/ 2147483646 h 213"/>
              <a:gd name="T78" fmla="*/ 2147483646 w 177"/>
              <a:gd name="T79" fmla="*/ 2147483646 h 213"/>
              <a:gd name="T80" fmla="*/ 2147483646 w 177"/>
              <a:gd name="T81" fmla="*/ 2147483646 h 213"/>
              <a:gd name="T82" fmla="*/ 2147483646 w 177"/>
              <a:gd name="T83" fmla="*/ 2147483646 h 213"/>
              <a:gd name="T84" fmla="*/ 2147483646 w 177"/>
              <a:gd name="T85" fmla="*/ 2147483646 h 213"/>
              <a:gd name="T86" fmla="*/ 2147483646 w 177"/>
              <a:gd name="T87" fmla="*/ 2147483646 h 213"/>
              <a:gd name="T88" fmla="*/ 2147483646 w 177"/>
              <a:gd name="T89" fmla="*/ 2147483646 h 213"/>
              <a:gd name="T90" fmla="*/ 2147483646 w 177"/>
              <a:gd name="T91" fmla="*/ 2147483646 h 213"/>
              <a:gd name="T92" fmla="*/ 2147483646 w 177"/>
              <a:gd name="T93" fmla="*/ 2147483646 h 213"/>
              <a:gd name="T94" fmla="*/ 2147483646 w 177"/>
              <a:gd name="T95" fmla="*/ 2147483646 h 213"/>
              <a:gd name="T96" fmla="*/ 2147483646 w 177"/>
              <a:gd name="T97" fmla="*/ 2147483646 h 213"/>
              <a:gd name="T98" fmla="*/ 2147483646 w 177"/>
              <a:gd name="T99" fmla="*/ 2147483646 h 213"/>
              <a:gd name="T100" fmla="*/ 2147483646 w 177"/>
              <a:gd name="T101" fmla="*/ 2147483646 h 213"/>
              <a:gd name="T102" fmla="*/ 2147483646 w 177"/>
              <a:gd name="T103" fmla="*/ 2147483646 h 213"/>
              <a:gd name="T104" fmla="*/ 2147483646 w 177"/>
              <a:gd name="T105" fmla="*/ 2147483646 h 213"/>
              <a:gd name="T106" fmla="*/ 2147483646 w 177"/>
              <a:gd name="T107" fmla="*/ 2147483646 h 21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77"/>
              <a:gd name="T163" fmla="*/ 0 h 213"/>
              <a:gd name="T164" fmla="*/ 177 w 177"/>
              <a:gd name="T165" fmla="*/ 213 h 21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77" h="213">
                <a:moveTo>
                  <a:pt x="164" y="5"/>
                </a:moveTo>
                <a:cubicBezTo>
                  <a:pt x="157" y="0"/>
                  <a:pt x="155" y="4"/>
                  <a:pt x="151" y="11"/>
                </a:cubicBezTo>
                <a:cubicBezTo>
                  <a:pt x="148" y="18"/>
                  <a:pt x="136" y="28"/>
                  <a:pt x="133" y="32"/>
                </a:cubicBezTo>
                <a:cubicBezTo>
                  <a:pt x="129" y="35"/>
                  <a:pt x="111" y="45"/>
                  <a:pt x="100" y="38"/>
                </a:cubicBezTo>
                <a:cubicBezTo>
                  <a:pt x="88" y="31"/>
                  <a:pt x="75" y="22"/>
                  <a:pt x="63" y="27"/>
                </a:cubicBezTo>
                <a:cubicBezTo>
                  <a:pt x="52" y="32"/>
                  <a:pt x="35" y="40"/>
                  <a:pt x="30" y="51"/>
                </a:cubicBezTo>
                <a:cubicBezTo>
                  <a:pt x="26" y="61"/>
                  <a:pt x="16" y="68"/>
                  <a:pt x="14" y="76"/>
                </a:cubicBezTo>
                <a:cubicBezTo>
                  <a:pt x="12" y="85"/>
                  <a:pt x="6" y="105"/>
                  <a:pt x="9" y="112"/>
                </a:cubicBezTo>
                <a:cubicBezTo>
                  <a:pt x="13" y="119"/>
                  <a:pt x="18" y="125"/>
                  <a:pt x="10" y="133"/>
                </a:cubicBezTo>
                <a:cubicBezTo>
                  <a:pt x="3" y="141"/>
                  <a:pt x="0" y="152"/>
                  <a:pt x="7" y="155"/>
                </a:cubicBezTo>
                <a:cubicBezTo>
                  <a:pt x="14" y="159"/>
                  <a:pt x="14" y="156"/>
                  <a:pt x="20" y="160"/>
                </a:cubicBezTo>
                <a:cubicBezTo>
                  <a:pt x="26" y="163"/>
                  <a:pt x="19" y="187"/>
                  <a:pt x="19" y="187"/>
                </a:cubicBezTo>
                <a:cubicBezTo>
                  <a:pt x="23" y="201"/>
                  <a:pt x="25" y="197"/>
                  <a:pt x="30" y="204"/>
                </a:cubicBezTo>
                <a:cubicBezTo>
                  <a:pt x="36" y="211"/>
                  <a:pt x="42" y="213"/>
                  <a:pt x="48" y="207"/>
                </a:cubicBezTo>
                <a:cubicBezTo>
                  <a:pt x="54" y="201"/>
                  <a:pt x="55" y="199"/>
                  <a:pt x="48" y="194"/>
                </a:cubicBezTo>
                <a:cubicBezTo>
                  <a:pt x="41" y="189"/>
                  <a:pt x="35" y="187"/>
                  <a:pt x="40" y="180"/>
                </a:cubicBezTo>
                <a:cubicBezTo>
                  <a:pt x="44" y="173"/>
                  <a:pt x="47" y="168"/>
                  <a:pt x="43" y="161"/>
                </a:cubicBezTo>
                <a:cubicBezTo>
                  <a:pt x="40" y="154"/>
                  <a:pt x="37" y="146"/>
                  <a:pt x="39" y="140"/>
                </a:cubicBezTo>
                <a:cubicBezTo>
                  <a:pt x="40" y="134"/>
                  <a:pt x="35" y="126"/>
                  <a:pt x="42" y="127"/>
                </a:cubicBezTo>
                <a:cubicBezTo>
                  <a:pt x="49" y="128"/>
                  <a:pt x="61" y="132"/>
                  <a:pt x="57" y="140"/>
                </a:cubicBezTo>
                <a:cubicBezTo>
                  <a:pt x="54" y="148"/>
                  <a:pt x="47" y="155"/>
                  <a:pt x="57" y="157"/>
                </a:cubicBezTo>
                <a:cubicBezTo>
                  <a:pt x="68" y="160"/>
                  <a:pt x="73" y="157"/>
                  <a:pt x="76" y="161"/>
                </a:cubicBezTo>
                <a:cubicBezTo>
                  <a:pt x="80" y="164"/>
                  <a:pt x="71" y="167"/>
                  <a:pt x="71" y="173"/>
                </a:cubicBezTo>
                <a:cubicBezTo>
                  <a:pt x="71" y="179"/>
                  <a:pt x="76" y="186"/>
                  <a:pt x="76" y="186"/>
                </a:cubicBezTo>
                <a:cubicBezTo>
                  <a:pt x="76" y="186"/>
                  <a:pt x="55" y="190"/>
                  <a:pt x="69" y="194"/>
                </a:cubicBezTo>
                <a:cubicBezTo>
                  <a:pt x="83" y="197"/>
                  <a:pt x="82" y="189"/>
                  <a:pt x="86" y="183"/>
                </a:cubicBezTo>
                <a:cubicBezTo>
                  <a:pt x="89" y="177"/>
                  <a:pt x="97" y="189"/>
                  <a:pt x="102" y="195"/>
                </a:cubicBezTo>
                <a:cubicBezTo>
                  <a:pt x="107" y="201"/>
                  <a:pt x="107" y="204"/>
                  <a:pt x="114" y="200"/>
                </a:cubicBezTo>
                <a:cubicBezTo>
                  <a:pt x="121" y="195"/>
                  <a:pt x="124" y="182"/>
                  <a:pt x="117" y="180"/>
                </a:cubicBezTo>
                <a:cubicBezTo>
                  <a:pt x="110" y="177"/>
                  <a:pt x="97" y="169"/>
                  <a:pt x="97" y="169"/>
                </a:cubicBezTo>
                <a:cubicBezTo>
                  <a:pt x="97" y="169"/>
                  <a:pt x="89" y="172"/>
                  <a:pt x="89" y="163"/>
                </a:cubicBezTo>
                <a:cubicBezTo>
                  <a:pt x="89" y="155"/>
                  <a:pt x="87" y="153"/>
                  <a:pt x="89" y="148"/>
                </a:cubicBezTo>
                <a:cubicBezTo>
                  <a:pt x="91" y="143"/>
                  <a:pt x="88" y="128"/>
                  <a:pt x="83" y="129"/>
                </a:cubicBezTo>
                <a:cubicBezTo>
                  <a:pt x="79" y="130"/>
                  <a:pt x="76" y="123"/>
                  <a:pt x="73" y="121"/>
                </a:cubicBezTo>
                <a:cubicBezTo>
                  <a:pt x="69" y="119"/>
                  <a:pt x="62" y="113"/>
                  <a:pt x="62" y="113"/>
                </a:cubicBezTo>
                <a:cubicBezTo>
                  <a:pt x="62" y="113"/>
                  <a:pt x="71" y="100"/>
                  <a:pt x="82" y="103"/>
                </a:cubicBezTo>
                <a:cubicBezTo>
                  <a:pt x="93" y="107"/>
                  <a:pt x="88" y="96"/>
                  <a:pt x="96" y="96"/>
                </a:cubicBezTo>
                <a:cubicBezTo>
                  <a:pt x="104" y="96"/>
                  <a:pt x="106" y="98"/>
                  <a:pt x="110" y="100"/>
                </a:cubicBezTo>
                <a:cubicBezTo>
                  <a:pt x="115" y="102"/>
                  <a:pt x="111" y="91"/>
                  <a:pt x="118" y="92"/>
                </a:cubicBezTo>
                <a:cubicBezTo>
                  <a:pt x="125" y="93"/>
                  <a:pt x="107" y="67"/>
                  <a:pt x="106" y="78"/>
                </a:cubicBezTo>
                <a:cubicBezTo>
                  <a:pt x="104" y="88"/>
                  <a:pt x="100" y="85"/>
                  <a:pt x="95" y="85"/>
                </a:cubicBezTo>
                <a:cubicBezTo>
                  <a:pt x="90" y="85"/>
                  <a:pt x="87" y="78"/>
                  <a:pt x="84" y="82"/>
                </a:cubicBezTo>
                <a:cubicBezTo>
                  <a:pt x="82" y="87"/>
                  <a:pt x="80" y="86"/>
                  <a:pt x="75" y="86"/>
                </a:cubicBezTo>
                <a:cubicBezTo>
                  <a:pt x="70" y="86"/>
                  <a:pt x="67" y="83"/>
                  <a:pt x="64" y="87"/>
                </a:cubicBezTo>
                <a:cubicBezTo>
                  <a:pt x="62" y="91"/>
                  <a:pt x="54" y="91"/>
                  <a:pt x="54" y="91"/>
                </a:cubicBezTo>
                <a:cubicBezTo>
                  <a:pt x="54" y="91"/>
                  <a:pt x="39" y="95"/>
                  <a:pt x="37" y="91"/>
                </a:cubicBezTo>
                <a:cubicBezTo>
                  <a:pt x="36" y="86"/>
                  <a:pt x="28" y="80"/>
                  <a:pt x="33" y="74"/>
                </a:cubicBezTo>
                <a:cubicBezTo>
                  <a:pt x="37" y="68"/>
                  <a:pt x="40" y="62"/>
                  <a:pt x="43" y="58"/>
                </a:cubicBezTo>
                <a:cubicBezTo>
                  <a:pt x="47" y="53"/>
                  <a:pt x="43" y="48"/>
                  <a:pt x="54" y="46"/>
                </a:cubicBezTo>
                <a:cubicBezTo>
                  <a:pt x="64" y="44"/>
                  <a:pt x="73" y="35"/>
                  <a:pt x="81" y="44"/>
                </a:cubicBezTo>
                <a:cubicBezTo>
                  <a:pt x="89" y="52"/>
                  <a:pt x="91" y="58"/>
                  <a:pt x="110" y="58"/>
                </a:cubicBezTo>
                <a:cubicBezTo>
                  <a:pt x="129" y="58"/>
                  <a:pt x="140" y="61"/>
                  <a:pt x="143" y="51"/>
                </a:cubicBezTo>
                <a:cubicBezTo>
                  <a:pt x="147" y="40"/>
                  <a:pt x="147" y="35"/>
                  <a:pt x="155" y="33"/>
                </a:cubicBezTo>
                <a:cubicBezTo>
                  <a:pt x="163" y="31"/>
                  <a:pt x="177" y="25"/>
                  <a:pt x="165" y="8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0" name="Freeform 636"/>
          <p:cNvSpPr>
            <a:spLocks/>
          </p:cNvSpPr>
          <p:nvPr userDrawn="1"/>
        </p:nvSpPr>
        <p:spPr bwMode="auto">
          <a:xfrm>
            <a:off x="8376842" y="4956068"/>
            <a:ext cx="165833" cy="197661"/>
          </a:xfrm>
          <a:custGeom>
            <a:avLst/>
            <a:gdLst>
              <a:gd name="T0" fmla="*/ 2147483646 w 177"/>
              <a:gd name="T1" fmla="*/ 2147483646 h 213"/>
              <a:gd name="T2" fmla="*/ 2147483646 w 177"/>
              <a:gd name="T3" fmla="*/ 2147483646 h 213"/>
              <a:gd name="T4" fmla="*/ 2147483646 w 177"/>
              <a:gd name="T5" fmla="*/ 2147483646 h 213"/>
              <a:gd name="T6" fmla="*/ 2147483646 w 177"/>
              <a:gd name="T7" fmla="*/ 2147483646 h 213"/>
              <a:gd name="T8" fmla="*/ 2147483646 w 177"/>
              <a:gd name="T9" fmla="*/ 2147483646 h 213"/>
              <a:gd name="T10" fmla="*/ 2147483646 w 177"/>
              <a:gd name="T11" fmla="*/ 2147483646 h 213"/>
              <a:gd name="T12" fmla="*/ 2147483646 w 177"/>
              <a:gd name="T13" fmla="*/ 2147483646 h 213"/>
              <a:gd name="T14" fmla="*/ 2147483646 w 177"/>
              <a:gd name="T15" fmla="*/ 2147483646 h 213"/>
              <a:gd name="T16" fmla="*/ 2147483646 w 177"/>
              <a:gd name="T17" fmla="*/ 2147483646 h 213"/>
              <a:gd name="T18" fmla="*/ 2147483646 w 177"/>
              <a:gd name="T19" fmla="*/ 2147483646 h 213"/>
              <a:gd name="T20" fmla="*/ 2147483646 w 177"/>
              <a:gd name="T21" fmla="*/ 2147483646 h 213"/>
              <a:gd name="T22" fmla="*/ 2147483646 w 177"/>
              <a:gd name="T23" fmla="*/ 2147483646 h 213"/>
              <a:gd name="T24" fmla="*/ 2147483646 w 177"/>
              <a:gd name="T25" fmla="*/ 2147483646 h 213"/>
              <a:gd name="T26" fmla="*/ 2147483646 w 177"/>
              <a:gd name="T27" fmla="*/ 2147483646 h 213"/>
              <a:gd name="T28" fmla="*/ 2147483646 w 177"/>
              <a:gd name="T29" fmla="*/ 2147483646 h 213"/>
              <a:gd name="T30" fmla="*/ 2147483646 w 177"/>
              <a:gd name="T31" fmla="*/ 2147483646 h 213"/>
              <a:gd name="T32" fmla="*/ 2147483646 w 177"/>
              <a:gd name="T33" fmla="*/ 2147483646 h 213"/>
              <a:gd name="T34" fmla="*/ 2147483646 w 177"/>
              <a:gd name="T35" fmla="*/ 2147483646 h 213"/>
              <a:gd name="T36" fmla="*/ 2147483646 w 177"/>
              <a:gd name="T37" fmla="*/ 2147483646 h 213"/>
              <a:gd name="T38" fmla="*/ 2147483646 w 177"/>
              <a:gd name="T39" fmla="*/ 2147483646 h 213"/>
              <a:gd name="T40" fmla="*/ 2147483646 w 177"/>
              <a:gd name="T41" fmla="*/ 2147483646 h 213"/>
              <a:gd name="T42" fmla="*/ 2147483646 w 177"/>
              <a:gd name="T43" fmla="*/ 2147483646 h 213"/>
              <a:gd name="T44" fmla="*/ 2147483646 w 177"/>
              <a:gd name="T45" fmla="*/ 2147483646 h 213"/>
              <a:gd name="T46" fmla="*/ 2147483646 w 177"/>
              <a:gd name="T47" fmla="*/ 2147483646 h 213"/>
              <a:gd name="T48" fmla="*/ 2147483646 w 177"/>
              <a:gd name="T49" fmla="*/ 2147483646 h 213"/>
              <a:gd name="T50" fmla="*/ 2147483646 w 177"/>
              <a:gd name="T51" fmla="*/ 2147483646 h 213"/>
              <a:gd name="T52" fmla="*/ 2147483646 w 177"/>
              <a:gd name="T53" fmla="*/ 2147483646 h 213"/>
              <a:gd name="T54" fmla="*/ 2147483646 w 177"/>
              <a:gd name="T55" fmla="*/ 2147483646 h 213"/>
              <a:gd name="T56" fmla="*/ 2147483646 w 177"/>
              <a:gd name="T57" fmla="*/ 2147483646 h 213"/>
              <a:gd name="T58" fmla="*/ 2147483646 w 177"/>
              <a:gd name="T59" fmla="*/ 2147483646 h 213"/>
              <a:gd name="T60" fmla="*/ 2147483646 w 177"/>
              <a:gd name="T61" fmla="*/ 2147483646 h 213"/>
              <a:gd name="T62" fmla="*/ 2147483646 w 177"/>
              <a:gd name="T63" fmla="*/ 2147483646 h 213"/>
              <a:gd name="T64" fmla="*/ 2147483646 w 177"/>
              <a:gd name="T65" fmla="*/ 2147483646 h 213"/>
              <a:gd name="T66" fmla="*/ 2147483646 w 177"/>
              <a:gd name="T67" fmla="*/ 2147483646 h 213"/>
              <a:gd name="T68" fmla="*/ 2147483646 w 177"/>
              <a:gd name="T69" fmla="*/ 2147483646 h 213"/>
              <a:gd name="T70" fmla="*/ 2147483646 w 177"/>
              <a:gd name="T71" fmla="*/ 2147483646 h 213"/>
              <a:gd name="T72" fmla="*/ 2147483646 w 177"/>
              <a:gd name="T73" fmla="*/ 2147483646 h 213"/>
              <a:gd name="T74" fmla="*/ 2147483646 w 177"/>
              <a:gd name="T75" fmla="*/ 2147483646 h 213"/>
              <a:gd name="T76" fmla="*/ 2147483646 w 177"/>
              <a:gd name="T77" fmla="*/ 2147483646 h 213"/>
              <a:gd name="T78" fmla="*/ 2147483646 w 177"/>
              <a:gd name="T79" fmla="*/ 2147483646 h 213"/>
              <a:gd name="T80" fmla="*/ 2147483646 w 177"/>
              <a:gd name="T81" fmla="*/ 2147483646 h 213"/>
              <a:gd name="T82" fmla="*/ 2147483646 w 177"/>
              <a:gd name="T83" fmla="*/ 2147483646 h 213"/>
              <a:gd name="T84" fmla="*/ 2147483646 w 177"/>
              <a:gd name="T85" fmla="*/ 2147483646 h 213"/>
              <a:gd name="T86" fmla="*/ 2147483646 w 177"/>
              <a:gd name="T87" fmla="*/ 2147483646 h 213"/>
              <a:gd name="T88" fmla="*/ 2147483646 w 177"/>
              <a:gd name="T89" fmla="*/ 2147483646 h 213"/>
              <a:gd name="T90" fmla="*/ 2147483646 w 177"/>
              <a:gd name="T91" fmla="*/ 2147483646 h 213"/>
              <a:gd name="T92" fmla="*/ 2147483646 w 177"/>
              <a:gd name="T93" fmla="*/ 2147483646 h 213"/>
              <a:gd name="T94" fmla="*/ 2147483646 w 177"/>
              <a:gd name="T95" fmla="*/ 2147483646 h 213"/>
              <a:gd name="T96" fmla="*/ 2147483646 w 177"/>
              <a:gd name="T97" fmla="*/ 2147483646 h 213"/>
              <a:gd name="T98" fmla="*/ 2147483646 w 177"/>
              <a:gd name="T99" fmla="*/ 2147483646 h 213"/>
              <a:gd name="T100" fmla="*/ 2147483646 w 177"/>
              <a:gd name="T101" fmla="*/ 2147483646 h 213"/>
              <a:gd name="T102" fmla="*/ 2147483646 w 177"/>
              <a:gd name="T103" fmla="*/ 2147483646 h 213"/>
              <a:gd name="T104" fmla="*/ 2147483646 w 177"/>
              <a:gd name="T105" fmla="*/ 2147483646 h 213"/>
              <a:gd name="T106" fmla="*/ 2147483646 w 177"/>
              <a:gd name="T107" fmla="*/ 2147483646 h 21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77"/>
              <a:gd name="T163" fmla="*/ 0 h 213"/>
              <a:gd name="T164" fmla="*/ 177 w 177"/>
              <a:gd name="T165" fmla="*/ 213 h 21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77" h="213">
                <a:moveTo>
                  <a:pt x="164" y="5"/>
                </a:moveTo>
                <a:cubicBezTo>
                  <a:pt x="157" y="0"/>
                  <a:pt x="155" y="4"/>
                  <a:pt x="151" y="11"/>
                </a:cubicBezTo>
                <a:cubicBezTo>
                  <a:pt x="148" y="18"/>
                  <a:pt x="136" y="28"/>
                  <a:pt x="133" y="32"/>
                </a:cubicBezTo>
                <a:cubicBezTo>
                  <a:pt x="129" y="35"/>
                  <a:pt x="111" y="45"/>
                  <a:pt x="100" y="38"/>
                </a:cubicBezTo>
                <a:cubicBezTo>
                  <a:pt x="88" y="31"/>
                  <a:pt x="75" y="22"/>
                  <a:pt x="63" y="27"/>
                </a:cubicBezTo>
                <a:cubicBezTo>
                  <a:pt x="52" y="32"/>
                  <a:pt x="35" y="40"/>
                  <a:pt x="30" y="51"/>
                </a:cubicBezTo>
                <a:cubicBezTo>
                  <a:pt x="26" y="61"/>
                  <a:pt x="16" y="68"/>
                  <a:pt x="14" y="76"/>
                </a:cubicBezTo>
                <a:cubicBezTo>
                  <a:pt x="12" y="85"/>
                  <a:pt x="6" y="105"/>
                  <a:pt x="9" y="112"/>
                </a:cubicBezTo>
                <a:cubicBezTo>
                  <a:pt x="13" y="119"/>
                  <a:pt x="18" y="125"/>
                  <a:pt x="10" y="133"/>
                </a:cubicBezTo>
                <a:cubicBezTo>
                  <a:pt x="3" y="141"/>
                  <a:pt x="0" y="152"/>
                  <a:pt x="7" y="155"/>
                </a:cubicBezTo>
                <a:cubicBezTo>
                  <a:pt x="14" y="159"/>
                  <a:pt x="14" y="156"/>
                  <a:pt x="20" y="160"/>
                </a:cubicBezTo>
                <a:cubicBezTo>
                  <a:pt x="26" y="163"/>
                  <a:pt x="19" y="187"/>
                  <a:pt x="19" y="187"/>
                </a:cubicBezTo>
                <a:cubicBezTo>
                  <a:pt x="23" y="201"/>
                  <a:pt x="25" y="197"/>
                  <a:pt x="30" y="204"/>
                </a:cubicBezTo>
                <a:cubicBezTo>
                  <a:pt x="36" y="211"/>
                  <a:pt x="42" y="213"/>
                  <a:pt x="48" y="207"/>
                </a:cubicBezTo>
                <a:cubicBezTo>
                  <a:pt x="54" y="201"/>
                  <a:pt x="55" y="199"/>
                  <a:pt x="48" y="194"/>
                </a:cubicBezTo>
                <a:cubicBezTo>
                  <a:pt x="41" y="189"/>
                  <a:pt x="35" y="187"/>
                  <a:pt x="40" y="180"/>
                </a:cubicBezTo>
                <a:cubicBezTo>
                  <a:pt x="44" y="173"/>
                  <a:pt x="47" y="168"/>
                  <a:pt x="43" y="161"/>
                </a:cubicBezTo>
                <a:cubicBezTo>
                  <a:pt x="40" y="154"/>
                  <a:pt x="37" y="146"/>
                  <a:pt x="39" y="140"/>
                </a:cubicBezTo>
                <a:cubicBezTo>
                  <a:pt x="40" y="134"/>
                  <a:pt x="35" y="126"/>
                  <a:pt x="42" y="127"/>
                </a:cubicBezTo>
                <a:cubicBezTo>
                  <a:pt x="49" y="128"/>
                  <a:pt x="61" y="132"/>
                  <a:pt x="57" y="140"/>
                </a:cubicBezTo>
                <a:cubicBezTo>
                  <a:pt x="54" y="148"/>
                  <a:pt x="47" y="155"/>
                  <a:pt x="57" y="157"/>
                </a:cubicBezTo>
                <a:cubicBezTo>
                  <a:pt x="68" y="160"/>
                  <a:pt x="73" y="157"/>
                  <a:pt x="76" y="161"/>
                </a:cubicBezTo>
                <a:cubicBezTo>
                  <a:pt x="80" y="164"/>
                  <a:pt x="71" y="167"/>
                  <a:pt x="71" y="173"/>
                </a:cubicBezTo>
                <a:cubicBezTo>
                  <a:pt x="71" y="179"/>
                  <a:pt x="76" y="186"/>
                  <a:pt x="76" y="186"/>
                </a:cubicBezTo>
                <a:cubicBezTo>
                  <a:pt x="76" y="186"/>
                  <a:pt x="55" y="190"/>
                  <a:pt x="69" y="194"/>
                </a:cubicBezTo>
                <a:cubicBezTo>
                  <a:pt x="83" y="197"/>
                  <a:pt x="82" y="189"/>
                  <a:pt x="86" y="183"/>
                </a:cubicBezTo>
                <a:cubicBezTo>
                  <a:pt x="89" y="177"/>
                  <a:pt x="97" y="189"/>
                  <a:pt x="102" y="195"/>
                </a:cubicBezTo>
                <a:cubicBezTo>
                  <a:pt x="107" y="201"/>
                  <a:pt x="107" y="204"/>
                  <a:pt x="114" y="200"/>
                </a:cubicBezTo>
                <a:cubicBezTo>
                  <a:pt x="121" y="195"/>
                  <a:pt x="124" y="182"/>
                  <a:pt x="117" y="180"/>
                </a:cubicBezTo>
                <a:cubicBezTo>
                  <a:pt x="110" y="177"/>
                  <a:pt x="97" y="169"/>
                  <a:pt x="97" y="169"/>
                </a:cubicBezTo>
                <a:cubicBezTo>
                  <a:pt x="97" y="169"/>
                  <a:pt x="89" y="172"/>
                  <a:pt x="89" y="163"/>
                </a:cubicBezTo>
                <a:cubicBezTo>
                  <a:pt x="89" y="155"/>
                  <a:pt x="87" y="153"/>
                  <a:pt x="89" y="148"/>
                </a:cubicBezTo>
                <a:cubicBezTo>
                  <a:pt x="91" y="143"/>
                  <a:pt x="88" y="128"/>
                  <a:pt x="83" y="129"/>
                </a:cubicBezTo>
                <a:cubicBezTo>
                  <a:pt x="79" y="130"/>
                  <a:pt x="76" y="123"/>
                  <a:pt x="73" y="121"/>
                </a:cubicBezTo>
                <a:cubicBezTo>
                  <a:pt x="69" y="119"/>
                  <a:pt x="62" y="113"/>
                  <a:pt x="62" y="113"/>
                </a:cubicBezTo>
                <a:cubicBezTo>
                  <a:pt x="62" y="113"/>
                  <a:pt x="71" y="100"/>
                  <a:pt x="82" y="103"/>
                </a:cubicBezTo>
                <a:cubicBezTo>
                  <a:pt x="93" y="107"/>
                  <a:pt x="88" y="96"/>
                  <a:pt x="96" y="96"/>
                </a:cubicBezTo>
                <a:cubicBezTo>
                  <a:pt x="104" y="96"/>
                  <a:pt x="106" y="98"/>
                  <a:pt x="110" y="100"/>
                </a:cubicBezTo>
                <a:cubicBezTo>
                  <a:pt x="115" y="102"/>
                  <a:pt x="111" y="91"/>
                  <a:pt x="118" y="92"/>
                </a:cubicBezTo>
                <a:cubicBezTo>
                  <a:pt x="125" y="93"/>
                  <a:pt x="107" y="67"/>
                  <a:pt x="106" y="78"/>
                </a:cubicBezTo>
                <a:cubicBezTo>
                  <a:pt x="104" y="88"/>
                  <a:pt x="100" y="85"/>
                  <a:pt x="95" y="85"/>
                </a:cubicBezTo>
                <a:cubicBezTo>
                  <a:pt x="90" y="85"/>
                  <a:pt x="87" y="78"/>
                  <a:pt x="84" y="82"/>
                </a:cubicBezTo>
                <a:cubicBezTo>
                  <a:pt x="82" y="87"/>
                  <a:pt x="80" y="86"/>
                  <a:pt x="75" y="86"/>
                </a:cubicBezTo>
                <a:cubicBezTo>
                  <a:pt x="70" y="86"/>
                  <a:pt x="67" y="83"/>
                  <a:pt x="64" y="87"/>
                </a:cubicBezTo>
                <a:cubicBezTo>
                  <a:pt x="62" y="91"/>
                  <a:pt x="54" y="91"/>
                  <a:pt x="54" y="91"/>
                </a:cubicBezTo>
                <a:cubicBezTo>
                  <a:pt x="54" y="91"/>
                  <a:pt x="39" y="95"/>
                  <a:pt x="37" y="91"/>
                </a:cubicBezTo>
                <a:cubicBezTo>
                  <a:pt x="36" y="86"/>
                  <a:pt x="28" y="80"/>
                  <a:pt x="33" y="74"/>
                </a:cubicBezTo>
                <a:cubicBezTo>
                  <a:pt x="37" y="68"/>
                  <a:pt x="40" y="62"/>
                  <a:pt x="43" y="58"/>
                </a:cubicBezTo>
                <a:cubicBezTo>
                  <a:pt x="47" y="53"/>
                  <a:pt x="43" y="48"/>
                  <a:pt x="54" y="46"/>
                </a:cubicBezTo>
                <a:cubicBezTo>
                  <a:pt x="64" y="44"/>
                  <a:pt x="73" y="35"/>
                  <a:pt x="81" y="44"/>
                </a:cubicBezTo>
                <a:cubicBezTo>
                  <a:pt x="89" y="52"/>
                  <a:pt x="91" y="58"/>
                  <a:pt x="110" y="58"/>
                </a:cubicBezTo>
                <a:cubicBezTo>
                  <a:pt x="129" y="58"/>
                  <a:pt x="140" y="61"/>
                  <a:pt x="143" y="51"/>
                </a:cubicBezTo>
                <a:cubicBezTo>
                  <a:pt x="147" y="40"/>
                  <a:pt x="147" y="35"/>
                  <a:pt x="155" y="33"/>
                </a:cubicBezTo>
                <a:cubicBezTo>
                  <a:pt x="163" y="31"/>
                  <a:pt x="177" y="25"/>
                  <a:pt x="165" y="8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1" name="Freeform 637"/>
          <p:cNvSpPr>
            <a:spLocks/>
          </p:cNvSpPr>
          <p:nvPr userDrawn="1"/>
        </p:nvSpPr>
        <p:spPr bwMode="auto">
          <a:xfrm>
            <a:off x="8579527" y="4946018"/>
            <a:ext cx="43552" cy="87105"/>
          </a:xfrm>
          <a:custGeom>
            <a:avLst/>
            <a:gdLst>
              <a:gd name="T0" fmla="*/ 2147483646 w 47"/>
              <a:gd name="T1" fmla="*/ 0 h 93"/>
              <a:gd name="T2" fmla="*/ 2147483646 w 47"/>
              <a:gd name="T3" fmla="*/ 2147483646 h 93"/>
              <a:gd name="T4" fmla="*/ 2147483646 w 47"/>
              <a:gd name="T5" fmla="*/ 2147483646 h 93"/>
              <a:gd name="T6" fmla="*/ 2147483646 w 47"/>
              <a:gd name="T7" fmla="*/ 2147483646 h 93"/>
              <a:gd name="T8" fmla="*/ 2147483646 w 47"/>
              <a:gd name="T9" fmla="*/ 2147483646 h 93"/>
              <a:gd name="T10" fmla="*/ 2147483646 w 47"/>
              <a:gd name="T11" fmla="*/ 2147483646 h 93"/>
              <a:gd name="T12" fmla="*/ 2147483646 w 47"/>
              <a:gd name="T13" fmla="*/ 2147483646 h 93"/>
              <a:gd name="T14" fmla="*/ 2147483646 w 47"/>
              <a:gd name="T15" fmla="*/ 2147483646 h 93"/>
              <a:gd name="T16" fmla="*/ 2147483646 w 47"/>
              <a:gd name="T17" fmla="*/ 2147483646 h 93"/>
              <a:gd name="T18" fmla="*/ 2147483646 w 47"/>
              <a:gd name="T19" fmla="*/ 2147483646 h 93"/>
              <a:gd name="T20" fmla="*/ 2147483646 w 47"/>
              <a:gd name="T21" fmla="*/ 2147483646 h 93"/>
              <a:gd name="T22" fmla="*/ 2147483646 w 47"/>
              <a:gd name="T23" fmla="*/ 2147483646 h 93"/>
              <a:gd name="T24" fmla="*/ 2147483646 w 47"/>
              <a:gd name="T25" fmla="*/ 2147483646 h 93"/>
              <a:gd name="T26" fmla="*/ 2147483646 w 47"/>
              <a:gd name="T27" fmla="*/ 2147483646 h 93"/>
              <a:gd name="T28" fmla="*/ 2147483646 w 47"/>
              <a:gd name="T29" fmla="*/ 2147483646 h 93"/>
              <a:gd name="T30" fmla="*/ 2147483646 w 47"/>
              <a:gd name="T31" fmla="*/ 0 h 9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7"/>
              <a:gd name="T49" fmla="*/ 0 h 93"/>
              <a:gd name="T50" fmla="*/ 47 w 47"/>
              <a:gd name="T51" fmla="*/ 93 h 9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7" h="93">
                <a:moveTo>
                  <a:pt x="26" y="0"/>
                </a:moveTo>
                <a:cubicBezTo>
                  <a:pt x="21" y="0"/>
                  <a:pt x="15" y="4"/>
                  <a:pt x="9" y="16"/>
                </a:cubicBezTo>
                <a:cubicBezTo>
                  <a:pt x="3" y="28"/>
                  <a:pt x="0" y="29"/>
                  <a:pt x="7" y="32"/>
                </a:cubicBezTo>
                <a:cubicBezTo>
                  <a:pt x="14" y="36"/>
                  <a:pt x="14" y="43"/>
                  <a:pt x="12" y="48"/>
                </a:cubicBezTo>
                <a:cubicBezTo>
                  <a:pt x="9" y="52"/>
                  <a:pt x="8" y="52"/>
                  <a:pt x="9" y="57"/>
                </a:cubicBezTo>
                <a:cubicBezTo>
                  <a:pt x="10" y="62"/>
                  <a:pt x="1" y="65"/>
                  <a:pt x="5" y="72"/>
                </a:cubicBezTo>
                <a:cubicBezTo>
                  <a:pt x="8" y="79"/>
                  <a:pt x="13" y="82"/>
                  <a:pt x="21" y="88"/>
                </a:cubicBezTo>
                <a:cubicBezTo>
                  <a:pt x="29" y="93"/>
                  <a:pt x="5" y="65"/>
                  <a:pt x="20" y="66"/>
                </a:cubicBezTo>
                <a:cubicBezTo>
                  <a:pt x="35" y="68"/>
                  <a:pt x="35" y="65"/>
                  <a:pt x="40" y="64"/>
                </a:cubicBezTo>
                <a:cubicBezTo>
                  <a:pt x="44" y="63"/>
                  <a:pt x="47" y="44"/>
                  <a:pt x="40" y="48"/>
                </a:cubicBezTo>
                <a:cubicBezTo>
                  <a:pt x="33" y="51"/>
                  <a:pt x="26" y="54"/>
                  <a:pt x="23" y="50"/>
                </a:cubicBezTo>
                <a:cubicBezTo>
                  <a:pt x="21" y="47"/>
                  <a:pt x="20" y="36"/>
                  <a:pt x="26" y="36"/>
                </a:cubicBezTo>
                <a:cubicBezTo>
                  <a:pt x="32" y="36"/>
                  <a:pt x="34" y="35"/>
                  <a:pt x="35" y="30"/>
                </a:cubicBezTo>
                <a:cubicBezTo>
                  <a:pt x="36" y="25"/>
                  <a:pt x="29" y="5"/>
                  <a:pt x="26" y="17"/>
                </a:cubicBezTo>
                <a:cubicBezTo>
                  <a:pt x="22" y="29"/>
                  <a:pt x="13" y="29"/>
                  <a:pt x="16" y="22"/>
                </a:cubicBezTo>
                <a:cubicBezTo>
                  <a:pt x="20" y="15"/>
                  <a:pt x="26" y="0"/>
                  <a:pt x="2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2" name="Freeform 638"/>
          <p:cNvSpPr>
            <a:spLocks/>
          </p:cNvSpPr>
          <p:nvPr userDrawn="1"/>
        </p:nvSpPr>
        <p:spPr bwMode="auto">
          <a:xfrm>
            <a:off x="8537649" y="5038148"/>
            <a:ext cx="21776" cy="35176"/>
          </a:xfrm>
          <a:custGeom>
            <a:avLst/>
            <a:gdLst>
              <a:gd name="T0" fmla="*/ 2147483646 w 24"/>
              <a:gd name="T1" fmla="*/ 2147483646 h 38"/>
              <a:gd name="T2" fmla="*/ 0 w 24"/>
              <a:gd name="T3" fmla="*/ 2147483646 h 38"/>
              <a:gd name="T4" fmla="*/ 2147483646 w 24"/>
              <a:gd name="T5" fmla="*/ 2147483646 h 38"/>
              <a:gd name="T6" fmla="*/ 2147483646 w 24"/>
              <a:gd name="T7" fmla="*/ 2147483646 h 38"/>
              <a:gd name="T8" fmla="*/ 2147483646 w 24"/>
              <a:gd name="T9" fmla="*/ 2147483646 h 38"/>
              <a:gd name="T10" fmla="*/ 2147483646 w 24"/>
              <a:gd name="T11" fmla="*/ 2147483646 h 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4"/>
              <a:gd name="T19" fmla="*/ 0 h 38"/>
              <a:gd name="T20" fmla="*/ 24 w 24"/>
              <a:gd name="T21" fmla="*/ 38 h 3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4" h="38">
                <a:moveTo>
                  <a:pt x="20" y="15"/>
                </a:moveTo>
                <a:cubicBezTo>
                  <a:pt x="16" y="17"/>
                  <a:pt x="0" y="0"/>
                  <a:pt x="0" y="15"/>
                </a:cubicBezTo>
                <a:cubicBezTo>
                  <a:pt x="0" y="31"/>
                  <a:pt x="6" y="38"/>
                  <a:pt x="11" y="34"/>
                </a:cubicBezTo>
                <a:cubicBezTo>
                  <a:pt x="16" y="31"/>
                  <a:pt x="7" y="30"/>
                  <a:pt x="16" y="31"/>
                </a:cubicBezTo>
                <a:cubicBezTo>
                  <a:pt x="24" y="32"/>
                  <a:pt x="22" y="27"/>
                  <a:pt x="22" y="24"/>
                </a:cubicBezTo>
                <a:cubicBezTo>
                  <a:pt x="22" y="20"/>
                  <a:pt x="20" y="15"/>
                  <a:pt x="20" y="1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3" name="Freeform 639"/>
          <p:cNvSpPr>
            <a:spLocks/>
          </p:cNvSpPr>
          <p:nvPr userDrawn="1"/>
        </p:nvSpPr>
        <p:spPr bwMode="auto">
          <a:xfrm>
            <a:off x="8656582" y="5007998"/>
            <a:ext cx="87105" cy="48577"/>
          </a:xfrm>
          <a:custGeom>
            <a:avLst/>
            <a:gdLst>
              <a:gd name="T0" fmla="*/ 2147483646 w 93"/>
              <a:gd name="T1" fmla="*/ 2147483646 h 52"/>
              <a:gd name="T2" fmla="*/ 2147483646 w 93"/>
              <a:gd name="T3" fmla="*/ 2147483646 h 52"/>
              <a:gd name="T4" fmla="*/ 2147483646 w 93"/>
              <a:gd name="T5" fmla="*/ 2147483646 h 52"/>
              <a:gd name="T6" fmla="*/ 2147483646 w 93"/>
              <a:gd name="T7" fmla="*/ 2147483646 h 52"/>
              <a:gd name="T8" fmla="*/ 2147483646 w 93"/>
              <a:gd name="T9" fmla="*/ 2147483646 h 52"/>
              <a:gd name="T10" fmla="*/ 2147483646 w 93"/>
              <a:gd name="T11" fmla="*/ 2147483646 h 52"/>
              <a:gd name="T12" fmla="*/ 2147483646 w 93"/>
              <a:gd name="T13" fmla="*/ 2147483646 h 52"/>
              <a:gd name="T14" fmla="*/ 2147483646 w 93"/>
              <a:gd name="T15" fmla="*/ 2147483646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93"/>
              <a:gd name="T25" fmla="*/ 0 h 52"/>
              <a:gd name="T26" fmla="*/ 93 w 93"/>
              <a:gd name="T27" fmla="*/ 52 h 5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93" h="52">
                <a:moveTo>
                  <a:pt x="55" y="16"/>
                </a:moveTo>
                <a:cubicBezTo>
                  <a:pt x="44" y="18"/>
                  <a:pt x="42" y="0"/>
                  <a:pt x="31" y="12"/>
                </a:cubicBezTo>
                <a:cubicBezTo>
                  <a:pt x="19" y="24"/>
                  <a:pt x="0" y="40"/>
                  <a:pt x="18" y="44"/>
                </a:cubicBezTo>
                <a:cubicBezTo>
                  <a:pt x="35" y="47"/>
                  <a:pt x="33" y="45"/>
                  <a:pt x="47" y="49"/>
                </a:cubicBezTo>
                <a:cubicBezTo>
                  <a:pt x="61" y="52"/>
                  <a:pt x="61" y="43"/>
                  <a:pt x="75" y="44"/>
                </a:cubicBezTo>
                <a:cubicBezTo>
                  <a:pt x="89" y="45"/>
                  <a:pt x="91" y="37"/>
                  <a:pt x="92" y="33"/>
                </a:cubicBezTo>
                <a:cubicBezTo>
                  <a:pt x="93" y="30"/>
                  <a:pt x="85" y="16"/>
                  <a:pt x="85" y="16"/>
                </a:cubicBezTo>
                <a:lnTo>
                  <a:pt x="55" y="1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4" name="Freeform 640"/>
          <p:cNvSpPr>
            <a:spLocks/>
          </p:cNvSpPr>
          <p:nvPr userDrawn="1"/>
        </p:nvSpPr>
        <p:spPr bwMode="auto">
          <a:xfrm>
            <a:off x="8705159" y="5056574"/>
            <a:ext cx="41877" cy="56953"/>
          </a:xfrm>
          <a:custGeom>
            <a:avLst/>
            <a:gdLst>
              <a:gd name="T0" fmla="*/ 2147483646 w 44"/>
              <a:gd name="T1" fmla="*/ 2147483646 h 62"/>
              <a:gd name="T2" fmla="*/ 2147483646 w 44"/>
              <a:gd name="T3" fmla="*/ 2147483646 h 62"/>
              <a:gd name="T4" fmla="*/ 2147483646 w 44"/>
              <a:gd name="T5" fmla="*/ 2147483646 h 62"/>
              <a:gd name="T6" fmla="*/ 2147483646 w 44"/>
              <a:gd name="T7" fmla="*/ 2147483646 h 62"/>
              <a:gd name="T8" fmla="*/ 2147483646 w 44"/>
              <a:gd name="T9" fmla="*/ 2147483646 h 62"/>
              <a:gd name="T10" fmla="*/ 2147483646 w 44"/>
              <a:gd name="T11" fmla="*/ 2147483646 h 62"/>
              <a:gd name="T12" fmla="*/ 2147483646 w 44"/>
              <a:gd name="T13" fmla="*/ 2147483646 h 6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4"/>
              <a:gd name="T22" fmla="*/ 0 h 62"/>
              <a:gd name="T23" fmla="*/ 44 w 44"/>
              <a:gd name="T24" fmla="*/ 62 h 6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4" h="62">
                <a:moveTo>
                  <a:pt x="25" y="13"/>
                </a:moveTo>
                <a:cubicBezTo>
                  <a:pt x="17" y="15"/>
                  <a:pt x="0" y="0"/>
                  <a:pt x="5" y="22"/>
                </a:cubicBezTo>
                <a:cubicBezTo>
                  <a:pt x="10" y="44"/>
                  <a:pt x="18" y="35"/>
                  <a:pt x="18" y="45"/>
                </a:cubicBezTo>
                <a:cubicBezTo>
                  <a:pt x="18" y="55"/>
                  <a:pt x="12" y="62"/>
                  <a:pt x="21" y="60"/>
                </a:cubicBezTo>
                <a:cubicBezTo>
                  <a:pt x="29" y="58"/>
                  <a:pt x="36" y="47"/>
                  <a:pt x="39" y="44"/>
                </a:cubicBezTo>
                <a:cubicBezTo>
                  <a:pt x="42" y="40"/>
                  <a:pt x="44" y="32"/>
                  <a:pt x="42" y="28"/>
                </a:cubicBezTo>
                <a:cubicBezTo>
                  <a:pt x="39" y="25"/>
                  <a:pt x="25" y="13"/>
                  <a:pt x="25" y="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5" name="Freeform 641"/>
          <p:cNvSpPr>
            <a:spLocks/>
          </p:cNvSpPr>
          <p:nvPr userDrawn="1"/>
        </p:nvSpPr>
        <p:spPr bwMode="auto">
          <a:xfrm>
            <a:off x="8475671" y="5219059"/>
            <a:ext cx="83755" cy="45227"/>
          </a:xfrm>
          <a:custGeom>
            <a:avLst/>
            <a:gdLst>
              <a:gd name="T0" fmla="*/ 2147483646 w 89"/>
              <a:gd name="T1" fmla="*/ 0 h 47"/>
              <a:gd name="T2" fmla="*/ 2147483646 w 89"/>
              <a:gd name="T3" fmla="*/ 2147483646 h 47"/>
              <a:gd name="T4" fmla="*/ 2147483646 w 89"/>
              <a:gd name="T5" fmla="*/ 2147483646 h 47"/>
              <a:gd name="T6" fmla="*/ 2147483646 w 89"/>
              <a:gd name="T7" fmla="*/ 2147483646 h 47"/>
              <a:gd name="T8" fmla="*/ 2147483646 w 89"/>
              <a:gd name="T9" fmla="*/ 2147483646 h 47"/>
              <a:gd name="T10" fmla="*/ 2147483646 w 89"/>
              <a:gd name="T11" fmla="*/ 2147483646 h 47"/>
              <a:gd name="T12" fmla="*/ 2147483646 w 89"/>
              <a:gd name="T13" fmla="*/ 0 h 4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9"/>
              <a:gd name="T22" fmla="*/ 0 h 47"/>
              <a:gd name="T23" fmla="*/ 89 w 89"/>
              <a:gd name="T24" fmla="*/ 47 h 4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9" h="47">
                <a:moveTo>
                  <a:pt x="89" y="0"/>
                </a:moveTo>
                <a:cubicBezTo>
                  <a:pt x="73" y="2"/>
                  <a:pt x="51" y="0"/>
                  <a:pt x="48" y="7"/>
                </a:cubicBezTo>
                <a:cubicBezTo>
                  <a:pt x="45" y="13"/>
                  <a:pt x="34" y="19"/>
                  <a:pt x="28" y="22"/>
                </a:cubicBezTo>
                <a:cubicBezTo>
                  <a:pt x="21" y="25"/>
                  <a:pt x="0" y="16"/>
                  <a:pt x="14" y="32"/>
                </a:cubicBezTo>
                <a:cubicBezTo>
                  <a:pt x="28" y="47"/>
                  <a:pt x="34" y="33"/>
                  <a:pt x="42" y="29"/>
                </a:cubicBezTo>
                <a:cubicBezTo>
                  <a:pt x="50" y="24"/>
                  <a:pt x="67" y="16"/>
                  <a:pt x="67" y="16"/>
                </a:cubicBezTo>
                <a:lnTo>
                  <a:pt x="89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6" name="Freeform 642"/>
          <p:cNvSpPr>
            <a:spLocks/>
          </p:cNvSpPr>
          <p:nvPr userDrawn="1"/>
        </p:nvSpPr>
        <p:spPr bwMode="auto">
          <a:xfrm>
            <a:off x="8390242" y="5209008"/>
            <a:ext cx="77055" cy="21776"/>
          </a:xfrm>
          <a:custGeom>
            <a:avLst/>
            <a:gdLst>
              <a:gd name="T0" fmla="*/ 2147483646 w 83"/>
              <a:gd name="T1" fmla="*/ 2147483646 h 23"/>
              <a:gd name="T2" fmla="*/ 2147483646 w 83"/>
              <a:gd name="T3" fmla="*/ 2147483646 h 23"/>
              <a:gd name="T4" fmla="*/ 2147483646 w 83"/>
              <a:gd name="T5" fmla="*/ 2147483646 h 23"/>
              <a:gd name="T6" fmla="*/ 2147483646 w 83"/>
              <a:gd name="T7" fmla="*/ 2147483646 h 23"/>
              <a:gd name="T8" fmla="*/ 2147483646 w 83"/>
              <a:gd name="T9" fmla="*/ 2147483646 h 23"/>
              <a:gd name="T10" fmla="*/ 2147483646 w 83"/>
              <a:gd name="T11" fmla="*/ 2147483646 h 23"/>
              <a:gd name="T12" fmla="*/ 2147483646 w 83"/>
              <a:gd name="T13" fmla="*/ 2147483646 h 2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3"/>
              <a:gd name="T22" fmla="*/ 0 h 23"/>
              <a:gd name="T23" fmla="*/ 83 w 83"/>
              <a:gd name="T24" fmla="*/ 23 h 2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3" h="23">
                <a:moveTo>
                  <a:pt x="82" y="1"/>
                </a:moveTo>
                <a:cubicBezTo>
                  <a:pt x="71" y="8"/>
                  <a:pt x="52" y="11"/>
                  <a:pt x="46" y="11"/>
                </a:cubicBezTo>
                <a:cubicBezTo>
                  <a:pt x="39" y="11"/>
                  <a:pt x="30" y="8"/>
                  <a:pt x="25" y="8"/>
                </a:cubicBezTo>
                <a:cubicBezTo>
                  <a:pt x="21" y="8"/>
                  <a:pt x="0" y="0"/>
                  <a:pt x="10" y="11"/>
                </a:cubicBezTo>
                <a:cubicBezTo>
                  <a:pt x="19" y="22"/>
                  <a:pt x="49" y="23"/>
                  <a:pt x="55" y="23"/>
                </a:cubicBezTo>
                <a:cubicBezTo>
                  <a:pt x="61" y="23"/>
                  <a:pt x="74" y="23"/>
                  <a:pt x="78" y="19"/>
                </a:cubicBezTo>
                <a:cubicBezTo>
                  <a:pt x="83" y="14"/>
                  <a:pt x="82" y="1"/>
                  <a:pt x="82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7" name="Freeform 643"/>
          <p:cNvSpPr>
            <a:spLocks/>
          </p:cNvSpPr>
          <p:nvPr userDrawn="1"/>
        </p:nvSpPr>
        <p:spPr bwMode="auto">
          <a:xfrm>
            <a:off x="8388567" y="5229109"/>
            <a:ext cx="40203" cy="43552"/>
          </a:xfrm>
          <a:custGeom>
            <a:avLst/>
            <a:gdLst>
              <a:gd name="T0" fmla="*/ 2147483646 w 43"/>
              <a:gd name="T1" fmla="*/ 2147483646 h 47"/>
              <a:gd name="T2" fmla="*/ 2147483646 w 43"/>
              <a:gd name="T3" fmla="*/ 2147483646 h 47"/>
              <a:gd name="T4" fmla="*/ 2147483646 w 43"/>
              <a:gd name="T5" fmla="*/ 2147483646 h 47"/>
              <a:gd name="T6" fmla="*/ 2147483646 w 43"/>
              <a:gd name="T7" fmla="*/ 2147483646 h 47"/>
              <a:gd name="T8" fmla="*/ 2147483646 w 43"/>
              <a:gd name="T9" fmla="*/ 2147483646 h 47"/>
              <a:gd name="T10" fmla="*/ 2147483646 w 43"/>
              <a:gd name="T11" fmla="*/ 2147483646 h 4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3"/>
              <a:gd name="T19" fmla="*/ 0 h 47"/>
              <a:gd name="T20" fmla="*/ 43 w 43"/>
              <a:gd name="T21" fmla="*/ 47 h 4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3" h="47">
                <a:moveTo>
                  <a:pt x="18" y="8"/>
                </a:moveTo>
                <a:cubicBezTo>
                  <a:pt x="14" y="8"/>
                  <a:pt x="11" y="0"/>
                  <a:pt x="6" y="8"/>
                </a:cubicBezTo>
                <a:cubicBezTo>
                  <a:pt x="1" y="15"/>
                  <a:pt x="0" y="20"/>
                  <a:pt x="9" y="26"/>
                </a:cubicBezTo>
                <a:cubicBezTo>
                  <a:pt x="18" y="33"/>
                  <a:pt x="18" y="28"/>
                  <a:pt x="29" y="37"/>
                </a:cubicBezTo>
                <a:cubicBezTo>
                  <a:pt x="40" y="47"/>
                  <a:pt x="40" y="42"/>
                  <a:pt x="42" y="37"/>
                </a:cubicBezTo>
                <a:cubicBezTo>
                  <a:pt x="43" y="33"/>
                  <a:pt x="18" y="8"/>
                  <a:pt x="18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8" name="Freeform 644"/>
          <p:cNvSpPr>
            <a:spLocks/>
          </p:cNvSpPr>
          <p:nvPr userDrawn="1"/>
        </p:nvSpPr>
        <p:spPr bwMode="auto">
          <a:xfrm>
            <a:off x="8351715" y="5207332"/>
            <a:ext cx="30152" cy="20101"/>
          </a:xfrm>
          <a:custGeom>
            <a:avLst/>
            <a:gdLst>
              <a:gd name="T0" fmla="*/ 2147483646 w 32"/>
              <a:gd name="T1" fmla="*/ 0 h 22"/>
              <a:gd name="T2" fmla="*/ 2147483646 w 32"/>
              <a:gd name="T3" fmla="*/ 2147483646 h 22"/>
              <a:gd name="T4" fmla="*/ 2147483646 w 32"/>
              <a:gd name="T5" fmla="*/ 2147483646 h 22"/>
              <a:gd name="T6" fmla="*/ 2147483646 w 32"/>
              <a:gd name="T7" fmla="*/ 2147483646 h 22"/>
              <a:gd name="T8" fmla="*/ 2147483646 w 32"/>
              <a:gd name="T9" fmla="*/ 0 h 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"/>
              <a:gd name="T16" fmla="*/ 0 h 22"/>
              <a:gd name="T17" fmla="*/ 32 w 32"/>
              <a:gd name="T18" fmla="*/ 22 h 2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" h="22">
                <a:moveTo>
                  <a:pt x="17" y="0"/>
                </a:moveTo>
                <a:cubicBezTo>
                  <a:pt x="9" y="7"/>
                  <a:pt x="0" y="8"/>
                  <a:pt x="3" y="14"/>
                </a:cubicBezTo>
                <a:cubicBezTo>
                  <a:pt x="6" y="21"/>
                  <a:pt x="10" y="22"/>
                  <a:pt x="18" y="21"/>
                </a:cubicBezTo>
                <a:cubicBezTo>
                  <a:pt x="26" y="19"/>
                  <a:pt x="32" y="14"/>
                  <a:pt x="32" y="14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9" name="Freeform 645"/>
          <p:cNvSpPr>
            <a:spLocks/>
          </p:cNvSpPr>
          <p:nvPr userDrawn="1"/>
        </p:nvSpPr>
        <p:spPr bwMode="auto">
          <a:xfrm>
            <a:off x="8304812" y="5209009"/>
            <a:ext cx="23451" cy="18425"/>
          </a:xfrm>
          <a:custGeom>
            <a:avLst/>
            <a:gdLst>
              <a:gd name="T0" fmla="*/ 2147483646 w 25"/>
              <a:gd name="T1" fmla="*/ 0 h 19"/>
              <a:gd name="T2" fmla="*/ 2147483646 w 25"/>
              <a:gd name="T3" fmla="*/ 2147483646 h 19"/>
              <a:gd name="T4" fmla="*/ 2147483646 w 25"/>
              <a:gd name="T5" fmla="*/ 2147483646 h 19"/>
              <a:gd name="T6" fmla="*/ 2147483646 w 25"/>
              <a:gd name="T7" fmla="*/ 0 h 19"/>
              <a:gd name="T8" fmla="*/ 0 60000 65536"/>
              <a:gd name="T9" fmla="*/ 0 60000 65536"/>
              <a:gd name="T10" fmla="*/ 0 60000 65536"/>
              <a:gd name="T11" fmla="*/ 0 60000 65536"/>
              <a:gd name="T12" fmla="*/ 0 w 25"/>
              <a:gd name="T13" fmla="*/ 0 h 19"/>
              <a:gd name="T14" fmla="*/ 25 w 25"/>
              <a:gd name="T15" fmla="*/ 19 h 1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5" h="19">
                <a:moveTo>
                  <a:pt x="15" y="0"/>
                </a:moveTo>
                <a:cubicBezTo>
                  <a:pt x="10" y="0"/>
                  <a:pt x="0" y="7"/>
                  <a:pt x="8" y="13"/>
                </a:cubicBezTo>
                <a:cubicBezTo>
                  <a:pt x="16" y="19"/>
                  <a:pt x="25" y="16"/>
                  <a:pt x="25" y="16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0" name="Freeform 646"/>
          <p:cNvSpPr>
            <a:spLocks/>
          </p:cNvSpPr>
          <p:nvPr userDrawn="1"/>
        </p:nvSpPr>
        <p:spPr bwMode="auto">
          <a:xfrm>
            <a:off x="8050197" y="5147030"/>
            <a:ext cx="239539" cy="75380"/>
          </a:xfrm>
          <a:custGeom>
            <a:avLst/>
            <a:gdLst>
              <a:gd name="T0" fmla="*/ 2147483646 w 257"/>
              <a:gd name="T1" fmla="*/ 2147483646 h 80"/>
              <a:gd name="T2" fmla="*/ 2147483646 w 257"/>
              <a:gd name="T3" fmla="*/ 2147483646 h 80"/>
              <a:gd name="T4" fmla="*/ 2147483646 w 257"/>
              <a:gd name="T5" fmla="*/ 2147483646 h 80"/>
              <a:gd name="T6" fmla="*/ 2147483646 w 257"/>
              <a:gd name="T7" fmla="*/ 2147483646 h 80"/>
              <a:gd name="T8" fmla="*/ 2147483646 w 257"/>
              <a:gd name="T9" fmla="*/ 2147483646 h 80"/>
              <a:gd name="T10" fmla="*/ 2147483646 w 257"/>
              <a:gd name="T11" fmla="*/ 2147483646 h 80"/>
              <a:gd name="T12" fmla="*/ 2147483646 w 257"/>
              <a:gd name="T13" fmla="*/ 2147483646 h 80"/>
              <a:gd name="T14" fmla="*/ 2147483646 w 257"/>
              <a:gd name="T15" fmla="*/ 2147483646 h 80"/>
              <a:gd name="T16" fmla="*/ 2147483646 w 257"/>
              <a:gd name="T17" fmla="*/ 2147483646 h 80"/>
              <a:gd name="T18" fmla="*/ 2147483646 w 257"/>
              <a:gd name="T19" fmla="*/ 2147483646 h 80"/>
              <a:gd name="T20" fmla="*/ 2147483646 w 257"/>
              <a:gd name="T21" fmla="*/ 2147483646 h 80"/>
              <a:gd name="T22" fmla="*/ 2147483646 w 257"/>
              <a:gd name="T23" fmla="*/ 2147483646 h 80"/>
              <a:gd name="T24" fmla="*/ 2147483646 w 257"/>
              <a:gd name="T25" fmla="*/ 2147483646 h 80"/>
              <a:gd name="T26" fmla="*/ 2147483646 w 257"/>
              <a:gd name="T27" fmla="*/ 2147483646 h 80"/>
              <a:gd name="T28" fmla="*/ 0 w 257"/>
              <a:gd name="T29" fmla="*/ 2147483646 h 80"/>
              <a:gd name="T30" fmla="*/ 2147483646 w 257"/>
              <a:gd name="T31" fmla="*/ 2147483646 h 80"/>
              <a:gd name="T32" fmla="*/ 2147483646 w 257"/>
              <a:gd name="T33" fmla="*/ 2147483646 h 80"/>
              <a:gd name="T34" fmla="*/ 2147483646 w 257"/>
              <a:gd name="T35" fmla="*/ 2147483646 h 80"/>
              <a:gd name="T36" fmla="*/ 2147483646 w 257"/>
              <a:gd name="T37" fmla="*/ 2147483646 h 80"/>
              <a:gd name="T38" fmla="*/ 2147483646 w 257"/>
              <a:gd name="T39" fmla="*/ 2147483646 h 80"/>
              <a:gd name="T40" fmla="*/ 2147483646 w 257"/>
              <a:gd name="T41" fmla="*/ 2147483646 h 80"/>
              <a:gd name="T42" fmla="*/ 2147483646 w 257"/>
              <a:gd name="T43" fmla="*/ 2147483646 h 80"/>
              <a:gd name="T44" fmla="*/ 2147483646 w 257"/>
              <a:gd name="T45" fmla="*/ 2147483646 h 80"/>
              <a:gd name="T46" fmla="*/ 2147483646 w 257"/>
              <a:gd name="T47" fmla="*/ 2147483646 h 80"/>
              <a:gd name="T48" fmla="*/ 2147483646 w 257"/>
              <a:gd name="T49" fmla="*/ 2147483646 h 8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57"/>
              <a:gd name="T76" fmla="*/ 0 h 80"/>
              <a:gd name="T77" fmla="*/ 257 w 257"/>
              <a:gd name="T78" fmla="*/ 80 h 8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57" h="80">
                <a:moveTo>
                  <a:pt x="257" y="69"/>
                </a:moveTo>
                <a:cubicBezTo>
                  <a:pt x="254" y="63"/>
                  <a:pt x="235" y="60"/>
                  <a:pt x="235" y="60"/>
                </a:cubicBezTo>
                <a:cubicBezTo>
                  <a:pt x="235" y="60"/>
                  <a:pt x="225" y="58"/>
                  <a:pt x="222" y="53"/>
                </a:cubicBezTo>
                <a:cubicBezTo>
                  <a:pt x="219" y="49"/>
                  <a:pt x="205" y="50"/>
                  <a:pt x="205" y="50"/>
                </a:cubicBezTo>
                <a:cubicBezTo>
                  <a:pt x="190" y="35"/>
                  <a:pt x="190" y="35"/>
                  <a:pt x="190" y="35"/>
                </a:cubicBezTo>
                <a:cubicBezTo>
                  <a:pt x="190" y="35"/>
                  <a:pt x="177" y="17"/>
                  <a:pt x="172" y="19"/>
                </a:cubicBezTo>
                <a:cubicBezTo>
                  <a:pt x="168" y="20"/>
                  <a:pt x="158" y="20"/>
                  <a:pt x="158" y="20"/>
                </a:cubicBezTo>
                <a:cubicBezTo>
                  <a:pt x="158" y="20"/>
                  <a:pt x="147" y="10"/>
                  <a:pt x="144" y="14"/>
                </a:cubicBezTo>
                <a:cubicBezTo>
                  <a:pt x="135" y="28"/>
                  <a:pt x="128" y="44"/>
                  <a:pt x="122" y="42"/>
                </a:cubicBezTo>
                <a:cubicBezTo>
                  <a:pt x="116" y="41"/>
                  <a:pt x="107" y="27"/>
                  <a:pt x="99" y="28"/>
                </a:cubicBezTo>
                <a:cubicBezTo>
                  <a:pt x="91" y="30"/>
                  <a:pt x="83" y="35"/>
                  <a:pt x="80" y="25"/>
                </a:cubicBezTo>
                <a:cubicBezTo>
                  <a:pt x="77" y="16"/>
                  <a:pt x="86" y="0"/>
                  <a:pt x="66" y="6"/>
                </a:cubicBezTo>
                <a:cubicBezTo>
                  <a:pt x="46" y="13"/>
                  <a:pt x="36" y="2"/>
                  <a:pt x="28" y="10"/>
                </a:cubicBezTo>
                <a:cubicBezTo>
                  <a:pt x="20" y="17"/>
                  <a:pt x="14" y="6"/>
                  <a:pt x="10" y="14"/>
                </a:cubicBezTo>
                <a:cubicBezTo>
                  <a:pt x="5" y="22"/>
                  <a:pt x="0" y="33"/>
                  <a:pt x="0" y="33"/>
                </a:cubicBezTo>
                <a:cubicBezTo>
                  <a:pt x="0" y="33"/>
                  <a:pt x="19" y="27"/>
                  <a:pt x="31" y="30"/>
                </a:cubicBezTo>
                <a:cubicBezTo>
                  <a:pt x="44" y="33"/>
                  <a:pt x="47" y="27"/>
                  <a:pt x="55" y="41"/>
                </a:cubicBezTo>
                <a:cubicBezTo>
                  <a:pt x="63" y="55"/>
                  <a:pt x="74" y="58"/>
                  <a:pt x="78" y="55"/>
                </a:cubicBezTo>
                <a:cubicBezTo>
                  <a:pt x="83" y="52"/>
                  <a:pt x="86" y="24"/>
                  <a:pt x="96" y="46"/>
                </a:cubicBezTo>
                <a:cubicBezTo>
                  <a:pt x="105" y="67"/>
                  <a:pt x="108" y="64"/>
                  <a:pt x="121" y="67"/>
                </a:cubicBezTo>
                <a:cubicBezTo>
                  <a:pt x="133" y="71"/>
                  <a:pt x="130" y="55"/>
                  <a:pt x="146" y="63"/>
                </a:cubicBezTo>
                <a:cubicBezTo>
                  <a:pt x="161" y="71"/>
                  <a:pt x="168" y="58"/>
                  <a:pt x="174" y="63"/>
                </a:cubicBezTo>
                <a:cubicBezTo>
                  <a:pt x="180" y="67"/>
                  <a:pt x="191" y="56"/>
                  <a:pt x="196" y="63"/>
                </a:cubicBezTo>
                <a:cubicBezTo>
                  <a:pt x="200" y="69"/>
                  <a:pt x="205" y="64"/>
                  <a:pt x="213" y="72"/>
                </a:cubicBezTo>
                <a:cubicBezTo>
                  <a:pt x="221" y="80"/>
                  <a:pt x="257" y="69"/>
                  <a:pt x="257" y="6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1" name="Freeform 647"/>
          <p:cNvSpPr>
            <a:spLocks/>
          </p:cNvSpPr>
          <p:nvPr userDrawn="1"/>
        </p:nvSpPr>
        <p:spPr bwMode="auto">
          <a:xfrm>
            <a:off x="7787208" y="4860590"/>
            <a:ext cx="283091" cy="301516"/>
          </a:xfrm>
          <a:custGeom>
            <a:avLst/>
            <a:gdLst>
              <a:gd name="T0" fmla="*/ 2147483646 w 302"/>
              <a:gd name="T1" fmla="*/ 2147483646 h 324"/>
              <a:gd name="T2" fmla="*/ 2147483646 w 302"/>
              <a:gd name="T3" fmla="*/ 2147483646 h 324"/>
              <a:gd name="T4" fmla="*/ 2147483646 w 302"/>
              <a:gd name="T5" fmla="*/ 2147483646 h 324"/>
              <a:gd name="T6" fmla="*/ 2147483646 w 302"/>
              <a:gd name="T7" fmla="*/ 2147483646 h 324"/>
              <a:gd name="T8" fmla="*/ 2147483646 w 302"/>
              <a:gd name="T9" fmla="*/ 2147483646 h 324"/>
              <a:gd name="T10" fmla="*/ 2147483646 w 302"/>
              <a:gd name="T11" fmla="*/ 2147483646 h 324"/>
              <a:gd name="T12" fmla="*/ 2147483646 w 302"/>
              <a:gd name="T13" fmla="*/ 2147483646 h 324"/>
              <a:gd name="T14" fmla="*/ 2147483646 w 302"/>
              <a:gd name="T15" fmla="*/ 2147483646 h 324"/>
              <a:gd name="T16" fmla="*/ 2147483646 w 302"/>
              <a:gd name="T17" fmla="*/ 2147483646 h 324"/>
              <a:gd name="T18" fmla="*/ 2147483646 w 302"/>
              <a:gd name="T19" fmla="*/ 2147483646 h 324"/>
              <a:gd name="T20" fmla="*/ 2147483646 w 302"/>
              <a:gd name="T21" fmla="*/ 2147483646 h 324"/>
              <a:gd name="T22" fmla="*/ 2147483646 w 302"/>
              <a:gd name="T23" fmla="*/ 2147483646 h 324"/>
              <a:gd name="T24" fmla="*/ 2147483646 w 302"/>
              <a:gd name="T25" fmla="*/ 2147483646 h 324"/>
              <a:gd name="T26" fmla="*/ 2147483646 w 302"/>
              <a:gd name="T27" fmla="*/ 2147483646 h 324"/>
              <a:gd name="T28" fmla="*/ 2147483646 w 302"/>
              <a:gd name="T29" fmla="*/ 2147483646 h 324"/>
              <a:gd name="T30" fmla="*/ 2147483646 w 302"/>
              <a:gd name="T31" fmla="*/ 2147483646 h 324"/>
              <a:gd name="T32" fmla="*/ 2147483646 w 302"/>
              <a:gd name="T33" fmla="*/ 2147483646 h 324"/>
              <a:gd name="T34" fmla="*/ 2147483646 w 302"/>
              <a:gd name="T35" fmla="*/ 2147483646 h 324"/>
              <a:gd name="T36" fmla="*/ 2147483646 w 302"/>
              <a:gd name="T37" fmla="*/ 2147483646 h 324"/>
              <a:gd name="T38" fmla="*/ 2147483646 w 302"/>
              <a:gd name="T39" fmla="*/ 2147483646 h 324"/>
              <a:gd name="T40" fmla="*/ 2147483646 w 302"/>
              <a:gd name="T41" fmla="*/ 2147483646 h 324"/>
              <a:gd name="T42" fmla="*/ 2147483646 w 302"/>
              <a:gd name="T43" fmla="*/ 2147483646 h 324"/>
              <a:gd name="T44" fmla="*/ 2147483646 w 302"/>
              <a:gd name="T45" fmla="*/ 2147483646 h 324"/>
              <a:gd name="T46" fmla="*/ 2147483646 w 302"/>
              <a:gd name="T47" fmla="*/ 2147483646 h 324"/>
              <a:gd name="T48" fmla="*/ 2147483646 w 302"/>
              <a:gd name="T49" fmla="*/ 2147483646 h 324"/>
              <a:gd name="T50" fmla="*/ 2147483646 w 302"/>
              <a:gd name="T51" fmla="*/ 2147483646 h 324"/>
              <a:gd name="T52" fmla="*/ 2147483646 w 302"/>
              <a:gd name="T53" fmla="*/ 2147483646 h 324"/>
              <a:gd name="T54" fmla="*/ 2147483646 w 302"/>
              <a:gd name="T55" fmla="*/ 2147483646 h 324"/>
              <a:gd name="T56" fmla="*/ 2147483646 w 302"/>
              <a:gd name="T57" fmla="*/ 2147483646 h 324"/>
              <a:gd name="T58" fmla="*/ 2147483646 w 302"/>
              <a:gd name="T59" fmla="*/ 2147483646 h 324"/>
              <a:gd name="T60" fmla="*/ 2147483646 w 302"/>
              <a:gd name="T61" fmla="*/ 2147483646 h 324"/>
              <a:gd name="T62" fmla="*/ 2147483646 w 302"/>
              <a:gd name="T63" fmla="*/ 2147483646 h 324"/>
              <a:gd name="T64" fmla="*/ 2147483646 w 302"/>
              <a:gd name="T65" fmla="*/ 2147483646 h 324"/>
              <a:gd name="T66" fmla="*/ 2147483646 w 302"/>
              <a:gd name="T67" fmla="*/ 2147483646 h 324"/>
              <a:gd name="T68" fmla="*/ 2147483646 w 302"/>
              <a:gd name="T69" fmla="*/ 2147483646 h 32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02"/>
              <a:gd name="T106" fmla="*/ 0 h 324"/>
              <a:gd name="T107" fmla="*/ 302 w 302"/>
              <a:gd name="T108" fmla="*/ 324 h 32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02" h="324">
                <a:moveTo>
                  <a:pt x="65" y="21"/>
                </a:moveTo>
                <a:cubicBezTo>
                  <a:pt x="54" y="19"/>
                  <a:pt x="40" y="22"/>
                  <a:pt x="30" y="18"/>
                </a:cubicBezTo>
                <a:cubicBezTo>
                  <a:pt x="21" y="13"/>
                  <a:pt x="24" y="0"/>
                  <a:pt x="16" y="13"/>
                </a:cubicBezTo>
                <a:cubicBezTo>
                  <a:pt x="8" y="25"/>
                  <a:pt x="0" y="35"/>
                  <a:pt x="15" y="40"/>
                </a:cubicBezTo>
                <a:cubicBezTo>
                  <a:pt x="29" y="44"/>
                  <a:pt x="41" y="44"/>
                  <a:pt x="46" y="60"/>
                </a:cubicBezTo>
                <a:cubicBezTo>
                  <a:pt x="51" y="76"/>
                  <a:pt x="57" y="77"/>
                  <a:pt x="61" y="79"/>
                </a:cubicBezTo>
                <a:cubicBezTo>
                  <a:pt x="66" y="80"/>
                  <a:pt x="71" y="77"/>
                  <a:pt x="77" y="85"/>
                </a:cubicBezTo>
                <a:cubicBezTo>
                  <a:pt x="83" y="93"/>
                  <a:pt x="82" y="91"/>
                  <a:pt x="87" y="99"/>
                </a:cubicBezTo>
                <a:cubicBezTo>
                  <a:pt x="91" y="107"/>
                  <a:pt x="101" y="107"/>
                  <a:pt x="105" y="108"/>
                </a:cubicBezTo>
                <a:cubicBezTo>
                  <a:pt x="110" y="110"/>
                  <a:pt x="110" y="99"/>
                  <a:pt x="116" y="110"/>
                </a:cubicBezTo>
                <a:cubicBezTo>
                  <a:pt x="123" y="121"/>
                  <a:pt x="121" y="126"/>
                  <a:pt x="123" y="138"/>
                </a:cubicBezTo>
                <a:cubicBezTo>
                  <a:pt x="124" y="151"/>
                  <a:pt x="123" y="158"/>
                  <a:pt x="132" y="163"/>
                </a:cubicBezTo>
                <a:cubicBezTo>
                  <a:pt x="141" y="168"/>
                  <a:pt x="154" y="176"/>
                  <a:pt x="157" y="180"/>
                </a:cubicBezTo>
                <a:cubicBezTo>
                  <a:pt x="160" y="185"/>
                  <a:pt x="165" y="194"/>
                  <a:pt x="169" y="207"/>
                </a:cubicBezTo>
                <a:cubicBezTo>
                  <a:pt x="174" y="220"/>
                  <a:pt x="177" y="232"/>
                  <a:pt x="180" y="238"/>
                </a:cubicBezTo>
                <a:cubicBezTo>
                  <a:pt x="184" y="245"/>
                  <a:pt x="185" y="249"/>
                  <a:pt x="191" y="257"/>
                </a:cubicBezTo>
                <a:cubicBezTo>
                  <a:pt x="198" y="265"/>
                  <a:pt x="202" y="263"/>
                  <a:pt x="215" y="274"/>
                </a:cubicBezTo>
                <a:cubicBezTo>
                  <a:pt x="227" y="285"/>
                  <a:pt x="259" y="324"/>
                  <a:pt x="270" y="317"/>
                </a:cubicBezTo>
                <a:cubicBezTo>
                  <a:pt x="281" y="309"/>
                  <a:pt x="274" y="299"/>
                  <a:pt x="284" y="296"/>
                </a:cubicBezTo>
                <a:cubicBezTo>
                  <a:pt x="293" y="293"/>
                  <a:pt x="302" y="292"/>
                  <a:pt x="302" y="282"/>
                </a:cubicBezTo>
                <a:cubicBezTo>
                  <a:pt x="302" y="273"/>
                  <a:pt x="288" y="268"/>
                  <a:pt x="292" y="260"/>
                </a:cubicBezTo>
                <a:cubicBezTo>
                  <a:pt x="295" y="252"/>
                  <a:pt x="301" y="248"/>
                  <a:pt x="301" y="248"/>
                </a:cubicBezTo>
                <a:cubicBezTo>
                  <a:pt x="301" y="248"/>
                  <a:pt x="292" y="229"/>
                  <a:pt x="288" y="234"/>
                </a:cubicBezTo>
                <a:cubicBezTo>
                  <a:pt x="285" y="238"/>
                  <a:pt x="271" y="229"/>
                  <a:pt x="270" y="224"/>
                </a:cubicBezTo>
                <a:cubicBezTo>
                  <a:pt x="268" y="220"/>
                  <a:pt x="273" y="204"/>
                  <a:pt x="259" y="204"/>
                </a:cubicBezTo>
                <a:cubicBezTo>
                  <a:pt x="245" y="204"/>
                  <a:pt x="237" y="184"/>
                  <a:pt x="237" y="184"/>
                </a:cubicBezTo>
                <a:cubicBezTo>
                  <a:pt x="237" y="184"/>
                  <a:pt x="216" y="179"/>
                  <a:pt x="224" y="173"/>
                </a:cubicBezTo>
                <a:cubicBezTo>
                  <a:pt x="232" y="166"/>
                  <a:pt x="234" y="151"/>
                  <a:pt x="234" y="151"/>
                </a:cubicBezTo>
                <a:cubicBezTo>
                  <a:pt x="234" y="151"/>
                  <a:pt x="229" y="137"/>
                  <a:pt x="224" y="144"/>
                </a:cubicBezTo>
                <a:cubicBezTo>
                  <a:pt x="220" y="152"/>
                  <a:pt x="207" y="143"/>
                  <a:pt x="207" y="143"/>
                </a:cubicBezTo>
                <a:cubicBezTo>
                  <a:pt x="207" y="143"/>
                  <a:pt x="199" y="137"/>
                  <a:pt x="198" y="129"/>
                </a:cubicBezTo>
                <a:cubicBezTo>
                  <a:pt x="196" y="121"/>
                  <a:pt x="190" y="105"/>
                  <a:pt x="182" y="104"/>
                </a:cubicBezTo>
                <a:cubicBezTo>
                  <a:pt x="174" y="102"/>
                  <a:pt x="166" y="102"/>
                  <a:pt x="154" y="91"/>
                </a:cubicBezTo>
                <a:cubicBezTo>
                  <a:pt x="141" y="80"/>
                  <a:pt x="104" y="35"/>
                  <a:pt x="104" y="35"/>
                </a:cubicBezTo>
                <a:cubicBezTo>
                  <a:pt x="104" y="35"/>
                  <a:pt x="80" y="24"/>
                  <a:pt x="65" y="2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2" name="Freeform 648"/>
          <p:cNvSpPr>
            <a:spLocks/>
          </p:cNvSpPr>
          <p:nvPr userDrawn="1"/>
        </p:nvSpPr>
        <p:spPr bwMode="auto">
          <a:xfrm>
            <a:off x="7438790" y="4778508"/>
            <a:ext cx="58628" cy="93805"/>
          </a:xfrm>
          <a:custGeom>
            <a:avLst/>
            <a:gdLst>
              <a:gd name="T0" fmla="*/ 2147483646 w 62"/>
              <a:gd name="T1" fmla="*/ 0 h 100"/>
              <a:gd name="T2" fmla="*/ 2147483646 w 62"/>
              <a:gd name="T3" fmla="*/ 2147483646 h 100"/>
              <a:gd name="T4" fmla="*/ 2147483646 w 62"/>
              <a:gd name="T5" fmla="*/ 2147483646 h 100"/>
              <a:gd name="T6" fmla="*/ 2147483646 w 62"/>
              <a:gd name="T7" fmla="*/ 2147483646 h 100"/>
              <a:gd name="T8" fmla="*/ 2147483646 w 62"/>
              <a:gd name="T9" fmla="*/ 2147483646 h 100"/>
              <a:gd name="T10" fmla="*/ 2147483646 w 62"/>
              <a:gd name="T11" fmla="*/ 2147483646 h 100"/>
              <a:gd name="T12" fmla="*/ 2147483646 w 62"/>
              <a:gd name="T13" fmla="*/ 2147483646 h 100"/>
              <a:gd name="T14" fmla="*/ 2147483646 w 62"/>
              <a:gd name="T15" fmla="*/ 2147483646 h 100"/>
              <a:gd name="T16" fmla="*/ 2147483646 w 62"/>
              <a:gd name="T17" fmla="*/ 2147483646 h 100"/>
              <a:gd name="T18" fmla="*/ 2147483646 w 62"/>
              <a:gd name="T19" fmla="*/ 0 h 1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2"/>
              <a:gd name="T31" fmla="*/ 0 h 100"/>
              <a:gd name="T32" fmla="*/ 62 w 62"/>
              <a:gd name="T33" fmla="*/ 100 h 10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2" h="100">
                <a:moveTo>
                  <a:pt x="20" y="0"/>
                </a:moveTo>
                <a:cubicBezTo>
                  <a:pt x="12" y="3"/>
                  <a:pt x="13" y="0"/>
                  <a:pt x="13" y="9"/>
                </a:cubicBezTo>
                <a:cubicBezTo>
                  <a:pt x="14" y="18"/>
                  <a:pt x="6" y="11"/>
                  <a:pt x="3" y="22"/>
                </a:cubicBezTo>
                <a:cubicBezTo>
                  <a:pt x="0" y="33"/>
                  <a:pt x="12" y="52"/>
                  <a:pt x="9" y="58"/>
                </a:cubicBezTo>
                <a:cubicBezTo>
                  <a:pt x="7" y="65"/>
                  <a:pt x="7" y="91"/>
                  <a:pt x="14" y="96"/>
                </a:cubicBezTo>
                <a:cubicBezTo>
                  <a:pt x="21" y="100"/>
                  <a:pt x="26" y="98"/>
                  <a:pt x="35" y="95"/>
                </a:cubicBezTo>
                <a:cubicBezTo>
                  <a:pt x="44" y="92"/>
                  <a:pt x="39" y="80"/>
                  <a:pt x="51" y="80"/>
                </a:cubicBezTo>
                <a:cubicBezTo>
                  <a:pt x="62" y="80"/>
                  <a:pt x="56" y="47"/>
                  <a:pt x="53" y="47"/>
                </a:cubicBezTo>
                <a:cubicBezTo>
                  <a:pt x="49" y="46"/>
                  <a:pt x="40" y="29"/>
                  <a:pt x="40" y="26"/>
                </a:cubicBezTo>
                <a:cubicBezTo>
                  <a:pt x="39" y="23"/>
                  <a:pt x="20" y="0"/>
                  <a:pt x="2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3" name="Freeform 649"/>
          <p:cNvSpPr>
            <a:spLocks/>
          </p:cNvSpPr>
          <p:nvPr userDrawn="1"/>
        </p:nvSpPr>
        <p:spPr bwMode="auto">
          <a:xfrm>
            <a:off x="8028421" y="5007998"/>
            <a:ext cx="15075" cy="18425"/>
          </a:xfrm>
          <a:custGeom>
            <a:avLst/>
            <a:gdLst>
              <a:gd name="T0" fmla="*/ 2147483646 w 16"/>
              <a:gd name="T1" fmla="*/ 2147483646 h 20"/>
              <a:gd name="T2" fmla="*/ 2147483646 w 16"/>
              <a:gd name="T3" fmla="*/ 2147483646 h 20"/>
              <a:gd name="T4" fmla="*/ 2147483646 w 16"/>
              <a:gd name="T5" fmla="*/ 2147483646 h 20"/>
              <a:gd name="T6" fmla="*/ 2147483646 w 16"/>
              <a:gd name="T7" fmla="*/ 2147483646 h 20"/>
              <a:gd name="T8" fmla="*/ 0 60000 65536"/>
              <a:gd name="T9" fmla="*/ 0 60000 65536"/>
              <a:gd name="T10" fmla="*/ 0 60000 65536"/>
              <a:gd name="T11" fmla="*/ 0 60000 65536"/>
              <a:gd name="T12" fmla="*/ 0 w 16"/>
              <a:gd name="T13" fmla="*/ 0 h 20"/>
              <a:gd name="T14" fmla="*/ 16 w 16"/>
              <a:gd name="T15" fmla="*/ 20 h 2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" h="20">
                <a:moveTo>
                  <a:pt x="14" y="4"/>
                </a:moveTo>
                <a:cubicBezTo>
                  <a:pt x="8" y="5"/>
                  <a:pt x="0" y="0"/>
                  <a:pt x="3" y="10"/>
                </a:cubicBezTo>
                <a:cubicBezTo>
                  <a:pt x="5" y="20"/>
                  <a:pt x="11" y="17"/>
                  <a:pt x="13" y="14"/>
                </a:cubicBezTo>
                <a:cubicBezTo>
                  <a:pt x="16" y="11"/>
                  <a:pt x="14" y="4"/>
                  <a:pt x="14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4" name="Freeform 650"/>
          <p:cNvSpPr>
            <a:spLocks/>
          </p:cNvSpPr>
          <p:nvPr userDrawn="1"/>
        </p:nvSpPr>
        <p:spPr bwMode="auto">
          <a:xfrm>
            <a:off x="8058574" y="5059924"/>
            <a:ext cx="25125" cy="18427"/>
          </a:xfrm>
          <a:custGeom>
            <a:avLst/>
            <a:gdLst>
              <a:gd name="T0" fmla="*/ 2147483646 w 28"/>
              <a:gd name="T1" fmla="*/ 0 h 20"/>
              <a:gd name="T2" fmla="*/ 2147483646 w 28"/>
              <a:gd name="T3" fmla="*/ 2147483646 h 20"/>
              <a:gd name="T4" fmla="*/ 2147483646 w 28"/>
              <a:gd name="T5" fmla="*/ 2147483646 h 20"/>
              <a:gd name="T6" fmla="*/ 2147483646 w 28"/>
              <a:gd name="T7" fmla="*/ 2147483646 h 20"/>
              <a:gd name="T8" fmla="*/ 2147483646 w 28"/>
              <a:gd name="T9" fmla="*/ 0 h 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"/>
              <a:gd name="T16" fmla="*/ 0 h 20"/>
              <a:gd name="T17" fmla="*/ 28 w 28"/>
              <a:gd name="T18" fmla="*/ 20 h 2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" h="20">
                <a:moveTo>
                  <a:pt x="12" y="0"/>
                </a:moveTo>
                <a:cubicBezTo>
                  <a:pt x="8" y="0"/>
                  <a:pt x="0" y="5"/>
                  <a:pt x="9" y="12"/>
                </a:cubicBezTo>
                <a:cubicBezTo>
                  <a:pt x="18" y="20"/>
                  <a:pt x="21" y="19"/>
                  <a:pt x="23" y="17"/>
                </a:cubicBezTo>
                <a:cubicBezTo>
                  <a:pt x="26" y="16"/>
                  <a:pt x="28" y="11"/>
                  <a:pt x="26" y="6"/>
                </a:cubicBezTo>
                <a:cubicBezTo>
                  <a:pt x="24" y="2"/>
                  <a:pt x="12" y="0"/>
                  <a:pt x="12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5" name="Freeform 651"/>
          <p:cNvSpPr>
            <a:spLocks/>
          </p:cNvSpPr>
          <p:nvPr userDrawn="1"/>
        </p:nvSpPr>
        <p:spPr bwMode="auto">
          <a:xfrm>
            <a:off x="8095426" y="5076675"/>
            <a:ext cx="33501" cy="23451"/>
          </a:xfrm>
          <a:custGeom>
            <a:avLst/>
            <a:gdLst>
              <a:gd name="T0" fmla="*/ 2147483646 w 35"/>
              <a:gd name="T1" fmla="*/ 0 h 25"/>
              <a:gd name="T2" fmla="*/ 2147483646 w 35"/>
              <a:gd name="T3" fmla="*/ 2147483646 h 25"/>
              <a:gd name="T4" fmla="*/ 2147483646 w 35"/>
              <a:gd name="T5" fmla="*/ 2147483646 h 25"/>
              <a:gd name="T6" fmla="*/ 2147483646 w 35"/>
              <a:gd name="T7" fmla="*/ 2147483646 h 25"/>
              <a:gd name="T8" fmla="*/ 2147483646 w 35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5"/>
              <a:gd name="T16" fmla="*/ 0 h 25"/>
              <a:gd name="T17" fmla="*/ 35 w 35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5" h="25">
                <a:moveTo>
                  <a:pt x="19" y="0"/>
                </a:moveTo>
                <a:cubicBezTo>
                  <a:pt x="14" y="3"/>
                  <a:pt x="0" y="8"/>
                  <a:pt x="10" y="16"/>
                </a:cubicBezTo>
                <a:cubicBezTo>
                  <a:pt x="21" y="25"/>
                  <a:pt x="22" y="22"/>
                  <a:pt x="27" y="19"/>
                </a:cubicBezTo>
                <a:cubicBezTo>
                  <a:pt x="31" y="15"/>
                  <a:pt x="35" y="14"/>
                  <a:pt x="33" y="9"/>
                </a:cubicBezTo>
                <a:cubicBezTo>
                  <a:pt x="32" y="4"/>
                  <a:pt x="19" y="0"/>
                  <a:pt x="1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6" name="Freeform 652"/>
          <p:cNvSpPr>
            <a:spLocks/>
          </p:cNvSpPr>
          <p:nvPr userDrawn="1"/>
        </p:nvSpPr>
        <p:spPr bwMode="auto">
          <a:xfrm>
            <a:off x="8752061" y="5046524"/>
            <a:ext cx="400347" cy="303192"/>
          </a:xfrm>
          <a:custGeom>
            <a:avLst/>
            <a:gdLst>
              <a:gd name="T0" fmla="*/ 2147483646 w 428"/>
              <a:gd name="T1" fmla="*/ 0 h 325"/>
              <a:gd name="T2" fmla="*/ 2147483646 w 428"/>
              <a:gd name="T3" fmla="*/ 2147483646 h 325"/>
              <a:gd name="T4" fmla="*/ 2147483646 w 428"/>
              <a:gd name="T5" fmla="*/ 2147483646 h 325"/>
              <a:gd name="T6" fmla="*/ 2147483646 w 428"/>
              <a:gd name="T7" fmla="*/ 2147483646 h 325"/>
              <a:gd name="T8" fmla="*/ 2147483646 w 428"/>
              <a:gd name="T9" fmla="*/ 2147483646 h 325"/>
              <a:gd name="T10" fmla="*/ 2147483646 w 428"/>
              <a:gd name="T11" fmla="*/ 2147483646 h 325"/>
              <a:gd name="T12" fmla="*/ 2147483646 w 428"/>
              <a:gd name="T13" fmla="*/ 2147483646 h 325"/>
              <a:gd name="T14" fmla="*/ 2147483646 w 428"/>
              <a:gd name="T15" fmla="*/ 2147483646 h 325"/>
              <a:gd name="T16" fmla="*/ 2147483646 w 428"/>
              <a:gd name="T17" fmla="*/ 2147483646 h 325"/>
              <a:gd name="T18" fmla="*/ 2147483646 w 428"/>
              <a:gd name="T19" fmla="*/ 2147483646 h 325"/>
              <a:gd name="T20" fmla="*/ 2147483646 w 428"/>
              <a:gd name="T21" fmla="*/ 2147483646 h 325"/>
              <a:gd name="T22" fmla="*/ 2147483646 w 428"/>
              <a:gd name="T23" fmla="*/ 2147483646 h 325"/>
              <a:gd name="T24" fmla="*/ 2147483646 w 428"/>
              <a:gd name="T25" fmla="*/ 2147483646 h 325"/>
              <a:gd name="T26" fmla="*/ 2147483646 w 428"/>
              <a:gd name="T27" fmla="*/ 2147483646 h 325"/>
              <a:gd name="T28" fmla="*/ 2147483646 w 428"/>
              <a:gd name="T29" fmla="*/ 2147483646 h 325"/>
              <a:gd name="T30" fmla="*/ 2147483646 w 428"/>
              <a:gd name="T31" fmla="*/ 2147483646 h 325"/>
              <a:gd name="T32" fmla="*/ 2147483646 w 428"/>
              <a:gd name="T33" fmla="*/ 2147483646 h 325"/>
              <a:gd name="T34" fmla="*/ 2147483646 w 428"/>
              <a:gd name="T35" fmla="*/ 2147483646 h 325"/>
              <a:gd name="T36" fmla="*/ 2147483646 w 428"/>
              <a:gd name="T37" fmla="*/ 2147483646 h 325"/>
              <a:gd name="T38" fmla="*/ 2147483646 w 428"/>
              <a:gd name="T39" fmla="*/ 2147483646 h 325"/>
              <a:gd name="T40" fmla="*/ 2147483646 w 428"/>
              <a:gd name="T41" fmla="*/ 2147483646 h 325"/>
              <a:gd name="T42" fmla="*/ 2147483646 w 428"/>
              <a:gd name="T43" fmla="*/ 2147483646 h 325"/>
              <a:gd name="T44" fmla="*/ 2147483646 w 428"/>
              <a:gd name="T45" fmla="*/ 2147483646 h 325"/>
              <a:gd name="T46" fmla="*/ 2147483646 w 428"/>
              <a:gd name="T47" fmla="*/ 2147483646 h 325"/>
              <a:gd name="T48" fmla="*/ 2147483646 w 428"/>
              <a:gd name="T49" fmla="*/ 2147483646 h 325"/>
              <a:gd name="T50" fmla="*/ 2147483646 w 428"/>
              <a:gd name="T51" fmla="*/ 2147483646 h 325"/>
              <a:gd name="T52" fmla="*/ 2147483646 w 428"/>
              <a:gd name="T53" fmla="*/ 2147483646 h 325"/>
              <a:gd name="T54" fmla="*/ 2147483646 w 428"/>
              <a:gd name="T55" fmla="*/ 2147483646 h 325"/>
              <a:gd name="T56" fmla="*/ 2147483646 w 428"/>
              <a:gd name="T57" fmla="*/ 0 h 32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428"/>
              <a:gd name="T88" fmla="*/ 0 h 325"/>
              <a:gd name="T89" fmla="*/ 428 w 428"/>
              <a:gd name="T90" fmla="*/ 325 h 32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428" h="325">
                <a:moveTo>
                  <a:pt x="86" y="0"/>
                </a:moveTo>
                <a:cubicBezTo>
                  <a:pt x="62" y="16"/>
                  <a:pt x="60" y="31"/>
                  <a:pt x="44" y="38"/>
                </a:cubicBezTo>
                <a:cubicBezTo>
                  <a:pt x="29" y="45"/>
                  <a:pt x="32" y="52"/>
                  <a:pt x="24" y="43"/>
                </a:cubicBezTo>
                <a:cubicBezTo>
                  <a:pt x="15" y="35"/>
                  <a:pt x="10" y="14"/>
                  <a:pt x="8" y="22"/>
                </a:cubicBezTo>
                <a:cubicBezTo>
                  <a:pt x="7" y="31"/>
                  <a:pt x="0" y="50"/>
                  <a:pt x="10" y="60"/>
                </a:cubicBezTo>
                <a:cubicBezTo>
                  <a:pt x="20" y="71"/>
                  <a:pt x="22" y="71"/>
                  <a:pt x="39" y="71"/>
                </a:cubicBezTo>
                <a:cubicBezTo>
                  <a:pt x="57" y="71"/>
                  <a:pt x="65" y="103"/>
                  <a:pt x="74" y="107"/>
                </a:cubicBezTo>
                <a:cubicBezTo>
                  <a:pt x="82" y="110"/>
                  <a:pt x="100" y="107"/>
                  <a:pt x="108" y="121"/>
                </a:cubicBezTo>
                <a:cubicBezTo>
                  <a:pt x="117" y="134"/>
                  <a:pt x="103" y="136"/>
                  <a:pt x="112" y="157"/>
                </a:cubicBezTo>
                <a:cubicBezTo>
                  <a:pt x="120" y="177"/>
                  <a:pt x="122" y="157"/>
                  <a:pt x="148" y="172"/>
                </a:cubicBezTo>
                <a:cubicBezTo>
                  <a:pt x="174" y="188"/>
                  <a:pt x="182" y="182"/>
                  <a:pt x="191" y="201"/>
                </a:cubicBezTo>
                <a:cubicBezTo>
                  <a:pt x="199" y="220"/>
                  <a:pt x="179" y="203"/>
                  <a:pt x="196" y="239"/>
                </a:cubicBezTo>
                <a:cubicBezTo>
                  <a:pt x="213" y="275"/>
                  <a:pt x="222" y="265"/>
                  <a:pt x="242" y="275"/>
                </a:cubicBezTo>
                <a:cubicBezTo>
                  <a:pt x="263" y="286"/>
                  <a:pt x="261" y="267"/>
                  <a:pt x="284" y="296"/>
                </a:cubicBezTo>
                <a:cubicBezTo>
                  <a:pt x="306" y="325"/>
                  <a:pt x="340" y="299"/>
                  <a:pt x="356" y="293"/>
                </a:cubicBezTo>
                <a:cubicBezTo>
                  <a:pt x="371" y="286"/>
                  <a:pt x="371" y="269"/>
                  <a:pt x="389" y="272"/>
                </a:cubicBezTo>
                <a:cubicBezTo>
                  <a:pt x="406" y="275"/>
                  <a:pt x="428" y="220"/>
                  <a:pt x="409" y="212"/>
                </a:cubicBezTo>
                <a:cubicBezTo>
                  <a:pt x="390" y="203"/>
                  <a:pt x="356" y="181"/>
                  <a:pt x="356" y="181"/>
                </a:cubicBezTo>
                <a:cubicBezTo>
                  <a:pt x="356" y="181"/>
                  <a:pt x="339" y="146"/>
                  <a:pt x="347" y="133"/>
                </a:cubicBezTo>
                <a:cubicBezTo>
                  <a:pt x="356" y="119"/>
                  <a:pt x="351" y="96"/>
                  <a:pt x="356" y="88"/>
                </a:cubicBezTo>
                <a:cubicBezTo>
                  <a:pt x="361" y="79"/>
                  <a:pt x="366" y="67"/>
                  <a:pt x="358" y="64"/>
                </a:cubicBezTo>
                <a:cubicBezTo>
                  <a:pt x="349" y="60"/>
                  <a:pt x="330" y="48"/>
                  <a:pt x="330" y="48"/>
                </a:cubicBezTo>
                <a:cubicBezTo>
                  <a:pt x="330" y="48"/>
                  <a:pt x="299" y="45"/>
                  <a:pt x="282" y="47"/>
                </a:cubicBezTo>
                <a:cubicBezTo>
                  <a:pt x="265" y="48"/>
                  <a:pt x="232" y="47"/>
                  <a:pt x="223" y="47"/>
                </a:cubicBezTo>
                <a:cubicBezTo>
                  <a:pt x="215" y="47"/>
                  <a:pt x="201" y="33"/>
                  <a:pt x="191" y="40"/>
                </a:cubicBezTo>
                <a:cubicBezTo>
                  <a:pt x="180" y="47"/>
                  <a:pt x="167" y="59"/>
                  <a:pt x="163" y="43"/>
                </a:cubicBezTo>
                <a:cubicBezTo>
                  <a:pt x="160" y="28"/>
                  <a:pt x="161" y="17"/>
                  <a:pt x="151" y="19"/>
                </a:cubicBezTo>
                <a:cubicBezTo>
                  <a:pt x="141" y="21"/>
                  <a:pt x="125" y="17"/>
                  <a:pt x="125" y="17"/>
                </a:cubicBezTo>
                <a:lnTo>
                  <a:pt x="86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7" name="Freeform 653"/>
          <p:cNvSpPr>
            <a:spLocks/>
          </p:cNvSpPr>
          <p:nvPr userDrawn="1"/>
        </p:nvSpPr>
        <p:spPr bwMode="auto">
          <a:xfrm>
            <a:off x="5195841" y="4066595"/>
            <a:ext cx="296492" cy="219436"/>
          </a:xfrm>
          <a:custGeom>
            <a:avLst/>
            <a:gdLst>
              <a:gd name="T0" fmla="*/ 2147483646 w 318"/>
              <a:gd name="T1" fmla="*/ 2147483646 h 234"/>
              <a:gd name="T2" fmla="*/ 2147483646 w 318"/>
              <a:gd name="T3" fmla="*/ 2147483646 h 234"/>
              <a:gd name="T4" fmla="*/ 2147483646 w 318"/>
              <a:gd name="T5" fmla="*/ 2147483646 h 234"/>
              <a:gd name="T6" fmla="*/ 2147483646 w 318"/>
              <a:gd name="T7" fmla="*/ 2147483646 h 234"/>
              <a:gd name="T8" fmla="*/ 2147483646 w 318"/>
              <a:gd name="T9" fmla="*/ 2147483646 h 234"/>
              <a:gd name="T10" fmla="*/ 2147483646 w 318"/>
              <a:gd name="T11" fmla="*/ 2147483646 h 234"/>
              <a:gd name="T12" fmla="*/ 2147483646 w 318"/>
              <a:gd name="T13" fmla="*/ 2147483646 h 234"/>
              <a:gd name="T14" fmla="*/ 2147483646 w 318"/>
              <a:gd name="T15" fmla="*/ 2147483646 h 234"/>
              <a:gd name="T16" fmla="*/ 2147483646 w 318"/>
              <a:gd name="T17" fmla="*/ 2147483646 h 234"/>
              <a:gd name="T18" fmla="*/ 2147483646 w 318"/>
              <a:gd name="T19" fmla="*/ 2147483646 h 234"/>
              <a:gd name="T20" fmla="*/ 2147483646 w 318"/>
              <a:gd name="T21" fmla="*/ 2147483646 h 234"/>
              <a:gd name="T22" fmla="*/ 2147483646 w 318"/>
              <a:gd name="T23" fmla="*/ 2147483646 h 234"/>
              <a:gd name="T24" fmla="*/ 2147483646 w 318"/>
              <a:gd name="T25" fmla="*/ 2147483646 h 234"/>
              <a:gd name="T26" fmla="*/ 2147483646 w 318"/>
              <a:gd name="T27" fmla="*/ 2147483646 h 234"/>
              <a:gd name="T28" fmla="*/ 2147483646 w 318"/>
              <a:gd name="T29" fmla="*/ 2147483646 h 234"/>
              <a:gd name="T30" fmla="*/ 2147483646 w 318"/>
              <a:gd name="T31" fmla="*/ 2147483646 h 234"/>
              <a:gd name="T32" fmla="*/ 2147483646 w 318"/>
              <a:gd name="T33" fmla="*/ 2147483646 h 234"/>
              <a:gd name="T34" fmla="*/ 2147483646 w 318"/>
              <a:gd name="T35" fmla="*/ 2147483646 h 234"/>
              <a:gd name="T36" fmla="*/ 2147483646 w 318"/>
              <a:gd name="T37" fmla="*/ 2147483646 h 234"/>
              <a:gd name="T38" fmla="*/ 2147483646 w 318"/>
              <a:gd name="T39" fmla="*/ 2147483646 h 234"/>
              <a:gd name="T40" fmla="*/ 2147483646 w 318"/>
              <a:gd name="T41" fmla="*/ 2147483646 h 234"/>
              <a:gd name="T42" fmla="*/ 0 w 318"/>
              <a:gd name="T43" fmla="*/ 2147483646 h 234"/>
              <a:gd name="T44" fmla="*/ 2147483646 w 318"/>
              <a:gd name="T45" fmla="*/ 2147483646 h 234"/>
              <a:gd name="T46" fmla="*/ 2147483646 w 318"/>
              <a:gd name="T47" fmla="*/ 2147483646 h 234"/>
              <a:gd name="T48" fmla="*/ 2147483646 w 318"/>
              <a:gd name="T49" fmla="*/ 2147483646 h 234"/>
              <a:gd name="T50" fmla="*/ 2147483646 w 318"/>
              <a:gd name="T51" fmla="*/ 2147483646 h 234"/>
              <a:gd name="T52" fmla="*/ 2147483646 w 318"/>
              <a:gd name="T53" fmla="*/ 2147483646 h 234"/>
              <a:gd name="T54" fmla="*/ 2147483646 w 318"/>
              <a:gd name="T55" fmla="*/ 2147483646 h 234"/>
              <a:gd name="T56" fmla="*/ 2147483646 w 318"/>
              <a:gd name="T57" fmla="*/ 2147483646 h 234"/>
              <a:gd name="T58" fmla="*/ 2147483646 w 318"/>
              <a:gd name="T59" fmla="*/ 2147483646 h 234"/>
              <a:gd name="T60" fmla="*/ 2147483646 w 318"/>
              <a:gd name="T61" fmla="*/ 2147483646 h 234"/>
              <a:gd name="T62" fmla="*/ 2147483646 w 318"/>
              <a:gd name="T63" fmla="*/ 2147483646 h 234"/>
              <a:gd name="T64" fmla="*/ 2147483646 w 318"/>
              <a:gd name="T65" fmla="*/ 2147483646 h 234"/>
              <a:gd name="T66" fmla="*/ 2147483646 w 318"/>
              <a:gd name="T67" fmla="*/ 2147483646 h 234"/>
              <a:gd name="T68" fmla="*/ 2147483646 w 318"/>
              <a:gd name="T69" fmla="*/ 2147483646 h 234"/>
              <a:gd name="T70" fmla="*/ 2147483646 w 318"/>
              <a:gd name="T71" fmla="*/ 2147483646 h 234"/>
              <a:gd name="T72" fmla="*/ 2147483646 w 318"/>
              <a:gd name="T73" fmla="*/ 2147483646 h 234"/>
              <a:gd name="T74" fmla="*/ 2147483646 w 318"/>
              <a:gd name="T75" fmla="*/ 2147483646 h 234"/>
              <a:gd name="T76" fmla="*/ 2147483646 w 318"/>
              <a:gd name="T77" fmla="*/ 2147483646 h 234"/>
              <a:gd name="T78" fmla="*/ 2147483646 w 318"/>
              <a:gd name="T79" fmla="*/ 2147483646 h 234"/>
              <a:gd name="T80" fmla="*/ 2147483646 w 318"/>
              <a:gd name="T81" fmla="*/ 2147483646 h 23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18"/>
              <a:gd name="T124" fmla="*/ 0 h 234"/>
              <a:gd name="T125" fmla="*/ 318 w 318"/>
              <a:gd name="T126" fmla="*/ 234 h 234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18" h="234">
                <a:moveTo>
                  <a:pt x="309" y="46"/>
                </a:moveTo>
                <a:cubicBezTo>
                  <a:pt x="309" y="46"/>
                  <a:pt x="301" y="43"/>
                  <a:pt x="299" y="44"/>
                </a:cubicBezTo>
                <a:cubicBezTo>
                  <a:pt x="296" y="45"/>
                  <a:pt x="287" y="40"/>
                  <a:pt x="287" y="40"/>
                </a:cubicBezTo>
                <a:cubicBezTo>
                  <a:pt x="275" y="38"/>
                  <a:pt x="275" y="38"/>
                  <a:pt x="275" y="38"/>
                </a:cubicBezTo>
                <a:cubicBezTo>
                  <a:pt x="275" y="38"/>
                  <a:pt x="220" y="43"/>
                  <a:pt x="211" y="25"/>
                </a:cubicBezTo>
                <a:cubicBezTo>
                  <a:pt x="205" y="12"/>
                  <a:pt x="204" y="8"/>
                  <a:pt x="201" y="3"/>
                </a:cubicBezTo>
                <a:cubicBezTo>
                  <a:pt x="201" y="3"/>
                  <a:pt x="191" y="0"/>
                  <a:pt x="190" y="3"/>
                </a:cubicBezTo>
                <a:cubicBezTo>
                  <a:pt x="189" y="6"/>
                  <a:pt x="181" y="16"/>
                  <a:pt x="179" y="21"/>
                </a:cubicBezTo>
                <a:cubicBezTo>
                  <a:pt x="177" y="25"/>
                  <a:pt x="172" y="38"/>
                  <a:pt x="164" y="44"/>
                </a:cubicBezTo>
                <a:cubicBezTo>
                  <a:pt x="157" y="49"/>
                  <a:pt x="165" y="65"/>
                  <a:pt x="162" y="72"/>
                </a:cubicBezTo>
                <a:cubicBezTo>
                  <a:pt x="159" y="79"/>
                  <a:pt x="154" y="82"/>
                  <a:pt x="150" y="82"/>
                </a:cubicBezTo>
                <a:cubicBezTo>
                  <a:pt x="147" y="82"/>
                  <a:pt x="141" y="75"/>
                  <a:pt x="139" y="81"/>
                </a:cubicBezTo>
                <a:cubicBezTo>
                  <a:pt x="137" y="86"/>
                  <a:pt x="133" y="87"/>
                  <a:pt x="130" y="90"/>
                </a:cubicBezTo>
                <a:cubicBezTo>
                  <a:pt x="128" y="93"/>
                  <a:pt x="119" y="94"/>
                  <a:pt x="120" y="100"/>
                </a:cubicBezTo>
                <a:cubicBezTo>
                  <a:pt x="121" y="106"/>
                  <a:pt x="125" y="107"/>
                  <a:pt x="117" y="112"/>
                </a:cubicBezTo>
                <a:cubicBezTo>
                  <a:pt x="109" y="116"/>
                  <a:pt x="118" y="107"/>
                  <a:pt x="109" y="126"/>
                </a:cubicBezTo>
                <a:cubicBezTo>
                  <a:pt x="100" y="145"/>
                  <a:pt x="93" y="151"/>
                  <a:pt x="99" y="156"/>
                </a:cubicBezTo>
                <a:cubicBezTo>
                  <a:pt x="106" y="161"/>
                  <a:pt x="104" y="164"/>
                  <a:pt x="97" y="171"/>
                </a:cubicBezTo>
                <a:cubicBezTo>
                  <a:pt x="90" y="179"/>
                  <a:pt x="80" y="184"/>
                  <a:pt x="75" y="191"/>
                </a:cubicBezTo>
                <a:cubicBezTo>
                  <a:pt x="71" y="199"/>
                  <a:pt x="62" y="190"/>
                  <a:pt x="53" y="203"/>
                </a:cubicBezTo>
                <a:cubicBezTo>
                  <a:pt x="44" y="216"/>
                  <a:pt x="32" y="219"/>
                  <a:pt x="22" y="218"/>
                </a:cubicBezTo>
                <a:cubicBezTo>
                  <a:pt x="12" y="218"/>
                  <a:pt x="0" y="228"/>
                  <a:pt x="0" y="228"/>
                </a:cubicBezTo>
                <a:cubicBezTo>
                  <a:pt x="111" y="234"/>
                  <a:pt x="111" y="234"/>
                  <a:pt x="111" y="234"/>
                </a:cubicBezTo>
                <a:cubicBezTo>
                  <a:pt x="115" y="207"/>
                  <a:pt x="115" y="207"/>
                  <a:pt x="115" y="207"/>
                </a:cubicBezTo>
                <a:cubicBezTo>
                  <a:pt x="115" y="207"/>
                  <a:pt x="125" y="203"/>
                  <a:pt x="131" y="200"/>
                </a:cubicBezTo>
                <a:cubicBezTo>
                  <a:pt x="137" y="198"/>
                  <a:pt x="149" y="191"/>
                  <a:pt x="153" y="189"/>
                </a:cubicBezTo>
                <a:cubicBezTo>
                  <a:pt x="156" y="186"/>
                  <a:pt x="175" y="180"/>
                  <a:pt x="180" y="183"/>
                </a:cubicBezTo>
                <a:cubicBezTo>
                  <a:pt x="185" y="187"/>
                  <a:pt x="193" y="178"/>
                  <a:pt x="193" y="178"/>
                </a:cubicBezTo>
                <a:cubicBezTo>
                  <a:pt x="193" y="178"/>
                  <a:pt x="195" y="172"/>
                  <a:pt x="204" y="176"/>
                </a:cubicBezTo>
                <a:cubicBezTo>
                  <a:pt x="213" y="180"/>
                  <a:pt x="215" y="173"/>
                  <a:pt x="218" y="169"/>
                </a:cubicBezTo>
                <a:cubicBezTo>
                  <a:pt x="221" y="164"/>
                  <a:pt x="218" y="167"/>
                  <a:pt x="221" y="164"/>
                </a:cubicBezTo>
                <a:cubicBezTo>
                  <a:pt x="223" y="161"/>
                  <a:pt x="235" y="156"/>
                  <a:pt x="241" y="155"/>
                </a:cubicBezTo>
                <a:cubicBezTo>
                  <a:pt x="246" y="154"/>
                  <a:pt x="252" y="154"/>
                  <a:pt x="252" y="151"/>
                </a:cubicBezTo>
                <a:cubicBezTo>
                  <a:pt x="251" y="147"/>
                  <a:pt x="246" y="145"/>
                  <a:pt x="245" y="142"/>
                </a:cubicBezTo>
                <a:cubicBezTo>
                  <a:pt x="244" y="138"/>
                  <a:pt x="233" y="129"/>
                  <a:pt x="246" y="128"/>
                </a:cubicBezTo>
                <a:cubicBezTo>
                  <a:pt x="259" y="127"/>
                  <a:pt x="266" y="126"/>
                  <a:pt x="271" y="127"/>
                </a:cubicBezTo>
                <a:cubicBezTo>
                  <a:pt x="277" y="128"/>
                  <a:pt x="304" y="128"/>
                  <a:pt x="310" y="126"/>
                </a:cubicBezTo>
                <a:cubicBezTo>
                  <a:pt x="317" y="124"/>
                  <a:pt x="318" y="115"/>
                  <a:pt x="316" y="112"/>
                </a:cubicBezTo>
                <a:cubicBezTo>
                  <a:pt x="313" y="108"/>
                  <a:pt x="306" y="97"/>
                  <a:pt x="308" y="91"/>
                </a:cubicBezTo>
                <a:cubicBezTo>
                  <a:pt x="309" y="84"/>
                  <a:pt x="309" y="81"/>
                  <a:pt x="309" y="74"/>
                </a:cubicBezTo>
                <a:cubicBezTo>
                  <a:pt x="309" y="66"/>
                  <a:pt x="309" y="46"/>
                  <a:pt x="309" y="4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8" name="Freeform 654"/>
          <p:cNvSpPr>
            <a:spLocks/>
          </p:cNvSpPr>
          <p:nvPr userDrawn="1"/>
        </p:nvSpPr>
        <p:spPr bwMode="auto">
          <a:xfrm>
            <a:off x="5299696" y="4061570"/>
            <a:ext cx="480752" cy="469025"/>
          </a:xfrm>
          <a:custGeom>
            <a:avLst/>
            <a:gdLst>
              <a:gd name="T0" fmla="*/ 2147483646 w 516"/>
              <a:gd name="T1" fmla="*/ 2147483646 h 502"/>
              <a:gd name="T2" fmla="*/ 2147483646 w 516"/>
              <a:gd name="T3" fmla="*/ 2147483646 h 502"/>
              <a:gd name="T4" fmla="*/ 2147483646 w 516"/>
              <a:gd name="T5" fmla="*/ 2147483646 h 502"/>
              <a:gd name="T6" fmla="*/ 2147483646 w 516"/>
              <a:gd name="T7" fmla="*/ 2147483646 h 502"/>
              <a:gd name="T8" fmla="*/ 2147483646 w 516"/>
              <a:gd name="T9" fmla="*/ 2147483646 h 502"/>
              <a:gd name="T10" fmla="*/ 2147483646 w 516"/>
              <a:gd name="T11" fmla="*/ 2147483646 h 502"/>
              <a:gd name="T12" fmla="*/ 2147483646 w 516"/>
              <a:gd name="T13" fmla="*/ 2147483646 h 502"/>
              <a:gd name="T14" fmla="*/ 2147483646 w 516"/>
              <a:gd name="T15" fmla="*/ 2147483646 h 502"/>
              <a:gd name="T16" fmla="*/ 2147483646 w 516"/>
              <a:gd name="T17" fmla="*/ 2147483646 h 502"/>
              <a:gd name="T18" fmla="*/ 2147483646 w 516"/>
              <a:gd name="T19" fmla="*/ 2147483646 h 502"/>
              <a:gd name="T20" fmla="*/ 2147483646 w 516"/>
              <a:gd name="T21" fmla="*/ 2147483646 h 502"/>
              <a:gd name="T22" fmla="*/ 2147483646 w 516"/>
              <a:gd name="T23" fmla="*/ 2147483646 h 502"/>
              <a:gd name="T24" fmla="*/ 2147483646 w 516"/>
              <a:gd name="T25" fmla="*/ 2147483646 h 502"/>
              <a:gd name="T26" fmla="*/ 2147483646 w 516"/>
              <a:gd name="T27" fmla="*/ 2147483646 h 502"/>
              <a:gd name="T28" fmla="*/ 2147483646 w 516"/>
              <a:gd name="T29" fmla="*/ 2147483646 h 502"/>
              <a:gd name="T30" fmla="*/ 2147483646 w 516"/>
              <a:gd name="T31" fmla="*/ 2147483646 h 502"/>
              <a:gd name="T32" fmla="*/ 2147483646 w 516"/>
              <a:gd name="T33" fmla="*/ 2147483646 h 502"/>
              <a:gd name="T34" fmla="*/ 2147483646 w 516"/>
              <a:gd name="T35" fmla="*/ 2147483646 h 502"/>
              <a:gd name="T36" fmla="*/ 2147483646 w 516"/>
              <a:gd name="T37" fmla="*/ 2147483646 h 502"/>
              <a:gd name="T38" fmla="*/ 2147483646 w 516"/>
              <a:gd name="T39" fmla="*/ 2147483646 h 502"/>
              <a:gd name="T40" fmla="*/ 2147483646 w 516"/>
              <a:gd name="T41" fmla="*/ 2147483646 h 502"/>
              <a:gd name="T42" fmla="*/ 2147483646 w 516"/>
              <a:gd name="T43" fmla="*/ 2147483646 h 502"/>
              <a:gd name="T44" fmla="*/ 2147483646 w 516"/>
              <a:gd name="T45" fmla="*/ 2147483646 h 502"/>
              <a:gd name="T46" fmla="*/ 2147483646 w 516"/>
              <a:gd name="T47" fmla="*/ 2147483646 h 502"/>
              <a:gd name="T48" fmla="*/ 2147483646 w 516"/>
              <a:gd name="T49" fmla="*/ 2147483646 h 502"/>
              <a:gd name="T50" fmla="*/ 2147483646 w 516"/>
              <a:gd name="T51" fmla="*/ 2147483646 h 502"/>
              <a:gd name="T52" fmla="*/ 2147483646 w 516"/>
              <a:gd name="T53" fmla="*/ 2147483646 h 502"/>
              <a:gd name="T54" fmla="*/ 2147483646 w 516"/>
              <a:gd name="T55" fmla="*/ 2147483646 h 502"/>
              <a:gd name="T56" fmla="*/ 2147483646 w 516"/>
              <a:gd name="T57" fmla="*/ 2147483646 h 502"/>
              <a:gd name="T58" fmla="*/ 2147483646 w 516"/>
              <a:gd name="T59" fmla="*/ 2147483646 h 502"/>
              <a:gd name="T60" fmla="*/ 2147483646 w 516"/>
              <a:gd name="T61" fmla="*/ 2147483646 h 502"/>
              <a:gd name="T62" fmla="*/ 2147483646 w 516"/>
              <a:gd name="T63" fmla="*/ 2147483646 h 502"/>
              <a:gd name="T64" fmla="*/ 2147483646 w 516"/>
              <a:gd name="T65" fmla="*/ 2147483646 h 502"/>
              <a:gd name="T66" fmla="*/ 2147483646 w 516"/>
              <a:gd name="T67" fmla="*/ 2147483646 h 502"/>
              <a:gd name="T68" fmla="*/ 2147483646 w 516"/>
              <a:gd name="T69" fmla="*/ 2147483646 h 502"/>
              <a:gd name="T70" fmla="*/ 2147483646 w 516"/>
              <a:gd name="T71" fmla="*/ 2147483646 h 502"/>
              <a:gd name="T72" fmla="*/ 2147483646 w 516"/>
              <a:gd name="T73" fmla="*/ 2147483646 h 50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516"/>
              <a:gd name="T112" fmla="*/ 0 h 502"/>
              <a:gd name="T113" fmla="*/ 516 w 516"/>
              <a:gd name="T114" fmla="*/ 502 h 50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516" h="502">
                <a:moveTo>
                  <a:pt x="198" y="52"/>
                </a:moveTo>
                <a:cubicBezTo>
                  <a:pt x="198" y="52"/>
                  <a:pt x="198" y="72"/>
                  <a:pt x="198" y="80"/>
                </a:cubicBezTo>
                <a:cubicBezTo>
                  <a:pt x="198" y="87"/>
                  <a:pt x="198" y="90"/>
                  <a:pt x="197" y="97"/>
                </a:cubicBezTo>
                <a:cubicBezTo>
                  <a:pt x="195" y="103"/>
                  <a:pt x="202" y="114"/>
                  <a:pt x="205" y="118"/>
                </a:cubicBezTo>
                <a:cubicBezTo>
                  <a:pt x="207" y="121"/>
                  <a:pt x="206" y="130"/>
                  <a:pt x="199" y="132"/>
                </a:cubicBezTo>
                <a:cubicBezTo>
                  <a:pt x="193" y="134"/>
                  <a:pt x="166" y="134"/>
                  <a:pt x="160" y="133"/>
                </a:cubicBezTo>
                <a:cubicBezTo>
                  <a:pt x="155" y="132"/>
                  <a:pt x="148" y="133"/>
                  <a:pt x="135" y="134"/>
                </a:cubicBezTo>
                <a:cubicBezTo>
                  <a:pt x="122" y="135"/>
                  <a:pt x="133" y="144"/>
                  <a:pt x="134" y="148"/>
                </a:cubicBezTo>
                <a:cubicBezTo>
                  <a:pt x="135" y="151"/>
                  <a:pt x="140" y="153"/>
                  <a:pt x="141" y="157"/>
                </a:cubicBezTo>
                <a:cubicBezTo>
                  <a:pt x="141" y="160"/>
                  <a:pt x="135" y="160"/>
                  <a:pt x="130" y="161"/>
                </a:cubicBezTo>
                <a:cubicBezTo>
                  <a:pt x="124" y="162"/>
                  <a:pt x="112" y="167"/>
                  <a:pt x="110" y="170"/>
                </a:cubicBezTo>
                <a:cubicBezTo>
                  <a:pt x="107" y="173"/>
                  <a:pt x="110" y="170"/>
                  <a:pt x="107" y="175"/>
                </a:cubicBezTo>
                <a:cubicBezTo>
                  <a:pt x="104" y="179"/>
                  <a:pt x="102" y="186"/>
                  <a:pt x="93" y="182"/>
                </a:cubicBezTo>
                <a:cubicBezTo>
                  <a:pt x="84" y="178"/>
                  <a:pt x="82" y="184"/>
                  <a:pt x="82" y="184"/>
                </a:cubicBezTo>
                <a:cubicBezTo>
                  <a:pt x="82" y="184"/>
                  <a:pt x="74" y="193"/>
                  <a:pt x="69" y="189"/>
                </a:cubicBezTo>
                <a:cubicBezTo>
                  <a:pt x="64" y="186"/>
                  <a:pt x="45" y="192"/>
                  <a:pt x="42" y="195"/>
                </a:cubicBezTo>
                <a:cubicBezTo>
                  <a:pt x="38" y="197"/>
                  <a:pt x="26" y="204"/>
                  <a:pt x="20" y="206"/>
                </a:cubicBezTo>
                <a:cubicBezTo>
                  <a:pt x="14" y="209"/>
                  <a:pt x="4" y="213"/>
                  <a:pt x="4" y="213"/>
                </a:cubicBezTo>
                <a:cubicBezTo>
                  <a:pt x="0" y="240"/>
                  <a:pt x="0" y="240"/>
                  <a:pt x="0" y="240"/>
                </a:cubicBezTo>
                <a:cubicBezTo>
                  <a:pt x="1" y="255"/>
                  <a:pt x="1" y="255"/>
                  <a:pt x="1" y="255"/>
                </a:cubicBezTo>
                <a:cubicBezTo>
                  <a:pt x="223" y="438"/>
                  <a:pt x="223" y="438"/>
                  <a:pt x="223" y="438"/>
                </a:cubicBezTo>
                <a:cubicBezTo>
                  <a:pt x="223" y="438"/>
                  <a:pt x="228" y="445"/>
                  <a:pt x="227" y="449"/>
                </a:cubicBezTo>
                <a:cubicBezTo>
                  <a:pt x="226" y="452"/>
                  <a:pt x="229" y="460"/>
                  <a:pt x="234" y="460"/>
                </a:cubicBezTo>
                <a:cubicBezTo>
                  <a:pt x="238" y="460"/>
                  <a:pt x="242" y="457"/>
                  <a:pt x="246" y="461"/>
                </a:cubicBezTo>
                <a:cubicBezTo>
                  <a:pt x="250" y="464"/>
                  <a:pt x="254" y="467"/>
                  <a:pt x="257" y="471"/>
                </a:cubicBezTo>
                <a:cubicBezTo>
                  <a:pt x="260" y="474"/>
                  <a:pt x="269" y="468"/>
                  <a:pt x="271" y="472"/>
                </a:cubicBezTo>
                <a:cubicBezTo>
                  <a:pt x="273" y="475"/>
                  <a:pt x="282" y="488"/>
                  <a:pt x="280" y="491"/>
                </a:cubicBezTo>
                <a:cubicBezTo>
                  <a:pt x="278" y="495"/>
                  <a:pt x="276" y="501"/>
                  <a:pt x="276" y="501"/>
                </a:cubicBezTo>
                <a:cubicBezTo>
                  <a:pt x="276" y="501"/>
                  <a:pt x="290" y="502"/>
                  <a:pt x="300" y="502"/>
                </a:cubicBezTo>
                <a:cubicBezTo>
                  <a:pt x="310" y="502"/>
                  <a:pt x="347" y="495"/>
                  <a:pt x="355" y="488"/>
                </a:cubicBezTo>
                <a:cubicBezTo>
                  <a:pt x="362" y="481"/>
                  <a:pt x="482" y="390"/>
                  <a:pt x="516" y="384"/>
                </a:cubicBezTo>
                <a:cubicBezTo>
                  <a:pt x="516" y="384"/>
                  <a:pt x="504" y="361"/>
                  <a:pt x="499" y="358"/>
                </a:cubicBezTo>
                <a:cubicBezTo>
                  <a:pt x="493" y="356"/>
                  <a:pt x="476" y="356"/>
                  <a:pt x="471" y="351"/>
                </a:cubicBezTo>
                <a:cubicBezTo>
                  <a:pt x="467" y="345"/>
                  <a:pt x="466" y="347"/>
                  <a:pt x="466" y="338"/>
                </a:cubicBezTo>
                <a:cubicBezTo>
                  <a:pt x="466" y="328"/>
                  <a:pt x="462" y="319"/>
                  <a:pt x="458" y="316"/>
                </a:cubicBezTo>
                <a:cubicBezTo>
                  <a:pt x="454" y="312"/>
                  <a:pt x="452" y="301"/>
                  <a:pt x="461" y="299"/>
                </a:cubicBezTo>
                <a:cubicBezTo>
                  <a:pt x="470" y="297"/>
                  <a:pt x="468" y="289"/>
                  <a:pt x="465" y="283"/>
                </a:cubicBezTo>
                <a:cubicBezTo>
                  <a:pt x="461" y="276"/>
                  <a:pt x="465" y="271"/>
                  <a:pt x="469" y="264"/>
                </a:cubicBezTo>
                <a:cubicBezTo>
                  <a:pt x="473" y="257"/>
                  <a:pt x="469" y="249"/>
                  <a:pt x="466" y="239"/>
                </a:cubicBezTo>
                <a:cubicBezTo>
                  <a:pt x="462" y="229"/>
                  <a:pt x="462" y="227"/>
                  <a:pt x="466" y="222"/>
                </a:cubicBezTo>
                <a:cubicBezTo>
                  <a:pt x="469" y="218"/>
                  <a:pt x="469" y="208"/>
                  <a:pt x="466" y="208"/>
                </a:cubicBezTo>
                <a:cubicBezTo>
                  <a:pt x="462" y="208"/>
                  <a:pt x="457" y="199"/>
                  <a:pt x="457" y="199"/>
                </a:cubicBezTo>
                <a:cubicBezTo>
                  <a:pt x="455" y="189"/>
                  <a:pt x="459" y="187"/>
                  <a:pt x="457" y="179"/>
                </a:cubicBezTo>
                <a:cubicBezTo>
                  <a:pt x="455" y="172"/>
                  <a:pt x="457" y="167"/>
                  <a:pt x="452" y="161"/>
                </a:cubicBezTo>
                <a:cubicBezTo>
                  <a:pt x="448" y="154"/>
                  <a:pt x="446" y="144"/>
                  <a:pt x="447" y="138"/>
                </a:cubicBezTo>
                <a:cubicBezTo>
                  <a:pt x="448" y="131"/>
                  <a:pt x="448" y="128"/>
                  <a:pt x="441" y="127"/>
                </a:cubicBezTo>
                <a:cubicBezTo>
                  <a:pt x="435" y="126"/>
                  <a:pt x="430" y="129"/>
                  <a:pt x="429" y="123"/>
                </a:cubicBezTo>
                <a:cubicBezTo>
                  <a:pt x="428" y="118"/>
                  <a:pt x="428" y="109"/>
                  <a:pt x="428" y="109"/>
                </a:cubicBezTo>
                <a:cubicBezTo>
                  <a:pt x="428" y="109"/>
                  <a:pt x="417" y="105"/>
                  <a:pt x="415" y="100"/>
                </a:cubicBezTo>
                <a:cubicBezTo>
                  <a:pt x="413" y="96"/>
                  <a:pt x="411" y="90"/>
                  <a:pt x="415" y="85"/>
                </a:cubicBezTo>
                <a:cubicBezTo>
                  <a:pt x="420" y="79"/>
                  <a:pt x="416" y="77"/>
                  <a:pt x="423" y="76"/>
                </a:cubicBezTo>
                <a:cubicBezTo>
                  <a:pt x="429" y="75"/>
                  <a:pt x="437" y="71"/>
                  <a:pt x="438" y="65"/>
                </a:cubicBezTo>
                <a:cubicBezTo>
                  <a:pt x="439" y="60"/>
                  <a:pt x="443" y="48"/>
                  <a:pt x="443" y="42"/>
                </a:cubicBezTo>
                <a:cubicBezTo>
                  <a:pt x="443" y="37"/>
                  <a:pt x="442" y="26"/>
                  <a:pt x="443" y="23"/>
                </a:cubicBezTo>
                <a:cubicBezTo>
                  <a:pt x="445" y="20"/>
                  <a:pt x="451" y="15"/>
                  <a:pt x="451" y="15"/>
                </a:cubicBezTo>
                <a:cubicBezTo>
                  <a:pt x="451" y="15"/>
                  <a:pt x="443" y="14"/>
                  <a:pt x="439" y="16"/>
                </a:cubicBezTo>
                <a:cubicBezTo>
                  <a:pt x="435" y="18"/>
                  <a:pt x="429" y="17"/>
                  <a:pt x="427" y="13"/>
                </a:cubicBezTo>
                <a:cubicBezTo>
                  <a:pt x="426" y="9"/>
                  <a:pt x="425" y="10"/>
                  <a:pt x="422" y="8"/>
                </a:cubicBezTo>
                <a:cubicBezTo>
                  <a:pt x="419" y="7"/>
                  <a:pt x="417" y="3"/>
                  <a:pt x="416" y="8"/>
                </a:cubicBezTo>
                <a:cubicBezTo>
                  <a:pt x="415" y="13"/>
                  <a:pt x="414" y="20"/>
                  <a:pt x="409" y="16"/>
                </a:cubicBezTo>
                <a:cubicBezTo>
                  <a:pt x="404" y="11"/>
                  <a:pt x="402" y="9"/>
                  <a:pt x="402" y="8"/>
                </a:cubicBezTo>
                <a:cubicBezTo>
                  <a:pt x="401" y="6"/>
                  <a:pt x="406" y="0"/>
                  <a:pt x="399" y="3"/>
                </a:cubicBezTo>
                <a:cubicBezTo>
                  <a:pt x="393" y="6"/>
                  <a:pt x="389" y="7"/>
                  <a:pt x="387" y="10"/>
                </a:cubicBezTo>
                <a:cubicBezTo>
                  <a:pt x="386" y="13"/>
                  <a:pt x="382" y="15"/>
                  <a:pt x="379" y="15"/>
                </a:cubicBezTo>
                <a:cubicBezTo>
                  <a:pt x="376" y="16"/>
                  <a:pt x="373" y="19"/>
                  <a:pt x="371" y="19"/>
                </a:cubicBezTo>
                <a:cubicBezTo>
                  <a:pt x="371" y="19"/>
                  <a:pt x="367" y="15"/>
                  <a:pt x="366" y="14"/>
                </a:cubicBezTo>
                <a:cubicBezTo>
                  <a:pt x="364" y="13"/>
                  <a:pt x="358" y="9"/>
                  <a:pt x="352" y="10"/>
                </a:cubicBezTo>
                <a:cubicBezTo>
                  <a:pt x="346" y="12"/>
                  <a:pt x="336" y="2"/>
                  <a:pt x="333" y="8"/>
                </a:cubicBezTo>
                <a:cubicBezTo>
                  <a:pt x="330" y="14"/>
                  <a:pt x="313" y="7"/>
                  <a:pt x="309" y="12"/>
                </a:cubicBezTo>
                <a:cubicBezTo>
                  <a:pt x="305" y="16"/>
                  <a:pt x="295" y="17"/>
                  <a:pt x="291" y="16"/>
                </a:cubicBezTo>
                <a:cubicBezTo>
                  <a:pt x="288" y="15"/>
                  <a:pt x="285" y="12"/>
                  <a:pt x="285" y="12"/>
                </a:cubicBezTo>
                <a:cubicBezTo>
                  <a:pt x="285" y="12"/>
                  <a:pt x="265" y="17"/>
                  <a:pt x="258" y="23"/>
                </a:cubicBezTo>
                <a:cubicBezTo>
                  <a:pt x="252" y="29"/>
                  <a:pt x="245" y="36"/>
                  <a:pt x="239" y="34"/>
                </a:cubicBezTo>
                <a:cubicBezTo>
                  <a:pt x="233" y="31"/>
                  <a:pt x="228" y="29"/>
                  <a:pt x="220" y="37"/>
                </a:cubicBezTo>
                <a:cubicBezTo>
                  <a:pt x="212" y="44"/>
                  <a:pt x="198" y="52"/>
                  <a:pt x="198" y="5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9" name="Freeform 655"/>
          <p:cNvSpPr>
            <a:spLocks/>
          </p:cNvSpPr>
          <p:nvPr userDrawn="1"/>
        </p:nvSpPr>
        <p:spPr bwMode="auto">
          <a:xfrm>
            <a:off x="5683292" y="4059895"/>
            <a:ext cx="95480" cy="187611"/>
          </a:xfrm>
          <a:custGeom>
            <a:avLst/>
            <a:gdLst>
              <a:gd name="T0" fmla="*/ 2147483646 w 102"/>
              <a:gd name="T1" fmla="*/ 2147483646 h 200"/>
              <a:gd name="T2" fmla="*/ 2147483646 w 102"/>
              <a:gd name="T3" fmla="*/ 2147483646 h 200"/>
              <a:gd name="T4" fmla="*/ 2147483646 w 102"/>
              <a:gd name="T5" fmla="*/ 2147483646 h 200"/>
              <a:gd name="T6" fmla="*/ 2147483646 w 102"/>
              <a:gd name="T7" fmla="*/ 2147483646 h 200"/>
              <a:gd name="T8" fmla="*/ 2147483646 w 102"/>
              <a:gd name="T9" fmla="*/ 2147483646 h 200"/>
              <a:gd name="T10" fmla="*/ 2147483646 w 102"/>
              <a:gd name="T11" fmla="*/ 2147483646 h 200"/>
              <a:gd name="T12" fmla="*/ 2147483646 w 102"/>
              <a:gd name="T13" fmla="*/ 2147483646 h 200"/>
              <a:gd name="T14" fmla="*/ 2147483646 w 102"/>
              <a:gd name="T15" fmla="*/ 2147483646 h 200"/>
              <a:gd name="T16" fmla="*/ 2147483646 w 102"/>
              <a:gd name="T17" fmla="*/ 2147483646 h 200"/>
              <a:gd name="T18" fmla="*/ 2147483646 w 102"/>
              <a:gd name="T19" fmla="*/ 2147483646 h 200"/>
              <a:gd name="T20" fmla="*/ 2147483646 w 102"/>
              <a:gd name="T21" fmla="*/ 2147483646 h 200"/>
              <a:gd name="T22" fmla="*/ 2147483646 w 102"/>
              <a:gd name="T23" fmla="*/ 2147483646 h 200"/>
              <a:gd name="T24" fmla="*/ 2147483646 w 102"/>
              <a:gd name="T25" fmla="*/ 2147483646 h 200"/>
              <a:gd name="T26" fmla="*/ 2147483646 w 102"/>
              <a:gd name="T27" fmla="*/ 2147483646 h 200"/>
              <a:gd name="T28" fmla="*/ 2147483646 w 102"/>
              <a:gd name="T29" fmla="*/ 2147483646 h 200"/>
              <a:gd name="T30" fmla="*/ 2147483646 w 102"/>
              <a:gd name="T31" fmla="*/ 2147483646 h 200"/>
              <a:gd name="T32" fmla="*/ 2147483646 w 102"/>
              <a:gd name="T33" fmla="*/ 2147483646 h 200"/>
              <a:gd name="T34" fmla="*/ 2147483646 w 102"/>
              <a:gd name="T35" fmla="*/ 2147483646 h 200"/>
              <a:gd name="T36" fmla="*/ 2147483646 w 102"/>
              <a:gd name="T37" fmla="*/ 2147483646 h 200"/>
              <a:gd name="T38" fmla="*/ 2147483646 w 102"/>
              <a:gd name="T39" fmla="*/ 2147483646 h 200"/>
              <a:gd name="T40" fmla="*/ 2147483646 w 102"/>
              <a:gd name="T41" fmla="*/ 2147483646 h 200"/>
              <a:gd name="T42" fmla="*/ 2147483646 w 102"/>
              <a:gd name="T43" fmla="*/ 2147483646 h 200"/>
              <a:gd name="T44" fmla="*/ 2147483646 w 102"/>
              <a:gd name="T45" fmla="*/ 2147483646 h 200"/>
              <a:gd name="T46" fmla="*/ 2147483646 w 102"/>
              <a:gd name="T47" fmla="*/ 2147483646 h 200"/>
              <a:gd name="T48" fmla="*/ 2147483646 w 102"/>
              <a:gd name="T49" fmla="*/ 2147483646 h 200"/>
              <a:gd name="T50" fmla="*/ 2147483646 w 102"/>
              <a:gd name="T51" fmla="*/ 2147483646 h 200"/>
              <a:gd name="T52" fmla="*/ 2147483646 w 102"/>
              <a:gd name="T53" fmla="*/ 2147483646 h 200"/>
              <a:gd name="T54" fmla="*/ 2147483646 w 102"/>
              <a:gd name="T55" fmla="*/ 2147483646 h 200"/>
              <a:gd name="T56" fmla="*/ 2147483646 w 102"/>
              <a:gd name="T57" fmla="*/ 2147483646 h 200"/>
              <a:gd name="T58" fmla="*/ 2147483646 w 102"/>
              <a:gd name="T59" fmla="*/ 2147483646 h 200"/>
              <a:gd name="T60" fmla="*/ 2147483646 w 102"/>
              <a:gd name="T61" fmla="*/ 2147483646 h 200"/>
              <a:gd name="T62" fmla="*/ 2147483646 w 102"/>
              <a:gd name="T63" fmla="*/ 2147483646 h 200"/>
              <a:gd name="T64" fmla="*/ 2147483646 w 102"/>
              <a:gd name="T65" fmla="*/ 2147483646 h 200"/>
              <a:gd name="T66" fmla="*/ 2147483646 w 102"/>
              <a:gd name="T67" fmla="*/ 2147483646 h 200"/>
              <a:gd name="T68" fmla="*/ 2147483646 w 102"/>
              <a:gd name="T69" fmla="*/ 2147483646 h 200"/>
              <a:gd name="T70" fmla="*/ 2147483646 w 102"/>
              <a:gd name="T71" fmla="*/ 2147483646 h 200"/>
              <a:gd name="T72" fmla="*/ 2147483646 w 102"/>
              <a:gd name="T73" fmla="*/ 2147483646 h 200"/>
              <a:gd name="T74" fmla="*/ 2147483646 w 102"/>
              <a:gd name="T75" fmla="*/ 2147483646 h 200"/>
              <a:gd name="T76" fmla="*/ 2147483646 w 102"/>
              <a:gd name="T77" fmla="*/ 2147483646 h 200"/>
              <a:gd name="T78" fmla="*/ 2147483646 w 102"/>
              <a:gd name="T79" fmla="*/ 2147483646 h 200"/>
              <a:gd name="T80" fmla="*/ 2147483646 w 102"/>
              <a:gd name="T81" fmla="*/ 2147483646 h 200"/>
              <a:gd name="T82" fmla="*/ 2147483646 w 102"/>
              <a:gd name="T83" fmla="*/ 2147483646 h 200"/>
              <a:gd name="T84" fmla="*/ 2147483646 w 102"/>
              <a:gd name="T85" fmla="*/ 2147483646 h 20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2"/>
              <a:gd name="T130" fmla="*/ 0 h 200"/>
              <a:gd name="T131" fmla="*/ 102 w 102"/>
              <a:gd name="T132" fmla="*/ 200 h 20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2" h="200">
                <a:moveTo>
                  <a:pt x="40" y="16"/>
                </a:moveTo>
                <a:cubicBezTo>
                  <a:pt x="40" y="16"/>
                  <a:pt x="40" y="16"/>
                  <a:pt x="40" y="16"/>
                </a:cubicBezTo>
                <a:cubicBezTo>
                  <a:pt x="39" y="17"/>
                  <a:pt x="34" y="21"/>
                  <a:pt x="32" y="24"/>
                </a:cubicBezTo>
                <a:cubicBezTo>
                  <a:pt x="31" y="27"/>
                  <a:pt x="32" y="38"/>
                  <a:pt x="32" y="43"/>
                </a:cubicBezTo>
                <a:cubicBezTo>
                  <a:pt x="32" y="49"/>
                  <a:pt x="28" y="61"/>
                  <a:pt x="27" y="66"/>
                </a:cubicBezTo>
                <a:cubicBezTo>
                  <a:pt x="26" y="72"/>
                  <a:pt x="18" y="76"/>
                  <a:pt x="12" y="77"/>
                </a:cubicBezTo>
                <a:cubicBezTo>
                  <a:pt x="5" y="78"/>
                  <a:pt x="9" y="80"/>
                  <a:pt x="4" y="86"/>
                </a:cubicBezTo>
                <a:cubicBezTo>
                  <a:pt x="0" y="91"/>
                  <a:pt x="2" y="97"/>
                  <a:pt x="4" y="101"/>
                </a:cubicBezTo>
                <a:cubicBezTo>
                  <a:pt x="6" y="106"/>
                  <a:pt x="17" y="110"/>
                  <a:pt x="17" y="110"/>
                </a:cubicBezTo>
                <a:cubicBezTo>
                  <a:pt x="17" y="110"/>
                  <a:pt x="17" y="119"/>
                  <a:pt x="18" y="124"/>
                </a:cubicBezTo>
                <a:cubicBezTo>
                  <a:pt x="19" y="130"/>
                  <a:pt x="24" y="127"/>
                  <a:pt x="30" y="128"/>
                </a:cubicBezTo>
                <a:cubicBezTo>
                  <a:pt x="37" y="129"/>
                  <a:pt x="37" y="132"/>
                  <a:pt x="36" y="139"/>
                </a:cubicBezTo>
                <a:cubicBezTo>
                  <a:pt x="35" y="145"/>
                  <a:pt x="37" y="155"/>
                  <a:pt x="41" y="162"/>
                </a:cubicBezTo>
                <a:cubicBezTo>
                  <a:pt x="46" y="168"/>
                  <a:pt x="44" y="173"/>
                  <a:pt x="46" y="180"/>
                </a:cubicBezTo>
                <a:cubicBezTo>
                  <a:pt x="48" y="188"/>
                  <a:pt x="44" y="190"/>
                  <a:pt x="46" y="200"/>
                </a:cubicBezTo>
                <a:cubicBezTo>
                  <a:pt x="46" y="200"/>
                  <a:pt x="51" y="197"/>
                  <a:pt x="54" y="196"/>
                </a:cubicBezTo>
                <a:cubicBezTo>
                  <a:pt x="56" y="196"/>
                  <a:pt x="61" y="192"/>
                  <a:pt x="65" y="188"/>
                </a:cubicBezTo>
                <a:cubicBezTo>
                  <a:pt x="68" y="184"/>
                  <a:pt x="73" y="177"/>
                  <a:pt x="71" y="174"/>
                </a:cubicBezTo>
                <a:cubicBezTo>
                  <a:pt x="69" y="170"/>
                  <a:pt x="66" y="165"/>
                  <a:pt x="69" y="162"/>
                </a:cubicBezTo>
                <a:cubicBezTo>
                  <a:pt x="72" y="160"/>
                  <a:pt x="71" y="155"/>
                  <a:pt x="77" y="154"/>
                </a:cubicBezTo>
                <a:cubicBezTo>
                  <a:pt x="83" y="152"/>
                  <a:pt x="84" y="147"/>
                  <a:pt x="89" y="146"/>
                </a:cubicBezTo>
                <a:cubicBezTo>
                  <a:pt x="94" y="145"/>
                  <a:pt x="97" y="138"/>
                  <a:pt x="98" y="135"/>
                </a:cubicBezTo>
                <a:cubicBezTo>
                  <a:pt x="99" y="132"/>
                  <a:pt x="101" y="129"/>
                  <a:pt x="101" y="126"/>
                </a:cubicBezTo>
                <a:cubicBezTo>
                  <a:pt x="101" y="122"/>
                  <a:pt x="102" y="116"/>
                  <a:pt x="102" y="116"/>
                </a:cubicBezTo>
                <a:cubicBezTo>
                  <a:pt x="102" y="116"/>
                  <a:pt x="92" y="115"/>
                  <a:pt x="92" y="110"/>
                </a:cubicBezTo>
                <a:cubicBezTo>
                  <a:pt x="92" y="106"/>
                  <a:pt x="91" y="102"/>
                  <a:pt x="91" y="102"/>
                </a:cubicBezTo>
                <a:cubicBezTo>
                  <a:pt x="91" y="102"/>
                  <a:pt x="90" y="98"/>
                  <a:pt x="88" y="99"/>
                </a:cubicBezTo>
                <a:cubicBezTo>
                  <a:pt x="87" y="99"/>
                  <a:pt x="84" y="101"/>
                  <a:pt x="82" y="102"/>
                </a:cubicBezTo>
                <a:cubicBezTo>
                  <a:pt x="80" y="104"/>
                  <a:pt x="76" y="103"/>
                  <a:pt x="74" y="99"/>
                </a:cubicBezTo>
                <a:cubicBezTo>
                  <a:pt x="73" y="96"/>
                  <a:pt x="70" y="95"/>
                  <a:pt x="71" y="93"/>
                </a:cubicBezTo>
                <a:cubicBezTo>
                  <a:pt x="73" y="90"/>
                  <a:pt x="73" y="85"/>
                  <a:pt x="77" y="83"/>
                </a:cubicBezTo>
                <a:cubicBezTo>
                  <a:pt x="80" y="82"/>
                  <a:pt x="82" y="78"/>
                  <a:pt x="88" y="76"/>
                </a:cubicBezTo>
                <a:cubicBezTo>
                  <a:pt x="93" y="73"/>
                  <a:pt x="96" y="65"/>
                  <a:pt x="97" y="64"/>
                </a:cubicBezTo>
                <a:cubicBezTo>
                  <a:pt x="97" y="62"/>
                  <a:pt x="93" y="54"/>
                  <a:pt x="92" y="52"/>
                </a:cubicBezTo>
                <a:cubicBezTo>
                  <a:pt x="91" y="51"/>
                  <a:pt x="90" y="52"/>
                  <a:pt x="86" y="48"/>
                </a:cubicBezTo>
                <a:cubicBezTo>
                  <a:pt x="83" y="45"/>
                  <a:pt x="81" y="41"/>
                  <a:pt x="82" y="38"/>
                </a:cubicBezTo>
                <a:cubicBezTo>
                  <a:pt x="84" y="35"/>
                  <a:pt x="82" y="34"/>
                  <a:pt x="88" y="31"/>
                </a:cubicBezTo>
                <a:cubicBezTo>
                  <a:pt x="93" y="27"/>
                  <a:pt x="95" y="26"/>
                  <a:pt x="96" y="19"/>
                </a:cubicBezTo>
                <a:cubicBezTo>
                  <a:pt x="98" y="13"/>
                  <a:pt x="98" y="9"/>
                  <a:pt x="96" y="9"/>
                </a:cubicBezTo>
                <a:cubicBezTo>
                  <a:pt x="93" y="9"/>
                  <a:pt x="89" y="13"/>
                  <a:pt x="84" y="13"/>
                </a:cubicBezTo>
                <a:cubicBezTo>
                  <a:pt x="78" y="14"/>
                  <a:pt x="76" y="14"/>
                  <a:pt x="75" y="10"/>
                </a:cubicBezTo>
                <a:cubicBezTo>
                  <a:pt x="74" y="5"/>
                  <a:pt x="77" y="0"/>
                  <a:pt x="68" y="3"/>
                </a:cubicBezTo>
                <a:cubicBezTo>
                  <a:pt x="58" y="6"/>
                  <a:pt x="40" y="16"/>
                  <a:pt x="40" y="1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0" name="Freeform 656"/>
          <p:cNvSpPr>
            <a:spLocks/>
          </p:cNvSpPr>
          <p:nvPr userDrawn="1"/>
        </p:nvSpPr>
        <p:spPr bwMode="auto">
          <a:xfrm>
            <a:off x="5721819" y="4168775"/>
            <a:ext cx="383597" cy="353445"/>
          </a:xfrm>
          <a:custGeom>
            <a:avLst/>
            <a:gdLst>
              <a:gd name="T0" fmla="*/ 2147483646 w 411"/>
              <a:gd name="T1" fmla="*/ 2147483646 h 379"/>
              <a:gd name="T2" fmla="*/ 2147483646 w 411"/>
              <a:gd name="T3" fmla="*/ 2147483646 h 379"/>
              <a:gd name="T4" fmla="*/ 2147483646 w 411"/>
              <a:gd name="T5" fmla="*/ 2147483646 h 379"/>
              <a:gd name="T6" fmla="*/ 2147483646 w 411"/>
              <a:gd name="T7" fmla="*/ 2147483646 h 379"/>
              <a:gd name="T8" fmla="*/ 2147483646 w 411"/>
              <a:gd name="T9" fmla="*/ 2147483646 h 379"/>
              <a:gd name="T10" fmla="*/ 2147483646 w 411"/>
              <a:gd name="T11" fmla="*/ 2147483646 h 379"/>
              <a:gd name="T12" fmla="*/ 2147483646 w 411"/>
              <a:gd name="T13" fmla="*/ 2147483646 h 379"/>
              <a:gd name="T14" fmla="*/ 2147483646 w 411"/>
              <a:gd name="T15" fmla="*/ 2147483646 h 379"/>
              <a:gd name="T16" fmla="*/ 2147483646 w 411"/>
              <a:gd name="T17" fmla="*/ 2147483646 h 379"/>
              <a:gd name="T18" fmla="*/ 2147483646 w 411"/>
              <a:gd name="T19" fmla="*/ 2147483646 h 379"/>
              <a:gd name="T20" fmla="*/ 2147483646 w 411"/>
              <a:gd name="T21" fmla="*/ 2147483646 h 379"/>
              <a:gd name="T22" fmla="*/ 2147483646 w 411"/>
              <a:gd name="T23" fmla="*/ 2147483646 h 379"/>
              <a:gd name="T24" fmla="*/ 2147483646 w 411"/>
              <a:gd name="T25" fmla="*/ 2147483646 h 379"/>
              <a:gd name="T26" fmla="*/ 2147483646 w 411"/>
              <a:gd name="T27" fmla="*/ 2147483646 h 379"/>
              <a:gd name="T28" fmla="*/ 2147483646 w 411"/>
              <a:gd name="T29" fmla="*/ 2147483646 h 379"/>
              <a:gd name="T30" fmla="*/ 2147483646 w 411"/>
              <a:gd name="T31" fmla="*/ 2147483646 h 379"/>
              <a:gd name="T32" fmla="*/ 2147483646 w 411"/>
              <a:gd name="T33" fmla="*/ 2147483646 h 379"/>
              <a:gd name="T34" fmla="*/ 2147483646 w 411"/>
              <a:gd name="T35" fmla="*/ 2147483646 h 379"/>
              <a:gd name="T36" fmla="*/ 2147483646 w 411"/>
              <a:gd name="T37" fmla="*/ 2147483646 h 379"/>
              <a:gd name="T38" fmla="*/ 2147483646 w 411"/>
              <a:gd name="T39" fmla="*/ 2147483646 h 379"/>
              <a:gd name="T40" fmla="*/ 2147483646 w 411"/>
              <a:gd name="T41" fmla="*/ 0 h 379"/>
              <a:gd name="T42" fmla="*/ 2147483646 w 411"/>
              <a:gd name="T43" fmla="*/ 2147483646 h 379"/>
              <a:gd name="T44" fmla="*/ 2147483646 w 411"/>
              <a:gd name="T45" fmla="*/ 2147483646 h 379"/>
              <a:gd name="T46" fmla="*/ 2147483646 w 411"/>
              <a:gd name="T47" fmla="*/ 2147483646 h 379"/>
              <a:gd name="T48" fmla="*/ 2147483646 w 411"/>
              <a:gd name="T49" fmla="*/ 2147483646 h 379"/>
              <a:gd name="T50" fmla="*/ 2147483646 w 411"/>
              <a:gd name="T51" fmla="*/ 2147483646 h 379"/>
              <a:gd name="T52" fmla="*/ 2147483646 w 411"/>
              <a:gd name="T53" fmla="*/ 2147483646 h 379"/>
              <a:gd name="T54" fmla="*/ 2147483646 w 411"/>
              <a:gd name="T55" fmla="*/ 2147483646 h 379"/>
              <a:gd name="T56" fmla="*/ 2147483646 w 411"/>
              <a:gd name="T57" fmla="*/ 2147483646 h 379"/>
              <a:gd name="T58" fmla="*/ 2147483646 w 411"/>
              <a:gd name="T59" fmla="*/ 2147483646 h 379"/>
              <a:gd name="T60" fmla="*/ 2147483646 w 411"/>
              <a:gd name="T61" fmla="*/ 2147483646 h 379"/>
              <a:gd name="T62" fmla="*/ 2147483646 w 411"/>
              <a:gd name="T63" fmla="*/ 2147483646 h 379"/>
              <a:gd name="T64" fmla="*/ 2147483646 w 411"/>
              <a:gd name="T65" fmla="*/ 2147483646 h 379"/>
              <a:gd name="T66" fmla="*/ 2147483646 w 411"/>
              <a:gd name="T67" fmla="*/ 2147483646 h 379"/>
              <a:gd name="T68" fmla="*/ 2147483646 w 411"/>
              <a:gd name="T69" fmla="*/ 2147483646 h 379"/>
              <a:gd name="T70" fmla="*/ 2147483646 w 411"/>
              <a:gd name="T71" fmla="*/ 2147483646 h 379"/>
              <a:gd name="T72" fmla="*/ 2147483646 w 411"/>
              <a:gd name="T73" fmla="*/ 2147483646 h 379"/>
              <a:gd name="T74" fmla="*/ 2147483646 w 411"/>
              <a:gd name="T75" fmla="*/ 2147483646 h 379"/>
              <a:gd name="T76" fmla="*/ 2147483646 w 411"/>
              <a:gd name="T77" fmla="*/ 2147483646 h 379"/>
              <a:gd name="T78" fmla="*/ 2147483646 w 411"/>
              <a:gd name="T79" fmla="*/ 2147483646 h 379"/>
              <a:gd name="T80" fmla="*/ 2147483646 w 411"/>
              <a:gd name="T81" fmla="*/ 2147483646 h 379"/>
              <a:gd name="T82" fmla="*/ 2147483646 w 411"/>
              <a:gd name="T83" fmla="*/ 2147483646 h 379"/>
              <a:gd name="T84" fmla="*/ 2147483646 w 411"/>
              <a:gd name="T85" fmla="*/ 2147483646 h 379"/>
              <a:gd name="T86" fmla="*/ 2147483646 w 411"/>
              <a:gd name="T87" fmla="*/ 2147483646 h 379"/>
              <a:gd name="T88" fmla="*/ 2147483646 w 411"/>
              <a:gd name="T89" fmla="*/ 2147483646 h 379"/>
              <a:gd name="T90" fmla="*/ 2147483646 w 411"/>
              <a:gd name="T91" fmla="*/ 2147483646 h 379"/>
              <a:gd name="T92" fmla="*/ 2147483646 w 411"/>
              <a:gd name="T93" fmla="*/ 2147483646 h 37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11"/>
              <a:gd name="T142" fmla="*/ 0 h 379"/>
              <a:gd name="T143" fmla="*/ 411 w 411"/>
              <a:gd name="T144" fmla="*/ 379 h 379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11" h="379">
                <a:moveTo>
                  <a:pt x="64" y="269"/>
                </a:moveTo>
                <a:cubicBezTo>
                  <a:pt x="64" y="269"/>
                  <a:pt x="52" y="246"/>
                  <a:pt x="47" y="243"/>
                </a:cubicBezTo>
                <a:cubicBezTo>
                  <a:pt x="41" y="241"/>
                  <a:pt x="24" y="241"/>
                  <a:pt x="19" y="236"/>
                </a:cubicBezTo>
                <a:cubicBezTo>
                  <a:pt x="15" y="230"/>
                  <a:pt x="14" y="232"/>
                  <a:pt x="14" y="223"/>
                </a:cubicBezTo>
                <a:cubicBezTo>
                  <a:pt x="14" y="213"/>
                  <a:pt x="10" y="204"/>
                  <a:pt x="6" y="201"/>
                </a:cubicBezTo>
                <a:cubicBezTo>
                  <a:pt x="2" y="197"/>
                  <a:pt x="0" y="186"/>
                  <a:pt x="9" y="184"/>
                </a:cubicBezTo>
                <a:cubicBezTo>
                  <a:pt x="18" y="182"/>
                  <a:pt x="16" y="174"/>
                  <a:pt x="13" y="168"/>
                </a:cubicBezTo>
                <a:cubicBezTo>
                  <a:pt x="9" y="161"/>
                  <a:pt x="13" y="156"/>
                  <a:pt x="17" y="149"/>
                </a:cubicBezTo>
                <a:cubicBezTo>
                  <a:pt x="21" y="142"/>
                  <a:pt x="17" y="134"/>
                  <a:pt x="14" y="124"/>
                </a:cubicBezTo>
                <a:cubicBezTo>
                  <a:pt x="10" y="114"/>
                  <a:pt x="10" y="112"/>
                  <a:pt x="14" y="107"/>
                </a:cubicBezTo>
                <a:cubicBezTo>
                  <a:pt x="17" y="103"/>
                  <a:pt x="17" y="93"/>
                  <a:pt x="14" y="93"/>
                </a:cubicBezTo>
                <a:cubicBezTo>
                  <a:pt x="10" y="93"/>
                  <a:pt x="5" y="84"/>
                  <a:pt x="5" y="84"/>
                </a:cubicBezTo>
                <a:cubicBezTo>
                  <a:pt x="5" y="84"/>
                  <a:pt x="10" y="81"/>
                  <a:pt x="13" y="80"/>
                </a:cubicBezTo>
                <a:cubicBezTo>
                  <a:pt x="15" y="80"/>
                  <a:pt x="20" y="76"/>
                  <a:pt x="24" y="72"/>
                </a:cubicBezTo>
                <a:cubicBezTo>
                  <a:pt x="27" y="68"/>
                  <a:pt x="32" y="61"/>
                  <a:pt x="30" y="58"/>
                </a:cubicBezTo>
                <a:cubicBezTo>
                  <a:pt x="28" y="54"/>
                  <a:pt x="25" y="49"/>
                  <a:pt x="28" y="46"/>
                </a:cubicBezTo>
                <a:cubicBezTo>
                  <a:pt x="31" y="44"/>
                  <a:pt x="30" y="39"/>
                  <a:pt x="36" y="38"/>
                </a:cubicBezTo>
                <a:cubicBezTo>
                  <a:pt x="42" y="36"/>
                  <a:pt x="43" y="31"/>
                  <a:pt x="48" y="30"/>
                </a:cubicBezTo>
                <a:cubicBezTo>
                  <a:pt x="53" y="29"/>
                  <a:pt x="56" y="22"/>
                  <a:pt x="57" y="19"/>
                </a:cubicBezTo>
                <a:cubicBezTo>
                  <a:pt x="58" y="16"/>
                  <a:pt x="60" y="13"/>
                  <a:pt x="60" y="10"/>
                </a:cubicBezTo>
                <a:cubicBezTo>
                  <a:pt x="60" y="6"/>
                  <a:pt x="61" y="0"/>
                  <a:pt x="61" y="0"/>
                </a:cubicBezTo>
                <a:cubicBezTo>
                  <a:pt x="61" y="0"/>
                  <a:pt x="66" y="3"/>
                  <a:pt x="69" y="6"/>
                </a:cubicBezTo>
                <a:cubicBezTo>
                  <a:pt x="72" y="8"/>
                  <a:pt x="76" y="13"/>
                  <a:pt x="86" y="12"/>
                </a:cubicBezTo>
                <a:cubicBezTo>
                  <a:pt x="95" y="11"/>
                  <a:pt x="108" y="13"/>
                  <a:pt x="111" y="12"/>
                </a:cubicBezTo>
                <a:cubicBezTo>
                  <a:pt x="115" y="12"/>
                  <a:pt x="132" y="17"/>
                  <a:pt x="136" y="21"/>
                </a:cubicBezTo>
                <a:cubicBezTo>
                  <a:pt x="139" y="25"/>
                  <a:pt x="153" y="12"/>
                  <a:pt x="155" y="27"/>
                </a:cubicBezTo>
                <a:cubicBezTo>
                  <a:pt x="158" y="42"/>
                  <a:pt x="153" y="54"/>
                  <a:pt x="173" y="54"/>
                </a:cubicBezTo>
                <a:cubicBezTo>
                  <a:pt x="193" y="54"/>
                  <a:pt x="218" y="61"/>
                  <a:pt x="232" y="73"/>
                </a:cubicBezTo>
                <a:cubicBezTo>
                  <a:pt x="246" y="86"/>
                  <a:pt x="253" y="86"/>
                  <a:pt x="266" y="76"/>
                </a:cubicBezTo>
                <a:cubicBezTo>
                  <a:pt x="278" y="66"/>
                  <a:pt x="277" y="55"/>
                  <a:pt x="271" y="50"/>
                </a:cubicBezTo>
                <a:cubicBezTo>
                  <a:pt x="265" y="45"/>
                  <a:pt x="270" y="33"/>
                  <a:pt x="278" y="26"/>
                </a:cubicBezTo>
                <a:cubicBezTo>
                  <a:pt x="287" y="19"/>
                  <a:pt x="296" y="5"/>
                  <a:pt x="315" y="7"/>
                </a:cubicBezTo>
                <a:cubicBezTo>
                  <a:pt x="333" y="9"/>
                  <a:pt x="349" y="7"/>
                  <a:pt x="347" y="16"/>
                </a:cubicBezTo>
                <a:cubicBezTo>
                  <a:pt x="345" y="25"/>
                  <a:pt x="335" y="29"/>
                  <a:pt x="354" y="29"/>
                </a:cubicBezTo>
                <a:cubicBezTo>
                  <a:pt x="373" y="29"/>
                  <a:pt x="380" y="36"/>
                  <a:pt x="387" y="35"/>
                </a:cubicBezTo>
                <a:cubicBezTo>
                  <a:pt x="393" y="33"/>
                  <a:pt x="402" y="39"/>
                  <a:pt x="396" y="46"/>
                </a:cubicBezTo>
                <a:cubicBezTo>
                  <a:pt x="391" y="53"/>
                  <a:pt x="391" y="57"/>
                  <a:pt x="393" y="62"/>
                </a:cubicBezTo>
                <a:cubicBezTo>
                  <a:pt x="395" y="68"/>
                  <a:pt x="393" y="72"/>
                  <a:pt x="390" y="78"/>
                </a:cubicBezTo>
                <a:cubicBezTo>
                  <a:pt x="388" y="85"/>
                  <a:pt x="389" y="90"/>
                  <a:pt x="394" y="98"/>
                </a:cubicBezTo>
                <a:cubicBezTo>
                  <a:pt x="399" y="107"/>
                  <a:pt x="402" y="108"/>
                  <a:pt x="399" y="117"/>
                </a:cubicBezTo>
                <a:cubicBezTo>
                  <a:pt x="396" y="125"/>
                  <a:pt x="399" y="132"/>
                  <a:pt x="400" y="135"/>
                </a:cubicBezTo>
                <a:cubicBezTo>
                  <a:pt x="400" y="139"/>
                  <a:pt x="411" y="364"/>
                  <a:pt x="411" y="364"/>
                </a:cubicBezTo>
                <a:cubicBezTo>
                  <a:pt x="386" y="365"/>
                  <a:pt x="386" y="365"/>
                  <a:pt x="386" y="365"/>
                </a:cubicBezTo>
                <a:cubicBezTo>
                  <a:pt x="382" y="379"/>
                  <a:pt x="382" y="379"/>
                  <a:pt x="382" y="379"/>
                </a:cubicBezTo>
                <a:cubicBezTo>
                  <a:pt x="173" y="268"/>
                  <a:pt x="173" y="268"/>
                  <a:pt x="173" y="268"/>
                </a:cubicBezTo>
                <a:cubicBezTo>
                  <a:pt x="121" y="296"/>
                  <a:pt x="121" y="296"/>
                  <a:pt x="121" y="296"/>
                </a:cubicBezTo>
                <a:cubicBezTo>
                  <a:pt x="121" y="296"/>
                  <a:pt x="98" y="261"/>
                  <a:pt x="64" y="26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1" name="Freeform 657"/>
          <p:cNvSpPr>
            <a:spLocks/>
          </p:cNvSpPr>
          <p:nvPr userDrawn="1"/>
        </p:nvSpPr>
        <p:spPr bwMode="auto">
          <a:xfrm>
            <a:off x="6083639" y="4195576"/>
            <a:ext cx="284765" cy="264664"/>
          </a:xfrm>
          <a:custGeom>
            <a:avLst/>
            <a:gdLst>
              <a:gd name="T0" fmla="*/ 2147483646 w 306"/>
              <a:gd name="T1" fmla="*/ 2147483646 h 284"/>
              <a:gd name="T2" fmla="*/ 2147483646 w 306"/>
              <a:gd name="T3" fmla="*/ 2147483646 h 284"/>
              <a:gd name="T4" fmla="*/ 2147483646 w 306"/>
              <a:gd name="T5" fmla="*/ 2147483646 h 284"/>
              <a:gd name="T6" fmla="*/ 2147483646 w 306"/>
              <a:gd name="T7" fmla="*/ 2147483646 h 284"/>
              <a:gd name="T8" fmla="*/ 2147483646 w 306"/>
              <a:gd name="T9" fmla="*/ 2147483646 h 284"/>
              <a:gd name="T10" fmla="*/ 2147483646 w 306"/>
              <a:gd name="T11" fmla="*/ 2147483646 h 284"/>
              <a:gd name="T12" fmla="*/ 2147483646 w 306"/>
              <a:gd name="T13" fmla="*/ 2147483646 h 284"/>
              <a:gd name="T14" fmla="*/ 2147483646 w 306"/>
              <a:gd name="T15" fmla="*/ 2147483646 h 284"/>
              <a:gd name="T16" fmla="*/ 2147483646 w 306"/>
              <a:gd name="T17" fmla="*/ 2147483646 h 284"/>
              <a:gd name="T18" fmla="*/ 2147483646 w 306"/>
              <a:gd name="T19" fmla="*/ 2147483646 h 284"/>
              <a:gd name="T20" fmla="*/ 2147483646 w 306"/>
              <a:gd name="T21" fmla="*/ 2147483646 h 284"/>
              <a:gd name="T22" fmla="*/ 2147483646 w 306"/>
              <a:gd name="T23" fmla="*/ 2147483646 h 284"/>
              <a:gd name="T24" fmla="*/ 2147483646 w 306"/>
              <a:gd name="T25" fmla="*/ 2147483646 h 284"/>
              <a:gd name="T26" fmla="*/ 2147483646 w 306"/>
              <a:gd name="T27" fmla="*/ 2147483646 h 284"/>
              <a:gd name="T28" fmla="*/ 2147483646 w 306"/>
              <a:gd name="T29" fmla="*/ 2147483646 h 284"/>
              <a:gd name="T30" fmla="*/ 2147483646 w 306"/>
              <a:gd name="T31" fmla="*/ 2147483646 h 284"/>
              <a:gd name="T32" fmla="*/ 2147483646 w 306"/>
              <a:gd name="T33" fmla="*/ 2147483646 h 284"/>
              <a:gd name="T34" fmla="*/ 2147483646 w 306"/>
              <a:gd name="T35" fmla="*/ 2147483646 h 284"/>
              <a:gd name="T36" fmla="*/ 2147483646 w 306"/>
              <a:gd name="T37" fmla="*/ 2147483646 h 284"/>
              <a:gd name="T38" fmla="*/ 2147483646 w 306"/>
              <a:gd name="T39" fmla="*/ 2147483646 h 284"/>
              <a:gd name="T40" fmla="*/ 2147483646 w 306"/>
              <a:gd name="T41" fmla="*/ 2147483646 h 284"/>
              <a:gd name="T42" fmla="*/ 2147483646 w 306"/>
              <a:gd name="T43" fmla="*/ 2147483646 h 284"/>
              <a:gd name="T44" fmla="*/ 2147483646 w 306"/>
              <a:gd name="T45" fmla="*/ 2147483646 h 284"/>
              <a:gd name="T46" fmla="*/ 2147483646 w 306"/>
              <a:gd name="T47" fmla="*/ 2147483646 h 284"/>
              <a:gd name="T48" fmla="*/ 2147483646 w 306"/>
              <a:gd name="T49" fmla="*/ 2147483646 h 284"/>
              <a:gd name="T50" fmla="*/ 2147483646 w 306"/>
              <a:gd name="T51" fmla="*/ 2147483646 h 284"/>
              <a:gd name="T52" fmla="*/ 2147483646 w 306"/>
              <a:gd name="T53" fmla="*/ 2147483646 h 284"/>
              <a:gd name="T54" fmla="*/ 2147483646 w 306"/>
              <a:gd name="T55" fmla="*/ 2147483646 h 284"/>
              <a:gd name="T56" fmla="*/ 2147483646 w 306"/>
              <a:gd name="T57" fmla="*/ 2147483646 h 284"/>
              <a:gd name="T58" fmla="*/ 2147483646 w 306"/>
              <a:gd name="T59" fmla="*/ 2147483646 h 284"/>
              <a:gd name="T60" fmla="*/ 2147483646 w 306"/>
              <a:gd name="T61" fmla="*/ 2147483646 h 284"/>
              <a:gd name="T62" fmla="*/ 2147483646 w 306"/>
              <a:gd name="T63" fmla="*/ 2147483646 h 284"/>
              <a:gd name="T64" fmla="*/ 2147483646 w 306"/>
              <a:gd name="T65" fmla="*/ 2147483646 h 284"/>
              <a:gd name="T66" fmla="*/ 2147483646 w 306"/>
              <a:gd name="T67" fmla="*/ 2147483646 h 284"/>
              <a:gd name="T68" fmla="*/ 2147483646 w 306"/>
              <a:gd name="T69" fmla="*/ 2147483646 h 284"/>
              <a:gd name="T70" fmla="*/ 2147483646 w 306"/>
              <a:gd name="T71" fmla="*/ 2147483646 h 284"/>
              <a:gd name="T72" fmla="*/ 2147483646 w 306"/>
              <a:gd name="T73" fmla="*/ 2147483646 h 284"/>
              <a:gd name="T74" fmla="*/ 2147483646 w 306"/>
              <a:gd name="T75" fmla="*/ 2147483646 h 284"/>
              <a:gd name="T76" fmla="*/ 2147483646 w 306"/>
              <a:gd name="T77" fmla="*/ 2147483646 h 284"/>
              <a:gd name="T78" fmla="*/ 2147483646 w 306"/>
              <a:gd name="T79" fmla="*/ 2147483646 h 284"/>
              <a:gd name="T80" fmla="*/ 2147483646 w 306"/>
              <a:gd name="T81" fmla="*/ 2147483646 h 284"/>
              <a:gd name="T82" fmla="*/ 2147483646 w 306"/>
              <a:gd name="T83" fmla="*/ 2147483646 h 284"/>
              <a:gd name="T84" fmla="*/ 2147483646 w 306"/>
              <a:gd name="T85" fmla="*/ 2147483646 h 284"/>
              <a:gd name="T86" fmla="*/ 2147483646 w 306"/>
              <a:gd name="T87" fmla="*/ 2147483646 h 284"/>
              <a:gd name="T88" fmla="*/ 2147483646 w 306"/>
              <a:gd name="T89" fmla="*/ 2147483646 h 284"/>
              <a:gd name="T90" fmla="*/ 2147483646 w 306"/>
              <a:gd name="T91" fmla="*/ 2147483646 h 284"/>
              <a:gd name="T92" fmla="*/ 2147483646 w 306"/>
              <a:gd name="T93" fmla="*/ 2147483646 h 284"/>
              <a:gd name="T94" fmla="*/ 2147483646 w 306"/>
              <a:gd name="T95" fmla="*/ 2147483646 h 284"/>
              <a:gd name="T96" fmla="*/ 2147483646 w 306"/>
              <a:gd name="T97" fmla="*/ 2147483646 h 284"/>
              <a:gd name="T98" fmla="*/ 2147483646 w 306"/>
              <a:gd name="T99" fmla="*/ 2147483646 h 284"/>
              <a:gd name="T100" fmla="*/ 2147483646 w 306"/>
              <a:gd name="T101" fmla="*/ 2147483646 h 284"/>
              <a:gd name="T102" fmla="*/ 2147483646 w 306"/>
              <a:gd name="T103" fmla="*/ 2147483646 h 284"/>
              <a:gd name="T104" fmla="*/ 2147483646 w 306"/>
              <a:gd name="T105" fmla="*/ 2147483646 h 284"/>
              <a:gd name="T106" fmla="*/ 2147483646 w 306"/>
              <a:gd name="T107" fmla="*/ 2147483646 h 2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06"/>
              <a:gd name="T163" fmla="*/ 0 h 284"/>
              <a:gd name="T164" fmla="*/ 306 w 306"/>
              <a:gd name="T165" fmla="*/ 284 h 28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06" h="284">
                <a:moveTo>
                  <a:pt x="21" y="280"/>
                </a:moveTo>
                <a:cubicBezTo>
                  <a:pt x="17" y="213"/>
                  <a:pt x="12" y="109"/>
                  <a:pt x="12" y="107"/>
                </a:cubicBezTo>
                <a:cubicBezTo>
                  <a:pt x="11" y="104"/>
                  <a:pt x="8" y="97"/>
                  <a:pt x="11" y="89"/>
                </a:cubicBezTo>
                <a:cubicBezTo>
                  <a:pt x="14" y="80"/>
                  <a:pt x="11" y="79"/>
                  <a:pt x="6" y="70"/>
                </a:cubicBezTo>
                <a:cubicBezTo>
                  <a:pt x="1" y="62"/>
                  <a:pt x="0" y="57"/>
                  <a:pt x="2" y="50"/>
                </a:cubicBezTo>
                <a:cubicBezTo>
                  <a:pt x="5" y="44"/>
                  <a:pt x="7" y="40"/>
                  <a:pt x="5" y="34"/>
                </a:cubicBezTo>
                <a:cubicBezTo>
                  <a:pt x="3" y="29"/>
                  <a:pt x="3" y="25"/>
                  <a:pt x="8" y="18"/>
                </a:cubicBezTo>
                <a:cubicBezTo>
                  <a:pt x="10" y="17"/>
                  <a:pt x="10" y="15"/>
                  <a:pt x="10" y="14"/>
                </a:cubicBezTo>
                <a:cubicBezTo>
                  <a:pt x="10" y="14"/>
                  <a:pt x="14" y="18"/>
                  <a:pt x="18" y="19"/>
                </a:cubicBezTo>
                <a:cubicBezTo>
                  <a:pt x="22" y="19"/>
                  <a:pt x="31" y="19"/>
                  <a:pt x="33" y="19"/>
                </a:cubicBezTo>
                <a:cubicBezTo>
                  <a:pt x="36" y="19"/>
                  <a:pt x="38" y="17"/>
                  <a:pt x="44" y="20"/>
                </a:cubicBezTo>
                <a:cubicBezTo>
                  <a:pt x="50" y="22"/>
                  <a:pt x="60" y="16"/>
                  <a:pt x="65" y="22"/>
                </a:cubicBezTo>
                <a:cubicBezTo>
                  <a:pt x="69" y="27"/>
                  <a:pt x="72" y="20"/>
                  <a:pt x="81" y="24"/>
                </a:cubicBezTo>
                <a:cubicBezTo>
                  <a:pt x="91" y="27"/>
                  <a:pt x="99" y="26"/>
                  <a:pt x="104" y="30"/>
                </a:cubicBezTo>
                <a:cubicBezTo>
                  <a:pt x="109" y="34"/>
                  <a:pt x="100" y="47"/>
                  <a:pt x="114" y="35"/>
                </a:cubicBezTo>
                <a:cubicBezTo>
                  <a:pt x="128" y="22"/>
                  <a:pt x="128" y="18"/>
                  <a:pt x="138" y="16"/>
                </a:cubicBezTo>
                <a:cubicBezTo>
                  <a:pt x="147" y="13"/>
                  <a:pt x="189" y="0"/>
                  <a:pt x="195" y="3"/>
                </a:cubicBezTo>
                <a:cubicBezTo>
                  <a:pt x="202" y="6"/>
                  <a:pt x="222" y="13"/>
                  <a:pt x="227" y="13"/>
                </a:cubicBezTo>
                <a:cubicBezTo>
                  <a:pt x="233" y="14"/>
                  <a:pt x="242" y="13"/>
                  <a:pt x="245" y="12"/>
                </a:cubicBezTo>
                <a:cubicBezTo>
                  <a:pt x="248" y="10"/>
                  <a:pt x="258" y="7"/>
                  <a:pt x="258" y="7"/>
                </a:cubicBezTo>
                <a:cubicBezTo>
                  <a:pt x="272" y="4"/>
                  <a:pt x="272" y="4"/>
                  <a:pt x="272" y="4"/>
                </a:cubicBezTo>
                <a:cubicBezTo>
                  <a:pt x="272" y="4"/>
                  <a:pt x="269" y="40"/>
                  <a:pt x="293" y="72"/>
                </a:cubicBezTo>
                <a:cubicBezTo>
                  <a:pt x="291" y="80"/>
                  <a:pt x="290" y="94"/>
                  <a:pt x="289" y="101"/>
                </a:cubicBezTo>
                <a:cubicBezTo>
                  <a:pt x="289" y="107"/>
                  <a:pt x="291" y="120"/>
                  <a:pt x="282" y="119"/>
                </a:cubicBezTo>
                <a:cubicBezTo>
                  <a:pt x="272" y="117"/>
                  <a:pt x="267" y="114"/>
                  <a:pt x="262" y="104"/>
                </a:cubicBezTo>
                <a:cubicBezTo>
                  <a:pt x="256" y="93"/>
                  <a:pt x="243" y="82"/>
                  <a:pt x="238" y="80"/>
                </a:cubicBezTo>
                <a:cubicBezTo>
                  <a:pt x="233" y="78"/>
                  <a:pt x="230" y="72"/>
                  <a:pt x="231" y="67"/>
                </a:cubicBezTo>
                <a:cubicBezTo>
                  <a:pt x="232" y="62"/>
                  <a:pt x="228" y="61"/>
                  <a:pt x="227" y="65"/>
                </a:cubicBezTo>
                <a:cubicBezTo>
                  <a:pt x="225" y="70"/>
                  <a:pt x="221" y="77"/>
                  <a:pt x="227" y="81"/>
                </a:cubicBezTo>
                <a:cubicBezTo>
                  <a:pt x="233" y="85"/>
                  <a:pt x="236" y="83"/>
                  <a:pt x="234" y="89"/>
                </a:cubicBezTo>
                <a:cubicBezTo>
                  <a:pt x="232" y="94"/>
                  <a:pt x="234" y="98"/>
                  <a:pt x="239" y="100"/>
                </a:cubicBezTo>
                <a:cubicBezTo>
                  <a:pt x="243" y="103"/>
                  <a:pt x="242" y="104"/>
                  <a:pt x="248" y="109"/>
                </a:cubicBezTo>
                <a:cubicBezTo>
                  <a:pt x="253" y="114"/>
                  <a:pt x="263" y="121"/>
                  <a:pt x="262" y="129"/>
                </a:cubicBezTo>
                <a:cubicBezTo>
                  <a:pt x="260" y="136"/>
                  <a:pt x="262" y="131"/>
                  <a:pt x="269" y="140"/>
                </a:cubicBezTo>
                <a:cubicBezTo>
                  <a:pt x="277" y="148"/>
                  <a:pt x="280" y="153"/>
                  <a:pt x="280" y="159"/>
                </a:cubicBezTo>
                <a:cubicBezTo>
                  <a:pt x="279" y="164"/>
                  <a:pt x="288" y="180"/>
                  <a:pt x="297" y="191"/>
                </a:cubicBezTo>
                <a:cubicBezTo>
                  <a:pt x="306" y="202"/>
                  <a:pt x="288" y="215"/>
                  <a:pt x="293" y="217"/>
                </a:cubicBezTo>
                <a:cubicBezTo>
                  <a:pt x="297" y="219"/>
                  <a:pt x="295" y="220"/>
                  <a:pt x="292" y="222"/>
                </a:cubicBezTo>
                <a:cubicBezTo>
                  <a:pt x="288" y="224"/>
                  <a:pt x="289" y="227"/>
                  <a:pt x="292" y="232"/>
                </a:cubicBezTo>
                <a:cubicBezTo>
                  <a:pt x="294" y="236"/>
                  <a:pt x="295" y="241"/>
                  <a:pt x="295" y="241"/>
                </a:cubicBezTo>
                <a:cubicBezTo>
                  <a:pt x="295" y="241"/>
                  <a:pt x="289" y="252"/>
                  <a:pt x="284" y="250"/>
                </a:cubicBezTo>
                <a:cubicBezTo>
                  <a:pt x="278" y="248"/>
                  <a:pt x="274" y="247"/>
                  <a:pt x="272" y="253"/>
                </a:cubicBezTo>
                <a:cubicBezTo>
                  <a:pt x="270" y="259"/>
                  <a:pt x="274" y="263"/>
                  <a:pt x="270" y="263"/>
                </a:cubicBezTo>
                <a:cubicBezTo>
                  <a:pt x="265" y="263"/>
                  <a:pt x="262" y="263"/>
                  <a:pt x="264" y="266"/>
                </a:cubicBezTo>
                <a:cubicBezTo>
                  <a:pt x="265" y="269"/>
                  <a:pt x="265" y="273"/>
                  <a:pt x="263" y="274"/>
                </a:cubicBezTo>
                <a:cubicBezTo>
                  <a:pt x="262" y="274"/>
                  <a:pt x="261" y="275"/>
                  <a:pt x="259" y="274"/>
                </a:cubicBezTo>
                <a:cubicBezTo>
                  <a:pt x="258" y="273"/>
                  <a:pt x="258" y="268"/>
                  <a:pt x="255" y="269"/>
                </a:cubicBezTo>
                <a:cubicBezTo>
                  <a:pt x="253" y="270"/>
                  <a:pt x="251" y="273"/>
                  <a:pt x="252" y="275"/>
                </a:cubicBezTo>
                <a:cubicBezTo>
                  <a:pt x="254" y="277"/>
                  <a:pt x="256" y="280"/>
                  <a:pt x="255" y="281"/>
                </a:cubicBezTo>
                <a:cubicBezTo>
                  <a:pt x="254" y="282"/>
                  <a:pt x="250" y="283"/>
                  <a:pt x="248" y="284"/>
                </a:cubicBezTo>
                <a:cubicBezTo>
                  <a:pt x="247" y="284"/>
                  <a:pt x="241" y="283"/>
                  <a:pt x="241" y="283"/>
                </a:cubicBezTo>
                <a:cubicBezTo>
                  <a:pt x="236" y="279"/>
                  <a:pt x="236" y="279"/>
                  <a:pt x="236" y="279"/>
                </a:cubicBezTo>
                <a:cubicBezTo>
                  <a:pt x="236" y="279"/>
                  <a:pt x="225" y="276"/>
                  <a:pt x="221" y="276"/>
                </a:cubicBezTo>
                <a:cubicBezTo>
                  <a:pt x="217" y="276"/>
                  <a:pt x="21" y="280"/>
                  <a:pt x="21" y="28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2" name="Freeform 658"/>
          <p:cNvSpPr>
            <a:spLocks/>
          </p:cNvSpPr>
          <p:nvPr userDrawn="1"/>
        </p:nvSpPr>
        <p:spPr bwMode="auto">
          <a:xfrm>
            <a:off x="5078585" y="4279331"/>
            <a:ext cx="222788" cy="165835"/>
          </a:xfrm>
          <a:custGeom>
            <a:avLst/>
            <a:gdLst>
              <a:gd name="T0" fmla="*/ 2147483646 w 238"/>
              <a:gd name="T1" fmla="*/ 0 h 178"/>
              <a:gd name="T2" fmla="*/ 2147483646 w 238"/>
              <a:gd name="T3" fmla="*/ 2147483646 h 178"/>
              <a:gd name="T4" fmla="*/ 2147483646 w 238"/>
              <a:gd name="T5" fmla="*/ 2147483646 h 178"/>
              <a:gd name="T6" fmla="*/ 2147483646 w 238"/>
              <a:gd name="T7" fmla="*/ 2147483646 h 178"/>
              <a:gd name="T8" fmla="*/ 2147483646 w 238"/>
              <a:gd name="T9" fmla="*/ 2147483646 h 178"/>
              <a:gd name="T10" fmla="*/ 2147483646 w 238"/>
              <a:gd name="T11" fmla="*/ 2147483646 h 178"/>
              <a:gd name="T12" fmla="*/ 2147483646 w 238"/>
              <a:gd name="T13" fmla="*/ 2147483646 h 178"/>
              <a:gd name="T14" fmla="*/ 2147483646 w 238"/>
              <a:gd name="T15" fmla="*/ 2147483646 h 178"/>
              <a:gd name="T16" fmla="*/ 0 w 238"/>
              <a:gd name="T17" fmla="*/ 2147483646 h 178"/>
              <a:gd name="T18" fmla="*/ 2147483646 w 238"/>
              <a:gd name="T19" fmla="*/ 2147483646 h 178"/>
              <a:gd name="T20" fmla="*/ 2147483646 w 238"/>
              <a:gd name="T21" fmla="*/ 2147483646 h 178"/>
              <a:gd name="T22" fmla="*/ 2147483646 w 238"/>
              <a:gd name="T23" fmla="*/ 2147483646 h 178"/>
              <a:gd name="T24" fmla="*/ 2147483646 w 238"/>
              <a:gd name="T25" fmla="*/ 2147483646 h 178"/>
              <a:gd name="T26" fmla="*/ 2147483646 w 238"/>
              <a:gd name="T27" fmla="*/ 2147483646 h 178"/>
              <a:gd name="T28" fmla="*/ 2147483646 w 238"/>
              <a:gd name="T29" fmla="*/ 2147483646 h 178"/>
              <a:gd name="T30" fmla="*/ 2147483646 w 238"/>
              <a:gd name="T31" fmla="*/ 2147483646 h 178"/>
              <a:gd name="T32" fmla="*/ 2147483646 w 238"/>
              <a:gd name="T33" fmla="*/ 0 h 17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38"/>
              <a:gd name="T52" fmla="*/ 0 h 178"/>
              <a:gd name="T53" fmla="*/ 238 w 238"/>
              <a:gd name="T54" fmla="*/ 178 h 17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38" h="178">
                <a:moveTo>
                  <a:pt x="126" y="0"/>
                </a:moveTo>
                <a:cubicBezTo>
                  <a:pt x="237" y="6"/>
                  <a:pt x="237" y="6"/>
                  <a:pt x="237" y="6"/>
                </a:cubicBezTo>
                <a:cubicBezTo>
                  <a:pt x="238" y="21"/>
                  <a:pt x="238" y="21"/>
                  <a:pt x="238" y="21"/>
                </a:cubicBezTo>
                <a:cubicBezTo>
                  <a:pt x="231" y="56"/>
                  <a:pt x="231" y="56"/>
                  <a:pt x="231" y="56"/>
                </a:cubicBezTo>
                <a:cubicBezTo>
                  <a:pt x="148" y="48"/>
                  <a:pt x="148" y="48"/>
                  <a:pt x="148" y="48"/>
                </a:cubicBezTo>
                <a:cubicBezTo>
                  <a:pt x="135" y="120"/>
                  <a:pt x="135" y="120"/>
                  <a:pt x="135" y="120"/>
                </a:cubicBezTo>
                <a:cubicBezTo>
                  <a:pt x="135" y="120"/>
                  <a:pt x="104" y="128"/>
                  <a:pt x="102" y="139"/>
                </a:cubicBezTo>
                <a:cubicBezTo>
                  <a:pt x="101" y="151"/>
                  <a:pt x="100" y="178"/>
                  <a:pt x="100" y="178"/>
                </a:cubicBezTo>
                <a:cubicBezTo>
                  <a:pt x="0" y="169"/>
                  <a:pt x="0" y="169"/>
                  <a:pt x="0" y="169"/>
                </a:cubicBezTo>
                <a:cubicBezTo>
                  <a:pt x="0" y="169"/>
                  <a:pt x="5" y="146"/>
                  <a:pt x="13" y="143"/>
                </a:cubicBezTo>
                <a:cubicBezTo>
                  <a:pt x="21" y="140"/>
                  <a:pt x="25" y="134"/>
                  <a:pt x="27" y="130"/>
                </a:cubicBezTo>
                <a:cubicBezTo>
                  <a:pt x="29" y="125"/>
                  <a:pt x="33" y="108"/>
                  <a:pt x="39" y="101"/>
                </a:cubicBezTo>
                <a:cubicBezTo>
                  <a:pt x="46" y="94"/>
                  <a:pt x="54" y="87"/>
                  <a:pt x="58" y="83"/>
                </a:cubicBezTo>
                <a:cubicBezTo>
                  <a:pt x="62" y="78"/>
                  <a:pt x="72" y="66"/>
                  <a:pt x="76" y="58"/>
                </a:cubicBezTo>
                <a:cubicBezTo>
                  <a:pt x="79" y="50"/>
                  <a:pt x="82" y="35"/>
                  <a:pt x="90" y="33"/>
                </a:cubicBezTo>
                <a:cubicBezTo>
                  <a:pt x="98" y="30"/>
                  <a:pt x="114" y="25"/>
                  <a:pt x="117" y="18"/>
                </a:cubicBezTo>
                <a:cubicBezTo>
                  <a:pt x="120" y="12"/>
                  <a:pt x="126" y="0"/>
                  <a:pt x="12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3" name="Freeform 659"/>
          <p:cNvSpPr>
            <a:spLocks/>
          </p:cNvSpPr>
          <p:nvPr userDrawn="1"/>
        </p:nvSpPr>
        <p:spPr bwMode="auto">
          <a:xfrm>
            <a:off x="5162340" y="4361411"/>
            <a:ext cx="420449" cy="405372"/>
          </a:xfrm>
          <a:custGeom>
            <a:avLst/>
            <a:gdLst>
              <a:gd name="T0" fmla="*/ 2147483646 w 451"/>
              <a:gd name="T1" fmla="*/ 2147483646 h 434"/>
              <a:gd name="T2" fmla="*/ 2147483646 w 451"/>
              <a:gd name="T3" fmla="*/ 2147483646 h 434"/>
              <a:gd name="T4" fmla="*/ 2147483646 w 451"/>
              <a:gd name="T5" fmla="*/ 2147483646 h 434"/>
              <a:gd name="T6" fmla="*/ 2147483646 w 451"/>
              <a:gd name="T7" fmla="*/ 2147483646 h 434"/>
              <a:gd name="T8" fmla="*/ 2147483646 w 451"/>
              <a:gd name="T9" fmla="*/ 2147483646 h 434"/>
              <a:gd name="T10" fmla="*/ 2147483646 w 451"/>
              <a:gd name="T11" fmla="*/ 2147483646 h 434"/>
              <a:gd name="T12" fmla="*/ 2147483646 w 451"/>
              <a:gd name="T13" fmla="*/ 2147483646 h 434"/>
              <a:gd name="T14" fmla="*/ 2147483646 w 451"/>
              <a:gd name="T15" fmla="*/ 2147483646 h 434"/>
              <a:gd name="T16" fmla="*/ 2147483646 w 451"/>
              <a:gd name="T17" fmla="*/ 2147483646 h 434"/>
              <a:gd name="T18" fmla="*/ 2147483646 w 451"/>
              <a:gd name="T19" fmla="*/ 2147483646 h 434"/>
              <a:gd name="T20" fmla="*/ 2147483646 w 451"/>
              <a:gd name="T21" fmla="*/ 2147483646 h 434"/>
              <a:gd name="T22" fmla="*/ 2147483646 w 451"/>
              <a:gd name="T23" fmla="*/ 2147483646 h 434"/>
              <a:gd name="T24" fmla="*/ 2147483646 w 451"/>
              <a:gd name="T25" fmla="*/ 2147483646 h 434"/>
              <a:gd name="T26" fmla="*/ 2147483646 w 451"/>
              <a:gd name="T27" fmla="*/ 2147483646 h 434"/>
              <a:gd name="T28" fmla="*/ 2147483646 w 451"/>
              <a:gd name="T29" fmla="*/ 2147483646 h 434"/>
              <a:gd name="T30" fmla="*/ 2147483646 w 451"/>
              <a:gd name="T31" fmla="*/ 2147483646 h 434"/>
              <a:gd name="T32" fmla="*/ 2147483646 w 451"/>
              <a:gd name="T33" fmla="*/ 2147483646 h 434"/>
              <a:gd name="T34" fmla="*/ 2147483646 w 451"/>
              <a:gd name="T35" fmla="*/ 2147483646 h 434"/>
              <a:gd name="T36" fmla="*/ 2147483646 w 451"/>
              <a:gd name="T37" fmla="*/ 2147483646 h 434"/>
              <a:gd name="T38" fmla="*/ 2147483646 w 451"/>
              <a:gd name="T39" fmla="*/ 2147483646 h 434"/>
              <a:gd name="T40" fmla="*/ 2147483646 w 451"/>
              <a:gd name="T41" fmla="*/ 2147483646 h 434"/>
              <a:gd name="T42" fmla="*/ 2147483646 w 451"/>
              <a:gd name="T43" fmla="*/ 2147483646 h 434"/>
              <a:gd name="T44" fmla="*/ 2147483646 w 451"/>
              <a:gd name="T45" fmla="*/ 2147483646 h 434"/>
              <a:gd name="T46" fmla="*/ 2147483646 w 451"/>
              <a:gd name="T47" fmla="*/ 2147483646 h 434"/>
              <a:gd name="T48" fmla="*/ 2147483646 w 451"/>
              <a:gd name="T49" fmla="*/ 2147483646 h 434"/>
              <a:gd name="T50" fmla="*/ 2147483646 w 451"/>
              <a:gd name="T51" fmla="*/ 2147483646 h 434"/>
              <a:gd name="T52" fmla="*/ 2147483646 w 451"/>
              <a:gd name="T53" fmla="*/ 2147483646 h 434"/>
              <a:gd name="T54" fmla="*/ 2147483646 w 451"/>
              <a:gd name="T55" fmla="*/ 2147483646 h 434"/>
              <a:gd name="T56" fmla="*/ 2147483646 w 451"/>
              <a:gd name="T57" fmla="*/ 2147483646 h 434"/>
              <a:gd name="T58" fmla="*/ 2147483646 w 451"/>
              <a:gd name="T59" fmla="*/ 2147483646 h 434"/>
              <a:gd name="T60" fmla="*/ 2147483646 w 451"/>
              <a:gd name="T61" fmla="*/ 2147483646 h 434"/>
              <a:gd name="T62" fmla="*/ 2147483646 w 451"/>
              <a:gd name="T63" fmla="*/ 2147483646 h 434"/>
              <a:gd name="T64" fmla="*/ 2147483646 w 451"/>
              <a:gd name="T65" fmla="*/ 2147483646 h 434"/>
              <a:gd name="T66" fmla="*/ 2147483646 w 451"/>
              <a:gd name="T67" fmla="*/ 2147483646 h 434"/>
              <a:gd name="T68" fmla="*/ 2147483646 w 451"/>
              <a:gd name="T69" fmla="*/ 2147483646 h 434"/>
              <a:gd name="T70" fmla="*/ 2147483646 w 451"/>
              <a:gd name="T71" fmla="*/ 2147483646 h 434"/>
              <a:gd name="T72" fmla="*/ 2147483646 w 451"/>
              <a:gd name="T73" fmla="*/ 2147483646 h 434"/>
              <a:gd name="T74" fmla="*/ 2147483646 w 451"/>
              <a:gd name="T75" fmla="*/ 2147483646 h 434"/>
              <a:gd name="T76" fmla="*/ 2147483646 w 451"/>
              <a:gd name="T77" fmla="*/ 2147483646 h 43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451"/>
              <a:gd name="T118" fmla="*/ 0 h 434"/>
              <a:gd name="T119" fmla="*/ 451 w 451"/>
              <a:gd name="T120" fmla="*/ 434 h 434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451" h="434">
                <a:moveTo>
                  <a:pt x="6" y="284"/>
                </a:moveTo>
                <a:cubicBezTo>
                  <a:pt x="15" y="289"/>
                  <a:pt x="14" y="263"/>
                  <a:pt x="21" y="260"/>
                </a:cubicBezTo>
                <a:cubicBezTo>
                  <a:pt x="28" y="257"/>
                  <a:pt x="31" y="261"/>
                  <a:pt x="36" y="269"/>
                </a:cubicBezTo>
                <a:cubicBezTo>
                  <a:pt x="41" y="277"/>
                  <a:pt x="42" y="271"/>
                  <a:pt x="46" y="266"/>
                </a:cubicBezTo>
                <a:cubicBezTo>
                  <a:pt x="49" y="261"/>
                  <a:pt x="63" y="269"/>
                  <a:pt x="63" y="269"/>
                </a:cubicBezTo>
                <a:cubicBezTo>
                  <a:pt x="63" y="269"/>
                  <a:pt x="81" y="269"/>
                  <a:pt x="81" y="263"/>
                </a:cubicBezTo>
                <a:cubicBezTo>
                  <a:pt x="81" y="257"/>
                  <a:pt x="90" y="268"/>
                  <a:pt x="90" y="268"/>
                </a:cubicBezTo>
                <a:cubicBezTo>
                  <a:pt x="186" y="271"/>
                  <a:pt x="186" y="271"/>
                  <a:pt x="186" y="271"/>
                </a:cubicBezTo>
                <a:cubicBezTo>
                  <a:pt x="186" y="266"/>
                  <a:pt x="192" y="248"/>
                  <a:pt x="189" y="248"/>
                </a:cubicBezTo>
                <a:cubicBezTo>
                  <a:pt x="187" y="248"/>
                  <a:pt x="185" y="242"/>
                  <a:pt x="185" y="242"/>
                </a:cubicBezTo>
                <a:cubicBezTo>
                  <a:pt x="189" y="0"/>
                  <a:pt x="189" y="0"/>
                  <a:pt x="189" y="0"/>
                </a:cubicBezTo>
                <a:cubicBezTo>
                  <a:pt x="230" y="2"/>
                  <a:pt x="230" y="2"/>
                  <a:pt x="230" y="2"/>
                </a:cubicBezTo>
                <a:cubicBezTo>
                  <a:pt x="231" y="2"/>
                  <a:pt x="231" y="2"/>
                  <a:pt x="231" y="2"/>
                </a:cubicBezTo>
                <a:cubicBezTo>
                  <a:pt x="370" y="117"/>
                  <a:pt x="370" y="117"/>
                  <a:pt x="370" y="117"/>
                </a:cubicBezTo>
                <a:cubicBezTo>
                  <a:pt x="370" y="117"/>
                  <a:pt x="375" y="124"/>
                  <a:pt x="374" y="128"/>
                </a:cubicBezTo>
                <a:cubicBezTo>
                  <a:pt x="373" y="131"/>
                  <a:pt x="376" y="139"/>
                  <a:pt x="381" y="139"/>
                </a:cubicBezTo>
                <a:cubicBezTo>
                  <a:pt x="385" y="139"/>
                  <a:pt x="389" y="136"/>
                  <a:pt x="393" y="140"/>
                </a:cubicBezTo>
                <a:cubicBezTo>
                  <a:pt x="397" y="143"/>
                  <a:pt x="401" y="146"/>
                  <a:pt x="404" y="150"/>
                </a:cubicBezTo>
                <a:cubicBezTo>
                  <a:pt x="407" y="153"/>
                  <a:pt x="416" y="147"/>
                  <a:pt x="418" y="151"/>
                </a:cubicBezTo>
                <a:cubicBezTo>
                  <a:pt x="420" y="154"/>
                  <a:pt x="429" y="167"/>
                  <a:pt x="427" y="170"/>
                </a:cubicBezTo>
                <a:cubicBezTo>
                  <a:pt x="425" y="174"/>
                  <a:pt x="423" y="180"/>
                  <a:pt x="423" y="180"/>
                </a:cubicBezTo>
                <a:cubicBezTo>
                  <a:pt x="423" y="180"/>
                  <a:pt x="437" y="181"/>
                  <a:pt x="447" y="181"/>
                </a:cubicBezTo>
                <a:cubicBezTo>
                  <a:pt x="447" y="181"/>
                  <a:pt x="451" y="227"/>
                  <a:pt x="449" y="243"/>
                </a:cubicBezTo>
                <a:cubicBezTo>
                  <a:pt x="447" y="258"/>
                  <a:pt x="439" y="258"/>
                  <a:pt x="440" y="265"/>
                </a:cubicBezTo>
                <a:cubicBezTo>
                  <a:pt x="441" y="271"/>
                  <a:pt x="434" y="285"/>
                  <a:pt x="428" y="288"/>
                </a:cubicBezTo>
                <a:cubicBezTo>
                  <a:pt x="423" y="291"/>
                  <a:pt x="408" y="288"/>
                  <a:pt x="403" y="288"/>
                </a:cubicBezTo>
                <a:cubicBezTo>
                  <a:pt x="397" y="288"/>
                  <a:pt x="387" y="286"/>
                  <a:pt x="383" y="287"/>
                </a:cubicBezTo>
                <a:cubicBezTo>
                  <a:pt x="379" y="288"/>
                  <a:pt x="365" y="287"/>
                  <a:pt x="365" y="287"/>
                </a:cubicBezTo>
                <a:cubicBezTo>
                  <a:pt x="365" y="287"/>
                  <a:pt x="365" y="298"/>
                  <a:pt x="352" y="296"/>
                </a:cubicBezTo>
                <a:cubicBezTo>
                  <a:pt x="339" y="293"/>
                  <a:pt x="318" y="278"/>
                  <a:pt x="311" y="289"/>
                </a:cubicBezTo>
                <a:cubicBezTo>
                  <a:pt x="303" y="300"/>
                  <a:pt x="298" y="303"/>
                  <a:pt x="292" y="303"/>
                </a:cubicBezTo>
                <a:cubicBezTo>
                  <a:pt x="285" y="303"/>
                  <a:pt x="280" y="302"/>
                  <a:pt x="280" y="305"/>
                </a:cubicBezTo>
                <a:cubicBezTo>
                  <a:pt x="280" y="309"/>
                  <a:pt x="275" y="314"/>
                  <a:pt x="271" y="315"/>
                </a:cubicBezTo>
                <a:cubicBezTo>
                  <a:pt x="267" y="316"/>
                  <a:pt x="256" y="319"/>
                  <a:pt x="256" y="319"/>
                </a:cubicBezTo>
                <a:cubicBezTo>
                  <a:pt x="256" y="319"/>
                  <a:pt x="248" y="320"/>
                  <a:pt x="247" y="323"/>
                </a:cubicBezTo>
                <a:cubicBezTo>
                  <a:pt x="246" y="326"/>
                  <a:pt x="245" y="338"/>
                  <a:pt x="245" y="338"/>
                </a:cubicBezTo>
                <a:cubicBezTo>
                  <a:pt x="245" y="338"/>
                  <a:pt x="239" y="344"/>
                  <a:pt x="236" y="340"/>
                </a:cubicBezTo>
                <a:cubicBezTo>
                  <a:pt x="233" y="335"/>
                  <a:pt x="230" y="336"/>
                  <a:pt x="227" y="334"/>
                </a:cubicBezTo>
                <a:cubicBezTo>
                  <a:pt x="224" y="332"/>
                  <a:pt x="226" y="323"/>
                  <a:pt x="220" y="326"/>
                </a:cubicBezTo>
                <a:cubicBezTo>
                  <a:pt x="215" y="330"/>
                  <a:pt x="212" y="333"/>
                  <a:pt x="213" y="336"/>
                </a:cubicBezTo>
                <a:cubicBezTo>
                  <a:pt x="214" y="340"/>
                  <a:pt x="220" y="341"/>
                  <a:pt x="217" y="347"/>
                </a:cubicBezTo>
                <a:cubicBezTo>
                  <a:pt x="214" y="354"/>
                  <a:pt x="207" y="353"/>
                  <a:pt x="207" y="353"/>
                </a:cubicBezTo>
                <a:cubicBezTo>
                  <a:pt x="204" y="362"/>
                  <a:pt x="203" y="372"/>
                  <a:pt x="197" y="372"/>
                </a:cubicBezTo>
                <a:cubicBezTo>
                  <a:pt x="192" y="372"/>
                  <a:pt x="185" y="367"/>
                  <a:pt x="182" y="374"/>
                </a:cubicBezTo>
                <a:cubicBezTo>
                  <a:pt x="179" y="380"/>
                  <a:pt x="182" y="386"/>
                  <a:pt x="182" y="391"/>
                </a:cubicBezTo>
                <a:cubicBezTo>
                  <a:pt x="182" y="397"/>
                  <a:pt x="181" y="396"/>
                  <a:pt x="177" y="401"/>
                </a:cubicBezTo>
                <a:cubicBezTo>
                  <a:pt x="172" y="407"/>
                  <a:pt x="170" y="409"/>
                  <a:pt x="173" y="412"/>
                </a:cubicBezTo>
                <a:cubicBezTo>
                  <a:pt x="177" y="415"/>
                  <a:pt x="181" y="423"/>
                  <a:pt x="175" y="423"/>
                </a:cubicBezTo>
                <a:cubicBezTo>
                  <a:pt x="170" y="423"/>
                  <a:pt x="161" y="418"/>
                  <a:pt x="159" y="422"/>
                </a:cubicBezTo>
                <a:cubicBezTo>
                  <a:pt x="157" y="426"/>
                  <a:pt x="150" y="434"/>
                  <a:pt x="151" y="425"/>
                </a:cubicBezTo>
                <a:cubicBezTo>
                  <a:pt x="152" y="416"/>
                  <a:pt x="155" y="410"/>
                  <a:pt x="155" y="410"/>
                </a:cubicBezTo>
                <a:cubicBezTo>
                  <a:pt x="155" y="410"/>
                  <a:pt x="149" y="402"/>
                  <a:pt x="147" y="407"/>
                </a:cubicBezTo>
                <a:cubicBezTo>
                  <a:pt x="141" y="418"/>
                  <a:pt x="140" y="418"/>
                  <a:pt x="136" y="416"/>
                </a:cubicBezTo>
                <a:cubicBezTo>
                  <a:pt x="132" y="415"/>
                  <a:pt x="126" y="410"/>
                  <a:pt x="127" y="416"/>
                </a:cubicBezTo>
                <a:cubicBezTo>
                  <a:pt x="128" y="423"/>
                  <a:pt x="121" y="422"/>
                  <a:pt x="121" y="422"/>
                </a:cubicBezTo>
                <a:cubicBezTo>
                  <a:pt x="121" y="422"/>
                  <a:pt x="121" y="409"/>
                  <a:pt x="117" y="411"/>
                </a:cubicBezTo>
                <a:cubicBezTo>
                  <a:pt x="114" y="413"/>
                  <a:pt x="111" y="413"/>
                  <a:pt x="110" y="418"/>
                </a:cubicBezTo>
                <a:cubicBezTo>
                  <a:pt x="108" y="422"/>
                  <a:pt x="103" y="420"/>
                  <a:pt x="103" y="420"/>
                </a:cubicBezTo>
                <a:cubicBezTo>
                  <a:pt x="94" y="408"/>
                  <a:pt x="94" y="408"/>
                  <a:pt x="94" y="408"/>
                </a:cubicBezTo>
                <a:cubicBezTo>
                  <a:pt x="94" y="408"/>
                  <a:pt x="108" y="410"/>
                  <a:pt x="101" y="403"/>
                </a:cubicBezTo>
                <a:cubicBezTo>
                  <a:pt x="93" y="397"/>
                  <a:pt x="89" y="396"/>
                  <a:pt x="89" y="392"/>
                </a:cubicBezTo>
                <a:cubicBezTo>
                  <a:pt x="89" y="389"/>
                  <a:pt x="97" y="388"/>
                  <a:pt x="97" y="388"/>
                </a:cubicBezTo>
                <a:cubicBezTo>
                  <a:pt x="97" y="388"/>
                  <a:pt x="94" y="371"/>
                  <a:pt x="92" y="376"/>
                </a:cubicBezTo>
                <a:cubicBezTo>
                  <a:pt x="90" y="380"/>
                  <a:pt x="82" y="375"/>
                  <a:pt x="82" y="375"/>
                </a:cubicBezTo>
                <a:cubicBezTo>
                  <a:pt x="82" y="363"/>
                  <a:pt x="82" y="363"/>
                  <a:pt x="82" y="363"/>
                </a:cubicBezTo>
                <a:cubicBezTo>
                  <a:pt x="73" y="352"/>
                  <a:pt x="73" y="352"/>
                  <a:pt x="73" y="352"/>
                </a:cubicBezTo>
                <a:cubicBezTo>
                  <a:pt x="73" y="352"/>
                  <a:pt x="62" y="346"/>
                  <a:pt x="63" y="355"/>
                </a:cubicBezTo>
                <a:cubicBezTo>
                  <a:pt x="65" y="364"/>
                  <a:pt x="60" y="368"/>
                  <a:pt x="57" y="367"/>
                </a:cubicBezTo>
                <a:cubicBezTo>
                  <a:pt x="54" y="366"/>
                  <a:pt x="52" y="349"/>
                  <a:pt x="47" y="355"/>
                </a:cubicBezTo>
                <a:cubicBezTo>
                  <a:pt x="41" y="360"/>
                  <a:pt x="40" y="366"/>
                  <a:pt x="37" y="367"/>
                </a:cubicBezTo>
                <a:cubicBezTo>
                  <a:pt x="34" y="368"/>
                  <a:pt x="33" y="356"/>
                  <a:pt x="27" y="359"/>
                </a:cubicBezTo>
                <a:cubicBezTo>
                  <a:pt x="22" y="363"/>
                  <a:pt x="17" y="369"/>
                  <a:pt x="15" y="362"/>
                </a:cubicBezTo>
                <a:cubicBezTo>
                  <a:pt x="13" y="354"/>
                  <a:pt x="12" y="352"/>
                  <a:pt x="16" y="349"/>
                </a:cubicBezTo>
                <a:cubicBezTo>
                  <a:pt x="21" y="347"/>
                  <a:pt x="21" y="344"/>
                  <a:pt x="21" y="340"/>
                </a:cubicBezTo>
                <a:cubicBezTo>
                  <a:pt x="21" y="335"/>
                  <a:pt x="14" y="313"/>
                  <a:pt x="10" y="315"/>
                </a:cubicBezTo>
                <a:cubicBezTo>
                  <a:pt x="5" y="318"/>
                  <a:pt x="0" y="320"/>
                  <a:pt x="2" y="313"/>
                </a:cubicBezTo>
                <a:cubicBezTo>
                  <a:pt x="4" y="307"/>
                  <a:pt x="5" y="303"/>
                  <a:pt x="5" y="303"/>
                </a:cubicBezTo>
                <a:cubicBezTo>
                  <a:pt x="5" y="292"/>
                  <a:pt x="5" y="292"/>
                  <a:pt x="5" y="292"/>
                </a:cubicBezTo>
                <a:lnTo>
                  <a:pt x="6" y="28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4" name="Line 660"/>
          <p:cNvSpPr>
            <a:spLocks noChangeShapeType="1"/>
          </p:cNvSpPr>
          <p:nvPr userDrawn="1"/>
        </p:nvSpPr>
        <p:spPr bwMode="auto">
          <a:xfrm>
            <a:off x="5388476" y="4404964"/>
            <a:ext cx="1675" cy="167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5" name="Line 661"/>
          <p:cNvSpPr>
            <a:spLocks noChangeShapeType="1"/>
          </p:cNvSpPr>
          <p:nvPr userDrawn="1"/>
        </p:nvSpPr>
        <p:spPr bwMode="auto">
          <a:xfrm>
            <a:off x="5388476" y="4404964"/>
            <a:ext cx="1675" cy="1675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6" name="Freeform 662"/>
          <p:cNvSpPr>
            <a:spLocks/>
          </p:cNvSpPr>
          <p:nvPr userDrawn="1"/>
        </p:nvSpPr>
        <p:spPr bwMode="auto">
          <a:xfrm>
            <a:off x="5071883" y="4299433"/>
            <a:ext cx="304867" cy="331668"/>
          </a:xfrm>
          <a:custGeom>
            <a:avLst/>
            <a:gdLst>
              <a:gd name="T0" fmla="*/ 2147483646 w 328"/>
              <a:gd name="T1" fmla="*/ 2147483646 h 355"/>
              <a:gd name="T2" fmla="*/ 2147483646 w 328"/>
              <a:gd name="T3" fmla="*/ 2147483646 h 355"/>
              <a:gd name="T4" fmla="*/ 2147483646 w 328"/>
              <a:gd name="T5" fmla="*/ 2147483646 h 355"/>
              <a:gd name="T6" fmla="*/ 2147483646 w 328"/>
              <a:gd name="T7" fmla="*/ 2147483646 h 355"/>
              <a:gd name="T8" fmla="*/ 2147483646 w 328"/>
              <a:gd name="T9" fmla="*/ 2147483646 h 355"/>
              <a:gd name="T10" fmla="*/ 2147483646 w 328"/>
              <a:gd name="T11" fmla="*/ 2147483646 h 355"/>
              <a:gd name="T12" fmla="*/ 2147483646 w 328"/>
              <a:gd name="T13" fmla="*/ 2147483646 h 355"/>
              <a:gd name="T14" fmla="*/ 2147483646 w 328"/>
              <a:gd name="T15" fmla="*/ 2147483646 h 355"/>
              <a:gd name="T16" fmla="*/ 2147483646 w 328"/>
              <a:gd name="T17" fmla="*/ 2147483646 h 355"/>
              <a:gd name="T18" fmla="*/ 2147483646 w 328"/>
              <a:gd name="T19" fmla="*/ 2147483646 h 355"/>
              <a:gd name="T20" fmla="*/ 2147483646 w 328"/>
              <a:gd name="T21" fmla="*/ 2147483646 h 355"/>
              <a:gd name="T22" fmla="*/ 2147483646 w 328"/>
              <a:gd name="T23" fmla="*/ 2147483646 h 355"/>
              <a:gd name="T24" fmla="*/ 2147483646 w 328"/>
              <a:gd name="T25" fmla="*/ 2147483646 h 355"/>
              <a:gd name="T26" fmla="*/ 2147483646 w 328"/>
              <a:gd name="T27" fmla="*/ 0 h 355"/>
              <a:gd name="T28" fmla="*/ 2147483646 w 328"/>
              <a:gd name="T29" fmla="*/ 2147483646 h 355"/>
              <a:gd name="T30" fmla="*/ 2147483646 w 328"/>
              <a:gd name="T31" fmla="*/ 2147483646 h 355"/>
              <a:gd name="T32" fmla="*/ 2147483646 w 328"/>
              <a:gd name="T33" fmla="*/ 2147483646 h 355"/>
              <a:gd name="T34" fmla="*/ 2147483646 w 328"/>
              <a:gd name="T35" fmla="*/ 2147483646 h 355"/>
              <a:gd name="T36" fmla="*/ 2147483646 w 328"/>
              <a:gd name="T37" fmla="*/ 2147483646 h 355"/>
              <a:gd name="T38" fmla="*/ 2147483646 w 328"/>
              <a:gd name="T39" fmla="*/ 2147483646 h 355"/>
              <a:gd name="T40" fmla="*/ 2147483646 w 328"/>
              <a:gd name="T41" fmla="*/ 2147483646 h 355"/>
              <a:gd name="T42" fmla="*/ 2147483646 w 328"/>
              <a:gd name="T43" fmla="*/ 2147483646 h 355"/>
              <a:gd name="T44" fmla="*/ 2147483646 w 328"/>
              <a:gd name="T45" fmla="*/ 2147483646 h 355"/>
              <a:gd name="T46" fmla="*/ 2147483646 w 328"/>
              <a:gd name="T47" fmla="*/ 2147483646 h 355"/>
              <a:gd name="T48" fmla="*/ 2147483646 w 328"/>
              <a:gd name="T49" fmla="*/ 2147483646 h 355"/>
              <a:gd name="T50" fmla="*/ 2147483646 w 328"/>
              <a:gd name="T51" fmla="*/ 2147483646 h 355"/>
              <a:gd name="T52" fmla="*/ 2147483646 w 328"/>
              <a:gd name="T53" fmla="*/ 2147483646 h 355"/>
              <a:gd name="T54" fmla="*/ 2147483646 w 328"/>
              <a:gd name="T55" fmla="*/ 2147483646 h 355"/>
              <a:gd name="T56" fmla="*/ 2147483646 w 328"/>
              <a:gd name="T57" fmla="*/ 2147483646 h 355"/>
              <a:gd name="T58" fmla="*/ 2147483646 w 328"/>
              <a:gd name="T59" fmla="*/ 2147483646 h 355"/>
              <a:gd name="T60" fmla="*/ 2147483646 w 328"/>
              <a:gd name="T61" fmla="*/ 2147483646 h 355"/>
              <a:gd name="T62" fmla="*/ 2147483646 w 328"/>
              <a:gd name="T63" fmla="*/ 2147483646 h 355"/>
              <a:gd name="T64" fmla="*/ 2147483646 w 328"/>
              <a:gd name="T65" fmla="*/ 2147483646 h 355"/>
              <a:gd name="T66" fmla="*/ 2147483646 w 328"/>
              <a:gd name="T67" fmla="*/ 2147483646 h 355"/>
              <a:gd name="T68" fmla="*/ 2147483646 w 328"/>
              <a:gd name="T69" fmla="*/ 2147483646 h 355"/>
              <a:gd name="T70" fmla="*/ 2147483646 w 328"/>
              <a:gd name="T71" fmla="*/ 2147483646 h 355"/>
              <a:gd name="T72" fmla="*/ 2147483646 w 328"/>
              <a:gd name="T73" fmla="*/ 2147483646 h 355"/>
              <a:gd name="T74" fmla="*/ 2147483646 w 328"/>
              <a:gd name="T75" fmla="*/ 2147483646 h 355"/>
              <a:gd name="T76" fmla="*/ 2147483646 w 328"/>
              <a:gd name="T77" fmla="*/ 2147483646 h 355"/>
              <a:gd name="T78" fmla="*/ 2147483646 w 328"/>
              <a:gd name="T79" fmla="*/ 2147483646 h 35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28"/>
              <a:gd name="T121" fmla="*/ 0 h 355"/>
              <a:gd name="T122" fmla="*/ 328 w 328"/>
              <a:gd name="T123" fmla="*/ 355 h 35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28" h="355">
                <a:moveTo>
                  <a:pt x="104" y="350"/>
                </a:moveTo>
                <a:cubicBezTo>
                  <a:pt x="113" y="355"/>
                  <a:pt x="112" y="329"/>
                  <a:pt x="119" y="326"/>
                </a:cubicBezTo>
                <a:cubicBezTo>
                  <a:pt x="126" y="323"/>
                  <a:pt x="129" y="327"/>
                  <a:pt x="134" y="335"/>
                </a:cubicBezTo>
                <a:cubicBezTo>
                  <a:pt x="139" y="343"/>
                  <a:pt x="140" y="337"/>
                  <a:pt x="144" y="332"/>
                </a:cubicBezTo>
                <a:cubicBezTo>
                  <a:pt x="147" y="327"/>
                  <a:pt x="161" y="335"/>
                  <a:pt x="161" y="335"/>
                </a:cubicBezTo>
                <a:cubicBezTo>
                  <a:pt x="161" y="335"/>
                  <a:pt x="179" y="335"/>
                  <a:pt x="179" y="329"/>
                </a:cubicBezTo>
                <a:cubicBezTo>
                  <a:pt x="179" y="323"/>
                  <a:pt x="188" y="334"/>
                  <a:pt x="188" y="334"/>
                </a:cubicBezTo>
                <a:cubicBezTo>
                  <a:pt x="284" y="337"/>
                  <a:pt x="284" y="337"/>
                  <a:pt x="284" y="337"/>
                </a:cubicBezTo>
                <a:cubicBezTo>
                  <a:pt x="284" y="332"/>
                  <a:pt x="290" y="314"/>
                  <a:pt x="287" y="314"/>
                </a:cubicBezTo>
                <a:cubicBezTo>
                  <a:pt x="285" y="314"/>
                  <a:pt x="283" y="308"/>
                  <a:pt x="283" y="308"/>
                </a:cubicBezTo>
                <a:cubicBezTo>
                  <a:pt x="287" y="66"/>
                  <a:pt x="287" y="66"/>
                  <a:pt x="287" y="66"/>
                </a:cubicBezTo>
                <a:cubicBezTo>
                  <a:pt x="328" y="68"/>
                  <a:pt x="328" y="68"/>
                  <a:pt x="328" y="68"/>
                </a:cubicBezTo>
                <a:cubicBezTo>
                  <a:pt x="323" y="64"/>
                  <a:pt x="323" y="64"/>
                  <a:pt x="323" y="64"/>
                </a:cubicBezTo>
                <a:cubicBezTo>
                  <a:pt x="246" y="0"/>
                  <a:pt x="246" y="0"/>
                  <a:pt x="246" y="0"/>
                </a:cubicBezTo>
                <a:cubicBezTo>
                  <a:pt x="239" y="35"/>
                  <a:pt x="239" y="35"/>
                  <a:pt x="239" y="35"/>
                </a:cubicBezTo>
                <a:cubicBezTo>
                  <a:pt x="156" y="27"/>
                  <a:pt x="156" y="27"/>
                  <a:pt x="156" y="27"/>
                </a:cubicBezTo>
                <a:cubicBezTo>
                  <a:pt x="143" y="99"/>
                  <a:pt x="143" y="99"/>
                  <a:pt x="143" y="99"/>
                </a:cubicBezTo>
                <a:cubicBezTo>
                  <a:pt x="143" y="99"/>
                  <a:pt x="112" y="107"/>
                  <a:pt x="110" y="118"/>
                </a:cubicBezTo>
                <a:cubicBezTo>
                  <a:pt x="109" y="130"/>
                  <a:pt x="108" y="157"/>
                  <a:pt x="108" y="157"/>
                </a:cubicBezTo>
                <a:cubicBezTo>
                  <a:pt x="8" y="148"/>
                  <a:pt x="8" y="148"/>
                  <a:pt x="8" y="148"/>
                </a:cubicBezTo>
                <a:cubicBezTo>
                  <a:pt x="8" y="148"/>
                  <a:pt x="0" y="155"/>
                  <a:pt x="5" y="161"/>
                </a:cubicBezTo>
                <a:cubicBezTo>
                  <a:pt x="9" y="166"/>
                  <a:pt x="12" y="170"/>
                  <a:pt x="14" y="173"/>
                </a:cubicBezTo>
                <a:cubicBezTo>
                  <a:pt x="17" y="177"/>
                  <a:pt x="20" y="177"/>
                  <a:pt x="19" y="183"/>
                </a:cubicBezTo>
                <a:cubicBezTo>
                  <a:pt x="18" y="189"/>
                  <a:pt x="17" y="191"/>
                  <a:pt x="15" y="194"/>
                </a:cubicBezTo>
                <a:cubicBezTo>
                  <a:pt x="14" y="198"/>
                  <a:pt x="9" y="199"/>
                  <a:pt x="12" y="204"/>
                </a:cubicBezTo>
                <a:cubicBezTo>
                  <a:pt x="14" y="208"/>
                  <a:pt x="19" y="215"/>
                  <a:pt x="20" y="216"/>
                </a:cubicBezTo>
                <a:cubicBezTo>
                  <a:pt x="20" y="218"/>
                  <a:pt x="16" y="221"/>
                  <a:pt x="17" y="228"/>
                </a:cubicBezTo>
                <a:cubicBezTo>
                  <a:pt x="17" y="235"/>
                  <a:pt x="19" y="234"/>
                  <a:pt x="17" y="240"/>
                </a:cubicBezTo>
                <a:cubicBezTo>
                  <a:pt x="16" y="247"/>
                  <a:pt x="12" y="258"/>
                  <a:pt x="10" y="259"/>
                </a:cubicBezTo>
                <a:cubicBezTo>
                  <a:pt x="9" y="261"/>
                  <a:pt x="6" y="271"/>
                  <a:pt x="3" y="276"/>
                </a:cubicBezTo>
                <a:cubicBezTo>
                  <a:pt x="1" y="280"/>
                  <a:pt x="1" y="280"/>
                  <a:pt x="1" y="288"/>
                </a:cubicBezTo>
                <a:cubicBezTo>
                  <a:pt x="1" y="288"/>
                  <a:pt x="6" y="290"/>
                  <a:pt x="10" y="290"/>
                </a:cubicBezTo>
                <a:cubicBezTo>
                  <a:pt x="14" y="290"/>
                  <a:pt x="28" y="290"/>
                  <a:pt x="30" y="290"/>
                </a:cubicBezTo>
                <a:cubicBezTo>
                  <a:pt x="33" y="291"/>
                  <a:pt x="35" y="287"/>
                  <a:pt x="41" y="287"/>
                </a:cubicBezTo>
                <a:cubicBezTo>
                  <a:pt x="46" y="288"/>
                  <a:pt x="56" y="289"/>
                  <a:pt x="59" y="296"/>
                </a:cubicBezTo>
                <a:cubicBezTo>
                  <a:pt x="62" y="303"/>
                  <a:pt x="65" y="308"/>
                  <a:pt x="71" y="307"/>
                </a:cubicBezTo>
                <a:cubicBezTo>
                  <a:pt x="77" y="307"/>
                  <a:pt x="80" y="319"/>
                  <a:pt x="85" y="323"/>
                </a:cubicBezTo>
                <a:cubicBezTo>
                  <a:pt x="90" y="328"/>
                  <a:pt x="97" y="329"/>
                  <a:pt x="97" y="329"/>
                </a:cubicBezTo>
                <a:cubicBezTo>
                  <a:pt x="97" y="329"/>
                  <a:pt x="96" y="338"/>
                  <a:pt x="98" y="342"/>
                </a:cubicBezTo>
                <a:lnTo>
                  <a:pt x="104" y="35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7" name="Freeform 663"/>
          <p:cNvSpPr>
            <a:spLocks/>
          </p:cNvSpPr>
          <p:nvPr userDrawn="1"/>
        </p:nvSpPr>
        <p:spPr bwMode="auto">
          <a:xfrm>
            <a:off x="5041733" y="4567447"/>
            <a:ext cx="140708" cy="154108"/>
          </a:xfrm>
          <a:custGeom>
            <a:avLst/>
            <a:gdLst>
              <a:gd name="T0" fmla="*/ 2147483646 w 151"/>
              <a:gd name="T1" fmla="*/ 2147483646 h 166"/>
              <a:gd name="T2" fmla="*/ 2147483646 w 151"/>
              <a:gd name="T3" fmla="*/ 2147483646 h 166"/>
              <a:gd name="T4" fmla="*/ 2147483646 w 151"/>
              <a:gd name="T5" fmla="*/ 2147483646 h 166"/>
              <a:gd name="T6" fmla="*/ 2147483646 w 151"/>
              <a:gd name="T7" fmla="*/ 0 h 166"/>
              <a:gd name="T8" fmla="*/ 2147483646 w 151"/>
              <a:gd name="T9" fmla="*/ 2147483646 h 166"/>
              <a:gd name="T10" fmla="*/ 2147483646 w 151"/>
              <a:gd name="T11" fmla="*/ 2147483646 h 166"/>
              <a:gd name="T12" fmla="*/ 2147483646 w 151"/>
              <a:gd name="T13" fmla="*/ 2147483646 h 166"/>
              <a:gd name="T14" fmla="*/ 2147483646 w 151"/>
              <a:gd name="T15" fmla="*/ 2147483646 h 166"/>
              <a:gd name="T16" fmla="*/ 2147483646 w 151"/>
              <a:gd name="T17" fmla="*/ 2147483646 h 166"/>
              <a:gd name="T18" fmla="*/ 2147483646 w 151"/>
              <a:gd name="T19" fmla="*/ 2147483646 h 166"/>
              <a:gd name="T20" fmla="*/ 2147483646 w 151"/>
              <a:gd name="T21" fmla="*/ 2147483646 h 166"/>
              <a:gd name="T22" fmla="*/ 2147483646 w 151"/>
              <a:gd name="T23" fmla="*/ 2147483646 h 166"/>
              <a:gd name="T24" fmla="*/ 2147483646 w 151"/>
              <a:gd name="T25" fmla="*/ 2147483646 h 166"/>
              <a:gd name="T26" fmla="*/ 2147483646 w 151"/>
              <a:gd name="T27" fmla="*/ 2147483646 h 166"/>
              <a:gd name="T28" fmla="*/ 2147483646 w 151"/>
              <a:gd name="T29" fmla="*/ 2147483646 h 166"/>
              <a:gd name="T30" fmla="*/ 2147483646 w 151"/>
              <a:gd name="T31" fmla="*/ 2147483646 h 166"/>
              <a:gd name="T32" fmla="*/ 2147483646 w 151"/>
              <a:gd name="T33" fmla="*/ 2147483646 h 166"/>
              <a:gd name="T34" fmla="*/ 2147483646 w 151"/>
              <a:gd name="T35" fmla="*/ 2147483646 h 166"/>
              <a:gd name="T36" fmla="*/ 2147483646 w 151"/>
              <a:gd name="T37" fmla="*/ 2147483646 h 166"/>
              <a:gd name="T38" fmla="*/ 2147483646 w 151"/>
              <a:gd name="T39" fmla="*/ 2147483646 h 166"/>
              <a:gd name="T40" fmla="*/ 2147483646 w 151"/>
              <a:gd name="T41" fmla="*/ 2147483646 h 166"/>
              <a:gd name="T42" fmla="*/ 2147483646 w 151"/>
              <a:gd name="T43" fmla="*/ 2147483646 h 166"/>
              <a:gd name="T44" fmla="*/ 2147483646 w 151"/>
              <a:gd name="T45" fmla="*/ 2147483646 h 166"/>
              <a:gd name="T46" fmla="*/ 2147483646 w 151"/>
              <a:gd name="T47" fmla="*/ 2147483646 h 166"/>
              <a:gd name="T48" fmla="*/ 2147483646 w 151"/>
              <a:gd name="T49" fmla="*/ 2147483646 h 166"/>
              <a:gd name="T50" fmla="*/ 2147483646 w 151"/>
              <a:gd name="T51" fmla="*/ 2147483646 h 166"/>
              <a:gd name="T52" fmla="*/ 2147483646 w 151"/>
              <a:gd name="T53" fmla="*/ 2147483646 h 166"/>
              <a:gd name="T54" fmla="*/ 2147483646 w 151"/>
              <a:gd name="T55" fmla="*/ 2147483646 h 166"/>
              <a:gd name="T56" fmla="*/ 2147483646 w 151"/>
              <a:gd name="T57" fmla="*/ 2147483646 h 166"/>
              <a:gd name="T58" fmla="*/ 2147483646 w 151"/>
              <a:gd name="T59" fmla="*/ 2147483646 h 166"/>
              <a:gd name="T60" fmla="*/ 2147483646 w 151"/>
              <a:gd name="T61" fmla="*/ 2147483646 h 166"/>
              <a:gd name="T62" fmla="*/ 2147483646 w 151"/>
              <a:gd name="T63" fmla="*/ 2147483646 h 166"/>
              <a:gd name="T64" fmla="*/ 2147483646 w 151"/>
              <a:gd name="T65" fmla="*/ 2147483646 h 166"/>
              <a:gd name="T66" fmla="*/ 2147483646 w 151"/>
              <a:gd name="T67" fmla="*/ 2147483646 h 166"/>
              <a:gd name="T68" fmla="*/ 2147483646 w 151"/>
              <a:gd name="T69" fmla="*/ 2147483646 h 166"/>
              <a:gd name="T70" fmla="*/ 2147483646 w 151"/>
              <a:gd name="T71" fmla="*/ 2147483646 h 166"/>
              <a:gd name="T72" fmla="*/ 2147483646 w 151"/>
              <a:gd name="T73" fmla="*/ 2147483646 h 166"/>
              <a:gd name="T74" fmla="*/ 2147483646 w 151"/>
              <a:gd name="T75" fmla="*/ 2147483646 h 166"/>
              <a:gd name="T76" fmla="*/ 2147483646 w 151"/>
              <a:gd name="T77" fmla="*/ 2147483646 h 166"/>
              <a:gd name="T78" fmla="*/ 2147483646 w 151"/>
              <a:gd name="T79" fmla="*/ 2147483646 h 166"/>
              <a:gd name="T80" fmla="*/ 2147483646 w 151"/>
              <a:gd name="T81" fmla="*/ 2147483646 h 166"/>
              <a:gd name="T82" fmla="*/ 2147483646 w 151"/>
              <a:gd name="T83" fmla="*/ 2147483646 h 166"/>
              <a:gd name="T84" fmla="*/ 2147483646 w 151"/>
              <a:gd name="T85" fmla="*/ 2147483646 h 166"/>
              <a:gd name="T86" fmla="*/ 2147483646 w 151"/>
              <a:gd name="T87" fmla="*/ 2147483646 h 166"/>
              <a:gd name="T88" fmla="*/ 2147483646 w 151"/>
              <a:gd name="T89" fmla="*/ 2147483646 h 166"/>
              <a:gd name="T90" fmla="*/ 2147483646 w 151"/>
              <a:gd name="T91" fmla="*/ 2147483646 h 166"/>
              <a:gd name="T92" fmla="*/ 2147483646 w 151"/>
              <a:gd name="T93" fmla="*/ 2147483646 h 166"/>
              <a:gd name="T94" fmla="*/ 2147483646 w 151"/>
              <a:gd name="T95" fmla="*/ 2147483646 h 166"/>
              <a:gd name="T96" fmla="*/ 2147483646 w 151"/>
              <a:gd name="T97" fmla="*/ 2147483646 h 166"/>
              <a:gd name="T98" fmla="*/ 2147483646 w 151"/>
              <a:gd name="T99" fmla="*/ 2147483646 h 166"/>
              <a:gd name="T100" fmla="*/ 2147483646 w 151"/>
              <a:gd name="T101" fmla="*/ 2147483646 h 16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51"/>
              <a:gd name="T154" fmla="*/ 0 h 166"/>
              <a:gd name="T155" fmla="*/ 151 w 151"/>
              <a:gd name="T156" fmla="*/ 166 h 16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51" h="166">
                <a:moveTo>
                  <a:pt x="33" y="1"/>
                </a:moveTo>
                <a:cubicBezTo>
                  <a:pt x="33" y="1"/>
                  <a:pt x="38" y="3"/>
                  <a:pt x="42" y="3"/>
                </a:cubicBezTo>
                <a:cubicBezTo>
                  <a:pt x="46" y="3"/>
                  <a:pt x="60" y="3"/>
                  <a:pt x="62" y="3"/>
                </a:cubicBezTo>
                <a:cubicBezTo>
                  <a:pt x="65" y="4"/>
                  <a:pt x="67" y="0"/>
                  <a:pt x="73" y="0"/>
                </a:cubicBezTo>
                <a:cubicBezTo>
                  <a:pt x="78" y="1"/>
                  <a:pt x="88" y="2"/>
                  <a:pt x="91" y="9"/>
                </a:cubicBezTo>
                <a:cubicBezTo>
                  <a:pt x="94" y="16"/>
                  <a:pt x="97" y="21"/>
                  <a:pt x="103" y="20"/>
                </a:cubicBezTo>
                <a:cubicBezTo>
                  <a:pt x="109" y="20"/>
                  <a:pt x="112" y="32"/>
                  <a:pt x="117" y="36"/>
                </a:cubicBezTo>
                <a:cubicBezTo>
                  <a:pt x="122" y="41"/>
                  <a:pt x="129" y="42"/>
                  <a:pt x="129" y="42"/>
                </a:cubicBezTo>
                <a:cubicBezTo>
                  <a:pt x="129" y="42"/>
                  <a:pt x="128" y="51"/>
                  <a:pt x="130" y="55"/>
                </a:cubicBezTo>
                <a:cubicBezTo>
                  <a:pt x="136" y="63"/>
                  <a:pt x="136" y="63"/>
                  <a:pt x="136" y="63"/>
                </a:cubicBezTo>
                <a:cubicBezTo>
                  <a:pt x="135" y="71"/>
                  <a:pt x="135" y="71"/>
                  <a:pt x="135" y="71"/>
                </a:cubicBezTo>
                <a:cubicBezTo>
                  <a:pt x="135" y="82"/>
                  <a:pt x="135" y="82"/>
                  <a:pt x="135" y="82"/>
                </a:cubicBezTo>
                <a:cubicBezTo>
                  <a:pt x="135" y="82"/>
                  <a:pt x="134" y="86"/>
                  <a:pt x="132" y="92"/>
                </a:cubicBezTo>
                <a:cubicBezTo>
                  <a:pt x="130" y="99"/>
                  <a:pt x="135" y="97"/>
                  <a:pt x="140" y="94"/>
                </a:cubicBezTo>
                <a:cubicBezTo>
                  <a:pt x="144" y="92"/>
                  <a:pt x="151" y="114"/>
                  <a:pt x="151" y="119"/>
                </a:cubicBezTo>
                <a:cubicBezTo>
                  <a:pt x="151" y="123"/>
                  <a:pt x="151" y="126"/>
                  <a:pt x="146" y="128"/>
                </a:cubicBezTo>
                <a:cubicBezTo>
                  <a:pt x="146" y="128"/>
                  <a:pt x="137" y="132"/>
                  <a:pt x="134" y="132"/>
                </a:cubicBezTo>
                <a:cubicBezTo>
                  <a:pt x="130" y="131"/>
                  <a:pt x="122" y="136"/>
                  <a:pt x="118" y="132"/>
                </a:cubicBezTo>
                <a:cubicBezTo>
                  <a:pt x="114" y="128"/>
                  <a:pt x="109" y="122"/>
                  <a:pt x="102" y="121"/>
                </a:cubicBezTo>
                <a:cubicBezTo>
                  <a:pt x="95" y="120"/>
                  <a:pt x="88" y="117"/>
                  <a:pt x="87" y="120"/>
                </a:cubicBezTo>
                <a:cubicBezTo>
                  <a:pt x="87" y="123"/>
                  <a:pt x="91" y="128"/>
                  <a:pt x="90" y="130"/>
                </a:cubicBezTo>
                <a:cubicBezTo>
                  <a:pt x="89" y="131"/>
                  <a:pt x="84" y="133"/>
                  <a:pt x="83" y="132"/>
                </a:cubicBezTo>
                <a:cubicBezTo>
                  <a:pt x="82" y="131"/>
                  <a:pt x="78" y="128"/>
                  <a:pt x="80" y="131"/>
                </a:cubicBezTo>
                <a:cubicBezTo>
                  <a:pt x="81" y="135"/>
                  <a:pt x="87" y="139"/>
                  <a:pt x="88" y="141"/>
                </a:cubicBezTo>
                <a:cubicBezTo>
                  <a:pt x="88" y="142"/>
                  <a:pt x="87" y="146"/>
                  <a:pt x="83" y="148"/>
                </a:cubicBezTo>
                <a:cubicBezTo>
                  <a:pt x="80" y="150"/>
                  <a:pt x="77" y="148"/>
                  <a:pt x="74" y="149"/>
                </a:cubicBezTo>
                <a:cubicBezTo>
                  <a:pt x="70" y="150"/>
                  <a:pt x="58" y="148"/>
                  <a:pt x="51" y="166"/>
                </a:cubicBezTo>
                <a:cubicBezTo>
                  <a:pt x="51" y="166"/>
                  <a:pt x="46" y="157"/>
                  <a:pt x="44" y="155"/>
                </a:cubicBezTo>
                <a:cubicBezTo>
                  <a:pt x="41" y="153"/>
                  <a:pt x="42" y="147"/>
                  <a:pt x="44" y="145"/>
                </a:cubicBezTo>
                <a:cubicBezTo>
                  <a:pt x="46" y="143"/>
                  <a:pt x="48" y="141"/>
                  <a:pt x="51" y="139"/>
                </a:cubicBezTo>
                <a:cubicBezTo>
                  <a:pt x="54" y="137"/>
                  <a:pt x="52" y="134"/>
                  <a:pt x="45" y="136"/>
                </a:cubicBezTo>
                <a:cubicBezTo>
                  <a:pt x="39" y="139"/>
                  <a:pt x="32" y="139"/>
                  <a:pt x="29" y="141"/>
                </a:cubicBezTo>
                <a:cubicBezTo>
                  <a:pt x="27" y="143"/>
                  <a:pt x="22" y="140"/>
                  <a:pt x="20" y="136"/>
                </a:cubicBezTo>
                <a:cubicBezTo>
                  <a:pt x="18" y="132"/>
                  <a:pt x="18" y="128"/>
                  <a:pt x="14" y="127"/>
                </a:cubicBezTo>
                <a:cubicBezTo>
                  <a:pt x="11" y="125"/>
                  <a:pt x="10" y="124"/>
                  <a:pt x="9" y="122"/>
                </a:cubicBezTo>
                <a:cubicBezTo>
                  <a:pt x="9" y="120"/>
                  <a:pt x="15" y="122"/>
                  <a:pt x="16" y="123"/>
                </a:cubicBezTo>
                <a:cubicBezTo>
                  <a:pt x="18" y="123"/>
                  <a:pt x="25" y="125"/>
                  <a:pt x="33" y="124"/>
                </a:cubicBezTo>
                <a:cubicBezTo>
                  <a:pt x="41" y="122"/>
                  <a:pt x="42" y="120"/>
                  <a:pt x="45" y="117"/>
                </a:cubicBezTo>
                <a:cubicBezTo>
                  <a:pt x="45" y="117"/>
                  <a:pt x="25" y="127"/>
                  <a:pt x="12" y="116"/>
                </a:cubicBezTo>
                <a:cubicBezTo>
                  <a:pt x="0" y="106"/>
                  <a:pt x="9" y="108"/>
                  <a:pt x="10" y="103"/>
                </a:cubicBezTo>
                <a:cubicBezTo>
                  <a:pt x="11" y="98"/>
                  <a:pt x="14" y="88"/>
                  <a:pt x="15" y="84"/>
                </a:cubicBezTo>
                <a:cubicBezTo>
                  <a:pt x="17" y="81"/>
                  <a:pt x="19" y="77"/>
                  <a:pt x="21" y="73"/>
                </a:cubicBezTo>
                <a:cubicBezTo>
                  <a:pt x="22" y="70"/>
                  <a:pt x="18" y="77"/>
                  <a:pt x="15" y="78"/>
                </a:cubicBezTo>
                <a:cubicBezTo>
                  <a:pt x="13" y="79"/>
                  <a:pt x="11" y="70"/>
                  <a:pt x="11" y="69"/>
                </a:cubicBezTo>
                <a:cubicBezTo>
                  <a:pt x="10" y="67"/>
                  <a:pt x="8" y="62"/>
                  <a:pt x="6" y="61"/>
                </a:cubicBezTo>
                <a:cubicBezTo>
                  <a:pt x="5" y="60"/>
                  <a:pt x="2" y="61"/>
                  <a:pt x="2" y="57"/>
                </a:cubicBezTo>
                <a:cubicBezTo>
                  <a:pt x="2" y="52"/>
                  <a:pt x="4" y="47"/>
                  <a:pt x="7" y="46"/>
                </a:cubicBezTo>
                <a:cubicBezTo>
                  <a:pt x="10" y="45"/>
                  <a:pt x="10" y="40"/>
                  <a:pt x="13" y="40"/>
                </a:cubicBezTo>
                <a:cubicBezTo>
                  <a:pt x="16" y="39"/>
                  <a:pt x="18" y="32"/>
                  <a:pt x="21" y="29"/>
                </a:cubicBezTo>
                <a:cubicBezTo>
                  <a:pt x="24" y="25"/>
                  <a:pt x="25" y="21"/>
                  <a:pt x="26" y="18"/>
                </a:cubicBezTo>
                <a:cubicBezTo>
                  <a:pt x="28" y="15"/>
                  <a:pt x="33" y="1"/>
                  <a:pt x="3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8" name="Freeform 664"/>
          <p:cNvSpPr>
            <a:spLocks/>
          </p:cNvSpPr>
          <p:nvPr userDrawn="1"/>
        </p:nvSpPr>
        <p:spPr bwMode="auto">
          <a:xfrm>
            <a:off x="5088634" y="4676329"/>
            <a:ext cx="182585" cy="152433"/>
          </a:xfrm>
          <a:custGeom>
            <a:avLst/>
            <a:gdLst>
              <a:gd name="T0" fmla="*/ 0 w 196"/>
              <a:gd name="T1" fmla="*/ 2147483646 h 163"/>
              <a:gd name="T2" fmla="*/ 2147483646 w 196"/>
              <a:gd name="T3" fmla="*/ 2147483646 h 163"/>
              <a:gd name="T4" fmla="*/ 2147483646 w 196"/>
              <a:gd name="T5" fmla="*/ 2147483646 h 163"/>
              <a:gd name="T6" fmla="*/ 2147483646 w 196"/>
              <a:gd name="T7" fmla="*/ 2147483646 h 163"/>
              <a:gd name="T8" fmla="*/ 2147483646 w 196"/>
              <a:gd name="T9" fmla="*/ 2147483646 h 163"/>
              <a:gd name="T10" fmla="*/ 2147483646 w 196"/>
              <a:gd name="T11" fmla="*/ 2147483646 h 163"/>
              <a:gd name="T12" fmla="*/ 2147483646 w 196"/>
              <a:gd name="T13" fmla="*/ 2147483646 h 163"/>
              <a:gd name="T14" fmla="*/ 2147483646 w 196"/>
              <a:gd name="T15" fmla="*/ 2147483646 h 163"/>
              <a:gd name="T16" fmla="*/ 2147483646 w 196"/>
              <a:gd name="T17" fmla="*/ 2147483646 h 163"/>
              <a:gd name="T18" fmla="*/ 2147483646 w 196"/>
              <a:gd name="T19" fmla="*/ 2147483646 h 163"/>
              <a:gd name="T20" fmla="*/ 2147483646 w 196"/>
              <a:gd name="T21" fmla="*/ 2147483646 h 163"/>
              <a:gd name="T22" fmla="*/ 2147483646 w 196"/>
              <a:gd name="T23" fmla="*/ 2147483646 h 163"/>
              <a:gd name="T24" fmla="*/ 2147483646 w 196"/>
              <a:gd name="T25" fmla="*/ 2147483646 h 163"/>
              <a:gd name="T26" fmla="*/ 2147483646 w 196"/>
              <a:gd name="T27" fmla="*/ 2147483646 h 163"/>
              <a:gd name="T28" fmla="*/ 2147483646 w 196"/>
              <a:gd name="T29" fmla="*/ 2147483646 h 163"/>
              <a:gd name="T30" fmla="*/ 2147483646 w 196"/>
              <a:gd name="T31" fmla="*/ 2147483646 h 163"/>
              <a:gd name="T32" fmla="*/ 2147483646 w 196"/>
              <a:gd name="T33" fmla="*/ 2147483646 h 163"/>
              <a:gd name="T34" fmla="*/ 2147483646 w 196"/>
              <a:gd name="T35" fmla="*/ 2147483646 h 163"/>
              <a:gd name="T36" fmla="*/ 2147483646 w 196"/>
              <a:gd name="T37" fmla="*/ 2147483646 h 163"/>
              <a:gd name="T38" fmla="*/ 2147483646 w 196"/>
              <a:gd name="T39" fmla="*/ 2147483646 h 163"/>
              <a:gd name="T40" fmla="*/ 2147483646 w 196"/>
              <a:gd name="T41" fmla="*/ 2147483646 h 163"/>
              <a:gd name="T42" fmla="*/ 2147483646 w 196"/>
              <a:gd name="T43" fmla="*/ 2147483646 h 163"/>
              <a:gd name="T44" fmla="*/ 2147483646 w 196"/>
              <a:gd name="T45" fmla="*/ 2147483646 h 163"/>
              <a:gd name="T46" fmla="*/ 2147483646 w 196"/>
              <a:gd name="T47" fmla="*/ 2147483646 h 163"/>
              <a:gd name="T48" fmla="*/ 2147483646 w 196"/>
              <a:gd name="T49" fmla="*/ 2147483646 h 163"/>
              <a:gd name="T50" fmla="*/ 2147483646 w 196"/>
              <a:gd name="T51" fmla="*/ 2147483646 h 163"/>
              <a:gd name="T52" fmla="*/ 2147483646 w 196"/>
              <a:gd name="T53" fmla="*/ 2147483646 h 163"/>
              <a:gd name="T54" fmla="*/ 2147483646 w 196"/>
              <a:gd name="T55" fmla="*/ 2147483646 h 163"/>
              <a:gd name="T56" fmla="*/ 2147483646 w 196"/>
              <a:gd name="T57" fmla="*/ 2147483646 h 163"/>
              <a:gd name="T58" fmla="*/ 2147483646 w 196"/>
              <a:gd name="T59" fmla="*/ 2147483646 h 163"/>
              <a:gd name="T60" fmla="*/ 2147483646 w 196"/>
              <a:gd name="T61" fmla="*/ 2147483646 h 163"/>
              <a:gd name="T62" fmla="*/ 2147483646 w 196"/>
              <a:gd name="T63" fmla="*/ 2147483646 h 163"/>
              <a:gd name="T64" fmla="*/ 2147483646 w 196"/>
              <a:gd name="T65" fmla="*/ 2147483646 h 163"/>
              <a:gd name="T66" fmla="*/ 2147483646 w 196"/>
              <a:gd name="T67" fmla="*/ 2147483646 h 163"/>
              <a:gd name="T68" fmla="*/ 2147483646 w 196"/>
              <a:gd name="T69" fmla="*/ 2147483646 h 163"/>
              <a:gd name="T70" fmla="*/ 2147483646 w 196"/>
              <a:gd name="T71" fmla="*/ 2147483646 h 163"/>
              <a:gd name="T72" fmla="*/ 2147483646 w 196"/>
              <a:gd name="T73" fmla="*/ 2147483646 h 163"/>
              <a:gd name="T74" fmla="*/ 2147483646 w 196"/>
              <a:gd name="T75" fmla="*/ 2147483646 h 163"/>
              <a:gd name="T76" fmla="*/ 2147483646 w 196"/>
              <a:gd name="T77" fmla="*/ 2147483646 h 163"/>
              <a:gd name="T78" fmla="*/ 2147483646 w 196"/>
              <a:gd name="T79" fmla="*/ 2147483646 h 163"/>
              <a:gd name="T80" fmla="*/ 2147483646 w 196"/>
              <a:gd name="T81" fmla="*/ 2147483646 h 163"/>
              <a:gd name="T82" fmla="*/ 2147483646 w 196"/>
              <a:gd name="T83" fmla="*/ 2147483646 h 163"/>
              <a:gd name="T84" fmla="*/ 2147483646 w 196"/>
              <a:gd name="T85" fmla="*/ 2147483646 h 163"/>
              <a:gd name="T86" fmla="*/ 2147483646 w 196"/>
              <a:gd name="T87" fmla="*/ 2147483646 h 163"/>
              <a:gd name="T88" fmla="*/ 2147483646 w 196"/>
              <a:gd name="T89" fmla="*/ 2147483646 h 163"/>
              <a:gd name="T90" fmla="*/ 2147483646 w 196"/>
              <a:gd name="T91" fmla="*/ 2147483646 h 163"/>
              <a:gd name="T92" fmla="*/ 2147483646 w 196"/>
              <a:gd name="T93" fmla="*/ 2147483646 h 163"/>
              <a:gd name="T94" fmla="*/ 2147483646 w 196"/>
              <a:gd name="T95" fmla="*/ 2147483646 h 163"/>
              <a:gd name="T96" fmla="*/ 2147483646 w 196"/>
              <a:gd name="T97" fmla="*/ 2147483646 h 163"/>
              <a:gd name="T98" fmla="*/ 2147483646 w 196"/>
              <a:gd name="T99" fmla="*/ 2147483646 h 163"/>
              <a:gd name="T100" fmla="*/ 2147483646 w 196"/>
              <a:gd name="T101" fmla="*/ 2147483646 h 163"/>
              <a:gd name="T102" fmla="*/ 2147483646 w 196"/>
              <a:gd name="T103" fmla="*/ 2147483646 h 163"/>
              <a:gd name="T104" fmla="*/ 0 w 196"/>
              <a:gd name="T105" fmla="*/ 2147483646 h 163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96"/>
              <a:gd name="T160" fmla="*/ 0 h 163"/>
              <a:gd name="T161" fmla="*/ 196 w 196"/>
              <a:gd name="T162" fmla="*/ 163 h 163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96" h="163">
                <a:moveTo>
                  <a:pt x="0" y="49"/>
                </a:moveTo>
                <a:cubicBezTo>
                  <a:pt x="7" y="31"/>
                  <a:pt x="19" y="33"/>
                  <a:pt x="23" y="32"/>
                </a:cubicBezTo>
                <a:cubicBezTo>
                  <a:pt x="26" y="31"/>
                  <a:pt x="29" y="33"/>
                  <a:pt x="32" y="31"/>
                </a:cubicBezTo>
                <a:cubicBezTo>
                  <a:pt x="36" y="29"/>
                  <a:pt x="37" y="25"/>
                  <a:pt x="37" y="24"/>
                </a:cubicBezTo>
                <a:cubicBezTo>
                  <a:pt x="36" y="22"/>
                  <a:pt x="30" y="18"/>
                  <a:pt x="29" y="14"/>
                </a:cubicBezTo>
                <a:cubicBezTo>
                  <a:pt x="27" y="11"/>
                  <a:pt x="31" y="14"/>
                  <a:pt x="32" y="15"/>
                </a:cubicBezTo>
                <a:cubicBezTo>
                  <a:pt x="33" y="16"/>
                  <a:pt x="38" y="14"/>
                  <a:pt x="39" y="13"/>
                </a:cubicBezTo>
                <a:cubicBezTo>
                  <a:pt x="40" y="11"/>
                  <a:pt x="36" y="6"/>
                  <a:pt x="36" y="3"/>
                </a:cubicBezTo>
                <a:cubicBezTo>
                  <a:pt x="37" y="0"/>
                  <a:pt x="44" y="3"/>
                  <a:pt x="51" y="4"/>
                </a:cubicBezTo>
                <a:cubicBezTo>
                  <a:pt x="58" y="5"/>
                  <a:pt x="63" y="11"/>
                  <a:pt x="67" y="15"/>
                </a:cubicBezTo>
                <a:cubicBezTo>
                  <a:pt x="71" y="19"/>
                  <a:pt x="79" y="14"/>
                  <a:pt x="83" y="15"/>
                </a:cubicBezTo>
                <a:cubicBezTo>
                  <a:pt x="86" y="15"/>
                  <a:pt x="95" y="11"/>
                  <a:pt x="95" y="11"/>
                </a:cubicBezTo>
                <a:cubicBezTo>
                  <a:pt x="91" y="14"/>
                  <a:pt x="92" y="16"/>
                  <a:pt x="94" y="24"/>
                </a:cubicBezTo>
                <a:cubicBezTo>
                  <a:pt x="96" y="31"/>
                  <a:pt x="101" y="25"/>
                  <a:pt x="106" y="21"/>
                </a:cubicBezTo>
                <a:cubicBezTo>
                  <a:pt x="112" y="18"/>
                  <a:pt x="113" y="30"/>
                  <a:pt x="116" y="29"/>
                </a:cubicBezTo>
                <a:cubicBezTo>
                  <a:pt x="119" y="28"/>
                  <a:pt x="120" y="22"/>
                  <a:pt x="126" y="17"/>
                </a:cubicBezTo>
                <a:cubicBezTo>
                  <a:pt x="131" y="11"/>
                  <a:pt x="133" y="28"/>
                  <a:pt x="136" y="29"/>
                </a:cubicBezTo>
                <a:cubicBezTo>
                  <a:pt x="139" y="30"/>
                  <a:pt x="144" y="26"/>
                  <a:pt x="142" y="17"/>
                </a:cubicBezTo>
                <a:cubicBezTo>
                  <a:pt x="141" y="8"/>
                  <a:pt x="152" y="14"/>
                  <a:pt x="152" y="14"/>
                </a:cubicBezTo>
                <a:cubicBezTo>
                  <a:pt x="161" y="25"/>
                  <a:pt x="161" y="25"/>
                  <a:pt x="161" y="25"/>
                </a:cubicBezTo>
                <a:cubicBezTo>
                  <a:pt x="161" y="37"/>
                  <a:pt x="161" y="37"/>
                  <a:pt x="161" y="37"/>
                </a:cubicBezTo>
                <a:cubicBezTo>
                  <a:pt x="161" y="37"/>
                  <a:pt x="169" y="42"/>
                  <a:pt x="171" y="38"/>
                </a:cubicBezTo>
                <a:cubicBezTo>
                  <a:pt x="173" y="33"/>
                  <a:pt x="176" y="50"/>
                  <a:pt x="176" y="50"/>
                </a:cubicBezTo>
                <a:cubicBezTo>
                  <a:pt x="176" y="50"/>
                  <a:pt x="168" y="51"/>
                  <a:pt x="168" y="54"/>
                </a:cubicBezTo>
                <a:cubicBezTo>
                  <a:pt x="168" y="58"/>
                  <a:pt x="172" y="59"/>
                  <a:pt x="180" y="65"/>
                </a:cubicBezTo>
                <a:cubicBezTo>
                  <a:pt x="187" y="72"/>
                  <a:pt x="173" y="70"/>
                  <a:pt x="173" y="70"/>
                </a:cubicBezTo>
                <a:cubicBezTo>
                  <a:pt x="182" y="82"/>
                  <a:pt x="182" y="82"/>
                  <a:pt x="182" y="82"/>
                </a:cubicBezTo>
                <a:cubicBezTo>
                  <a:pt x="182" y="82"/>
                  <a:pt x="180" y="85"/>
                  <a:pt x="181" y="89"/>
                </a:cubicBezTo>
                <a:cubicBezTo>
                  <a:pt x="182" y="94"/>
                  <a:pt x="178" y="102"/>
                  <a:pt x="183" y="105"/>
                </a:cubicBezTo>
                <a:cubicBezTo>
                  <a:pt x="188" y="109"/>
                  <a:pt x="196" y="115"/>
                  <a:pt x="190" y="118"/>
                </a:cubicBezTo>
                <a:cubicBezTo>
                  <a:pt x="185" y="120"/>
                  <a:pt x="179" y="118"/>
                  <a:pt x="183" y="122"/>
                </a:cubicBezTo>
                <a:cubicBezTo>
                  <a:pt x="188" y="125"/>
                  <a:pt x="193" y="124"/>
                  <a:pt x="194" y="128"/>
                </a:cubicBezTo>
                <a:cubicBezTo>
                  <a:pt x="195" y="132"/>
                  <a:pt x="192" y="139"/>
                  <a:pt x="190" y="139"/>
                </a:cubicBezTo>
                <a:cubicBezTo>
                  <a:pt x="187" y="138"/>
                  <a:pt x="181" y="135"/>
                  <a:pt x="181" y="135"/>
                </a:cubicBezTo>
                <a:cubicBezTo>
                  <a:pt x="181" y="135"/>
                  <a:pt x="179" y="131"/>
                  <a:pt x="178" y="133"/>
                </a:cubicBezTo>
                <a:cubicBezTo>
                  <a:pt x="177" y="135"/>
                  <a:pt x="173" y="136"/>
                  <a:pt x="175" y="138"/>
                </a:cubicBezTo>
                <a:cubicBezTo>
                  <a:pt x="178" y="141"/>
                  <a:pt x="179" y="149"/>
                  <a:pt x="178" y="151"/>
                </a:cubicBezTo>
                <a:cubicBezTo>
                  <a:pt x="177" y="153"/>
                  <a:pt x="167" y="148"/>
                  <a:pt x="164" y="153"/>
                </a:cubicBezTo>
                <a:cubicBezTo>
                  <a:pt x="161" y="159"/>
                  <a:pt x="157" y="162"/>
                  <a:pt x="156" y="162"/>
                </a:cubicBezTo>
                <a:cubicBezTo>
                  <a:pt x="155" y="162"/>
                  <a:pt x="144" y="163"/>
                  <a:pt x="143" y="158"/>
                </a:cubicBezTo>
                <a:cubicBezTo>
                  <a:pt x="143" y="153"/>
                  <a:pt x="143" y="147"/>
                  <a:pt x="142" y="143"/>
                </a:cubicBezTo>
                <a:cubicBezTo>
                  <a:pt x="141" y="139"/>
                  <a:pt x="142" y="136"/>
                  <a:pt x="138" y="133"/>
                </a:cubicBezTo>
                <a:cubicBezTo>
                  <a:pt x="134" y="131"/>
                  <a:pt x="131" y="125"/>
                  <a:pt x="129" y="128"/>
                </a:cubicBezTo>
                <a:cubicBezTo>
                  <a:pt x="126" y="132"/>
                  <a:pt x="123" y="126"/>
                  <a:pt x="121" y="130"/>
                </a:cubicBezTo>
                <a:cubicBezTo>
                  <a:pt x="119" y="133"/>
                  <a:pt x="116" y="141"/>
                  <a:pt x="113" y="134"/>
                </a:cubicBezTo>
                <a:cubicBezTo>
                  <a:pt x="110" y="127"/>
                  <a:pt x="118" y="126"/>
                  <a:pt x="115" y="115"/>
                </a:cubicBezTo>
                <a:cubicBezTo>
                  <a:pt x="111" y="104"/>
                  <a:pt x="106" y="82"/>
                  <a:pt x="80" y="84"/>
                </a:cubicBezTo>
                <a:cubicBezTo>
                  <a:pt x="65" y="86"/>
                  <a:pt x="64" y="80"/>
                  <a:pt x="62" y="90"/>
                </a:cubicBezTo>
                <a:cubicBezTo>
                  <a:pt x="59" y="101"/>
                  <a:pt x="49" y="108"/>
                  <a:pt x="44" y="110"/>
                </a:cubicBezTo>
                <a:cubicBezTo>
                  <a:pt x="44" y="110"/>
                  <a:pt x="38" y="100"/>
                  <a:pt x="35" y="94"/>
                </a:cubicBezTo>
                <a:cubicBezTo>
                  <a:pt x="32" y="88"/>
                  <a:pt x="32" y="81"/>
                  <a:pt x="27" y="80"/>
                </a:cubicBezTo>
                <a:cubicBezTo>
                  <a:pt x="22" y="79"/>
                  <a:pt x="15" y="77"/>
                  <a:pt x="12" y="70"/>
                </a:cubicBezTo>
                <a:cubicBezTo>
                  <a:pt x="9" y="63"/>
                  <a:pt x="0" y="49"/>
                  <a:pt x="0" y="4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9" name="Freeform 665"/>
          <p:cNvSpPr>
            <a:spLocks/>
          </p:cNvSpPr>
          <p:nvPr userDrawn="1"/>
        </p:nvSpPr>
        <p:spPr bwMode="auto">
          <a:xfrm>
            <a:off x="5130513" y="4751708"/>
            <a:ext cx="68679" cy="87105"/>
          </a:xfrm>
          <a:custGeom>
            <a:avLst/>
            <a:gdLst>
              <a:gd name="T0" fmla="*/ 0 w 74"/>
              <a:gd name="T1" fmla="*/ 2147483646 h 94"/>
              <a:gd name="T2" fmla="*/ 2147483646 w 74"/>
              <a:gd name="T3" fmla="*/ 2147483646 h 94"/>
              <a:gd name="T4" fmla="*/ 2147483646 w 74"/>
              <a:gd name="T5" fmla="*/ 2147483646 h 94"/>
              <a:gd name="T6" fmla="*/ 2147483646 w 74"/>
              <a:gd name="T7" fmla="*/ 2147483646 h 94"/>
              <a:gd name="T8" fmla="*/ 2147483646 w 74"/>
              <a:gd name="T9" fmla="*/ 2147483646 h 94"/>
              <a:gd name="T10" fmla="*/ 2147483646 w 74"/>
              <a:gd name="T11" fmla="*/ 2147483646 h 94"/>
              <a:gd name="T12" fmla="*/ 2147483646 w 74"/>
              <a:gd name="T13" fmla="*/ 2147483646 h 94"/>
              <a:gd name="T14" fmla="*/ 2147483646 w 74"/>
              <a:gd name="T15" fmla="*/ 2147483646 h 94"/>
              <a:gd name="T16" fmla="*/ 2147483646 w 74"/>
              <a:gd name="T17" fmla="*/ 2147483646 h 94"/>
              <a:gd name="T18" fmla="*/ 2147483646 w 74"/>
              <a:gd name="T19" fmla="*/ 2147483646 h 94"/>
              <a:gd name="T20" fmla="*/ 0 w 74"/>
              <a:gd name="T21" fmla="*/ 2147483646 h 94"/>
              <a:gd name="T22" fmla="*/ 0 w 74"/>
              <a:gd name="T23" fmla="*/ 2147483646 h 9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4"/>
              <a:gd name="T37" fmla="*/ 0 h 94"/>
              <a:gd name="T38" fmla="*/ 74 w 74"/>
              <a:gd name="T39" fmla="*/ 94 h 9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4" h="94">
                <a:moveTo>
                  <a:pt x="0" y="30"/>
                </a:moveTo>
                <a:cubicBezTo>
                  <a:pt x="5" y="28"/>
                  <a:pt x="15" y="21"/>
                  <a:pt x="18" y="10"/>
                </a:cubicBezTo>
                <a:cubicBezTo>
                  <a:pt x="20" y="0"/>
                  <a:pt x="21" y="6"/>
                  <a:pt x="36" y="4"/>
                </a:cubicBezTo>
                <a:cubicBezTo>
                  <a:pt x="62" y="2"/>
                  <a:pt x="67" y="24"/>
                  <a:pt x="71" y="35"/>
                </a:cubicBezTo>
                <a:cubicBezTo>
                  <a:pt x="74" y="46"/>
                  <a:pt x="66" y="47"/>
                  <a:pt x="69" y="54"/>
                </a:cubicBezTo>
                <a:cubicBezTo>
                  <a:pt x="69" y="54"/>
                  <a:pt x="71" y="58"/>
                  <a:pt x="69" y="60"/>
                </a:cubicBezTo>
                <a:cubicBezTo>
                  <a:pt x="68" y="62"/>
                  <a:pt x="67" y="69"/>
                  <a:pt x="64" y="73"/>
                </a:cubicBezTo>
                <a:cubicBezTo>
                  <a:pt x="61" y="77"/>
                  <a:pt x="45" y="85"/>
                  <a:pt x="42" y="94"/>
                </a:cubicBezTo>
                <a:cubicBezTo>
                  <a:pt x="42" y="94"/>
                  <a:pt x="33" y="87"/>
                  <a:pt x="24" y="82"/>
                </a:cubicBezTo>
                <a:cubicBezTo>
                  <a:pt x="15" y="78"/>
                  <a:pt x="10" y="76"/>
                  <a:pt x="6" y="67"/>
                </a:cubicBezTo>
                <a:cubicBezTo>
                  <a:pt x="1" y="57"/>
                  <a:pt x="1" y="55"/>
                  <a:pt x="0" y="49"/>
                </a:cubicBezTo>
                <a:cubicBezTo>
                  <a:pt x="0" y="42"/>
                  <a:pt x="0" y="30"/>
                  <a:pt x="0" y="3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0" name="Freeform 666"/>
          <p:cNvSpPr>
            <a:spLocks/>
          </p:cNvSpPr>
          <p:nvPr userDrawn="1"/>
        </p:nvSpPr>
        <p:spPr bwMode="auto">
          <a:xfrm>
            <a:off x="5169039" y="4793585"/>
            <a:ext cx="102181" cy="117256"/>
          </a:xfrm>
          <a:custGeom>
            <a:avLst/>
            <a:gdLst>
              <a:gd name="T0" fmla="*/ 0 w 110"/>
              <a:gd name="T1" fmla="*/ 2147483646 h 127"/>
              <a:gd name="T2" fmla="*/ 2147483646 w 110"/>
              <a:gd name="T3" fmla="*/ 2147483646 h 127"/>
              <a:gd name="T4" fmla="*/ 2147483646 w 110"/>
              <a:gd name="T5" fmla="*/ 2147483646 h 127"/>
              <a:gd name="T6" fmla="*/ 2147483646 w 110"/>
              <a:gd name="T7" fmla="*/ 2147483646 h 127"/>
              <a:gd name="T8" fmla="*/ 2147483646 w 110"/>
              <a:gd name="T9" fmla="*/ 2147483646 h 127"/>
              <a:gd name="T10" fmla="*/ 2147483646 w 110"/>
              <a:gd name="T11" fmla="*/ 2147483646 h 127"/>
              <a:gd name="T12" fmla="*/ 2147483646 w 110"/>
              <a:gd name="T13" fmla="*/ 2147483646 h 127"/>
              <a:gd name="T14" fmla="*/ 2147483646 w 110"/>
              <a:gd name="T15" fmla="*/ 2147483646 h 127"/>
              <a:gd name="T16" fmla="*/ 2147483646 w 110"/>
              <a:gd name="T17" fmla="*/ 2147483646 h 127"/>
              <a:gd name="T18" fmla="*/ 2147483646 w 110"/>
              <a:gd name="T19" fmla="*/ 2147483646 h 127"/>
              <a:gd name="T20" fmla="*/ 2147483646 w 110"/>
              <a:gd name="T21" fmla="*/ 2147483646 h 127"/>
              <a:gd name="T22" fmla="*/ 2147483646 w 110"/>
              <a:gd name="T23" fmla="*/ 2147483646 h 127"/>
              <a:gd name="T24" fmla="*/ 2147483646 w 110"/>
              <a:gd name="T25" fmla="*/ 2147483646 h 127"/>
              <a:gd name="T26" fmla="*/ 2147483646 w 110"/>
              <a:gd name="T27" fmla="*/ 2147483646 h 127"/>
              <a:gd name="T28" fmla="*/ 2147483646 w 110"/>
              <a:gd name="T29" fmla="*/ 2147483646 h 127"/>
              <a:gd name="T30" fmla="*/ 2147483646 w 110"/>
              <a:gd name="T31" fmla="*/ 2147483646 h 127"/>
              <a:gd name="T32" fmla="*/ 2147483646 w 110"/>
              <a:gd name="T33" fmla="*/ 2147483646 h 127"/>
              <a:gd name="T34" fmla="*/ 2147483646 w 110"/>
              <a:gd name="T35" fmla="*/ 2147483646 h 127"/>
              <a:gd name="T36" fmla="*/ 2147483646 w 110"/>
              <a:gd name="T37" fmla="*/ 2147483646 h 127"/>
              <a:gd name="T38" fmla="*/ 2147483646 w 110"/>
              <a:gd name="T39" fmla="*/ 2147483646 h 127"/>
              <a:gd name="T40" fmla="*/ 2147483646 w 110"/>
              <a:gd name="T41" fmla="*/ 2147483646 h 127"/>
              <a:gd name="T42" fmla="*/ 2147483646 w 110"/>
              <a:gd name="T43" fmla="*/ 2147483646 h 127"/>
              <a:gd name="T44" fmla="*/ 2147483646 w 110"/>
              <a:gd name="T45" fmla="*/ 2147483646 h 127"/>
              <a:gd name="T46" fmla="*/ 0 w 110"/>
              <a:gd name="T47" fmla="*/ 2147483646 h 127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10"/>
              <a:gd name="T73" fmla="*/ 0 h 127"/>
              <a:gd name="T74" fmla="*/ 110 w 110"/>
              <a:gd name="T75" fmla="*/ 127 h 127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10" h="127">
                <a:moveTo>
                  <a:pt x="0" y="49"/>
                </a:moveTo>
                <a:cubicBezTo>
                  <a:pt x="3" y="40"/>
                  <a:pt x="19" y="32"/>
                  <a:pt x="22" y="28"/>
                </a:cubicBezTo>
                <a:cubicBezTo>
                  <a:pt x="25" y="24"/>
                  <a:pt x="26" y="17"/>
                  <a:pt x="27" y="15"/>
                </a:cubicBezTo>
                <a:cubicBezTo>
                  <a:pt x="29" y="13"/>
                  <a:pt x="27" y="9"/>
                  <a:pt x="27" y="9"/>
                </a:cubicBezTo>
                <a:cubicBezTo>
                  <a:pt x="30" y="16"/>
                  <a:pt x="33" y="8"/>
                  <a:pt x="35" y="5"/>
                </a:cubicBezTo>
                <a:cubicBezTo>
                  <a:pt x="37" y="1"/>
                  <a:pt x="40" y="7"/>
                  <a:pt x="43" y="3"/>
                </a:cubicBezTo>
                <a:cubicBezTo>
                  <a:pt x="45" y="0"/>
                  <a:pt x="48" y="6"/>
                  <a:pt x="52" y="8"/>
                </a:cubicBezTo>
                <a:cubicBezTo>
                  <a:pt x="56" y="11"/>
                  <a:pt x="55" y="14"/>
                  <a:pt x="56" y="18"/>
                </a:cubicBezTo>
                <a:cubicBezTo>
                  <a:pt x="57" y="22"/>
                  <a:pt x="57" y="28"/>
                  <a:pt x="57" y="33"/>
                </a:cubicBezTo>
                <a:cubicBezTo>
                  <a:pt x="58" y="38"/>
                  <a:pt x="69" y="37"/>
                  <a:pt x="70" y="37"/>
                </a:cubicBezTo>
                <a:cubicBezTo>
                  <a:pt x="71" y="37"/>
                  <a:pt x="75" y="34"/>
                  <a:pt x="78" y="28"/>
                </a:cubicBezTo>
                <a:cubicBezTo>
                  <a:pt x="78" y="28"/>
                  <a:pt x="84" y="34"/>
                  <a:pt x="86" y="40"/>
                </a:cubicBezTo>
                <a:cubicBezTo>
                  <a:pt x="88" y="45"/>
                  <a:pt x="90" y="53"/>
                  <a:pt x="86" y="56"/>
                </a:cubicBezTo>
                <a:cubicBezTo>
                  <a:pt x="81" y="59"/>
                  <a:pt x="69" y="55"/>
                  <a:pt x="78" y="62"/>
                </a:cubicBezTo>
                <a:cubicBezTo>
                  <a:pt x="88" y="69"/>
                  <a:pt x="92" y="67"/>
                  <a:pt x="97" y="70"/>
                </a:cubicBezTo>
                <a:cubicBezTo>
                  <a:pt x="101" y="74"/>
                  <a:pt x="103" y="73"/>
                  <a:pt x="102" y="79"/>
                </a:cubicBezTo>
                <a:cubicBezTo>
                  <a:pt x="101" y="84"/>
                  <a:pt x="97" y="85"/>
                  <a:pt x="102" y="86"/>
                </a:cubicBezTo>
                <a:cubicBezTo>
                  <a:pt x="106" y="87"/>
                  <a:pt x="110" y="82"/>
                  <a:pt x="110" y="88"/>
                </a:cubicBezTo>
                <a:cubicBezTo>
                  <a:pt x="110" y="94"/>
                  <a:pt x="107" y="97"/>
                  <a:pt x="104" y="102"/>
                </a:cubicBezTo>
                <a:cubicBezTo>
                  <a:pt x="102" y="107"/>
                  <a:pt x="104" y="127"/>
                  <a:pt x="104" y="127"/>
                </a:cubicBezTo>
                <a:cubicBezTo>
                  <a:pt x="104" y="127"/>
                  <a:pt x="83" y="123"/>
                  <a:pt x="75" y="115"/>
                </a:cubicBezTo>
                <a:cubicBezTo>
                  <a:pt x="68" y="107"/>
                  <a:pt x="56" y="95"/>
                  <a:pt x="51" y="93"/>
                </a:cubicBezTo>
                <a:cubicBezTo>
                  <a:pt x="46" y="91"/>
                  <a:pt x="39" y="74"/>
                  <a:pt x="31" y="71"/>
                </a:cubicBezTo>
                <a:cubicBezTo>
                  <a:pt x="23" y="67"/>
                  <a:pt x="10" y="61"/>
                  <a:pt x="0" y="4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1" name="Freeform 667"/>
          <p:cNvSpPr>
            <a:spLocks/>
          </p:cNvSpPr>
          <p:nvPr userDrawn="1"/>
        </p:nvSpPr>
        <p:spPr bwMode="auto">
          <a:xfrm>
            <a:off x="5234368" y="4736632"/>
            <a:ext cx="169184" cy="177560"/>
          </a:xfrm>
          <a:custGeom>
            <a:avLst/>
            <a:gdLst>
              <a:gd name="T0" fmla="*/ 2147483646 w 183"/>
              <a:gd name="T1" fmla="*/ 2147483646 h 190"/>
              <a:gd name="T2" fmla="*/ 2147483646 w 183"/>
              <a:gd name="T3" fmla="*/ 2147483646 h 190"/>
              <a:gd name="T4" fmla="*/ 2147483646 w 183"/>
              <a:gd name="T5" fmla="*/ 2147483646 h 190"/>
              <a:gd name="T6" fmla="*/ 2147483646 w 183"/>
              <a:gd name="T7" fmla="*/ 2147483646 h 190"/>
              <a:gd name="T8" fmla="*/ 2147483646 w 183"/>
              <a:gd name="T9" fmla="*/ 2147483646 h 190"/>
              <a:gd name="T10" fmla="*/ 2147483646 w 183"/>
              <a:gd name="T11" fmla="*/ 2147483646 h 190"/>
              <a:gd name="T12" fmla="*/ 2147483646 w 183"/>
              <a:gd name="T13" fmla="*/ 2147483646 h 190"/>
              <a:gd name="T14" fmla="*/ 2147483646 w 183"/>
              <a:gd name="T15" fmla="*/ 2147483646 h 190"/>
              <a:gd name="T16" fmla="*/ 2147483646 w 183"/>
              <a:gd name="T17" fmla="*/ 2147483646 h 190"/>
              <a:gd name="T18" fmla="*/ 2147483646 w 183"/>
              <a:gd name="T19" fmla="*/ 2147483646 h 190"/>
              <a:gd name="T20" fmla="*/ 2147483646 w 183"/>
              <a:gd name="T21" fmla="*/ 2147483646 h 190"/>
              <a:gd name="T22" fmla="*/ 2147483646 w 183"/>
              <a:gd name="T23" fmla="*/ 2147483646 h 190"/>
              <a:gd name="T24" fmla="*/ 2147483646 w 183"/>
              <a:gd name="T25" fmla="*/ 2147483646 h 190"/>
              <a:gd name="T26" fmla="*/ 2147483646 w 183"/>
              <a:gd name="T27" fmla="*/ 2147483646 h 190"/>
              <a:gd name="T28" fmla="*/ 2147483646 w 183"/>
              <a:gd name="T29" fmla="*/ 2147483646 h 190"/>
              <a:gd name="T30" fmla="*/ 2147483646 w 183"/>
              <a:gd name="T31" fmla="*/ 2147483646 h 190"/>
              <a:gd name="T32" fmla="*/ 2147483646 w 183"/>
              <a:gd name="T33" fmla="*/ 2147483646 h 190"/>
              <a:gd name="T34" fmla="*/ 2147483646 w 183"/>
              <a:gd name="T35" fmla="*/ 2147483646 h 190"/>
              <a:gd name="T36" fmla="*/ 2147483646 w 183"/>
              <a:gd name="T37" fmla="*/ 2147483646 h 190"/>
              <a:gd name="T38" fmla="*/ 2147483646 w 183"/>
              <a:gd name="T39" fmla="*/ 2147483646 h 190"/>
              <a:gd name="T40" fmla="*/ 2147483646 w 183"/>
              <a:gd name="T41" fmla="*/ 2147483646 h 190"/>
              <a:gd name="T42" fmla="*/ 2147483646 w 183"/>
              <a:gd name="T43" fmla="*/ 2147483646 h 190"/>
              <a:gd name="T44" fmla="*/ 2147483646 w 183"/>
              <a:gd name="T45" fmla="*/ 2147483646 h 190"/>
              <a:gd name="T46" fmla="*/ 2147483646 w 183"/>
              <a:gd name="T47" fmla="*/ 2147483646 h 190"/>
              <a:gd name="T48" fmla="*/ 2147483646 w 183"/>
              <a:gd name="T49" fmla="*/ 2147483646 h 190"/>
              <a:gd name="T50" fmla="*/ 2147483646 w 183"/>
              <a:gd name="T51" fmla="*/ 2147483646 h 190"/>
              <a:gd name="T52" fmla="*/ 2147483646 w 183"/>
              <a:gd name="T53" fmla="*/ 2147483646 h 190"/>
              <a:gd name="T54" fmla="*/ 2147483646 w 183"/>
              <a:gd name="T55" fmla="*/ 2147483646 h 190"/>
              <a:gd name="T56" fmla="*/ 2147483646 w 183"/>
              <a:gd name="T57" fmla="*/ 2147483646 h 190"/>
              <a:gd name="T58" fmla="*/ 2147483646 w 183"/>
              <a:gd name="T59" fmla="*/ 2147483646 h 190"/>
              <a:gd name="T60" fmla="*/ 2147483646 w 183"/>
              <a:gd name="T61" fmla="*/ 2147483646 h 190"/>
              <a:gd name="T62" fmla="*/ 2147483646 w 183"/>
              <a:gd name="T63" fmla="*/ 2147483646 h 190"/>
              <a:gd name="T64" fmla="*/ 2147483646 w 183"/>
              <a:gd name="T65" fmla="*/ 2147483646 h 190"/>
              <a:gd name="T66" fmla="*/ 2147483646 w 183"/>
              <a:gd name="T67" fmla="*/ 2147483646 h 190"/>
              <a:gd name="T68" fmla="*/ 2147483646 w 183"/>
              <a:gd name="T69" fmla="*/ 2147483646 h 190"/>
              <a:gd name="T70" fmla="*/ 2147483646 w 183"/>
              <a:gd name="T71" fmla="*/ 2147483646 h 190"/>
              <a:gd name="T72" fmla="*/ 2147483646 w 183"/>
              <a:gd name="T73" fmla="*/ 2147483646 h 190"/>
              <a:gd name="T74" fmla="*/ 2147483646 w 183"/>
              <a:gd name="T75" fmla="*/ 2147483646 h 190"/>
              <a:gd name="T76" fmla="*/ 2147483646 w 183"/>
              <a:gd name="T77" fmla="*/ 2147483646 h 190"/>
              <a:gd name="T78" fmla="*/ 2147483646 w 183"/>
              <a:gd name="T79" fmla="*/ 2147483646 h 190"/>
              <a:gd name="T80" fmla="*/ 2147483646 w 183"/>
              <a:gd name="T81" fmla="*/ 2147483646 h 190"/>
              <a:gd name="T82" fmla="*/ 2147483646 w 183"/>
              <a:gd name="T83" fmla="*/ 2147483646 h 19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3"/>
              <a:gd name="T127" fmla="*/ 0 h 190"/>
              <a:gd name="T128" fmla="*/ 183 w 183"/>
              <a:gd name="T129" fmla="*/ 190 h 190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3" h="190">
                <a:moveTo>
                  <a:pt x="35" y="188"/>
                </a:moveTo>
                <a:cubicBezTo>
                  <a:pt x="35" y="188"/>
                  <a:pt x="33" y="168"/>
                  <a:pt x="35" y="163"/>
                </a:cubicBezTo>
                <a:cubicBezTo>
                  <a:pt x="38" y="158"/>
                  <a:pt x="41" y="155"/>
                  <a:pt x="41" y="149"/>
                </a:cubicBezTo>
                <a:cubicBezTo>
                  <a:pt x="41" y="143"/>
                  <a:pt x="37" y="148"/>
                  <a:pt x="33" y="147"/>
                </a:cubicBezTo>
                <a:cubicBezTo>
                  <a:pt x="28" y="146"/>
                  <a:pt x="32" y="145"/>
                  <a:pt x="33" y="140"/>
                </a:cubicBezTo>
                <a:cubicBezTo>
                  <a:pt x="34" y="134"/>
                  <a:pt x="32" y="135"/>
                  <a:pt x="28" y="131"/>
                </a:cubicBezTo>
                <a:cubicBezTo>
                  <a:pt x="23" y="128"/>
                  <a:pt x="19" y="130"/>
                  <a:pt x="9" y="123"/>
                </a:cubicBezTo>
                <a:cubicBezTo>
                  <a:pt x="0" y="116"/>
                  <a:pt x="12" y="120"/>
                  <a:pt x="17" y="117"/>
                </a:cubicBezTo>
                <a:cubicBezTo>
                  <a:pt x="21" y="114"/>
                  <a:pt x="19" y="106"/>
                  <a:pt x="17" y="101"/>
                </a:cubicBezTo>
                <a:cubicBezTo>
                  <a:pt x="15" y="95"/>
                  <a:pt x="9" y="89"/>
                  <a:pt x="9" y="89"/>
                </a:cubicBezTo>
                <a:cubicBezTo>
                  <a:pt x="12" y="84"/>
                  <a:pt x="22" y="89"/>
                  <a:pt x="23" y="87"/>
                </a:cubicBezTo>
                <a:cubicBezTo>
                  <a:pt x="24" y="85"/>
                  <a:pt x="23" y="77"/>
                  <a:pt x="20" y="74"/>
                </a:cubicBezTo>
                <a:cubicBezTo>
                  <a:pt x="18" y="72"/>
                  <a:pt x="22" y="71"/>
                  <a:pt x="23" y="69"/>
                </a:cubicBezTo>
                <a:cubicBezTo>
                  <a:pt x="24" y="67"/>
                  <a:pt x="26" y="71"/>
                  <a:pt x="26" y="71"/>
                </a:cubicBezTo>
                <a:cubicBezTo>
                  <a:pt x="26" y="71"/>
                  <a:pt x="32" y="74"/>
                  <a:pt x="35" y="75"/>
                </a:cubicBezTo>
                <a:cubicBezTo>
                  <a:pt x="37" y="75"/>
                  <a:pt x="40" y="68"/>
                  <a:pt x="39" y="64"/>
                </a:cubicBezTo>
                <a:cubicBezTo>
                  <a:pt x="38" y="60"/>
                  <a:pt x="33" y="61"/>
                  <a:pt x="28" y="58"/>
                </a:cubicBezTo>
                <a:cubicBezTo>
                  <a:pt x="24" y="54"/>
                  <a:pt x="30" y="56"/>
                  <a:pt x="35" y="54"/>
                </a:cubicBezTo>
                <a:cubicBezTo>
                  <a:pt x="41" y="51"/>
                  <a:pt x="33" y="45"/>
                  <a:pt x="28" y="41"/>
                </a:cubicBezTo>
                <a:cubicBezTo>
                  <a:pt x="23" y="38"/>
                  <a:pt x="27" y="30"/>
                  <a:pt x="26" y="25"/>
                </a:cubicBezTo>
                <a:cubicBezTo>
                  <a:pt x="25" y="21"/>
                  <a:pt x="27" y="18"/>
                  <a:pt x="27" y="18"/>
                </a:cubicBezTo>
                <a:cubicBezTo>
                  <a:pt x="27" y="18"/>
                  <a:pt x="32" y="20"/>
                  <a:pt x="34" y="16"/>
                </a:cubicBezTo>
                <a:cubicBezTo>
                  <a:pt x="35" y="11"/>
                  <a:pt x="38" y="11"/>
                  <a:pt x="41" y="9"/>
                </a:cubicBezTo>
                <a:cubicBezTo>
                  <a:pt x="45" y="7"/>
                  <a:pt x="45" y="20"/>
                  <a:pt x="45" y="20"/>
                </a:cubicBezTo>
                <a:cubicBezTo>
                  <a:pt x="45" y="20"/>
                  <a:pt x="52" y="21"/>
                  <a:pt x="51" y="14"/>
                </a:cubicBezTo>
                <a:cubicBezTo>
                  <a:pt x="50" y="8"/>
                  <a:pt x="56" y="13"/>
                  <a:pt x="60" y="14"/>
                </a:cubicBezTo>
                <a:cubicBezTo>
                  <a:pt x="64" y="16"/>
                  <a:pt x="65" y="16"/>
                  <a:pt x="71" y="5"/>
                </a:cubicBezTo>
                <a:cubicBezTo>
                  <a:pt x="73" y="0"/>
                  <a:pt x="79" y="8"/>
                  <a:pt x="79" y="8"/>
                </a:cubicBezTo>
                <a:cubicBezTo>
                  <a:pt x="79" y="8"/>
                  <a:pt x="76" y="14"/>
                  <a:pt x="75" y="23"/>
                </a:cubicBezTo>
                <a:cubicBezTo>
                  <a:pt x="74" y="32"/>
                  <a:pt x="81" y="24"/>
                  <a:pt x="83" y="20"/>
                </a:cubicBezTo>
                <a:cubicBezTo>
                  <a:pt x="85" y="16"/>
                  <a:pt x="94" y="21"/>
                  <a:pt x="99" y="21"/>
                </a:cubicBezTo>
                <a:cubicBezTo>
                  <a:pt x="99" y="21"/>
                  <a:pt x="111" y="20"/>
                  <a:pt x="114" y="29"/>
                </a:cubicBezTo>
                <a:cubicBezTo>
                  <a:pt x="118" y="39"/>
                  <a:pt x="121" y="46"/>
                  <a:pt x="131" y="39"/>
                </a:cubicBezTo>
                <a:cubicBezTo>
                  <a:pt x="140" y="32"/>
                  <a:pt x="153" y="27"/>
                  <a:pt x="164" y="36"/>
                </a:cubicBezTo>
                <a:cubicBezTo>
                  <a:pt x="175" y="46"/>
                  <a:pt x="174" y="53"/>
                  <a:pt x="173" y="58"/>
                </a:cubicBezTo>
                <a:cubicBezTo>
                  <a:pt x="173" y="63"/>
                  <a:pt x="183" y="68"/>
                  <a:pt x="176" y="80"/>
                </a:cubicBezTo>
                <a:cubicBezTo>
                  <a:pt x="169" y="93"/>
                  <a:pt x="162" y="92"/>
                  <a:pt x="164" y="101"/>
                </a:cubicBezTo>
                <a:cubicBezTo>
                  <a:pt x="165" y="110"/>
                  <a:pt x="156" y="105"/>
                  <a:pt x="157" y="121"/>
                </a:cubicBezTo>
                <a:cubicBezTo>
                  <a:pt x="158" y="137"/>
                  <a:pt x="153" y="137"/>
                  <a:pt x="160" y="147"/>
                </a:cubicBezTo>
                <a:cubicBezTo>
                  <a:pt x="167" y="157"/>
                  <a:pt x="172" y="170"/>
                  <a:pt x="166" y="171"/>
                </a:cubicBezTo>
                <a:cubicBezTo>
                  <a:pt x="166" y="171"/>
                  <a:pt x="110" y="157"/>
                  <a:pt x="76" y="173"/>
                </a:cubicBezTo>
                <a:cubicBezTo>
                  <a:pt x="41" y="190"/>
                  <a:pt x="35" y="188"/>
                  <a:pt x="35" y="18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2" name="Freeform 668"/>
          <p:cNvSpPr>
            <a:spLocks/>
          </p:cNvSpPr>
          <p:nvPr userDrawn="1"/>
        </p:nvSpPr>
        <p:spPr bwMode="auto">
          <a:xfrm>
            <a:off x="5321472" y="4624401"/>
            <a:ext cx="209387" cy="154108"/>
          </a:xfrm>
          <a:custGeom>
            <a:avLst/>
            <a:gdLst>
              <a:gd name="T0" fmla="*/ 2147483646 w 225"/>
              <a:gd name="T1" fmla="*/ 2147483646 h 166"/>
              <a:gd name="T2" fmla="*/ 2147483646 w 225"/>
              <a:gd name="T3" fmla="*/ 2147483646 h 166"/>
              <a:gd name="T4" fmla="*/ 2147483646 w 225"/>
              <a:gd name="T5" fmla="*/ 2147483646 h 166"/>
              <a:gd name="T6" fmla="*/ 2147483646 w 225"/>
              <a:gd name="T7" fmla="*/ 2147483646 h 166"/>
              <a:gd name="T8" fmla="*/ 2147483646 w 225"/>
              <a:gd name="T9" fmla="*/ 2147483646 h 166"/>
              <a:gd name="T10" fmla="*/ 2147483646 w 225"/>
              <a:gd name="T11" fmla="*/ 2147483646 h 166"/>
              <a:gd name="T12" fmla="*/ 2147483646 w 225"/>
              <a:gd name="T13" fmla="*/ 2147483646 h 166"/>
              <a:gd name="T14" fmla="*/ 2147483646 w 225"/>
              <a:gd name="T15" fmla="*/ 2147483646 h 166"/>
              <a:gd name="T16" fmla="*/ 2147483646 w 225"/>
              <a:gd name="T17" fmla="*/ 2147483646 h 166"/>
              <a:gd name="T18" fmla="*/ 2147483646 w 225"/>
              <a:gd name="T19" fmla="*/ 2147483646 h 166"/>
              <a:gd name="T20" fmla="*/ 2147483646 w 225"/>
              <a:gd name="T21" fmla="*/ 2147483646 h 166"/>
              <a:gd name="T22" fmla="*/ 2147483646 w 225"/>
              <a:gd name="T23" fmla="*/ 2147483646 h 166"/>
              <a:gd name="T24" fmla="*/ 2147483646 w 225"/>
              <a:gd name="T25" fmla="*/ 2147483646 h 166"/>
              <a:gd name="T26" fmla="*/ 2147483646 w 225"/>
              <a:gd name="T27" fmla="*/ 2147483646 h 166"/>
              <a:gd name="T28" fmla="*/ 2147483646 w 225"/>
              <a:gd name="T29" fmla="*/ 2147483646 h 166"/>
              <a:gd name="T30" fmla="*/ 2147483646 w 225"/>
              <a:gd name="T31" fmla="*/ 2147483646 h 166"/>
              <a:gd name="T32" fmla="*/ 2147483646 w 225"/>
              <a:gd name="T33" fmla="*/ 2147483646 h 166"/>
              <a:gd name="T34" fmla="*/ 2147483646 w 225"/>
              <a:gd name="T35" fmla="*/ 2147483646 h 166"/>
              <a:gd name="T36" fmla="*/ 2147483646 w 225"/>
              <a:gd name="T37" fmla="*/ 2147483646 h 166"/>
              <a:gd name="T38" fmla="*/ 2147483646 w 225"/>
              <a:gd name="T39" fmla="*/ 2147483646 h 166"/>
              <a:gd name="T40" fmla="*/ 2147483646 w 225"/>
              <a:gd name="T41" fmla="*/ 2147483646 h 166"/>
              <a:gd name="T42" fmla="*/ 2147483646 w 225"/>
              <a:gd name="T43" fmla="*/ 2147483646 h 166"/>
              <a:gd name="T44" fmla="*/ 2147483646 w 225"/>
              <a:gd name="T45" fmla="*/ 2147483646 h 166"/>
              <a:gd name="T46" fmla="*/ 2147483646 w 225"/>
              <a:gd name="T47" fmla="*/ 2147483646 h 166"/>
              <a:gd name="T48" fmla="*/ 2147483646 w 225"/>
              <a:gd name="T49" fmla="*/ 2147483646 h 166"/>
              <a:gd name="T50" fmla="*/ 2147483646 w 225"/>
              <a:gd name="T51" fmla="*/ 2147483646 h 166"/>
              <a:gd name="T52" fmla="*/ 2147483646 w 225"/>
              <a:gd name="T53" fmla="*/ 2147483646 h 166"/>
              <a:gd name="T54" fmla="*/ 2147483646 w 225"/>
              <a:gd name="T55" fmla="*/ 2147483646 h 166"/>
              <a:gd name="T56" fmla="*/ 2147483646 w 225"/>
              <a:gd name="T57" fmla="*/ 2147483646 h 166"/>
              <a:gd name="T58" fmla="*/ 2147483646 w 225"/>
              <a:gd name="T59" fmla="*/ 2147483646 h 166"/>
              <a:gd name="T60" fmla="*/ 2147483646 w 225"/>
              <a:gd name="T61" fmla="*/ 2147483646 h 166"/>
              <a:gd name="T62" fmla="*/ 2147483646 w 225"/>
              <a:gd name="T63" fmla="*/ 2147483646 h 166"/>
              <a:gd name="T64" fmla="*/ 2147483646 w 225"/>
              <a:gd name="T65" fmla="*/ 2147483646 h 166"/>
              <a:gd name="T66" fmla="*/ 2147483646 w 225"/>
              <a:gd name="T67" fmla="*/ 2147483646 h 166"/>
              <a:gd name="T68" fmla="*/ 2147483646 w 225"/>
              <a:gd name="T69" fmla="*/ 2147483646 h 166"/>
              <a:gd name="T70" fmla="*/ 2147483646 w 225"/>
              <a:gd name="T71" fmla="*/ 2147483646 h 166"/>
              <a:gd name="T72" fmla="*/ 2147483646 w 225"/>
              <a:gd name="T73" fmla="*/ 2147483646 h 166"/>
              <a:gd name="T74" fmla="*/ 2147483646 w 225"/>
              <a:gd name="T75" fmla="*/ 2147483646 h 166"/>
              <a:gd name="T76" fmla="*/ 2147483646 w 225"/>
              <a:gd name="T77" fmla="*/ 2147483646 h 166"/>
              <a:gd name="T78" fmla="*/ 2147483646 w 225"/>
              <a:gd name="T79" fmla="*/ 2147483646 h 166"/>
              <a:gd name="T80" fmla="*/ 2147483646 w 225"/>
              <a:gd name="T81" fmla="*/ 2147483646 h 166"/>
              <a:gd name="T82" fmla="*/ 2147483646 w 225"/>
              <a:gd name="T83" fmla="*/ 2147483646 h 166"/>
              <a:gd name="T84" fmla="*/ 2147483646 w 225"/>
              <a:gd name="T85" fmla="*/ 2147483646 h 166"/>
              <a:gd name="T86" fmla="*/ 2147483646 w 225"/>
              <a:gd name="T87" fmla="*/ 2147483646 h 166"/>
              <a:gd name="T88" fmla="*/ 2147483646 w 225"/>
              <a:gd name="T89" fmla="*/ 2147483646 h 166"/>
              <a:gd name="T90" fmla="*/ 2147483646 w 225"/>
              <a:gd name="T91" fmla="*/ 2147483646 h 16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25"/>
              <a:gd name="T139" fmla="*/ 0 h 166"/>
              <a:gd name="T140" fmla="*/ 225 w 225"/>
              <a:gd name="T141" fmla="*/ 166 h 16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25" h="166">
                <a:moveTo>
                  <a:pt x="168" y="9"/>
                </a:moveTo>
                <a:cubicBezTo>
                  <a:pt x="157" y="4"/>
                  <a:pt x="146" y="0"/>
                  <a:pt x="141" y="7"/>
                </a:cubicBezTo>
                <a:cubicBezTo>
                  <a:pt x="133" y="18"/>
                  <a:pt x="128" y="21"/>
                  <a:pt x="122" y="21"/>
                </a:cubicBezTo>
                <a:cubicBezTo>
                  <a:pt x="115" y="21"/>
                  <a:pt x="110" y="20"/>
                  <a:pt x="110" y="23"/>
                </a:cubicBezTo>
                <a:cubicBezTo>
                  <a:pt x="110" y="27"/>
                  <a:pt x="105" y="32"/>
                  <a:pt x="101" y="33"/>
                </a:cubicBezTo>
                <a:cubicBezTo>
                  <a:pt x="97" y="34"/>
                  <a:pt x="86" y="37"/>
                  <a:pt x="86" y="37"/>
                </a:cubicBezTo>
                <a:cubicBezTo>
                  <a:pt x="86" y="37"/>
                  <a:pt x="78" y="38"/>
                  <a:pt x="77" y="41"/>
                </a:cubicBezTo>
                <a:cubicBezTo>
                  <a:pt x="76" y="44"/>
                  <a:pt x="75" y="56"/>
                  <a:pt x="75" y="56"/>
                </a:cubicBezTo>
                <a:cubicBezTo>
                  <a:pt x="75" y="56"/>
                  <a:pt x="69" y="62"/>
                  <a:pt x="66" y="58"/>
                </a:cubicBezTo>
                <a:cubicBezTo>
                  <a:pt x="63" y="53"/>
                  <a:pt x="60" y="54"/>
                  <a:pt x="57" y="52"/>
                </a:cubicBezTo>
                <a:cubicBezTo>
                  <a:pt x="54" y="50"/>
                  <a:pt x="56" y="41"/>
                  <a:pt x="50" y="44"/>
                </a:cubicBezTo>
                <a:cubicBezTo>
                  <a:pt x="45" y="48"/>
                  <a:pt x="42" y="51"/>
                  <a:pt x="43" y="54"/>
                </a:cubicBezTo>
                <a:cubicBezTo>
                  <a:pt x="44" y="58"/>
                  <a:pt x="50" y="59"/>
                  <a:pt x="47" y="65"/>
                </a:cubicBezTo>
                <a:cubicBezTo>
                  <a:pt x="44" y="72"/>
                  <a:pt x="37" y="71"/>
                  <a:pt x="37" y="71"/>
                </a:cubicBezTo>
                <a:cubicBezTo>
                  <a:pt x="34" y="80"/>
                  <a:pt x="33" y="90"/>
                  <a:pt x="27" y="90"/>
                </a:cubicBezTo>
                <a:cubicBezTo>
                  <a:pt x="22" y="90"/>
                  <a:pt x="15" y="85"/>
                  <a:pt x="12" y="92"/>
                </a:cubicBezTo>
                <a:cubicBezTo>
                  <a:pt x="9" y="98"/>
                  <a:pt x="12" y="104"/>
                  <a:pt x="12" y="109"/>
                </a:cubicBezTo>
                <a:cubicBezTo>
                  <a:pt x="12" y="115"/>
                  <a:pt x="11" y="114"/>
                  <a:pt x="7" y="119"/>
                </a:cubicBezTo>
                <a:cubicBezTo>
                  <a:pt x="2" y="125"/>
                  <a:pt x="0" y="127"/>
                  <a:pt x="3" y="130"/>
                </a:cubicBezTo>
                <a:cubicBezTo>
                  <a:pt x="7" y="133"/>
                  <a:pt x="11" y="141"/>
                  <a:pt x="5" y="141"/>
                </a:cubicBezTo>
                <a:cubicBezTo>
                  <a:pt x="5" y="141"/>
                  <a:pt x="17" y="140"/>
                  <a:pt x="20" y="149"/>
                </a:cubicBezTo>
                <a:cubicBezTo>
                  <a:pt x="24" y="159"/>
                  <a:pt x="27" y="166"/>
                  <a:pt x="37" y="159"/>
                </a:cubicBezTo>
                <a:cubicBezTo>
                  <a:pt x="46" y="152"/>
                  <a:pt x="59" y="147"/>
                  <a:pt x="70" y="156"/>
                </a:cubicBezTo>
                <a:cubicBezTo>
                  <a:pt x="74" y="160"/>
                  <a:pt x="77" y="163"/>
                  <a:pt x="78" y="166"/>
                </a:cubicBezTo>
                <a:cubicBezTo>
                  <a:pt x="78" y="166"/>
                  <a:pt x="82" y="161"/>
                  <a:pt x="80" y="154"/>
                </a:cubicBezTo>
                <a:cubicBezTo>
                  <a:pt x="77" y="146"/>
                  <a:pt x="73" y="133"/>
                  <a:pt x="74" y="130"/>
                </a:cubicBezTo>
                <a:cubicBezTo>
                  <a:pt x="75" y="127"/>
                  <a:pt x="77" y="122"/>
                  <a:pt x="81" y="120"/>
                </a:cubicBezTo>
                <a:cubicBezTo>
                  <a:pt x="85" y="117"/>
                  <a:pt x="86" y="109"/>
                  <a:pt x="92" y="116"/>
                </a:cubicBezTo>
                <a:cubicBezTo>
                  <a:pt x="98" y="124"/>
                  <a:pt x="101" y="126"/>
                  <a:pt x="105" y="125"/>
                </a:cubicBezTo>
                <a:cubicBezTo>
                  <a:pt x="110" y="123"/>
                  <a:pt x="110" y="121"/>
                  <a:pt x="119" y="121"/>
                </a:cubicBezTo>
                <a:cubicBezTo>
                  <a:pt x="128" y="121"/>
                  <a:pt x="138" y="126"/>
                  <a:pt x="142" y="123"/>
                </a:cubicBezTo>
                <a:cubicBezTo>
                  <a:pt x="147" y="120"/>
                  <a:pt x="149" y="115"/>
                  <a:pt x="158" y="120"/>
                </a:cubicBezTo>
                <a:cubicBezTo>
                  <a:pt x="166" y="126"/>
                  <a:pt x="168" y="127"/>
                  <a:pt x="175" y="127"/>
                </a:cubicBezTo>
                <a:cubicBezTo>
                  <a:pt x="181" y="127"/>
                  <a:pt x="183" y="125"/>
                  <a:pt x="185" y="122"/>
                </a:cubicBezTo>
                <a:cubicBezTo>
                  <a:pt x="187" y="120"/>
                  <a:pt x="200" y="111"/>
                  <a:pt x="207" y="112"/>
                </a:cubicBezTo>
                <a:cubicBezTo>
                  <a:pt x="214" y="114"/>
                  <a:pt x="222" y="105"/>
                  <a:pt x="223" y="100"/>
                </a:cubicBezTo>
                <a:cubicBezTo>
                  <a:pt x="225" y="95"/>
                  <a:pt x="220" y="95"/>
                  <a:pt x="217" y="90"/>
                </a:cubicBezTo>
                <a:cubicBezTo>
                  <a:pt x="214" y="84"/>
                  <a:pt x="221" y="77"/>
                  <a:pt x="215" y="77"/>
                </a:cubicBezTo>
                <a:cubicBezTo>
                  <a:pt x="210" y="77"/>
                  <a:pt x="208" y="75"/>
                  <a:pt x="204" y="77"/>
                </a:cubicBezTo>
                <a:cubicBezTo>
                  <a:pt x="200" y="78"/>
                  <a:pt x="189" y="77"/>
                  <a:pt x="188" y="71"/>
                </a:cubicBezTo>
                <a:cubicBezTo>
                  <a:pt x="188" y="66"/>
                  <a:pt x="184" y="63"/>
                  <a:pt x="187" y="62"/>
                </a:cubicBezTo>
                <a:cubicBezTo>
                  <a:pt x="191" y="62"/>
                  <a:pt x="194" y="61"/>
                  <a:pt x="192" y="59"/>
                </a:cubicBezTo>
                <a:cubicBezTo>
                  <a:pt x="191" y="56"/>
                  <a:pt x="188" y="58"/>
                  <a:pt x="182" y="52"/>
                </a:cubicBezTo>
                <a:cubicBezTo>
                  <a:pt x="177" y="46"/>
                  <a:pt x="166" y="32"/>
                  <a:pt x="166" y="29"/>
                </a:cubicBezTo>
                <a:cubicBezTo>
                  <a:pt x="167" y="26"/>
                  <a:pt x="165" y="19"/>
                  <a:pt x="165" y="19"/>
                </a:cubicBezTo>
                <a:lnTo>
                  <a:pt x="168" y="9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3" name="Freeform 669"/>
          <p:cNvSpPr>
            <a:spLocks/>
          </p:cNvSpPr>
          <p:nvPr userDrawn="1"/>
        </p:nvSpPr>
        <p:spPr bwMode="auto">
          <a:xfrm>
            <a:off x="5376750" y="4724905"/>
            <a:ext cx="118932" cy="185936"/>
          </a:xfrm>
          <a:custGeom>
            <a:avLst/>
            <a:gdLst>
              <a:gd name="T0" fmla="*/ 2147483646 w 128"/>
              <a:gd name="T1" fmla="*/ 2147483646 h 199"/>
              <a:gd name="T2" fmla="*/ 2147483646 w 128"/>
              <a:gd name="T3" fmla="*/ 2147483646 h 199"/>
              <a:gd name="T4" fmla="*/ 2147483646 w 128"/>
              <a:gd name="T5" fmla="*/ 2147483646 h 199"/>
              <a:gd name="T6" fmla="*/ 2147483646 w 128"/>
              <a:gd name="T7" fmla="*/ 2147483646 h 199"/>
              <a:gd name="T8" fmla="*/ 2147483646 w 128"/>
              <a:gd name="T9" fmla="*/ 2147483646 h 199"/>
              <a:gd name="T10" fmla="*/ 2147483646 w 128"/>
              <a:gd name="T11" fmla="*/ 2147483646 h 199"/>
              <a:gd name="T12" fmla="*/ 2147483646 w 128"/>
              <a:gd name="T13" fmla="*/ 2147483646 h 199"/>
              <a:gd name="T14" fmla="*/ 2147483646 w 128"/>
              <a:gd name="T15" fmla="*/ 2147483646 h 199"/>
              <a:gd name="T16" fmla="*/ 2147483646 w 128"/>
              <a:gd name="T17" fmla="*/ 2147483646 h 199"/>
              <a:gd name="T18" fmla="*/ 2147483646 w 128"/>
              <a:gd name="T19" fmla="*/ 2147483646 h 199"/>
              <a:gd name="T20" fmla="*/ 2147483646 w 128"/>
              <a:gd name="T21" fmla="*/ 2147483646 h 199"/>
              <a:gd name="T22" fmla="*/ 2147483646 w 128"/>
              <a:gd name="T23" fmla="*/ 2147483646 h 199"/>
              <a:gd name="T24" fmla="*/ 2147483646 w 128"/>
              <a:gd name="T25" fmla="*/ 2147483646 h 199"/>
              <a:gd name="T26" fmla="*/ 2147483646 w 128"/>
              <a:gd name="T27" fmla="*/ 2147483646 h 199"/>
              <a:gd name="T28" fmla="*/ 2147483646 w 128"/>
              <a:gd name="T29" fmla="*/ 2147483646 h 199"/>
              <a:gd name="T30" fmla="*/ 2147483646 w 128"/>
              <a:gd name="T31" fmla="*/ 2147483646 h 199"/>
              <a:gd name="T32" fmla="*/ 2147483646 w 128"/>
              <a:gd name="T33" fmla="*/ 2147483646 h 199"/>
              <a:gd name="T34" fmla="*/ 2147483646 w 128"/>
              <a:gd name="T35" fmla="*/ 2147483646 h 199"/>
              <a:gd name="T36" fmla="*/ 2147483646 w 128"/>
              <a:gd name="T37" fmla="*/ 2147483646 h 199"/>
              <a:gd name="T38" fmla="*/ 2147483646 w 128"/>
              <a:gd name="T39" fmla="*/ 2147483646 h 199"/>
              <a:gd name="T40" fmla="*/ 2147483646 w 128"/>
              <a:gd name="T41" fmla="*/ 2147483646 h 199"/>
              <a:gd name="T42" fmla="*/ 2147483646 w 128"/>
              <a:gd name="T43" fmla="*/ 2147483646 h 199"/>
              <a:gd name="T44" fmla="*/ 2147483646 w 128"/>
              <a:gd name="T45" fmla="*/ 2147483646 h 199"/>
              <a:gd name="T46" fmla="*/ 2147483646 w 128"/>
              <a:gd name="T47" fmla="*/ 2147483646 h 199"/>
              <a:gd name="T48" fmla="*/ 2147483646 w 128"/>
              <a:gd name="T49" fmla="*/ 2147483646 h 199"/>
              <a:gd name="T50" fmla="*/ 2147483646 w 128"/>
              <a:gd name="T51" fmla="*/ 2147483646 h 199"/>
              <a:gd name="T52" fmla="*/ 2147483646 w 128"/>
              <a:gd name="T53" fmla="*/ 2147483646 h 199"/>
              <a:gd name="T54" fmla="*/ 2147483646 w 128"/>
              <a:gd name="T55" fmla="*/ 2147483646 h 199"/>
              <a:gd name="T56" fmla="*/ 2147483646 w 128"/>
              <a:gd name="T57" fmla="*/ 2147483646 h 199"/>
              <a:gd name="T58" fmla="*/ 2147483646 w 128"/>
              <a:gd name="T59" fmla="*/ 2147483646 h 199"/>
              <a:gd name="T60" fmla="*/ 2147483646 w 128"/>
              <a:gd name="T61" fmla="*/ 2147483646 h 199"/>
              <a:gd name="T62" fmla="*/ 2147483646 w 128"/>
              <a:gd name="T63" fmla="*/ 2147483646 h 1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8"/>
              <a:gd name="T97" fmla="*/ 0 h 199"/>
              <a:gd name="T98" fmla="*/ 128 w 128"/>
              <a:gd name="T99" fmla="*/ 199 h 19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8" h="199">
                <a:moveTo>
                  <a:pt x="98" y="12"/>
                </a:moveTo>
                <a:cubicBezTo>
                  <a:pt x="90" y="7"/>
                  <a:pt x="87" y="12"/>
                  <a:pt x="83" y="15"/>
                </a:cubicBezTo>
                <a:cubicBezTo>
                  <a:pt x="79" y="17"/>
                  <a:pt x="69" y="13"/>
                  <a:pt x="60" y="13"/>
                </a:cubicBezTo>
                <a:cubicBezTo>
                  <a:pt x="51" y="13"/>
                  <a:pt x="51" y="15"/>
                  <a:pt x="46" y="16"/>
                </a:cubicBezTo>
                <a:cubicBezTo>
                  <a:pt x="42" y="17"/>
                  <a:pt x="39" y="16"/>
                  <a:pt x="33" y="8"/>
                </a:cubicBezTo>
                <a:cubicBezTo>
                  <a:pt x="26" y="0"/>
                  <a:pt x="26" y="9"/>
                  <a:pt x="22" y="11"/>
                </a:cubicBezTo>
                <a:cubicBezTo>
                  <a:pt x="18" y="14"/>
                  <a:pt x="16" y="19"/>
                  <a:pt x="15" y="22"/>
                </a:cubicBezTo>
                <a:cubicBezTo>
                  <a:pt x="14" y="25"/>
                  <a:pt x="18" y="38"/>
                  <a:pt x="20" y="46"/>
                </a:cubicBezTo>
                <a:cubicBezTo>
                  <a:pt x="23" y="53"/>
                  <a:pt x="19" y="58"/>
                  <a:pt x="19" y="58"/>
                </a:cubicBezTo>
                <a:cubicBezTo>
                  <a:pt x="19" y="59"/>
                  <a:pt x="19" y="59"/>
                  <a:pt x="19" y="59"/>
                </a:cubicBezTo>
                <a:cubicBezTo>
                  <a:pt x="21" y="63"/>
                  <a:pt x="20" y="67"/>
                  <a:pt x="20" y="70"/>
                </a:cubicBezTo>
                <a:cubicBezTo>
                  <a:pt x="19" y="75"/>
                  <a:pt x="30" y="80"/>
                  <a:pt x="23" y="92"/>
                </a:cubicBezTo>
                <a:cubicBezTo>
                  <a:pt x="16" y="105"/>
                  <a:pt x="9" y="104"/>
                  <a:pt x="11" y="113"/>
                </a:cubicBezTo>
                <a:cubicBezTo>
                  <a:pt x="12" y="122"/>
                  <a:pt x="3" y="117"/>
                  <a:pt x="4" y="133"/>
                </a:cubicBezTo>
                <a:cubicBezTo>
                  <a:pt x="5" y="149"/>
                  <a:pt x="0" y="149"/>
                  <a:pt x="7" y="159"/>
                </a:cubicBezTo>
                <a:cubicBezTo>
                  <a:pt x="14" y="169"/>
                  <a:pt x="19" y="182"/>
                  <a:pt x="13" y="183"/>
                </a:cubicBezTo>
                <a:cubicBezTo>
                  <a:pt x="13" y="183"/>
                  <a:pt x="19" y="189"/>
                  <a:pt x="23" y="189"/>
                </a:cubicBezTo>
                <a:cubicBezTo>
                  <a:pt x="26" y="188"/>
                  <a:pt x="31" y="199"/>
                  <a:pt x="37" y="194"/>
                </a:cubicBezTo>
                <a:cubicBezTo>
                  <a:pt x="43" y="189"/>
                  <a:pt x="43" y="186"/>
                  <a:pt x="51" y="183"/>
                </a:cubicBezTo>
                <a:cubicBezTo>
                  <a:pt x="58" y="179"/>
                  <a:pt x="82" y="178"/>
                  <a:pt x="88" y="174"/>
                </a:cubicBezTo>
                <a:cubicBezTo>
                  <a:pt x="94" y="171"/>
                  <a:pt x="94" y="164"/>
                  <a:pt x="94" y="162"/>
                </a:cubicBezTo>
                <a:cubicBezTo>
                  <a:pt x="94" y="159"/>
                  <a:pt x="93" y="152"/>
                  <a:pt x="99" y="156"/>
                </a:cubicBezTo>
                <a:cubicBezTo>
                  <a:pt x="104" y="159"/>
                  <a:pt x="109" y="169"/>
                  <a:pt x="114" y="167"/>
                </a:cubicBezTo>
                <a:cubicBezTo>
                  <a:pt x="120" y="165"/>
                  <a:pt x="127" y="160"/>
                  <a:pt x="128" y="158"/>
                </a:cubicBezTo>
                <a:cubicBezTo>
                  <a:pt x="128" y="158"/>
                  <a:pt x="110" y="151"/>
                  <a:pt x="108" y="140"/>
                </a:cubicBezTo>
                <a:cubicBezTo>
                  <a:pt x="106" y="129"/>
                  <a:pt x="109" y="118"/>
                  <a:pt x="110" y="111"/>
                </a:cubicBezTo>
                <a:cubicBezTo>
                  <a:pt x="111" y="104"/>
                  <a:pt x="111" y="96"/>
                  <a:pt x="108" y="93"/>
                </a:cubicBezTo>
                <a:cubicBezTo>
                  <a:pt x="105" y="90"/>
                  <a:pt x="101" y="89"/>
                  <a:pt x="102" y="81"/>
                </a:cubicBezTo>
                <a:cubicBezTo>
                  <a:pt x="102" y="74"/>
                  <a:pt x="105" y="70"/>
                  <a:pt x="104" y="62"/>
                </a:cubicBezTo>
                <a:cubicBezTo>
                  <a:pt x="102" y="54"/>
                  <a:pt x="105" y="56"/>
                  <a:pt x="107" y="49"/>
                </a:cubicBezTo>
                <a:cubicBezTo>
                  <a:pt x="109" y="41"/>
                  <a:pt x="109" y="31"/>
                  <a:pt x="100" y="29"/>
                </a:cubicBezTo>
                <a:cubicBezTo>
                  <a:pt x="91" y="28"/>
                  <a:pt x="98" y="12"/>
                  <a:pt x="98" y="1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4" name="Freeform 670"/>
          <p:cNvSpPr>
            <a:spLocks/>
          </p:cNvSpPr>
          <p:nvPr userDrawn="1"/>
        </p:nvSpPr>
        <p:spPr bwMode="auto">
          <a:xfrm>
            <a:off x="5460504" y="4736633"/>
            <a:ext cx="50253" cy="135681"/>
          </a:xfrm>
          <a:custGeom>
            <a:avLst/>
            <a:gdLst>
              <a:gd name="T0" fmla="*/ 2147483646 w 53"/>
              <a:gd name="T1" fmla="*/ 2147483646 h 146"/>
              <a:gd name="T2" fmla="*/ 2147483646 w 53"/>
              <a:gd name="T3" fmla="*/ 2147483646 h 146"/>
              <a:gd name="T4" fmla="*/ 2147483646 w 53"/>
              <a:gd name="T5" fmla="*/ 2147483646 h 146"/>
              <a:gd name="T6" fmla="*/ 2147483646 w 53"/>
              <a:gd name="T7" fmla="*/ 2147483646 h 146"/>
              <a:gd name="T8" fmla="*/ 2147483646 w 53"/>
              <a:gd name="T9" fmla="*/ 2147483646 h 146"/>
              <a:gd name="T10" fmla="*/ 2147483646 w 53"/>
              <a:gd name="T11" fmla="*/ 2147483646 h 146"/>
              <a:gd name="T12" fmla="*/ 2147483646 w 53"/>
              <a:gd name="T13" fmla="*/ 2147483646 h 146"/>
              <a:gd name="T14" fmla="*/ 2147483646 w 53"/>
              <a:gd name="T15" fmla="*/ 2147483646 h 146"/>
              <a:gd name="T16" fmla="*/ 2147483646 w 53"/>
              <a:gd name="T17" fmla="*/ 0 h 146"/>
              <a:gd name="T18" fmla="*/ 2147483646 w 53"/>
              <a:gd name="T19" fmla="*/ 0 h 146"/>
              <a:gd name="T20" fmla="*/ 2147483646 w 53"/>
              <a:gd name="T21" fmla="*/ 2147483646 h 146"/>
              <a:gd name="T22" fmla="*/ 2147483646 w 53"/>
              <a:gd name="T23" fmla="*/ 2147483646 h 146"/>
              <a:gd name="T24" fmla="*/ 2147483646 w 53"/>
              <a:gd name="T25" fmla="*/ 2147483646 h 146"/>
              <a:gd name="T26" fmla="*/ 2147483646 w 53"/>
              <a:gd name="T27" fmla="*/ 2147483646 h 146"/>
              <a:gd name="T28" fmla="*/ 2147483646 w 53"/>
              <a:gd name="T29" fmla="*/ 2147483646 h 146"/>
              <a:gd name="T30" fmla="*/ 2147483646 w 53"/>
              <a:gd name="T31" fmla="*/ 2147483646 h 146"/>
              <a:gd name="T32" fmla="*/ 2147483646 w 53"/>
              <a:gd name="T33" fmla="*/ 2147483646 h 146"/>
              <a:gd name="T34" fmla="*/ 2147483646 w 53"/>
              <a:gd name="T35" fmla="*/ 2147483646 h 146"/>
              <a:gd name="T36" fmla="*/ 2147483646 w 53"/>
              <a:gd name="T37" fmla="*/ 2147483646 h 146"/>
              <a:gd name="T38" fmla="*/ 2147483646 w 53"/>
              <a:gd name="T39" fmla="*/ 2147483646 h 14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53"/>
              <a:gd name="T61" fmla="*/ 0 h 146"/>
              <a:gd name="T62" fmla="*/ 53 w 53"/>
              <a:gd name="T63" fmla="*/ 146 h 14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53" h="146">
                <a:moveTo>
                  <a:pt x="37" y="146"/>
                </a:moveTo>
                <a:cubicBezTo>
                  <a:pt x="37" y="146"/>
                  <a:pt x="19" y="139"/>
                  <a:pt x="17" y="128"/>
                </a:cubicBezTo>
                <a:cubicBezTo>
                  <a:pt x="15" y="117"/>
                  <a:pt x="18" y="106"/>
                  <a:pt x="19" y="99"/>
                </a:cubicBezTo>
                <a:cubicBezTo>
                  <a:pt x="20" y="92"/>
                  <a:pt x="20" y="84"/>
                  <a:pt x="17" y="81"/>
                </a:cubicBezTo>
                <a:cubicBezTo>
                  <a:pt x="14" y="78"/>
                  <a:pt x="10" y="77"/>
                  <a:pt x="11" y="69"/>
                </a:cubicBezTo>
                <a:cubicBezTo>
                  <a:pt x="11" y="62"/>
                  <a:pt x="14" y="58"/>
                  <a:pt x="13" y="50"/>
                </a:cubicBezTo>
                <a:cubicBezTo>
                  <a:pt x="11" y="42"/>
                  <a:pt x="14" y="44"/>
                  <a:pt x="16" y="37"/>
                </a:cubicBezTo>
                <a:cubicBezTo>
                  <a:pt x="18" y="29"/>
                  <a:pt x="18" y="19"/>
                  <a:pt x="9" y="17"/>
                </a:cubicBezTo>
                <a:cubicBezTo>
                  <a:pt x="0" y="16"/>
                  <a:pt x="7" y="0"/>
                  <a:pt x="7" y="0"/>
                </a:cubicBezTo>
                <a:cubicBezTo>
                  <a:pt x="8" y="0"/>
                  <a:pt x="8" y="0"/>
                  <a:pt x="8" y="0"/>
                </a:cubicBezTo>
                <a:cubicBezTo>
                  <a:pt x="16" y="6"/>
                  <a:pt x="18" y="7"/>
                  <a:pt x="25" y="7"/>
                </a:cubicBezTo>
                <a:cubicBezTo>
                  <a:pt x="25" y="7"/>
                  <a:pt x="22" y="18"/>
                  <a:pt x="28" y="22"/>
                </a:cubicBezTo>
                <a:cubicBezTo>
                  <a:pt x="33" y="27"/>
                  <a:pt x="42" y="31"/>
                  <a:pt x="42" y="38"/>
                </a:cubicBezTo>
                <a:cubicBezTo>
                  <a:pt x="43" y="45"/>
                  <a:pt x="40" y="51"/>
                  <a:pt x="44" y="57"/>
                </a:cubicBezTo>
                <a:cubicBezTo>
                  <a:pt x="48" y="62"/>
                  <a:pt x="53" y="62"/>
                  <a:pt x="52" y="69"/>
                </a:cubicBezTo>
                <a:cubicBezTo>
                  <a:pt x="50" y="77"/>
                  <a:pt x="47" y="70"/>
                  <a:pt x="48" y="82"/>
                </a:cubicBezTo>
                <a:cubicBezTo>
                  <a:pt x="50" y="94"/>
                  <a:pt x="50" y="115"/>
                  <a:pt x="49" y="118"/>
                </a:cubicBezTo>
                <a:cubicBezTo>
                  <a:pt x="48" y="121"/>
                  <a:pt x="45" y="127"/>
                  <a:pt x="48" y="130"/>
                </a:cubicBezTo>
                <a:cubicBezTo>
                  <a:pt x="51" y="134"/>
                  <a:pt x="52" y="143"/>
                  <a:pt x="52" y="143"/>
                </a:cubicBezTo>
                <a:cubicBezTo>
                  <a:pt x="52" y="143"/>
                  <a:pt x="44" y="139"/>
                  <a:pt x="37" y="14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5" name="Freeform 671"/>
          <p:cNvSpPr>
            <a:spLocks/>
          </p:cNvSpPr>
          <p:nvPr userDrawn="1"/>
        </p:nvSpPr>
        <p:spPr bwMode="auto">
          <a:xfrm>
            <a:off x="5482282" y="4701455"/>
            <a:ext cx="85429" cy="167509"/>
          </a:xfrm>
          <a:custGeom>
            <a:avLst/>
            <a:gdLst>
              <a:gd name="T0" fmla="*/ 2147483646 w 92"/>
              <a:gd name="T1" fmla="*/ 2147483646 h 181"/>
              <a:gd name="T2" fmla="*/ 2147483646 w 92"/>
              <a:gd name="T3" fmla="*/ 2147483646 h 181"/>
              <a:gd name="T4" fmla="*/ 2147483646 w 92"/>
              <a:gd name="T5" fmla="*/ 2147483646 h 181"/>
              <a:gd name="T6" fmla="*/ 2147483646 w 92"/>
              <a:gd name="T7" fmla="*/ 2147483646 h 181"/>
              <a:gd name="T8" fmla="*/ 2147483646 w 92"/>
              <a:gd name="T9" fmla="*/ 2147483646 h 181"/>
              <a:gd name="T10" fmla="*/ 2147483646 w 92"/>
              <a:gd name="T11" fmla="*/ 2147483646 h 181"/>
              <a:gd name="T12" fmla="*/ 2147483646 w 92"/>
              <a:gd name="T13" fmla="*/ 2147483646 h 181"/>
              <a:gd name="T14" fmla="*/ 2147483646 w 92"/>
              <a:gd name="T15" fmla="*/ 2147483646 h 181"/>
              <a:gd name="T16" fmla="*/ 2147483646 w 92"/>
              <a:gd name="T17" fmla="*/ 2147483646 h 181"/>
              <a:gd name="T18" fmla="*/ 2147483646 w 92"/>
              <a:gd name="T19" fmla="*/ 2147483646 h 181"/>
              <a:gd name="T20" fmla="*/ 2147483646 w 92"/>
              <a:gd name="T21" fmla="*/ 2147483646 h 181"/>
              <a:gd name="T22" fmla="*/ 2147483646 w 92"/>
              <a:gd name="T23" fmla="*/ 2147483646 h 181"/>
              <a:gd name="T24" fmla="*/ 2147483646 w 92"/>
              <a:gd name="T25" fmla="*/ 2147483646 h 181"/>
              <a:gd name="T26" fmla="*/ 2147483646 w 92"/>
              <a:gd name="T27" fmla="*/ 2147483646 h 181"/>
              <a:gd name="T28" fmla="*/ 2147483646 w 92"/>
              <a:gd name="T29" fmla="*/ 2147483646 h 181"/>
              <a:gd name="T30" fmla="*/ 2147483646 w 92"/>
              <a:gd name="T31" fmla="*/ 2147483646 h 181"/>
              <a:gd name="T32" fmla="*/ 2147483646 w 92"/>
              <a:gd name="T33" fmla="*/ 2147483646 h 181"/>
              <a:gd name="T34" fmla="*/ 2147483646 w 92"/>
              <a:gd name="T35" fmla="*/ 2147483646 h 181"/>
              <a:gd name="T36" fmla="*/ 2147483646 w 92"/>
              <a:gd name="T37" fmla="*/ 2147483646 h 181"/>
              <a:gd name="T38" fmla="*/ 2147483646 w 92"/>
              <a:gd name="T39" fmla="*/ 2147483646 h 181"/>
              <a:gd name="T40" fmla="*/ 2147483646 w 92"/>
              <a:gd name="T41" fmla="*/ 2147483646 h 181"/>
              <a:gd name="T42" fmla="*/ 2147483646 w 92"/>
              <a:gd name="T43" fmla="*/ 2147483646 h 181"/>
              <a:gd name="T44" fmla="*/ 2147483646 w 92"/>
              <a:gd name="T45" fmla="*/ 2147483646 h 181"/>
              <a:gd name="T46" fmla="*/ 2147483646 w 92"/>
              <a:gd name="T47" fmla="*/ 2147483646 h 181"/>
              <a:gd name="T48" fmla="*/ 2147483646 w 92"/>
              <a:gd name="T49" fmla="*/ 2147483646 h 181"/>
              <a:gd name="T50" fmla="*/ 2147483646 w 92"/>
              <a:gd name="T51" fmla="*/ 2147483646 h 181"/>
              <a:gd name="T52" fmla="*/ 2147483646 w 92"/>
              <a:gd name="T53" fmla="*/ 2147483646 h 181"/>
              <a:gd name="T54" fmla="*/ 2147483646 w 92"/>
              <a:gd name="T55" fmla="*/ 2147483646 h 181"/>
              <a:gd name="T56" fmla="*/ 2147483646 w 92"/>
              <a:gd name="T57" fmla="*/ 2147483646 h 181"/>
              <a:gd name="T58" fmla="*/ 2147483646 w 92"/>
              <a:gd name="T59" fmla="*/ 2147483646 h 181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92"/>
              <a:gd name="T91" fmla="*/ 0 h 181"/>
              <a:gd name="T92" fmla="*/ 92 w 92"/>
              <a:gd name="T93" fmla="*/ 181 h 181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92" h="181">
                <a:moveTo>
                  <a:pt x="30" y="181"/>
                </a:moveTo>
                <a:cubicBezTo>
                  <a:pt x="30" y="181"/>
                  <a:pt x="29" y="172"/>
                  <a:pt x="26" y="168"/>
                </a:cubicBezTo>
                <a:cubicBezTo>
                  <a:pt x="23" y="165"/>
                  <a:pt x="26" y="159"/>
                  <a:pt x="27" y="156"/>
                </a:cubicBezTo>
                <a:cubicBezTo>
                  <a:pt x="28" y="153"/>
                  <a:pt x="28" y="132"/>
                  <a:pt x="26" y="120"/>
                </a:cubicBezTo>
                <a:cubicBezTo>
                  <a:pt x="25" y="108"/>
                  <a:pt x="28" y="115"/>
                  <a:pt x="30" y="107"/>
                </a:cubicBezTo>
                <a:cubicBezTo>
                  <a:pt x="31" y="100"/>
                  <a:pt x="26" y="100"/>
                  <a:pt x="22" y="95"/>
                </a:cubicBezTo>
                <a:cubicBezTo>
                  <a:pt x="18" y="89"/>
                  <a:pt x="21" y="83"/>
                  <a:pt x="20" y="76"/>
                </a:cubicBezTo>
                <a:cubicBezTo>
                  <a:pt x="20" y="69"/>
                  <a:pt x="11" y="65"/>
                  <a:pt x="6" y="60"/>
                </a:cubicBezTo>
                <a:cubicBezTo>
                  <a:pt x="0" y="56"/>
                  <a:pt x="3" y="45"/>
                  <a:pt x="3" y="45"/>
                </a:cubicBezTo>
                <a:cubicBezTo>
                  <a:pt x="9" y="45"/>
                  <a:pt x="11" y="43"/>
                  <a:pt x="13" y="40"/>
                </a:cubicBezTo>
                <a:cubicBezTo>
                  <a:pt x="15" y="38"/>
                  <a:pt x="28" y="29"/>
                  <a:pt x="35" y="30"/>
                </a:cubicBezTo>
                <a:cubicBezTo>
                  <a:pt x="42" y="32"/>
                  <a:pt x="50" y="23"/>
                  <a:pt x="51" y="18"/>
                </a:cubicBezTo>
                <a:cubicBezTo>
                  <a:pt x="51" y="18"/>
                  <a:pt x="51" y="6"/>
                  <a:pt x="55" y="7"/>
                </a:cubicBezTo>
                <a:cubicBezTo>
                  <a:pt x="59" y="9"/>
                  <a:pt x="62" y="9"/>
                  <a:pt x="63" y="6"/>
                </a:cubicBezTo>
                <a:cubicBezTo>
                  <a:pt x="63" y="3"/>
                  <a:pt x="63" y="0"/>
                  <a:pt x="69" y="9"/>
                </a:cubicBezTo>
                <a:cubicBezTo>
                  <a:pt x="75" y="17"/>
                  <a:pt x="79" y="15"/>
                  <a:pt x="82" y="21"/>
                </a:cubicBezTo>
                <a:cubicBezTo>
                  <a:pt x="86" y="26"/>
                  <a:pt x="82" y="28"/>
                  <a:pt x="83" y="32"/>
                </a:cubicBezTo>
                <a:cubicBezTo>
                  <a:pt x="84" y="36"/>
                  <a:pt x="86" y="39"/>
                  <a:pt x="88" y="42"/>
                </a:cubicBezTo>
                <a:cubicBezTo>
                  <a:pt x="89" y="46"/>
                  <a:pt x="92" y="46"/>
                  <a:pt x="89" y="53"/>
                </a:cubicBezTo>
                <a:cubicBezTo>
                  <a:pt x="86" y="60"/>
                  <a:pt x="80" y="63"/>
                  <a:pt x="81" y="68"/>
                </a:cubicBezTo>
                <a:cubicBezTo>
                  <a:pt x="83" y="73"/>
                  <a:pt x="89" y="77"/>
                  <a:pt x="81" y="79"/>
                </a:cubicBezTo>
                <a:cubicBezTo>
                  <a:pt x="73" y="81"/>
                  <a:pt x="71" y="77"/>
                  <a:pt x="71" y="80"/>
                </a:cubicBezTo>
                <a:cubicBezTo>
                  <a:pt x="70" y="84"/>
                  <a:pt x="67" y="82"/>
                  <a:pt x="66" y="85"/>
                </a:cubicBezTo>
                <a:cubicBezTo>
                  <a:pt x="64" y="88"/>
                  <a:pt x="77" y="95"/>
                  <a:pt x="66" y="97"/>
                </a:cubicBezTo>
                <a:cubicBezTo>
                  <a:pt x="55" y="99"/>
                  <a:pt x="51" y="100"/>
                  <a:pt x="54" y="108"/>
                </a:cubicBezTo>
                <a:cubicBezTo>
                  <a:pt x="57" y="117"/>
                  <a:pt x="56" y="122"/>
                  <a:pt x="55" y="127"/>
                </a:cubicBezTo>
                <a:cubicBezTo>
                  <a:pt x="54" y="131"/>
                  <a:pt x="54" y="132"/>
                  <a:pt x="55" y="138"/>
                </a:cubicBezTo>
                <a:cubicBezTo>
                  <a:pt x="57" y="145"/>
                  <a:pt x="58" y="147"/>
                  <a:pt x="58" y="153"/>
                </a:cubicBezTo>
                <a:cubicBezTo>
                  <a:pt x="58" y="158"/>
                  <a:pt x="53" y="176"/>
                  <a:pt x="53" y="176"/>
                </a:cubicBezTo>
                <a:cubicBezTo>
                  <a:pt x="53" y="176"/>
                  <a:pt x="36" y="180"/>
                  <a:pt x="30" y="18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6" name="Freeform 672"/>
          <p:cNvSpPr>
            <a:spLocks/>
          </p:cNvSpPr>
          <p:nvPr userDrawn="1"/>
        </p:nvSpPr>
        <p:spPr bwMode="auto">
          <a:xfrm>
            <a:off x="5475582" y="4411665"/>
            <a:ext cx="403697" cy="308217"/>
          </a:xfrm>
          <a:custGeom>
            <a:avLst/>
            <a:gdLst>
              <a:gd name="T0" fmla="*/ 2147483646 w 434"/>
              <a:gd name="T1" fmla="*/ 2147483646 h 330"/>
              <a:gd name="T2" fmla="*/ 2147483646 w 434"/>
              <a:gd name="T3" fmla="*/ 2147483646 h 330"/>
              <a:gd name="T4" fmla="*/ 2147483646 w 434"/>
              <a:gd name="T5" fmla="*/ 2147483646 h 330"/>
              <a:gd name="T6" fmla="*/ 2147483646 w 434"/>
              <a:gd name="T7" fmla="*/ 2147483646 h 330"/>
              <a:gd name="T8" fmla="*/ 2147483646 w 434"/>
              <a:gd name="T9" fmla="*/ 2147483646 h 330"/>
              <a:gd name="T10" fmla="*/ 2147483646 w 434"/>
              <a:gd name="T11" fmla="*/ 2147483646 h 330"/>
              <a:gd name="T12" fmla="*/ 2147483646 w 434"/>
              <a:gd name="T13" fmla="*/ 2147483646 h 330"/>
              <a:gd name="T14" fmla="*/ 2147483646 w 434"/>
              <a:gd name="T15" fmla="*/ 2147483646 h 330"/>
              <a:gd name="T16" fmla="*/ 2147483646 w 434"/>
              <a:gd name="T17" fmla="*/ 2147483646 h 330"/>
              <a:gd name="T18" fmla="*/ 2147483646 w 434"/>
              <a:gd name="T19" fmla="*/ 2147483646 h 330"/>
              <a:gd name="T20" fmla="*/ 2147483646 w 434"/>
              <a:gd name="T21" fmla="*/ 2147483646 h 330"/>
              <a:gd name="T22" fmla="*/ 2147483646 w 434"/>
              <a:gd name="T23" fmla="*/ 2147483646 h 330"/>
              <a:gd name="T24" fmla="*/ 2147483646 w 434"/>
              <a:gd name="T25" fmla="*/ 2147483646 h 330"/>
              <a:gd name="T26" fmla="*/ 2147483646 w 434"/>
              <a:gd name="T27" fmla="*/ 2147483646 h 330"/>
              <a:gd name="T28" fmla="*/ 0 w 434"/>
              <a:gd name="T29" fmla="*/ 2147483646 h 330"/>
              <a:gd name="T30" fmla="*/ 2147483646 w 434"/>
              <a:gd name="T31" fmla="*/ 2147483646 h 330"/>
              <a:gd name="T32" fmla="*/ 2147483646 w 434"/>
              <a:gd name="T33" fmla="*/ 2147483646 h 330"/>
              <a:gd name="T34" fmla="*/ 2147483646 w 434"/>
              <a:gd name="T35" fmla="*/ 2147483646 h 330"/>
              <a:gd name="T36" fmla="*/ 2147483646 w 434"/>
              <a:gd name="T37" fmla="*/ 2147483646 h 330"/>
              <a:gd name="T38" fmla="*/ 2147483646 w 434"/>
              <a:gd name="T39" fmla="*/ 2147483646 h 330"/>
              <a:gd name="T40" fmla="*/ 2147483646 w 434"/>
              <a:gd name="T41" fmla="*/ 2147483646 h 330"/>
              <a:gd name="T42" fmla="*/ 2147483646 w 434"/>
              <a:gd name="T43" fmla="*/ 2147483646 h 330"/>
              <a:gd name="T44" fmla="*/ 2147483646 w 434"/>
              <a:gd name="T45" fmla="*/ 2147483646 h 330"/>
              <a:gd name="T46" fmla="*/ 2147483646 w 434"/>
              <a:gd name="T47" fmla="*/ 2147483646 h 330"/>
              <a:gd name="T48" fmla="*/ 2147483646 w 434"/>
              <a:gd name="T49" fmla="*/ 2147483646 h 330"/>
              <a:gd name="T50" fmla="*/ 2147483646 w 434"/>
              <a:gd name="T51" fmla="*/ 2147483646 h 330"/>
              <a:gd name="T52" fmla="*/ 2147483646 w 434"/>
              <a:gd name="T53" fmla="*/ 2147483646 h 330"/>
              <a:gd name="T54" fmla="*/ 2147483646 w 434"/>
              <a:gd name="T55" fmla="*/ 2147483646 h 330"/>
              <a:gd name="T56" fmla="*/ 2147483646 w 434"/>
              <a:gd name="T57" fmla="*/ 2147483646 h 330"/>
              <a:gd name="T58" fmla="*/ 2147483646 w 434"/>
              <a:gd name="T59" fmla="*/ 2147483646 h 330"/>
              <a:gd name="T60" fmla="*/ 2147483646 w 434"/>
              <a:gd name="T61" fmla="*/ 2147483646 h 330"/>
              <a:gd name="T62" fmla="*/ 2147483646 w 434"/>
              <a:gd name="T63" fmla="*/ 2147483646 h 330"/>
              <a:gd name="T64" fmla="*/ 2147483646 w 434"/>
              <a:gd name="T65" fmla="*/ 2147483646 h 330"/>
              <a:gd name="T66" fmla="*/ 2147483646 w 434"/>
              <a:gd name="T67" fmla="*/ 2147483646 h 330"/>
              <a:gd name="T68" fmla="*/ 2147483646 w 434"/>
              <a:gd name="T69" fmla="*/ 2147483646 h 330"/>
              <a:gd name="T70" fmla="*/ 2147483646 w 434"/>
              <a:gd name="T71" fmla="*/ 2147483646 h 330"/>
              <a:gd name="T72" fmla="*/ 2147483646 w 434"/>
              <a:gd name="T73" fmla="*/ 2147483646 h 330"/>
              <a:gd name="T74" fmla="*/ 2147483646 w 434"/>
              <a:gd name="T75" fmla="*/ 2147483646 h 330"/>
              <a:gd name="T76" fmla="*/ 2147483646 w 434"/>
              <a:gd name="T77" fmla="*/ 2147483646 h 330"/>
              <a:gd name="T78" fmla="*/ 2147483646 w 434"/>
              <a:gd name="T79" fmla="*/ 2147483646 h 330"/>
              <a:gd name="T80" fmla="*/ 2147483646 w 434"/>
              <a:gd name="T81" fmla="*/ 2147483646 h 330"/>
              <a:gd name="T82" fmla="*/ 2147483646 w 434"/>
              <a:gd name="T83" fmla="*/ 2147483646 h 330"/>
              <a:gd name="T84" fmla="*/ 2147483646 w 434"/>
              <a:gd name="T85" fmla="*/ 2147483646 h 330"/>
              <a:gd name="T86" fmla="*/ 2147483646 w 434"/>
              <a:gd name="T87" fmla="*/ 2147483646 h 330"/>
              <a:gd name="T88" fmla="*/ 2147483646 w 434"/>
              <a:gd name="T89" fmla="*/ 2147483646 h 330"/>
              <a:gd name="T90" fmla="*/ 2147483646 w 434"/>
              <a:gd name="T91" fmla="*/ 2147483646 h 330"/>
              <a:gd name="T92" fmla="*/ 2147483646 w 434"/>
              <a:gd name="T93" fmla="*/ 2147483646 h 330"/>
              <a:gd name="T94" fmla="*/ 2147483646 w 434"/>
              <a:gd name="T95" fmla="*/ 2147483646 h 330"/>
              <a:gd name="T96" fmla="*/ 2147483646 w 434"/>
              <a:gd name="T97" fmla="*/ 2147483646 h 330"/>
              <a:gd name="T98" fmla="*/ 2147483646 w 434"/>
              <a:gd name="T99" fmla="*/ 2147483646 h 330"/>
              <a:gd name="T100" fmla="*/ 2147483646 w 434"/>
              <a:gd name="T101" fmla="*/ 2147483646 h 330"/>
              <a:gd name="T102" fmla="*/ 2147483646 w 434"/>
              <a:gd name="T103" fmla="*/ 2147483646 h 330"/>
              <a:gd name="T104" fmla="*/ 2147483646 w 434"/>
              <a:gd name="T105" fmla="*/ 2147483646 h 330"/>
              <a:gd name="T106" fmla="*/ 2147483646 w 434"/>
              <a:gd name="T107" fmla="*/ 2147483646 h 330"/>
              <a:gd name="T108" fmla="*/ 2147483646 w 434"/>
              <a:gd name="T109" fmla="*/ 2147483646 h 330"/>
              <a:gd name="T110" fmla="*/ 2147483646 w 434"/>
              <a:gd name="T111" fmla="*/ 2147483646 h 330"/>
              <a:gd name="T112" fmla="*/ 2147483646 w 434"/>
              <a:gd name="T113" fmla="*/ 2147483646 h 330"/>
              <a:gd name="T114" fmla="*/ 2147483646 w 434"/>
              <a:gd name="T115" fmla="*/ 2147483646 h 330"/>
              <a:gd name="T116" fmla="*/ 2147483646 w 434"/>
              <a:gd name="T117" fmla="*/ 2147483646 h 330"/>
              <a:gd name="T118" fmla="*/ 2147483646 w 434"/>
              <a:gd name="T119" fmla="*/ 2147483646 h 330"/>
              <a:gd name="T120" fmla="*/ 2147483646 w 434"/>
              <a:gd name="T121" fmla="*/ 2147483646 h 33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34"/>
              <a:gd name="T184" fmla="*/ 0 h 330"/>
              <a:gd name="T185" fmla="*/ 434 w 434"/>
              <a:gd name="T186" fmla="*/ 330 h 33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34" h="330">
                <a:moveTo>
                  <a:pt x="408" y="23"/>
                </a:moveTo>
                <a:cubicBezTo>
                  <a:pt x="385" y="35"/>
                  <a:pt x="385" y="35"/>
                  <a:pt x="385" y="35"/>
                </a:cubicBezTo>
                <a:cubicBezTo>
                  <a:pt x="385" y="35"/>
                  <a:pt x="362" y="0"/>
                  <a:pt x="328" y="8"/>
                </a:cubicBezTo>
                <a:cubicBezTo>
                  <a:pt x="294" y="14"/>
                  <a:pt x="174" y="105"/>
                  <a:pt x="167" y="112"/>
                </a:cubicBezTo>
                <a:cubicBezTo>
                  <a:pt x="159" y="119"/>
                  <a:pt x="122" y="126"/>
                  <a:pt x="112" y="126"/>
                </a:cubicBezTo>
                <a:cubicBezTo>
                  <a:pt x="112" y="126"/>
                  <a:pt x="116" y="172"/>
                  <a:pt x="114" y="188"/>
                </a:cubicBezTo>
                <a:cubicBezTo>
                  <a:pt x="112" y="203"/>
                  <a:pt x="104" y="203"/>
                  <a:pt x="105" y="210"/>
                </a:cubicBezTo>
                <a:cubicBezTo>
                  <a:pt x="106" y="216"/>
                  <a:pt x="99" y="230"/>
                  <a:pt x="93" y="233"/>
                </a:cubicBezTo>
                <a:cubicBezTo>
                  <a:pt x="88" y="236"/>
                  <a:pt x="73" y="233"/>
                  <a:pt x="68" y="233"/>
                </a:cubicBezTo>
                <a:cubicBezTo>
                  <a:pt x="62" y="233"/>
                  <a:pt x="52" y="231"/>
                  <a:pt x="48" y="232"/>
                </a:cubicBezTo>
                <a:cubicBezTo>
                  <a:pt x="44" y="233"/>
                  <a:pt x="30" y="232"/>
                  <a:pt x="30" y="232"/>
                </a:cubicBezTo>
                <a:cubicBezTo>
                  <a:pt x="30" y="232"/>
                  <a:pt x="30" y="243"/>
                  <a:pt x="17" y="241"/>
                </a:cubicBezTo>
                <a:cubicBezTo>
                  <a:pt x="13" y="240"/>
                  <a:pt x="9" y="238"/>
                  <a:pt x="4" y="236"/>
                </a:cubicBezTo>
                <a:cubicBezTo>
                  <a:pt x="3" y="236"/>
                  <a:pt x="3" y="236"/>
                  <a:pt x="3" y="236"/>
                </a:cubicBezTo>
                <a:cubicBezTo>
                  <a:pt x="0" y="246"/>
                  <a:pt x="0" y="246"/>
                  <a:pt x="0" y="246"/>
                </a:cubicBezTo>
                <a:cubicBezTo>
                  <a:pt x="0" y="246"/>
                  <a:pt x="2" y="253"/>
                  <a:pt x="1" y="256"/>
                </a:cubicBezTo>
                <a:cubicBezTo>
                  <a:pt x="1" y="259"/>
                  <a:pt x="12" y="273"/>
                  <a:pt x="17" y="279"/>
                </a:cubicBezTo>
                <a:cubicBezTo>
                  <a:pt x="23" y="285"/>
                  <a:pt x="26" y="283"/>
                  <a:pt x="27" y="286"/>
                </a:cubicBezTo>
                <a:cubicBezTo>
                  <a:pt x="29" y="288"/>
                  <a:pt x="26" y="289"/>
                  <a:pt x="22" y="289"/>
                </a:cubicBezTo>
                <a:cubicBezTo>
                  <a:pt x="19" y="290"/>
                  <a:pt x="23" y="293"/>
                  <a:pt x="23" y="298"/>
                </a:cubicBezTo>
                <a:cubicBezTo>
                  <a:pt x="24" y="304"/>
                  <a:pt x="35" y="305"/>
                  <a:pt x="39" y="304"/>
                </a:cubicBezTo>
                <a:cubicBezTo>
                  <a:pt x="43" y="302"/>
                  <a:pt x="45" y="304"/>
                  <a:pt x="50" y="304"/>
                </a:cubicBezTo>
                <a:cubicBezTo>
                  <a:pt x="56" y="304"/>
                  <a:pt x="49" y="311"/>
                  <a:pt x="52" y="317"/>
                </a:cubicBezTo>
                <a:cubicBezTo>
                  <a:pt x="55" y="322"/>
                  <a:pt x="60" y="322"/>
                  <a:pt x="58" y="327"/>
                </a:cubicBezTo>
                <a:cubicBezTo>
                  <a:pt x="58" y="327"/>
                  <a:pt x="58" y="315"/>
                  <a:pt x="62" y="316"/>
                </a:cubicBezTo>
                <a:cubicBezTo>
                  <a:pt x="66" y="318"/>
                  <a:pt x="69" y="318"/>
                  <a:pt x="70" y="315"/>
                </a:cubicBezTo>
                <a:cubicBezTo>
                  <a:pt x="70" y="312"/>
                  <a:pt x="70" y="309"/>
                  <a:pt x="76" y="318"/>
                </a:cubicBezTo>
                <a:cubicBezTo>
                  <a:pt x="82" y="326"/>
                  <a:pt x="86" y="325"/>
                  <a:pt x="89" y="329"/>
                </a:cubicBezTo>
                <a:cubicBezTo>
                  <a:pt x="89" y="329"/>
                  <a:pt x="89" y="330"/>
                  <a:pt x="89" y="330"/>
                </a:cubicBezTo>
                <a:cubicBezTo>
                  <a:pt x="89" y="330"/>
                  <a:pt x="89" y="330"/>
                  <a:pt x="89" y="330"/>
                </a:cubicBezTo>
                <a:cubicBezTo>
                  <a:pt x="93" y="316"/>
                  <a:pt x="93" y="316"/>
                  <a:pt x="93" y="316"/>
                </a:cubicBezTo>
                <a:cubicBezTo>
                  <a:pt x="93" y="316"/>
                  <a:pt x="93" y="308"/>
                  <a:pt x="96" y="307"/>
                </a:cubicBezTo>
                <a:cubicBezTo>
                  <a:pt x="100" y="307"/>
                  <a:pt x="103" y="306"/>
                  <a:pt x="104" y="300"/>
                </a:cubicBezTo>
                <a:cubicBezTo>
                  <a:pt x="106" y="294"/>
                  <a:pt x="104" y="296"/>
                  <a:pt x="106" y="291"/>
                </a:cubicBezTo>
                <a:cubicBezTo>
                  <a:pt x="108" y="286"/>
                  <a:pt x="111" y="275"/>
                  <a:pt x="122" y="277"/>
                </a:cubicBezTo>
                <a:cubicBezTo>
                  <a:pt x="134" y="278"/>
                  <a:pt x="139" y="279"/>
                  <a:pt x="140" y="275"/>
                </a:cubicBezTo>
                <a:cubicBezTo>
                  <a:pt x="141" y="272"/>
                  <a:pt x="140" y="265"/>
                  <a:pt x="151" y="272"/>
                </a:cubicBezTo>
                <a:cubicBezTo>
                  <a:pt x="162" y="280"/>
                  <a:pt x="173" y="281"/>
                  <a:pt x="175" y="282"/>
                </a:cubicBezTo>
                <a:cubicBezTo>
                  <a:pt x="177" y="282"/>
                  <a:pt x="181" y="285"/>
                  <a:pt x="181" y="285"/>
                </a:cubicBezTo>
                <a:cubicBezTo>
                  <a:pt x="181" y="285"/>
                  <a:pt x="174" y="295"/>
                  <a:pt x="180" y="296"/>
                </a:cubicBezTo>
                <a:cubicBezTo>
                  <a:pt x="186" y="298"/>
                  <a:pt x="185" y="298"/>
                  <a:pt x="193" y="296"/>
                </a:cubicBezTo>
                <a:cubicBezTo>
                  <a:pt x="202" y="293"/>
                  <a:pt x="200" y="289"/>
                  <a:pt x="208" y="291"/>
                </a:cubicBezTo>
                <a:cubicBezTo>
                  <a:pt x="215" y="292"/>
                  <a:pt x="223" y="289"/>
                  <a:pt x="225" y="290"/>
                </a:cubicBezTo>
                <a:cubicBezTo>
                  <a:pt x="227" y="291"/>
                  <a:pt x="236" y="305"/>
                  <a:pt x="242" y="304"/>
                </a:cubicBezTo>
                <a:cubicBezTo>
                  <a:pt x="249" y="303"/>
                  <a:pt x="267" y="298"/>
                  <a:pt x="270" y="294"/>
                </a:cubicBezTo>
                <a:cubicBezTo>
                  <a:pt x="274" y="291"/>
                  <a:pt x="277" y="276"/>
                  <a:pt x="294" y="285"/>
                </a:cubicBezTo>
                <a:cubicBezTo>
                  <a:pt x="311" y="294"/>
                  <a:pt x="303" y="292"/>
                  <a:pt x="319" y="293"/>
                </a:cubicBezTo>
                <a:cubicBezTo>
                  <a:pt x="335" y="294"/>
                  <a:pt x="327" y="291"/>
                  <a:pt x="338" y="289"/>
                </a:cubicBezTo>
                <a:cubicBezTo>
                  <a:pt x="348" y="287"/>
                  <a:pt x="346" y="284"/>
                  <a:pt x="353" y="283"/>
                </a:cubicBezTo>
                <a:cubicBezTo>
                  <a:pt x="361" y="282"/>
                  <a:pt x="368" y="283"/>
                  <a:pt x="368" y="283"/>
                </a:cubicBezTo>
                <a:cubicBezTo>
                  <a:pt x="368" y="283"/>
                  <a:pt x="368" y="265"/>
                  <a:pt x="367" y="262"/>
                </a:cubicBezTo>
                <a:cubicBezTo>
                  <a:pt x="366" y="259"/>
                  <a:pt x="372" y="259"/>
                  <a:pt x="376" y="249"/>
                </a:cubicBezTo>
                <a:cubicBezTo>
                  <a:pt x="380" y="239"/>
                  <a:pt x="379" y="237"/>
                  <a:pt x="385" y="230"/>
                </a:cubicBezTo>
                <a:cubicBezTo>
                  <a:pt x="392" y="223"/>
                  <a:pt x="396" y="216"/>
                  <a:pt x="401" y="212"/>
                </a:cubicBezTo>
                <a:cubicBezTo>
                  <a:pt x="406" y="208"/>
                  <a:pt x="419" y="192"/>
                  <a:pt x="419" y="192"/>
                </a:cubicBezTo>
                <a:cubicBezTo>
                  <a:pt x="419" y="192"/>
                  <a:pt x="423" y="141"/>
                  <a:pt x="424" y="129"/>
                </a:cubicBezTo>
                <a:cubicBezTo>
                  <a:pt x="426" y="118"/>
                  <a:pt x="434" y="108"/>
                  <a:pt x="431" y="101"/>
                </a:cubicBezTo>
                <a:cubicBezTo>
                  <a:pt x="428" y="93"/>
                  <a:pt x="418" y="92"/>
                  <a:pt x="417" y="88"/>
                </a:cubicBezTo>
                <a:cubicBezTo>
                  <a:pt x="416" y="83"/>
                  <a:pt x="418" y="76"/>
                  <a:pt x="416" y="71"/>
                </a:cubicBezTo>
                <a:cubicBezTo>
                  <a:pt x="415" y="67"/>
                  <a:pt x="409" y="61"/>
                  <a:pt x="408" y="55"/>
                </a:cubicBezTo>
                <a:cubicBezTo>
                  <a:pt x="407" y="48"/>
                  <a:pt x="408" y="23"/>
                  <a:pt x="408" y="2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7" name="Freeform 673"/>
          <p:cNvSpPr>
            <a:spLocks/>
          </p:cNvSpPr>
          <p:nvPr userDrawn="1"/>
        </p:nvSpPr>
        <p:spPr bwMode="auto">
          <a:xfrm>
            <a:off x="5817300" y="4418364"/>
            <a:ext cx="264664" cy="428824"/>
          </a:xfrm>
          <a:custGeom>
            <a:avLst/>
            <a:gdLst>
              <a:gd name="T0" fmla="*/ 2147483646 w 285"/>
              <a:gd name="T1" fmla="*/ 2147483646 h 459"/>
              <a:gd name="T2" fmla="*/ 2147483646 w 285"/>
              <a:gd name="T3" fmla="*/ 0 h 459"/>
              <a:gd name="T4" fmla="*/ 2147483646 w 285"/>
              <a:gd name="T5" fmla="*/ 2147483646 h 459"/>
              <a:gd name="T6" fmla="*/ 2147483646 w 285"/>
              <a:gd name="T7" fmla="*/ 2147483646 h 459"/>
              <a:gd name="T8" fmla="*/ 2147483646 w 285"/>
              <a:gd name="T9" fmla="*/ 2147483646 h 459"/>
              <a:gd name="T10" fmla="*/ 2147483646 w 285"/>
              <a:gd name="T11" fmla="*/ 2147483646 h 459"/>
              <a:gd name="T12" fmla="*/ 2147483646 w 285"/>
              <a:gd name="T13" fmla="*/ 2147483646 h 459"/>
              <a:gd name="T14" fmla="*/ 2147483646 w 285"/>
              <a:gd name="T15" fmla="*/ 2147483646 h 459"/>
              <a:gd name="T16" fmla="*/ 2147483646 w 285"/>
              <a:gd name="T17" fmla="*/ 2147483646 h 459"/>
              <a:gd name="T18" fmla="*/ 2147483646 w 285"/>
              <a:gd name="T19" fmla="*/ 2147483646 h 459"/>
              <a:gd name="T20" fmla="*/ 2147483646 w 285"/>
              <a:gd name="T21" fmla="*/ 2147483646 h 459"/>
              <a:gd name="T22" fmla="*/ 2147483646 w 285"/>
              <a:gd name="T23" fmla="*/ 2147483646 h 459"/>
              <a:gd name="T24" fmla="*/ 2147483646 w 285"/>
              <a:gd name="T25" fmla="*/ 2147483646 h 459"/>
              <a:gd name="T26" fmla="*/ 2147483646 w 285"/>
              <a:gd name="T27" fmla="*/ 2147483646 h 459"/>
              <a:gd name="T28" fmla="*/ 2147483646 w 285"/>
              <a:gd name="T29" fmla="*/ 2147483646 h 459"/>
              <a:gd name="T30" fmla="*/ 2147483646 w 285"/>
              <a:gd name="T31" fmla="*/ 2147483646 h 459"/>
              <a:gd name="T32" fmla="*/ 2147483646 w 285"/>
              <a:gd name="T33" fmla="*/ 2147483646 h 459"/>
              <a:gd name="T34" fmla="*/ 2147483646 w 285"/>
              <a:gd name="T35" fmla="*/ 2147483646 h 459"/>
              <a:gd name="T36" fmla="*/ 2147483646 w 285"/>
              <a:gd name="T37" fmla="*/ 2147483646 h 459"/>
              <a:gd name="T38" fmla="*/ 2147483646 w 285"/>
              <a:gd name="T39" fmla="*/ 2147483646 h 459"/>
              <a:gd name="T40" fmla="*/ 2147483646 w 285"/>
              <a:gd name="T41" fmla="*/ 2147483646 h 459"/>
              <a:gd name="T42" fmla="*/ 2147483646 w 285"/>
              <a:gd name="T43" fmla="*/ 2147483646 h 459"/>
              <a:gd name="T44" fmla="*/ 2147483646 w 285"/>
              <a:gd name="T45" fmla="*/ 2147483646 h 459"/>
              <a:gd name="T46" fmla="*/ 2147483646 w 285"/>
              <a:gd name="T47" fmla="*/ 2147483646 h 459"/>
              <a:gd name="T48" fmla="*/ 2147483646 w 285"/>
              <a:gd name="T49" fmla="*/ 2147483646 h 459"/>
              <a:gd name="T50" fmla="*/ 2147483646 w 285"/>
              <a:gd name="T51" fmla="*/ 2147483646 h 459"/>
              <a:gd name="T52" fmla="*/ 2147483646 w 285"/>
              <a:gd name="T53" fmla="*/ 2147483646 h 459"/>
              <a:gd name="T54" fmla="*/ 2147483646 w 285"/>
              <a:gd name="T55" fmla="*/ 2147483646 h 459"/>
              <a:gd name="T56" fmla="*/ 2147483646 w 285"/>
              <a:gd name="T57" fmla="*/ 2147483646 h 459"/>
              <a:gd name="T58" fmla="*/ 2147483646 w 285"/>
              <a:gd name="T59" fmla="*/ 2147483646 h 459"/>
              <a:gd name="T60" fmla="*/ 2147483646 w 285"/>
              <a:gd name="T61" fmla="*/ 2147483646 h 459"/>
              <a:gd name="T62" fmla="*/ 2147483646 w 285"/>
              <a:gd name="T63" fmla="*/ 2147483646 h 459"/>
              <a:gd name="T64" fmla="*/ 2147483646 w 285"/>
              <a:gd name="T65" fmla="*/ 2147483646 h 459"/>
              <a:gd name="T66" fmla="*/ 2147483646 w 285"/>
              <a:gd name="T67" fmla="*/ 2147483646 h 459"/>
              <a:gd name="T68" fmla="*/ 2147483646 w 285"/>
              <a:gd name="T69" fmla="*/ 2147483646 h 459"/>
              <a:gd name="T70" fmla="*/ 2147483646 w 285"/>
              <a:gd name="T71" fmla="*/ 2147483646 h 459"/>
              <a:gd name="T72" fmla="*/ 2147483646 w 285"/>
              <a:gd name="T73" fmla="*/ 2147483646 h 459"/>
              <a:gd name="T74" fmla="*/ 2147483646 w 285"/>
              <a:gd name="T75" fmla="*/ 2147483646 h 459"/>
              <a:gd name="T76" fmla="*/ 2147483646 w 285"/>
              <a:gd name="T77" fmla="*/ 2147483646 h 459"/>
              <a:gd name="T78" fmla="*/ 2147483646 w 285"/>
              <a:gd name="T79" fmla="*/ 2147483646 h 459"/>
              <a:gd name="T80" fmla="*/ 2147483646 w 285"/>
              <a:gd name="T81" fmla="*/ 2147483646 h 459"/>
              <a:gd name="T82" fmla="*/ 2147483646 w 285"/>
              <a:gd name="T83" fmla="*/ 2147483646 h 459"/>
              <a:gd name="T84" fmla="*/ 2147483646 w 285"/>
              <a:gd name="T85" fmla="*/ 2147483646 h 459"/>
              <a:gd name="T86" fmla="*/ 2147483646 w 285"/>
              <a:gd name="T87" fmla="*/ 2147483646 h 459"/>
              <a:gd name="T88" fmla="*/ 2147483646 w 285"/>
              <a:gd name="T89" fmla="*/ 2147483646 h 459"/>
              <a:gd name="T90" fmla="*/ 2147483646 w 285"/>
              <a:gd name="T91" fmla="*/ 2147483646 h 459"/>
              <a:gd name="T92" fmla="*/ 2147483646 w 285"/>
              <a:gd name="T93" fmla="*/ 2147483646 h 459"/>
              <a:gd name="T94" fmla="*/ 2147483646 w 285"/>
              <a:gd name="T95" fmla="*/ 2147483646 h 459"/>
              <a:gd name="T96" fmla="*/ 2147483646 w 285"/>
              <a:gd name="T97" fmla="*/ 2147483646 h 459"/>
              <a:gd name="T98" fmla="*/ 2147483646 w 285"/>
              <a:gd name="T99" fmla="*/ 2147483646 h 459"/>
              <a:gd name="T100" fmla="*/ 2147483646 w 285"/>
              <a:gd name="T101" fmla="*/ 2147483646 h 459"/>
              <a:gd name="T102" fmla="*/ 2147483646 w 285"/>
              <a:gd name="T103" fmla="*/ 2147483646 h 459"/>
              <a:gd name="T104" fmla="*/ 2147483646 w 285"/>
              <a:gd name="T105" fmla="*/ 2147483646 h 459"/>
              <a:gd name="T106" fmla="*/ 2147483646 w 285"/>
              <a:gd name="T107" fmla="*/ 2147483646 h 459"/>
              <a:gd name="T108" fmla="*/ 2147483646 w 285"/>
              <a:gd name="T109" fmla="*/ 2147483646 h 459"/>
              <a:gd name="T110" fmla="*/ 2147483646 w 285"/>
              <a:gd name="T111" fmla="*/ 2147483646 h 45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85"/>
              <a:gd name="T169" fmla="*/ 0 h 459"/>
              <a:gd name="T170" fmla="*/ 285 w 285"/>
              <a:gd name="T171" fmla="*/ 459 h 459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85" h="459">
                <a:moveTo>
                  <a:pt x="280" y="111"/>
                </a:moveTo>
                <a:cubicBezTo>
                  <a:pt x="71" y="0"/>
                  <a:pt x="71" y="0"/>
                  <a:pt x="71" y="0"/>
                </a:cubicBezTo>
                <a:cubicBezTo>
                  <a:pt x="44" y="15"/>
                  <a:pt x="44" y="15"/>
                  <a:pt x="44" y="15"/>
                </a:cubicBezTo>
                <a:cubicBezTo>
                  <a:pt x="42" y="16"/>
                  <a:pt x="42" y="16"/>
                  <a:pt x="42" y="16"/>
                </a:cubicBezTo>
                <a:cubicBezTo>
                  <a:pt x="42" y="16"/>
                  <a:pt x="41" y="41"/>
                  <a:pt x="42" y="48"/>
                </a:cubicBezTo>
                <a:cubicBezTo>
                  <a:pt x="43" y="54"/>
                  <a:pt x="49" y="60"/>
                  <a:pt x="50" y="64"/>
                </a:cubicBezTo>
                <a:cubicBezTo>
                  <a:pt x="52" y="69"/>
                  <a:pt x="50" y="76"/>
                  <a:pt x="51" y="81"/>
                </a:cubicBezTo>
                <a:cubicBezTo>
                  <a:pt x="52" y="85"/>
                  <a:pt x="62" y="86"/>
                  <a:pt x="65" y="94"/>
                </a:cubicBezTo>
                <a:cubicBezTo>
                  <a:pt x="68" y="101"/>
                  <a:pt x="60" y="111"/>
                  <a:pt x="58" y="122"/>
                </a:cubicBezTo>
                <a:cubicBezTo>
                  <a:pt x="57" y="134"/>
                  <a:pt x="53" y="185"/>
                  <a:pt x="53" y="185"/>
                </a:cubicBezTo>
                <a:cubicBezTo>
                  <a:pt x="53" y="185"/>
                  <a:pt x="40" y="201"/>
                  <a:pt x="35" y="205"/>
                </a:cubicBezTo>
                <a:cubicBezTo>
                  <a:pt x="30" y="209"/>
                  <a:pt x="26" y="216"/>
                  <a:pt x="19" y="223"/>
                </a:cubicBezTo>
                <a:cubicBezTo>
                  <a:pt x="13" y="230"/>
                  <a:pt x="14" y="232"/>
                  <a:pt x="10" y="242"/>
                </a:cubicBezTo>
                <a:cubicBezTo>
                  <a:pt x="6" y="252"/>
                  <a:pt x="0" y="252"/>
                  <a:pt x="1" y="255"/>
                </a:cubicBezTo>
                <a:cubicBezTo>
                  <a:pt x="2" y="258"/>
                  <a:pt x="2" y="276"/>
                  <a:pt x="2" y="276"/>
                </a:cubicBezTo>
                <a:cubicBezTo>
                  <a:pt x="2" y="276"/>
                  <a:pt x="6" y="292"/>
                  <a:pt x="17" y="292"/>
                </a:cubicBezTo>
                <a:cubicBezTo>
                  <a:pt x="28" y="292"/>
                  <a:pt x="30" y="295"/>
                  <a:pt x="32" y="302"/>
                </a:cubicBezTo>
                <a:cubicBezTo>
                  <a:pt x="33" y="310"/>
                  <a:pt x="40" y="315"/>
                  <a:pt x="43" y="321"/>
                </a:cubicBezTo>
                <a:cubicBezTo>
                  <a:pt x="46" y="327"/>
                  <a:pt x="39" y="335"/>
                  <a:pt x="43" y="346"/>
                </a:cubicBezTo>
                <a:cubicBezTo>
                  <a:pt x="48" y="357"/>
                  <a:pt x="45" y="365"/>
                  <a:pt x="49" y="369"/>
                </a:cubicBezTo>
                <a:cubicBezTo>
                  <a:pt x="54" y="373"/>
                  <a:pt x="59" y="384"/>
                  <a:pt x="46" y="384"/>
                </a:cubicBezTo>
                <a:cubicBezTo>
                  <a:pt x="34" y="384"/>
                  <a:pt x="15" y="372"/>
                  <a:pt x="13" y="383"/>
                </a:cubicBezTo>
                <a:cubicBezTo>
                  <a:pt x="10" y="394"/>
                  <a:pt x="8" y="394"/>
                  <a:pt x="18" y="401"/>
                </a:cubicBezTo>
                <a:cubicBezTo>
                  <a:pt x="27" y="407"/>
                  <a:pt x="33" y="412"/>
                  <a:pt x="38" y="419"/>
                </a:cubicBezTo>
                <a:cubicBezTo>
                  <a:pt x="42" y="426"/>
                  <a:pt x="54" y="452"/>
                  <a:pt x="54" y="452"/>
                </a:cubicBezTo>
                <a:cubicBezTo>
                  <a:pt x="54" y="452"/>
                  <a:pt x="62" y="458"/>
                  <a:pt x="69" y="453"/>
                </a:cubicBezTo>
                <a:cubicBezTo>
                  <a:pt x="76" y="447"/>
                  <a:pt x="80" y="437"/>
                  <a:pt x="83" y="443"/>
                </a:cubicBezTo>
                <a:cubicBezTo>
                  <a:pt x="86" y="449"/>
                  <a:pt x="86" y="459"/>
                  <a:pt x="93" y="450"/>
                </a:cubicBezTo>
                <a:cubicBezTo>
                  <a:pt x="101" y="442"/>
                  <a:pt x="101" y="440"/>
                  <a:pt x="111" y="439"/>
                </a:cubicBezTo>
                <a:cubicBezTo>
                  <a:pt x="120" y="439"/>
                  <a:pt x="120" y="435"/>
                  <a:pt x="129" y="436"/>
                </a:cubicBezTo>
                <a:cubicBezTo>
                  <a:pt x="139" y="436"/>
                  <a:pt x="151" y="425"/>
                  <a:pt x="151" y="420"/>
                </a:cubicBezTo>
                <a:cubicBezTo>
                  <a:pt x="151" y="415"/>
                  <a:pt x="139" y="408"/>
                  <a:pt x="151" y="409"/>
                </a:cubicBezTo>
                <a:cubicBezTo>
                  <a:pt x="163" y="409"/>
                  <a:pt x="172" y="409"/>
                  <a:pt x="178" y="407"/>
                </a:cubicBezTo>
                <a:cubicBezTo>
                  <a:pt x="185" y="405"/>
                  <a:pt x="194" y="407"/>
                  <a:pt x="197" y="399"/>
                </a:cubicBezTo>
                <a:cubicBezTo>
                  <a:pt x="199" y="391"/>
                  <a:pt x="197" y="384"/>
                  <a:pt x="209" y="380"/>
                </a:cubicBezTo>
                <a:cubicBezTo>
                  <a:pt x="221" y="376"/>
                  <a:pt x="223" y="373"/>
                  <a:pt x="225" y="366"/>
                </a:cubicBezTo>
                <a:cubicBezTo>
                  <a:pt x="227" y="359"/>
                  <a:pt x="235" y="354"/>
                  <a:pt x="240" y="354"/>
                </a:cubicBezTo>
                <a:cubicBezTo>
                  <a:pt x="245" y="354"/>
                  <a:pt x="258" y="354"/>
                  <a:pt x="258" y="354"/>
                </a:cubicBezTo>
                <a:cubicBezTo>
                  <a:pt x="258" y="354"/>
                  <a:pt x="265" y="348"/>
                  <a:pt x="255" y="342"/>
                </a:cubicBezTo>
                <a:cubicBezTo>
                  <a:pt x="246" y="336"/>
                  <a:pt x="246" y="332"/>
                  <a:pt x="246" y="323"/>
                </a:cubicBezTo>
                <a:cubicBezTo>
                  <a:pt x="246" y="314"/>
                  <a:pt x="246" y="306"/>
                  <a:pt x="240" y="307"/>
                </a:cubicBezTo>
                <a:cubicBezTo>
                  <a:pt x="235" y="308"/>
                  <a:pt x="223" y="310"/>
                  <a:pt x="227" y="301"/>
                </a:cubicBezTo>
                <a:cubicBezTo>
                  <a:pt x="230" y="292"/>
                  <a:pt x="230" y="291"/>
                  <a:pt x="235" y="291"/>
                </a:cubicBezTo>
                <a:cubicBezTo>
                  <a:pt x="239" y="290"/>
                  <a:pt x="239" y="288"/>
                  <a:pt x="240" y="286"/>
                </a:cubicBezTo>
                <a:cubicBezTo>
                  <a:pt x="240" y="283"/>
                  <a:pt x="241" y="280"/>
                  <a:pt x="237" y="279"/>
                </a:cubicBezTo>
                <a:cubicBezTo>
                  <a:pt x="232" y="278"/>
                  <a:pt x="227" y="275"/>
                  <a:pt x="229" y="272"/>
                </a:cubicBezTo>
                <a:cubicBezTo>
                  <a:pt x="232" y="269"/>
                  <a:pt x="229" y="264"/>
                  <a:pt x="235" y="264"/>
                </a:cubicBezTo>
                <a:cubicBezTo>
                  <a:pt x="241" y="264"/>
                  <a:pt x="246" y="258"/>
                  <a:pt x="243" y="256"/>
                </a:cubicBezTo>
                <a:cubicBezTo>
                  <a:pt x="240" y="253"/>
                  <a:pt x="243" y="249"/>
                  <a:pt x="243" y="249"/>
                </a:cubicBezTo>
                <a:cubicBezTo>
                  <a:pt x="243" y="249"/>
                  <a:pt x="248" y="244"/>
                  <a:pt x="254" y="244"/>
                </a:cubicBezTo>
                <a:cubicBezTo>
                  <a:pt x="260" y="244"/>
                  <a:pt x="262" y="242"/>
                  <a:pt x="259" y="233"/>
                </a:cubicBezTo>
                <a:cubicBezTo>
                  <a:pt x="257" y="224"/>
                  <a:pt x="254" y="220"/>
                  <a:pt x="259" y="220"/>
                </a:cubicBezTo>
                <a:cubicBezTo>
                  <a:pt x="264" y="220"/>
                  <a:pt x="259" y="212"/>
                  <a:pt x="265" y="212"/>
                </a:cubicBezTo>
                <a:cubicBezTo>
                  <a:pt x="272" y="212"/>
                  <a:pt x="273" y="208"/>
                  <a:pt x="277" y="213"/>
                </a:cubicBezTo>
                <a:cubicBezTo>
                  <a:pt x="281" y="218"/>
                  <a:pt x="285" y="218"/>
                  <a:pt x="285" y="218"/>
                </a:cubicBezTo>
                <a:lnTo>
                  <a:pt x="280" y="11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8" name="Freeform 674"/>
          <p:cNvSpPr>
            <a:spLocks/>
          </p:cNvSpPr>
          <p:nvPr userDrawn="1"/>
        </p:nvSpPr>
        <p:spPr bwMode="auto">
          <a:xfrm>
            <a:off x="5529184" y="4659577"/>
            <a:ext cx="316592" cy="264664"/>
          </a:xfrm>
          <a:custGeom>
            <a:avLst/>
            <a:gdLst>
              <a:gd name="T0" fmla="*/ 2147483646 w 340"/>
              <a:gd name="T1" fmla="*/ 2147483646 h 283"/>
              <a:gd name="T2" fmla="*/ 2147483646 w 340"/>
              <a:gd name="T3" fmla="*/ 2147483646 h 283"/>
              <a:gd name="T4" fmla="*/ 2147483646 w 340"/>
              <a:gd name="T5" fmla="*/ 2147483646 h 283"/>
              <a:gd name="T6" fmla="*/ 2147483646 w 340"/>
              <a:gd name="T7" fmla="*/ 2147483646 h 283"/>
              <a:gd name="T8" fmla="*/ 2147483646 w 340"/>
              <a:gd name="T9" fmla="*/ 2147483646 h 283"/>
              <a:gd name="T10" fmla="*/ 2147483646 w 340"/>
              <a:gd name="T11" fmla="*/ 2147483646 h 283"/>
              <a:gd name="T12" fmla="*/ 2147483646 w 340"/>
              <a:gd name="T13" fmla="*/ 2147483646 h 283"/>
              <a:gd name="T14" fmla="*/ 2147483646 w 340"/>
              <a:gd name="T15" fmla="*/ 2147483646 h 283"/>
              <a:gd name="T16" fmla="*/ 2147483646 w 340"/>
              <a:gd name="T17" fmla="*/ 2147483646 h 283"/>
              <a:gd name="T18" fmla="*/ 2147483646 w 340"/>
              <a:gd name="T19" fmla="*/ 2147483646 h 283"/>
              <a:gd name="T20" fmla="*/ 2147483646 w 340"/>
              <a:gd name="T21" fmla="*/ 2147483646 h 283"/>
              <a:gd name="T22" fmla="*/ 2147483646 w 340"/>
              <a:gd name="T23" fmla="*/ 2147483646 h 283"/>
              <a:gd name="T24" fmla="*/ 2147483646 w 340"/>
              <a:gd name="T25" fmla="*/ 2147483646 h 283"/>
              <a:gd name="T26" fmla="*/ 2147483646 w 340"/>
              <a:gd name="T27" fmla="*/ 2147483646 h 283"/>
              <a:gd name="T28" fmla="*/ 2147483646 w 340"/>
              <a:gd name="T29" fmla="*/ 2147483646 h 283"/>
              <a:gd name="T30" fmla="*/ 2147483646 w 340"/>
              <a:gd name="T31" fmla="*/ 2147483646 h 283"/>
              <a:gd name="T32" fmla="*/ 2147483646 w 340"/>
              <a:gd name="T33" fmla="*/ 2147483646 h 283"/>
              <a:gd name="T34" fmla="*/ 2147483646 w 340"/>
              <a:gd name="T35" fmla="*/ 2147483646 h 283"/>
              <a:gd name="T36" fmla="*/ 2147483646 w 340"/>
              <a:gd name="T37" fmla="*/ 2147483646 h 283"/>
              <a:gd name="T38" fmla="*/ 2147483646 w 340"/>
              <a:gd name="T39" fmla="*/ 2147483646 h 283"/>
              <a:gd name="T40" fmla="*/ 2147483646 w 340"/>
              <a:gd name="T41" fmla="*/ 2147483646 h 283"/>
              <a:gd name="T42" fmla="*/ 2147483646 w 340"/>
              <a:gd name="T43" fmla="*/ 2147483646 h 283"/>
              <a:gd name="T44" fmla="*/ 2147483646 w 340"/>
              <a:gd name="T45" fmla="*/ 2147483646 h 283"/>
              <a:gd name="T46" fmla="*/ 2147483646 w 340"/>
              <a:gd name="T47" fmla="*/ 2147483646 h 283"/>
              <a:gd name="T48" fmla="*/ 2147483646 w 340"/>
              <a:gd name="T49" fmla="*/ 2147483646 h 283"/>
              <a:gd name="T50" fmla="*/ 2147483646 w 340"/>
              <a:gd name="T51" fmla="*/ 2147483646 h 283"/>
              <a:gd name="T52" fmla="*/ 2147483646 w 340"/>
              <a:gd name="T53" fmla="*/ 2147483646 h 283"/>
              <a:gd name="T54" fmla="*/ 2147483646 w 340"/>
              <a:gd name="T55" fmla="*/ 2147483646 h 283"/>
              <a:gd name="T56" fmla="*/ 2147483646 w 340"/>
              <a:gd name="T57" fmla="*/ 2147483646 h 283"/>
              <a:gd name="T58" fmla="*/ 2147483646 w 340"/>
              <a:gd name="T59" fmla="*/ 2147483646 h 283"/>
              <a:gd name="T60" fmla="*/ 2147483646 w 340"/>
              <a:gd name="T61" fmla="*/ 2147483646 h 283"/>
              <a:gd name="T62" fmla="*/ 2147483646 w 340"/>
              <a:gd name="T63" fmla="*/ 2147483646 h 283"/>
              <a:gd name="T64" fmla="*/ 2147483646 w 340"/>
              <a:gd name="T65" fmla="*/ 2147483646 h 283"/>
              <a:gd name="T66" fmla="*/ 2147483646 w 340"/>
              <a:gd name="T67" fmla="*/ 2147483646 h 283"/>
              <a:gd name="T68" fmla="*/ 2147483646 w 340"/>
              <a:gd name="T69" fmla="*/ 2147483646 h 283"/>
              <a:gd name="T70" fmla="*/ 2147483646 w 340"/>
              <a:gd name="T71" fmla="*/ 2147483646 h 283"/>
              <a:gd name="T72" fmla="*/ 2147483646 w 340"/>
              <a:gd name="T73" fmla="*/ 2147483646 h 283"/>
              <a:gd name="T74" fmla="*/ 2147483646 w 340"/>
              <a:gd name="T75" fmla="*/ 2147483646 h 283"/>
              <a:gd name="T76" fmla="*/ 2147483646 w 340"/>
              <a:gd name="T77" fmla="*/ 2147483646 h 283"/>
              <a:gd name="T78" fmla="*/ 2147483646 w 340"/>
              <a:gd name="T79" fmla="*/ 2147483646 h 283"/>
              <a:gd name="T80" fmla="*/ 2147483646 w 340"/>
              <a:gd name="T81" fmla="*/ 2147483646 h 283"/>
              <a:gd name="T82" fmla="*/ 2147483646 w 340"/>
              <a:gd name="T83" fmla="*/ 2147483646 h 283"/>
              <a:gd name="T84" fmla="*/ 2147483646 w 340"/>
              <a:gd name="T85" fmla="*/ 2147483646 h 283"/>
              <a:gd name="T86" fmla="*/ 2147483646 w 340"/>
              <a:gd name="T87" fmla="*/ 2147483646 h 283"/>
              <a:gd name="T88" fmla="*/ 2147483646 w 340"/>
              <a:gd name="T89" fmla="*/ 2147483646 h 283"/>
              <a:gd name="T90" fmla="*/ 2147483646 w 340"/>
              <a:gd name="T91" fmla="*/ 2147483646 h 283"/>
              <a:gd name="T92" fmla="*/ 2147483646 w 340"/>
              <a:gd name="T93" fmla="*/ 2147483646 h 283"/>
              <a:gd name="T94" fmla="*/ 2147483646 w 340"/>
              <a:gd name="T95" fmla="*/ 2147483646 h 283"/>
              <a:gd name="T96" fmla="*/ 2147483646 w 340"/>
              <a:gd name="T97" fmla="*/ 2147483646 h 283"/>
              <a:gd name="T98" fmla="*/ 2147483646 w 340"/>
              <a:gd name="T99" fmla="*/ 2147483646 h 283"/>
              <a:gd name="T100" fmla="*/ 2147483646 w 340"/>
              <a:gd name="T101" fmla="*/ 2147483646 h 283"/>
              <a:gd name="T102" fmla="*/ 2147483646 w 340"/>
              <a:gd name="T103" fmla="*/ 2147483646 h 283"/>
              <a:gd name="T104" fmla="*/ 2147483646 w 340"/>
              <a:gd name="T105" fmla="*/ 2147483646 h 283"/>
              <a:gd name="T106" fmla="*/ 2147483646 w 340"/>
              <a:gd name="T107" fmla="*/ 2147483646 h 283"/>
              <a:gd name="T108" fmla="*/ 2147483646 w 340"/>
              <a:gd name="T109" fmla="*/ 2147483646 h 283"/>
              <a:gd name="T110" fmla="*/ 2147483646 w 340"/>
              <a:gd name="T111" fmla="*/ 2147483646 h 283"/>
              <a:gd name="T112" fmla="*/ 2147483646 w 340"/>
              <a:gd name="T113" fmla="*/ 2147483646 h 283"/>
              <a:gd name="T114" fmla="*/ 2147483646 w 340"/>
              <a:gd name="T115" fmla="*/ 2147483646 h 283"/>
              <a:gd name="T116" fmla="*/ 2147483646 w 340"/>
              <a:gd name="T117" fmla="*/ 2147483646 h 283"/>
              <a:gd name="T118" fmla="*/ 2147483646 w 340"/>
              <a:gd name="T119" fmla="*/ 2147483646 h 283"/>
              <a:gd name="T120" fmla="*/ 2147483646 w 340"/>
              <a:gd name="T121" fmla="*/ 2147483646 h 283"/>
              <a:gd name="T122" fmla="*/ 2147483646 w 340"/>
              <a:gd name="T123" fmla="*/ 2147483646 h 283"/>
              <a:gd name="T124" fmla="*/ 2147483646 w 340"/>
              <a:gd name="T125" fmla="*/ 2147483646 h 28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0"/>
              <a:gd name="T190" fmla="*/ 0 h 283"/>
              <a:gd name="T191" fmla="*/ 340 w 340"/>
              <a:gd name="T192" fmla="*/ 283 h 28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0" h="283">
                <a:moveTo>
                  <a:pt x="325" y="34"/>
                </a:moveTo>
                <a:cubicBezTo>
                  <a:pt x="314" y="34"/>
                  <a:pt x="310" y="18"/>
                  <a:pt x="310" y="18"/>
                </a:cubicBezTo>
                <a:cubicBezTo>
                  <a:pt x="310" y="18"/>
                  <a:pt x="303" y="17"/>
                  <a:pt x="295" y="18"/>
                </a:cubicBezTo>
                <a:cubicBezTo>
                  <a:pt x="288" y="19"/>
                  <a:pt x="290" y="22"/>
                  <a:pt x="280" y="24"/>
                </a:cubicBezTo>
                <a:cubicBezTo>
                  <a:pt x="269" y="26"/>
                  <a:pt x="277" y="29"/>
                  <a:pt x="261" y="28"/>
                </a:cubicBezTo>
                <a:cubicBezTo>
                  <a:pt x="245" y="27"/>
                  <a:pt x="253" y="29"/>
                  <a:pt x="236" y="20"/>
                </a:cubicBezTo>
                <a:cubicBezTo>
                  <a:pt x="219" y="11"/>
                  <a:pt x="216" y="26"/>
                  <a:pt x="212" y="29"/>
                </a:cubicBezTo>
                <a:cubicBezTo>
                  <a:pt x="209" y="33"/>
                  <a:pt x="191" y="38"/>
                  <a:pt x="184" y="39"/>
                </a:cubicBezTo>
                <a:cubicBezTo>
                  <a:pt x="178" y="40"/>
                  <a:pt x="169" y="26"/>
                  <a:pt x="167" y="25"/>
                </a:cubicBezTo>
                <a:cubicBezTo>
                  <a:pt x="165" y="24"/>
                  <a:pt x="157" y="27"/>
                  <a:pt x="150" y="26"/>
                </a:cubicBezTo>
                <a:cubicBezTo>
                  <a:pt x="142" y="24"/>
                  <a:pt x="144" y="28"/>
                  <a:pt x="135" y="31"/>
                </a:cubicBezTo>
                <a:cubicBezTo>
                  <a:pt x="127" y="33"/>
                  <a:pt x="128" y="33"/>
                  <a:pt x="122" y="31"/>
                </a:cubicBezTo>
                <a:cubicBezTo>
                  <a:pt x="116" y="30"/>
                  <a:pt x="123" y="20"/>
                  <a:pt x="123" y="20"/>
                </a:cubicBezTo>
                <a:cubicBezTo>
                  <a:pt x="123" y="20"/>
                  <a:pt x="119" y="17"/>
                  <a:pt x="117" y="17"/>
                </a:cubicBezTo>
                <a:cubicBezTo>
                  <a:pt x="115" y="16"/>
                  <a:pt x="104" y="15"/>
                  <a:pt x="93" y="7"/>
                </a:cubicBezTo>
                <a:cubicBezTo>
                  <a:pt x="82" y="0"/>
                  <a:pt x="83" y="7"/>
                  <a:pt x="82" y="10"/>
                </a:cubicBezTo>
                <a:cubicBezTo>
                  <a:pt x="81" y="14"/>
                  <a:pt x="76" y="13"/>
                  <a:pt x="64" y="12"/>
                </a:cubicBezTo>
                <a:cubicBezTo>
                  <a:pt x="53" y="10"/>
                  <a:pt x="50" y="21"/>
                  <a:pt x="48" y="26"/>
                </a:cubicBezTo>
                <a:cubicBezTo>
                  <a:pt x="46" y="31"/>
                  <a:pt x="48" y="29"/>
                  <a:pt x="46" y="35"/>
                </a:cubicBezTo>
                <a:cubicBezTo>
                  <a:pt x="45" y="41"/>
                  <a:pt x="42" y="42"/>
                  <a:pt x="38" y="42"/>
                </a:cubicBezTo>
                <a:cubicBezTo>
                  <a:pt x="35" y="43"/>
                  <a:pt x="35" y="51"/>
                  <a:pt x="35" y="51"/>
                </a:cubicBezTo>
                <a:cubicBezTo>
                  <a:pt x="31" y="65"/>
                  <a:pt x="31" y="65"/>
                  <a:pt x="31" y="65"/>
                </a:cubicBezTo>
                <a:cubicBezTo>
                  <a:pt x="35" y="70"/>
                  <a:pt x="31" y="72"/>
                  <a:pt x="32" y="76"/>
                </a:cubicBezTo>
                <a:cubicBezTo>
                  <a:pt x="33" y="80"/>
                  <a:pt x="35" y="83"/>
                  <a:pt x="37" y="86"/>
                </a:cubicBezTo>
                <a:cubicBezTo>
                  <a:pt x="38" y="90"/>
                  <a:pt x="41" y="90"/>
                  <a:pt x="38" y="97"/>
                </a:cubicBezTo>
                <a:cubicBezTo>
                  <a:pt x="35" y="104"/>
                  <a:pt x="29" y="107"/>
                  <a:pt x="30" y="112"/>
                </a:cubicBezTo>
                <a:cubicBezTo>
                  <a:pt x="32" y="117"/>
                  <a:pt x="38" y="121"/>
                  <a:pt x="30" y="123"/>
                </a:cubicBezTo>
                <a:cubicBezTo>
                  <a:pt x="22" y="125"/>
                  <a:pt x="20" y="121"/>
                  <a:pt x="20" y="124"/>
                </a:cubicBezTo>
                <a:cubicBezTo>
                  <a:pt x="19" y="128"/>
                  <a:pt x="16" y="126"/>
                  <a:pt x="15" y="129"/>
                </a:cubicBezTo>
                <a:cubicBezTo>
                  <a:pt x="13" y="132"/>
                  <a:pt x="26" y="139"/>
                  <a:pt x="15" y="141"/>
                </a:cubicBezTo>
                <a:cubicBezTo>
                  <a:pt x="4" y="143"/>
                  <a:pt x="0" y="144"/>
                  <a:pt x="3" y="152"/>
                </a:cubicBezTo>
                <a:cubicBezTo>
                  <a:pt x="6" y="161"/>
                  <a:pt x="5" y="166"/>
                  <a:pt x="4" y="171"/>
                </a:cubicBezTo>
                <a:cubicBezTo>
                  <a:pt x="3" y="175"/>
                  <a:pt x="3" y="176"/>
                  <a:pt x="4" y="182"/>
                </a:cubicBezTo>
                <a:cubicBezTo>
                  <a:pt x="6" y="189"/>
                  <a:pt x="7" y="191"/>
                  <a:pt x="7" y="197"/>
                </a:cubicBezTo>
                <a:cubicBezTo>
                  <a:pt x="7" y="202"/>
                  <a:pt x="2" y="220"/>
                  <a:pt x="2" y="220"/>
                </a:cubicBezTo>
                <a:cubicBezTo>
                  <a:pt x="2" y="220"/>
                  <a:pt x="15" y="225"/>
                  <a:pt x="23" y="223"/>
                </a:cubicBezTo>
                <a:cubicBezTo>
                  <a:pt x="31" y="221"/>
                  <a:pt x="37" y="221"/>
                  <a:pt x="43" y="219"/>
                </a:cubicBezTo>
                <a:cubicBezTo>
                  <a:pt x="49" y="218"/>
                  <a:pt x="59" y="216"/>
                  <a:pt x="61" y="226"/>
                </a:cubicBezTo>
                <a:cubicBezTo>
                  <a:pt x="64" y="236"/>
                  <a:pt x="74" y="257"/>
                  <a:pt x="81" y="267"/>
                </a:cubicBezTo>
                <a:cubicBezTo>
                  <a:pt x="89" y="277"/>
                  <a:pt x="94" y="283"/>
                  <a:pt x="111" y="277"/>
                </a:cubicBezTo>
                <a:cubicBezTo>
                  <a:pt x="128" y="270"/>
                  <a:pt x="134" y="266"/>
                  <a:pt x="146" y="269"/>
                </a:cubicBezTo>
                <a:cubicBezTo>
                  <a:pt x="157" y="273"/>
                  <a:pt x="165" y="269"/>
                  <a:pt x="165" y="269"/>
                </a:cubicBezTo>
                <a:cubicBezTo>
                  <a:pt x="165" y="269"/>
                  <a:pt x="176" y="246"/>
                  <a:pt x="175" y="238"/>
                </a:cubicBezTo>
                <a:cubicBezTo>
                  <a:pt x="174" y="230"/>
                  <a:pt x="183" y="231"/>
                  <a:pt x="192" y="222"/>
                </a:cubicBezTo>
                <a:cubicBezTo>
                  <a:pt x="201" y="214"/>
                  <a:pt x="199" y="211"/>
                  <a:pt x="205" y="206"/>
                </a:cubicBezTo>
                <a:cubicBezTo>
                  <a:pt x="211" y="201"/>
                  <a:pt x="215" y="198"/>
                  <a:pt x="220" y="203"/>
                </a:cubicBezTo>
                <a:cubicBezTo>
                  <a:pt x="226" y="207"/>
                  <a:pt x="230" y="193"/>
                  <a:pt x="231" y="202"/>
                </a:cubicBezTo>
                <a:cubicBezTo>
                  <a:pt x="231" y="211"/>
                  <a:pt x="227" y="213"/>
                  <a:pt x="232" y="216"/>
                </a:cubicBezTo>
                <a:cubicBezTo>
                  <a:pt x="237" y="219"/>
                  <a:pt x="235" y="215"/>
                  <a:pt x="239" y="222"/>
                </a:cubicBezTo>
                <a:cubicBezTo>
                  <a:pt x="244" y="228"/>
                  <a:pt x="245" y="225"/>
                  <a:pt x="251" y="217"/>
                </a:cubicBezTo>
                <a:cubicBezTo>
                  <a:pt x="258" y="208"/>
                  <a:pt x="258" y="209"/>
                  <a:pt x="260" y="201"/>
                </a:cubicBezTo>
                <a:cubicBezTo>
                  <a:pt x="261" y="193"/>
                  <a:pt x="268" y="185"/>
                  <a:pt x="269" y="178"/>
                </a:cubicBezTo>
                <a:cubicBezTo>
                  <a:pt x="269" y="170"/>
                  <a:pt x="269" y="162"/>
                  <a:pt x="272" y="159"/>
                </a:cubicBezTo>
                <a:cubicBezTo>
                  <a:pt x="275" y="157"/>
                  <a:pt x="254" y="157"/>
                  <a:pt x="272" y="151"/>
                </a:cubicBezTo>
                <a:cubicBezTo>
                  <a:pt x="289" y="144"/>
                  <a:pt x="291" y="137"/>
                  <a:pt x="291" y="132"/>
                </a:cubicBezTo>
                <a:cubicBezTo>
                  <a:pt x="291" y="128"/>
                  <a:pt x="293" y="124"/>
                  <a:pt x="296" y="121"/>
                </a:cubicBezTo>
                <a:cubicBezTo>
                  <a:pt x="299" y="117"/>
                  <a:pt x="300" y="105"/>
                  <a:pt x="300" y="105"/>
                </a:cubicBezTo>
                <a:cubicBezTo>
                  <a:pt x="300" y="105"/>
                  <a:pt x="305" y="91"/>
                  <a:pt x="308" y="91"/>
                </a:cubicBezTo>
                <a:cubicBezTo>
                  <a:pt x="310" y="91"/>
                  <a:pt x="307" y="75"/>
                  <a:pt x="315" y="78"/>
                </a:cubicBezTo>
                <a:cubicBezTo>
                  <a:pt x="323" y="81"/>
                  <a:pt x="326" y="80"/>
                  <a:pt x="329" y="80"/>
                </a:cubicBezTo>
                <a:cubicBezTo>
                  <a:pt x="332" y="80"/>
                  <a:pt x="340" y="63"/>
                  <a:pt x="332" y="60"/>
                </a:cubicBezTo>
                <a:cubicBezTo>
                  <a:pt x="325" y="57"/>
                  <a:pt x="322" y="51"/>
                  <a:pt x="322" y="49"/>
                </a:cubicBezTo>
                <a:cubicBezTo>
                  <a:pt x="322" y="47"/>
                  <a:pt x="325" y="34"/>
                  <a:pt x="325" y="3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9" name="Freeform 675"/>
          <p:cNvSpPr>
            <a:spLocks/>
          </p:cNvSpPr>
          <p:nvPr userDrawn="1"/>
        </p:nvSpPr>
        <p:spPr bwMode="auto">
          <a:xfrm>
            <a:off x="5683292" y="4691405"/>
            <a:ext cx="202685" cy="301516"/>
          </a:xfrm>
          <a:custGeom>
            <a:avLst/>
            <a:gdLst>
              <a:gd name="T0" fmla="*/ 2147483646 w 218"/>
              <a:gd name="T1" fmla="*/ 2147483646 h 323"/>
              <a:gd name="T2" fmla="*/ 2147483646 w 218"/>
              <a:gd name="T3" fmla="*/ 2147483646 h 323"/>
              <a:gd name="T4" fmla="*/ 2147483646 w 218"/>
              <a:gd name="T5" fmla="*/ 2147483646 h 323"/>
              <a:gd name="T6" fmla="*/ 2147483646 w 218"/>
              <a:gd name="T7" fmla="*/ 2147483646 h 323"/>
              <a:gd name="T8" fmla="*/ 2147483646 w 218"/>
              <a:gd name="T9" fmla="*/ 2147483646 h 323"/>
              <a:gd name="T10" fmla="*/ 2147483646 w 218"/>
              <a:gd name="T11" fmla="*/ 2147483646 h 323"/>
              <a:gd name="T12" fmla="*/ 2147483646 w 218"/>
              <a:gd name="T13" fmla="*/ 2147483646 h 323"/>
              <a:gd name="T14" fmla="*/ 2147483646 w 218"/>
              <a:gd name="T15" fmla="*/ 2147483646 h 323"/>
              <a:gd name="T16" fmla="*/ 2147483646 w 218"/>
              <a:gd name="T17" fmla="*/ 2147483646 h 323"/>
              <a:gd name="T18" fmla="*/ 2147483646 w 218"/>
              <a:gd name="T19" fmla="*/ 0 h 323"/>
              <a:gd name="T20" fmla="*/ 2147483646 w 218"/>
              <a:gd name="T21" fmla="*/ 2147483646 h 323"/>
              <a:gd name="T22" fmla="*/ 2147483646 w 218"/>
              <a:gd name="T23" fmla="*/ 2147483646 h 323"/>
              <a:gd name="T24" fmla="*/ 2147483646 w 218"/>
              <a:gd name="T25" fmla="*/ 2147483646 h 323"/>
              <a:gd name="T26" fmla="*/ 2147483646 w 218"/>
              <a:gd name="T27" fmla="*/ 2147483646 h 323"/>
              <a:gd name="T28" fmla="*/ 2147483646 w 218"/>
              <a:gd name="T29" fmla="*/ 2147483646 h 323"/>
              <a:gd name="T30" fmla="*/ 2147483646 w 218"/>
              <a:gd name="T31" fmla="*/ 2147483646 h 323"/>
              <a:gd name="T32" fmla="*/ 2147483646 w 218"/>
              <a:gd name="T33" fmla="*/ 2147483646 h 323"/>
              <a:gd name="T34" fmla="*/ 2147483646 w 218"/>
              <a:gd name="T35" fmla="*/ 2147483646 h 323"/>
              <a:gd name="T36" fmla="*/ 2147483646 w 218"/>
              <a:gd name="T37" fmla="*/ 2147483646 h 323"/>
              <a:gd name="T38" fmla="*/ 2147483646 w 218"/>
              <a:gd name="T39" fmla="*/ 2147483646 h 323"/>
              <a:gd name="T40" fmla="*/ 2147483646 w 218"/>
              <a:gd name="T41" fmla="*/ 2147483646 h 323"/>
              <a:gd name="T42" fmla="*/ 2147483646 w 218"/>
              <a:gd name="T43" fmla="*/ 2147483646 h 323"/>
              <a:gd name="T44" fmla="*/ 2147483646 w 218"/>
              <a:gd name="T45" fmla="*/ 2147483646 h 323"/>
              <a:gd name="T46" fmla="*/ 2147483646 w 218"/>
              <a:gd name="T47" fmla="*/ 2147483646 h 323"/>
              <a:gd name="T48" fmla="*/ 2147483646 w 218"/>
              <a:gd name="T49" fmla="*/ 2147483646 h 323"/>
              <a:gd name="T50" fmla="*/ 2147483646 w 218"/>
              <a:gd name="T51" fmla="*/ 2147483646 h 323"/>
              <a:gd name="T52" fmla="*/ 2147483646 w 218"/>
              <a:gd name="T53" fmla="*/ 2147483646 h 323"/>
              <a:gd name="T54" fmla="*/ 2147483646 w 218"/>
              <a:gd name="T55" fmla="*/ 2147483646 h 323"/>
              <a:gd name="T56" fmla="*/ 2147483646 w 218"/>
              <a:gd name="T57" fmla="*/ 2147483646 h 323"/>
              <a:gd name="T58" fmla="*/ 2147483646 w 218"/>
              <a:gd name="T59" fmla="*/ 2147483646 h 323"/>
              <a:gd name="T60" fmla="*/ 0 w 218"/>
              <a:gd name="T61" fmla="*/ 2147483646 h 323"/>
              <a:gd name="T62" fmla="*/ 2147483646 w 218"/>
              <a:gd name="T63" fmla="*/ 2147483646 h 323"/>
              <a:gd name="T64" fmla="*/ 2147483646 w 218"/>
              <a:gd name="T65" fmla="*/ 2147483646 h 323"/>
              <a:gd name="T66" fmla="*/ 2147483646 w 218"/>
              <a:gd name="T67" fmla="*/ 2147483646 h 323"/>
              <a:gd name="T68" fmla="*/ 2147483646 w 218"/>
              <a:gd name="T69" fmla="*/ 2147483646 h 323"/>
              <a:gd name="T70" fmla="*/ 2147483646 w 218"/>
              <a:gd name="T71" fmla="*/ 2147483646 h 323"/>
              <a:gd name="T72" fmla="*/ 2147483646 w 218"/>
              <a:gd name="T73" fmla="*/ 2147483646 h 323"/>
              <a:gd name="T74" fmla="*/ 2147483646 w 218"/>
              <a:gd name="T75" fmla="*/ 2147483646 h 323"/>
              <a:gd name="T76" fmla="*/ 2147483646 w 218"/>
              <a:gd name="T77" fmla="*/ 2147483646 h 323"/>
              <a:gd name="T78" fmla="*/ 2147483646 w 218"/>
              <a:gd name="T79" fmla="*/ 2147483646 h 323"/>
              <a:gd name="T80" fmla="*/ 2147483646 w 218"/>
              <a:gd name="T81" fmla="*/ 2147483646 h 323"/>
              <a:gd name="T82" fmla="*/ 2147483646 w 218"/>
              <a:gd name="T83" fmla="*/ 2147483646 h 323"/>
              <a:gd name="T84" fmla="*/ 2147483646 w 218"/>
              <a:gd name="T85" fmla="*/ 2147483646 h 323"/>
              <a:gd name="T86" fmla="*/ 2147483646 w 218"/>
              <a:gd name="T87" fmla="*/ 2147483646 h 323"/>
              <a:gd name="T88" fmla="*/ 2147483646 w 218"/>
              <a:gd name="T89" fmla="*/ 2147483646 h 323"/>
              <a:gd name="T90" fmla="*/ 2147483646 w 218"/>
              <a:gd name="T91" fmla="*/ 2147483646 h 323"/>
              <a:gd name="T92" fmla="*/ 2147483646 w 218"/>
              <a:gd name="T93" fmla="*/ 2147483646 h 323"/>
              <a:gd name="T94" fmla="*/ 2147483646 w 218"/>
              <a:gd name="T95" fmla="*/ 2147483646 h 323"/>
              <a:gd name="T96" fmla="*/ 2147483646 w 218"/>
              <a:gd name="T97" fmla="*/ 2147483646 h 32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18"/>
              <a:gd name="T148" fmla="*/ 0 h 323"/>
              <a:gd name="T149" fmla="*/ 218 w 218"/>
              <a:gd name="T150" fmla="*/ 323 h 32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18" h="323">
                <a:moveTo>
                  <a:pt x="197" y="160"/>
                </a:moveTo>
                <a:cubicBezTo>
                  <a:pt x="197" y="160"/>
                  <a:pt x="185" y="134"/>
                  <a:pt x="181" y="127"/>
                </a:cubicBezTo>
                <a:cubicBezTo>
                  <a:pt x="176" y="120"/>
                  <a:pt x="170" y="115"/>
                  <a:pt x="161" y="109"/>
                </a:cubicBezTo>
                <a:cubicBezTo>
                  <a:pt x="151" y="102"/>
                  <a:pt x="153" y="102"/>
                  <a:pt x="156" y="91"/>
                </a:cubicBezTo>
                <a:cubicBezTo>
                  <a:pt x="158" y="80"/>
                  <a:pt x="177" y="92"/>
                  <a:pt x="189" y="92"/>
                </a:cubicBezTo>
                <a:cubicBezTo>
                  <a:pt x="202" y="92"/>
                  <a:pt x="197" y="81"/>
                  <a:pt x="192" y="77"/>
                </a:cubicBezTo>
                <a:cubicBezTo>
                  <a:pt x="188" y="73"/>
                  <a:pt x="191" y="65"/>
                  <a:pt x="186" y="54"/>
                </a:cubicBezTo>
                <a:cubicBezTo>
                  <a:pt x="182" y="43"/>
                  <a:pt x="189" y="35"/>
                  <a:pt x="186" y="29"/>
                </a:cubicBezTo>
                <a:cubicBezTo>
                  <a:pt x="183" y="23"/>
                  <a:pt x="176" y="18"/>
                  <a:pt x="175" y="10"/>
                </a:cubicBezTo>
                <a:cubicBezTo>
                  <a:pt x="173" y="3"/>
                  <a:pt x="171" y="0"/>
                  <a:pt x="160" y="0"/>
                </a:cubicBezTo>
                <a:cubicBezTo>
                  <a:pt x="160" y="0"/>
                  <a:pt x="157" y="13"/>
                  <a:pt x="157" y="15"/>
                </a:cubicBezTo>
                <a:cubicBezTo>
                  <a:pt x="157" y="17"/>
                  <a:pt x="160" y="23"/>
                  <a:pt x="167" y="26"/>
                </a:cubicBezTo>
                <a:cubicBezTo>
                  <a:pt x="175" y="29"/>
                  <a:pt x="167" y="46"/>
                  <a:pt x="164" y="46"/>
                </a:cubicBezTo>
                <a:cubicBezTo>
                  <a:pt x="161" y="46"/>
                  <a:pt x="158" y="47"/>
                  <a:pt x="150" y="44"/>
                </a:cubicBezTo>
                <a:cubicBezTo>
                  <a:pt x="142" y="41"/>
                  <a:pt x="145" y="57"/>
                  <a:pt x="143" y="57"/>
                </a:cubicBezTo>
                <a:cubicBezTo>
                  <a:pt x="140" y="57"/>
                  <a:pt x="135" y="71"/>
                  <a:pt x="135" y="71"/>
                </a:cubicBezTo>
                <a:cubicBezTo>
                  <a:pt x="135" y="71"/>
                  <a:pt x="134" y="83"/>
                  <a:pt x="131" y="87"/>
                </a:cubicBezTo>
                <a:cubicBezTo>
                  <a:pt x="128" y="90"/>
                  <a:pt x="126" y="94"/>
                  <a:pt x="126" y="98"/>
                </a:cubicBezTo>
                <a:cubicBezTo>
                  <a:pt x="126" y="103"/>
                  <a:pt x="124" y="110"/>
                  <a:pt x="107" y="117"/>
                </a:cubicBezTo>
                <a:cubicBezTo>
                  <a:pt x="89" y="123"/>
                  <a:pt x="110" y="123"/>
                  <a:pt x="107" y="125"/>
                </a:cubicBezTo>
                <a:cubicBezTo>
                  <a:pt x="104" y="128"/>
                  <a:pt x="104" y="136"/>
                  <a:pt x="104" y="144"/>
                </a:cubicBezTo>
                <a:cubicBezTo>
                  <a:pt x="103" y="151"/>
                  <a:pt x="96" y="159"/>
                  <a:pt x="95" y="167"/>
                </a:cubicBezTo>
                <a:cubicBezTo>
                  <a:pt x="93" y="175"/>
                  <a:pt x="93" y="174"/>
                  <a:pt x="86" y="183"/>
                </a:cubicBezTo>
                <a:cubicBezTo>
                  <a:pt x="80" y="191"/>
                  <a:pt x="79" y="194"/>
                  <a:pt x="74" y="188"/>
                </a:cubicBezTo>
                <a:cubicBezTo>
                  <a:pt x="70" y="181"/>
                  <a:pt x="72" y="185"/>
                  <a:pt x="67" y="182"/>
                </a:cubicBezTo>
                <a:cubicBezTo>
                  <a:pt x="62" y="179"/>
                  <a:pt x="66" y="177"/>
                  <a:pt x="66" y="168"/>
                </a:cubicBezTo>
                <a:cubicBezTo>
                  <a:pt x="65" y="159"/>
                  <a:pt x="61" y="173"/>
                  <a:pt x="55" y="169"/>
                </a:cubicBezTo>
                <a:cubicBezTo>
                  <a:pt x="50" y="164"/>
                  <a:pt x="46" y="167"/>
                  <a:pt x="40" y="172"/>
                </a:cubicBezTo>
                <a:cubicBezTo>
                  <a:pt x="34" y="177"/>
                  <a:pt x="36" y="180"/>
                  <a:pt x="27" y="188"/>
                </a:cubicBezTo>
                <a:cubicBezTo>
                  <a:pt x="18" y="197"/>
                  <a:pt x="9" y="196"/>
                  <a:pt x="10" y="204"/>
                </a:cubicBezTo>
                <a:cubicBezTo>
                  <a:pt x="11" y="212"/>
                  <a:pt x="0" y="235"/>
                  <a:pt x="0" y="235"/>
                </a:cubicBezTo>
                <a:cubicBezTo>
                  <a:pt x="0" y="235"/>
                  <a:pt x="9" y="235"/>
                  <a:pt x="10" y="241"/>
                </a:cubicBezTo>
                <a:cubicBezTo>
                  <a:pt x="10" y="247"/>
                  <a:pt x="16" y="257"/>
                  <a:pt x="18" y="258"/>
                </a:cubicBezTo>
                <a:cubicBezTo>
                  <a:pt x="19" y="258"/>
                  <a:pt x="24" y="248"/>
                  <a:pt x="35" y="247"/>
                </a:cubicBezTo>
                <a:cubicBezTo>
                  <a:pt x="35" y="247"/>
                  <a:pt x="28" y="251"/>
                  <a:pt x="31" y="257"/>
                </a:cubicBezTo>
                <a:cubicBezTo>
                  <a:pt x="34" y="263"/>
                  <a:pt x="23" y="265"/>
                  <a:pt x="31" y="270"/>
                </a:cubicBezTo>
                <a:cubicBezTo>
                  <a:pt x="39" y="275"/>
                  <a:pt x="42" y="281"/>
                  <a:pt x="39" y="285"/>
                </a:cubicBezTo>
                <a:cubicBezTo>
                  <a:pt x="36" y="289"/>
                  <a:pt x="36" y="305"/>
                  <a:pt x="36" y="305"/>
                </a:cubicBezTo>
                <a:cubicBezTo>
                  <a:pt x="36" y="305"/>
                  <a:pt x="61" y="310"/>
                  <a:pt x="79" y="306"/>
                </a:cubicBezTo>
                <a:cubicBezTo>
                  <a:pt x="96" y="303"/>
                  <a:pt x="95" y="295"/>
                  <a:pt x="122" y="302"/>
                </a:cubicBezTo>
                <a:cubicBezTo>
                  <a:pt x="149" y="308"/>
                  <a:pt x="168" y="309"/>
                  <a:pt x="174" y="312"/>
                </a:cubicBezTo>
                <a:cubicBezTo>
                  <a:pt x="180" y="314"/>
                  <a:pt x="208" y="307"/>
                  <a:pt x="213" y="323"/>
                </a:cubicBezTo>
                <a:cubicBezTo>
                  <a:pt x="213" y="323"/>
                  <a:pt x="218" y="302"/>
                  <a:pt x="211" y="292"/>
                </a:cubicBezTo>
                <a:cubicBezTo>
                  <a:pt x="205" y="283"/>
                  <a:pt x="182" y="268"/>
                  <a:pt x="182" y="260"/>
                </a:cubicBezTo>
                <a:cubicBezTo>
                  <a:pt x="183" y="252"/>
                  <a:pt x="184" y="248"/>
                  <a:pt x="177" y="241"/>
                </a:cubicBezTo>
                <a:cubicBezTo>
                  <a:pt x="169" y="234"/>
                  <a:pt x="170" y="226"/>
                  <a:pt x="170" y="216"/>
                </a:cubicBezTo>
                <a:cubicBezTo>
                  <a:pt x="169" y="205"/>
                  <a:pt x="162" y="205"/>
                  <a:pt x="164" y="200"/>
                </a:cubicBezTo>
                <a:cubicBezTo>
                  <a:pt x="166" y="196"/>
                  <a:pt x="171" y="201"/>
                  <a:pt x="174" y="195"/>
                </a:cubicBezTo>
                <a:cubicBezTo>
                  <a:pt x="178" y="190"/>
                  <a:pt x="187" y="165"/>
                  <a:pt x="197" y="16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0" name="Freeform 676"/>
          <p:cNvSpPr>
            <a:spLocks/>
          </p:cNvSpPr>
          <p:nvPr userDrawn="1"/>
        </p:nvSpPr>
        <p:spPr bwMode="auto">
          <a:xfrm>
            <a:off x="5834052" y="4750032"/>
            <a:ext cx="343393" cy="242888"/>
          </a:xfrm>
          <a:custGeom>
            <a:avLst/>
            <a:gdLst>
              <a:gd name="T0" fmla="*/ 2147483646 w 367"/>
              <a:gd name="T1" fmla="*/ 2147483646 h 261"/>
              <a:gd name="T2" fmla="*/ 2147483646 w 367"/>
              <a:gd name="T3" fmla="*/ 2147483646 h 261"/>
              <a:gd name="T4" fmla="*/ 2147483646 w 367"/>
              <a:gd name="T5" fmla="*/ 2147483646 h 261"/>
              <a:gd name="T6" fmla="*/ 2147483646 w 367"/>
              <a:gd name="T7" fmla="*/ 2147483646 h 261"/>
              <a:gd name="T8" fmla="*/ 2147483646 w 367"/>
              <a:gd name="T9" fmla="*/ 2147483646 h 261"/>
              <a:gd name="T10" fmla="*/ 2147483646 w 367"/>
              <a:gd name="T11" fmla="*/ 2147483646 h 261"/>
              <a:gd name="T12" fmla="*/ 2147483646 w 367"/>
              <a:gd name="T13" fmla="*/ 2147483646 h 261"/>
              <a:gd name="T14" fmla="*/ 2147483646 w 367"/>
              <a:gd name="T15" fmla="*/ 2147483646 h 261"/>
              <a:gd name="T16" fmla="*/ 2147483646 w 367"/>
              <a:gd name="T17" fmla="*/ 2147483646 h 261"/>
              <a:gd name="T18" fmla="*/ 2147483646 w 367"/>
              <a:gd name="T19" fmla="*/ 2147483646 h 261"/>
              <a:gd name="T20" fmla="*/ 2147483646 w 367"/>
              <a:gd name="T21" fmla="*/ 2147483646 h 261"/>
              <a:gd name="T22" fmla="*/ 2147483646 w 367"/>
              <a:gd name="T23" fmla="*/ 2147483646 h 261"/>
              <a:gd name="T24" fmla="*/ 2147483646 w 367"/>
              <a:gd name="T25" fmla="*/ 2147483646 h 261"/>
              <a:gd name="T26" fmla="*/ 2147483646 w 367"/>
              <a:gd name="T27" fmla="*/ 2147483646 h 261"/>
              <a:gd name="T28" fmla="*/ 2147483646 w 367"/>
              <a:gd name="T29" fmla="*/ 2147483646 h 261"/>
              <a:gd name="T30" fmla="*/ 2147483646 w 367"/>
              <a:gd name="T31" fmla="*/ 2147483646 h 261"/>
              <a:gd name="T32" fmla="*/ 2147483646 w 367"/>
              <a:gd name="T33" fmla="*/ 2147483646 h 261"/>
              <a:gd name="T34" fmla="*/ 2147483646 w 367"/>
              <a:gd name="T35" fmla="*/ 2147483646 h 261"/>
              <a:gd name="T36" fmla="*/ 2147483646 w 367"/>
              <a:gd name="T37" fmla="*/ 2147483646 h 261"/>
              <a:gd name="T38" fmla="*/ 2147483646 w 367"/>
              <a:gd name="T39" fmla="*/ 0 h 261"/>
              <a:gd name="T40" fmla="*/ 2147483646 w 367"/>
              <a:gd name="T41" fmla="*/ 0 h 261"/>
              <a:gd name="T42" fmla="*/ 2147483646 w 367"/>
              <a:gd name="T43" fmla="*/ 2147483646 h 261"/>
              <a:gd name="T44" fmla="*/ 2147483646 w 367"/>
              <a:gd name="T45" fmla="*/ 2147483646 h 261"/>
              <a:gd name="T46" fmla="*/ 2147483646 w 367"/>
              <a:gd name="T47" fmla="*/ 2147483646 h 261"/>
              <a:gd name="T48" fmla="*/ 2147483646 w 367"/>
              <a:gd name="T49" fmla="*/ 2147483646 h 261"/>
              <a:gd name="T50" fmla="*/ 2147483646 w 367"/>
              <a:gd name="T51" fmla="*/ 2147483646 h 261"/>
              <a:gd name="T52" fmla="*/ 2147483646 w 367"/>
              <a:gd name="T53" fmla="*/ 2147483646 h 261"/>
              <a:gd name="T54" fmla="*/ 2147483646 w 367"/>
              <a:gd name="T55" fmla="*/ 2147483646 h 261"/>
              <a:gd name="T56" fmla="*/ 2147483646 w 367"/>
              <a:gd name="T57" fmla="*/ 2147483646 h 261"/>
              <a:gd name="T58" fmla="*/ 2147483646 w 367"/>
              <a:gd name="T59" fmla="*/ 2147483646 h 261"/>
              <a:gd name="T60" fmla="*/ 2147483646 w 367"/>
              <a:gd name="T61" fmla="*/ 2147483646 h 261"/>
              <a:gd name="T62" fmla="*/ 2147483646 w 367"/>
              <a:gd name="T63" fmla="*/ 2147483646 h 261"/>
              <a:gd name="T64" fmla="*/ 2147483646 w 367"/>
              <a:gd name="T65" fmla="*/ 2147483646 h 261"/>
              <a:gd name="T66" fmla="*/ 2147483646 w 367"/>
              <a:gd name="T67" fmla="*/ 2147483646 h 261"/>
              <a:gd name="T68" fmla="*/ 2147483646 w 367"/>
              <a:gd name="T69" fmla="*/ 2147483646 h 261"/>
              <a:gd name="T70" fmla="*/ 2147483646 w 367"/>
              <a:gd name="T71" fmla="*/ 2147483646 h 261"/>
              <a:gd name="T72" fmla="*/ 2147483646 w 367"/>
              <a:gd name="T73" fmla="*/ 2147483646 h 261"/>
              <a:gd name="T74" fmla="*/ 2147483646 w 367"/>
              <a:gd name="T75" fmla="*/ 2147483646 h 261"/>
              <a:gd name="T76" fmla="*/ 2147483646 w 367"/>
              <a:gd name="T77" fmla="*/ 2147483646 h 261"/>
              <a:gd name="T78" fmla="*/ 2147483646 w 367"/>
              <a:gd name="T79" fmla="*/ 2147483646 h 261"/>
              <a:gd name="T80" fmla="*/ 2147483646 w 367"/>
              <a:gd name="T81" fmla="*/ 2147483646 h 261"/>
              <a:gd name="T82" fmla="*/ 2147483646 w 367"/>
              <a:gd name="T83" fmla="*/ 2147483646 h 261"/>
              <a:gd name="T84" fmla="*/ 2147483646 w 367"/>
              <a:gd name="T85" fmla="*/ 2147483646 h 261"/>
              <a:gd name="T86" fmla="*/ 2147483646 w 367"/>
              <a:gd name="T87" fmla="*/ 2147483646 h 261"/>
              <a:gd name="T88" fmla="*/ 2147483646 w 367"/>
              <a:gd name="T89" fmla="*/ 2147483646 h 261"/>
              <a:gd name="T90" fmla="*/ 2147483646 w 367"/>
              <a:gd name="T91" fmla="*/ 2147483646 h 261"/>
              <a:gd name="T92" fmla="*/ 2147483646 w 367"/>
              <a:gd name="T93" fmla="*/ 2147483646 h 261"/>
              <a:gd name="T94" fmla="*/ 2147483646 w 367"/>
              <a:gd name="T95" fmla="*/ 2147483646 h 261"/>
              <a:gd name="T96" fmla="*/ 2147483646 w 367"/>
              <a:gd name="T97" fmla="*/ 2147483646 h 261"/>
              <a:gd name="T98" fmla="*/ 2147483646 w 367"/>
              <a:gd name="T99" fmla="*/ 2147483646 h 261"/>
              <a:gd name="T100" fmla="*/ 2147483646 w 367"/>
              <a:gd name="T101" fmla="*/ 2147483646 h 261"/>
              <a:gd name="T102" fmla="*/ 2147483646 w 367"/>
              <a:gd name="T103" fmla="*/ 2147483646 h 261"/>
              <a:gd name="T104" fmla="*/ 2147483646 w 367"/>
              <a:gd name="T105" fmla="*/ 2147483646 h 261"/>
              <a:gd name="T106" fmla="*/ 2147483646 w 367"/>
              <a:gd name="T107" fmla="*/ 2147483646 h 261"/>
              <a:gd name="T108" fmla="*/ 2147483646 w 367"/>
              <a:gd name="T109" fmla="*/ 2147483646 h 261"/>
              <a:gd name="T110" fmla="*/ 2147483646 w 367"/>
              <a:gd name="T111" fmla="*/ 2147483646 h 261"/>
              <a:gd name="T112" fmla="*/ 2147483646 w 367"/>
              <a:gd name="T113" fmla="*/ 2147483646 h 261"/>
              <a:gd name="T114" fmla="*/ 2147483646 w 367"/>
              <a:gd name="T115" fmla="*/ 2147483646 h 26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67"/>
              <a:gd name="T175" fmla="*/ 0 h 261"/>
              <a:gd name="T176" fmla="*/ 367 w 367"/>
              <a:gd name="T177" fmla="*/ 261 h 26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67" h="261">
                <a:moveTo>
                  <a:pt x="51" y="261"/>
                </a:moveTo>
                <a:cubicBezTo>
                  <a:pt x="51" y="261"/>
                  <a:pt x="56" y="240"/>
                  <a:pt x="49" y="230"/>
                </a:cubicBezTo>
                <a:cubicBezTo>
                  <a:pt x="43" y="221"/>
                  <a:pt x="20" y="206"/>
                  <a:pt x="20" y="198"/>
                </a:cubicBezTo>
                <a:cubicBezTo>
                  <a:pt x="21" y="190"/>
                  <a:pt x="22" y="186"/>
                  <a:pt x="15" y="179"/>
                </a:cubicBezTo>
                <a:cubicBezTo>
                  <a:pt x="7" y="172"/>
                  <a:pt x="8" y="164"/>
                  <a:pt x="8" y="154"/>
                </a:cubicBezTo>
                <a:cubicBezTo>
                  <a:pt x="7" y="143"/>
                  <a:pt x="0" y="143"/>
                  <a:pt x="2" y="138"/>
                </a:cubicBezTo>
                <a:cubicBezTo>
                  <a:pt x="4" y="134"/>
                  <a:pt x="9" y="139"/>
                  <a:pt x="12" y="133"/>
                </a:cubicBezTo>
                <a:cubicBezTo>
                  <a:pt x="16" y="128"/>
                  <a:pt x="25" y="103"/>
                  <a:pt x="35" y="98"/>
                </a:cubicBezTo>
                <a:cubicBezTo>
                  <a:pt x="35" y="98"/>
                  <a:pt x="43" y="104"/>
                  <a:pt x="50" y="99"/>
                </a:cubicBezTo>
                <a:cubicBezTo>
                  <a:pt x="57" y="93"/>
                  <a:pt x="61" y="83"/>
                  <a:pt x="64" y="89"/>
                </a:cubicBezTo>
                <a:cubicBezTo>
                  <a:pt x="67" y="95"/>
                  <a:pt x="67" y="105"/>
                  <a:pt x="74" y="96"/>
                </a:cubicBezTo>
                <a:cubicBezTo>
                  <a:pt x="82" y="88"/>
                  <a:pt x="82" y="86"/>
                  <a:pt x="92" y="85"/>
                </a:cubicBezTo>
                <a:cubicBezTo>
                  <a:pt x="101" y="85"/>
                  <a:pt x="101" y="81"/>
                  <a:pt x="110" y="82"/>
                </a:cubicBezTo>
                <a:cubicBezTo>
                  <a:pt x="120" y="82"/>
                  <a:pt x="132" y="71"/>
                  <a:pt x="132" y="66"/>
                </a:cubicBezTo>
                <a:cubicBezTo>
                  <a:pt x="132" y="61"/>
                  <a:pt x="120" y="54"/>
                  <a:pt x="132" y="55"/>
                </a:cubicBezTo>
                <a:cubicBezTo>
                  <a:pt x="144" y="55"/>
                  <a:pt x="153" y="55"/>
                  <a:pt x="159" y="53"/>
                </a:cubicBezTo>
                <a:cubicBezTo>
                  <a:pt x="166" y="51"/>
                  <a:pt x="175" y="53"/>
                  <a:pt x="178" y="45"/>
                </a:cubicBezTo>
                <a:cubicBezTo>
                  <a:pt x="180" y="37"/>
                  <a:pt x="178" y="30"/>
                  <a:pt x="190" y="26"/>
                </a:cubicBezTo>
                <a:cubicBezTo>
                  <a:pt x="202" y="22"/>
                  <a:pt x="204" y="19"/>
                  <a:pt x="206" y="12"/>
                </a:cubicBezTo>
                <a:cubicBezTo>
                  <a:pt x="208" y="5"/>
                  <a:pt x="216" y="0"/>
                  <a:pt x="221" y="0"/>
                </a:cubicBezTo>
                <a:cubicBezTo>
                  <a:pt x="226" y="0"/>
                  <a:pt x="239" y="0"/>
                  <a:pt x="239" y="0"/>
                </a:cubicBezTo>
                <a:cubicBezTo>
                  <a:pt x="239" y="0"/>
                  <a:pt x="238" y="5"/>
                  <a:pt x="246" y="10"/>
                </a:cubicBezTo>
                <a:cubicBezTo>
                  <a:pt x="253" y="15"/>
                  <a:pt x="267" y="32"/>
                  <a:pt x="261" y="41"/>
                </a:cubicBezTo>
                <a:cubicBezTo>
                  <a:pt x="256" y="50"/>
                  <a:pt x="252" y="60"/>
                  <a:pt x="258" y="61"/>
                </a:cubicBezTo>
                <a:cubicBezTo>
                  <a:pt x="264" y="62"/>
                  <a:pt x="269" y="54"/>
                  <a:pt x="274" y="60"/>
                </a:cubicBezTo>
                <a:cubicBezTo>
                  <a:pt x="280" y="67"/>
                  <a:pt x="272" y="71"/>
                  <a:pt x="276" y="73"/>
                </a:cubicBezTo>
                <a:cubicBezTo>
                  <a:pt x="279" y="76"/>
                  <a:pt x="283" y="73"/>
                  <a:pt x="289" y="75"/>
                </a:cubicBezTo>
                <a:cubicBezTo>
                  <a:pt x="295" y="78"/>
                  <a:pt x="295" y="82"/>
                  <a:pt x="301" y="84"/>
                </a:cubicBezTo>
                <a:cubicBezTo>
                  <a:pt x="307" y="85"/>
                  <a:pt x="315" y="81"/>
                  <a:pt x="313" y="89"/>
                </a:cubicBezTo>
                <a:cubicBezTo>
                  <a:pt x="312" y="97"/>
                  <a:pt x="304" y="99"/>
                  <a:pt x="310" y="102"/>
                </a:cubicBezTo>
                <a:cubicBezTo>
                  <a:pt x="317" y="104"/>
                  <a:pt x="318" y="100"/>
                  <a:pt x="326" y="105"/>
                </a:cubicBezTo>
                <a:cubicBezTo>
                  <a:pt x="334" y="110"/>
                  <a:pt x="337" y="116"/>
                  <a:pt x="340" y="120"/>
                </a:cubicBezTo>
                <a:cubicBezTo>
                  <a:pt x="343" y="124"/>
                  <a:pt x="337" y="134"/>
                  <a:pt x="344" y="138"/>
                </a:cubicBezTo>
                <a:cubicBezTo>
                  <a:pt x="350" y="142"/>
                  <a:pt x="357" y="146"/>
                  <a:pt x="359" y="147"/>
                </a:cubicBezTo>
                <a:cubicBezTo>
                  <a:pt x="361" y="149"/>
                  <a:pt x="367" y="151"/>
                  <a:pt x="367" y="155"/>
                </a:cubicBezTo>
                <a:cubicBezTo>
                  <a:pt x="367" y="158"/>
                  <a:pt x="365" y="162"/>
                  <a:pt x="365" y="162"/>
                </a:cubicBezTo>
                <a:cubicBezTo>
                  <a:pt x="365" y="162"/>
                  <a:pt x="357" y="160"/>
                  <a:pt x="355" y="162"/>
                </a:cubicBezTo>
                <a:cubicBezTo>
                  <a:pt x="353" y="165"/>
                  <a:pt x="346" y="167"/>
                  <a:pt x="341" y="164"/>
                </a:cubicBezTo>
                <a:cubicBezTo>
                  <a:pt x="336" y="162"/>
                  <a:pt x="332" y="157"/>
                  <a:pt x="328" y="160"/>
                </a:cubicBezTo>
                <a:cubicBezTo>
                  <a:pt x="325" y="162"/>
                  <a:pt x="320" y="161"/>
                  <a:pt x="318" y="160"/>
                </a:cubicBezTo>
                <a:cubicBezTo>
                  <a:pt x="316" y="159"/>
                  <a:pt x="311" y="152"/>
                  <a:pt x="309" y="157"/>
                </a:cubicBezTo>
                <a:cubicBezTo>
                  <a:pt x="308" y="162"/>
                  <a:pt x="283" y="161"/>
                  <a:pt x="279" y="164"/>
                </a:cubicBezTo>
                <a:cubicBezTo>
                  <a:pt x="275" y="166"/>
                  <a:pt x="272" y="177"/>
                  <a:pt x="270" y="177"/>
                </a:cubicBezTo>
                <a:cubicBezTo>
                  <a:pt x="268" y="177"/>
                  <a:pt x="265" y="175"/>
                  <a:pt x="261" y="177"/>
                </a:cubicBezTo>
                <a:cubicBezTo>
                  <a:pt x="256" y="179"/>
                  <a:pt x="252" y="173"/>
                  <a:pt x="248" y="173"/>
                </a:cubicBezTo>
                <a:cubicBezTo>
                  <a:pt x="243" y="173"/>
                  <a:pt x="239" y="163"/>
                  <a:pt x="237" y="173"/>
                </a:cubicBezTo>
                <a:cubicBezTo>
                  <a:pt x="235" y="184"/>
                  <a:pt x="230" y="192"/>
                  <a:pt x="226" y="192"/>
                </a:cubicBezTo>
                <a:cubicBezTo>
                  <a:pt x="222" y="192"/>
                  <a:pt x="220" y="191"/>
                  <a:pt x="216" y="190"/>
                </a:cubicBezTo>
                <a:cubicBezTo>
                  <a:pt x="212" y="190"/>
                  <a:pt x="191" y="186"/>
                  <a:pt x="186" y="187"/>
                </a:cubicBezTo>
                <a:cubicBezTo>
                  <a:pt x="182" y="187"/>
                  <a:pt x="175" y="184"/>
                  <a:pt x="174" y="181"/>
                </a:cubicBezTo>
                <a:cubicBezTo>
                  <a:pt x="173" y="177"/>
                  <a:pt x="164" y="160"/>
                  <a:pt x="147" y="164"/>
                </a:cubicBezTo>
                <a:cubicBezTo>
                  <a:pt x="130" y="168"/>
                  <a:pt x="121" y="187"/>
                  <a:pt x="121" y="207"/>
                </a:cubicBezTo>
                <a:cubicBezTo>
                  <a:pt x="121" y="207"/>
                  <a:pt x="117" y="211"/>
                  <a:pt x="108" y="209"/>
                </a:cubicBezTo>
                <a:cubicBezTo>
                  <a:pt x="98" y="207"/>
                  <a:pt x="91" y="206"/>
                  <a:pt x="87" y="204"/>
                </a:cubicBezTo>
                <a:cubicBezTo>
                  <a:pt x="83" y="202"/>
                  <a:pt x="79" y="203"/>
                  <a:pt x="78" y="207"/>
                </a:cubicBezTo>
                <a:cubicBezTo>
                  <a:pt x="78" y="211"/>
                  <a:pt x="71" y="211"/>
                  <a:pt x="66" y="212"/>
                </a:cubicBezTo>
                <a:cubicBezTo>
                  <a:pt x="61" y="213"/>
                  <a:pt x="62" y="224"/>
                  <a:pt x="62" y="226"/>
                </a:cubicBezTo>
                <a:cubicBezTo>
                  <a:pt x="62" y="229"/>
                  <a:pt x="57" y="254"/>
                  <a:pt x="51" y="26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1" name="Freeform 677"/>
          <p:cNvSpPr>
            <a:spLocks/>
          </p:cNvSpPr>
          <p:nvPr userDrawn="1"/>
        </p:nvSpPr>
        <p:spPr bwMode="auto">
          <a:xfrm>
            <a:off x="5701718" y="4976170"/>
            <a:ext cx="55279" cy="33501"/>
          </a:xfrm>
          <a:custGeom>
            <a:avLst/>
            <a:gdLst>
              <a:gd name="T0" fmla="*/ 2147483646 w 59"/>
              <a:gd name="T1" fmla="*/ 0 h 36"/>
              <a:gd name="T2" fmla="*/ 2147483646 w 59"/>
              <a:gd name="T3" fmla="*/ 2147483646 h 36"/>
              <a:gd name="T4" fmla="*/ 2147483646 w 59"/>
              <a:gd name="T5" fmla="*/ 2147483646 h 36"/>
              <a:gd name="T6" fmla="*/ 2147483646 w 59"/>
              <a:gd name="T7" fmla="*/ 2147483646 h 36"/>
              <a:gd name="T8" fmla="*/ 2147483646 w 59"/>
              <a:gd name="T9" fmla="*/ 2147483646 h 36"/>
              <a:gd name="T10" fmla="*/ 2147483646 w 59"/>
              <a:gd name="T11" fmla="*/ 2147483646 h 36"/>
              <a:gd name="T12" fmla="*/ 2147483646 w 59"/>
              <a:gd name="T13" fmla="*/ 2147483646 h 36"/>
              <a:gd name="T14" fmla="*/ 2147483646 w 59"/>
              <a:gd name="T15" fmla="*/ 0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9"/>
              <a:gd name="T25" fmla="*/ 0 h 36"/>
              <a:gd name="T26" fmla="*/ 59 w 59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9" h="36">
                <a:moveTo>
                  <a:pt x="16" y="0"/>
                </a:moveTo>
                <a:cubicBezTo>
                  <a:pt x="16" y="0"/>
                  <a:pt x="43" y="6"/>
                  <a:pt x="59" y="1"/>
                </a:cubicBezTo>
                <a:cubicBezTo>
                  <a:pt x="59" y="1"/>
                  <a:pt x="57" y="15"/>
                  <a:pt x="58" y="19"/>
                </a:cubicBezTo>
                <a:cubicBezTo>
                  <a:pt x="58" y="24"/>
                  <a:pt x="57" y="31"/>
                  <a:pt x="56" y="33"/>
                </a:cubicBezTo>
                <a:cubicBezTo>
                  <a:pt x="56" y="34"/>
                  <a:pt x="41" y="36"/>
                  <a:pt x="41" y="36"/>
                </a:cubicBezTo>
                <a:cubicBezTo>
                  <a:pt x="8" y="36"/>
                  <a:pt x="8" y="36"/>
                  <a:pt x="8" y="36"/>
                </a:cubicBezTo>
                <a:cubicBezTo>
                  <a:pt x="8" y="36"/>
                  <a:pt x="0" y="29"/>
                  <a:pt x="6" y="25"/>
                </a:cubicBezTo>
                <a:cubicBezTo>
                  <a:pt x="11" y="20"/>
                  <a:pt x="17" y="6"/>
                  <a:pt x="1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2" name="Freeform 678"/>
          <p:cNvSpPr>
            <a:spLocks/>
          </p:cNvSpPr>
          <p:nvPr userDrawn="1"/>
        </p:nvSpPr>
        <p:spPr bwMode="auto">
          <a:xfrm>
            <a:off x="5684967" y="4966119"/>
            <a:ext cx="154108" cy="167509"/>
          </a:xfrm>
          <a:custGeom>
            <a:avLst/>
            <a:gdLst>
              <a:gd name="T0" fmla="*/ 2147483646 w 166"/>
              <a:gd name="T1" fmla="*/ 2147483646 h 179"/>
              <a:gd name="T2" fmla="*/ 2147483646 w 166"/>
              <a:gd name="T3" fmla="*/ 2147483646 h 179"/>
              <a:gd name="T4" fmla="*/ 2147483646 w 166"/>
              <a:gd name="T5" fmla="*/ 2147483646 h 179"/>
              <a:gd name="T6" fmla="*/ 2147483646 w 166"/>
              <a:gd name="T7" fmla="*/ 2147483646 h 179"/>
              <a:gd name="T8" fmla="*/ 2147483646 w 166"/>
              <a:gd name="T9" fmla="*/ 2147483646 h 179"/>
              <a:gd name="T10" fmla="*/ 2147483646 w 166"/>
              <a:gd name="T11" fmla="*/ 2147483646 h 179"/>
              <a:gd name="T12" fmla="*/ 2147483646 w 166"/>
              <a:gd name="T13" fmla="*/ 2147483646 h 179"/>
              <a:gd name="T14" fmla="*/ 2147483646 w 166"/>
              <a:gd name="T15" fmla="*/ 2147483646 h 179"/>
              <a:gd name="T16" fmla="*/ 2147483646 w 166"/>
              <a:gd name="T17" fmla="*/ 2147483646 h 179"/>
              <a:gd name="T18" fmla="*/ 2147483646 w 166"/>
              <a:gd name="T19" fmla="*/ 2147483646 h 179"/>
              <a:gd name="T20" fmla="*/ 2147483646 w 166"/>
              <a:gd name="T21" fmla="*/ 2147483646 h 179"/>
              <a:gd name="T22" fmla="*/ 2147483646 w 166"/>
              <a:gd name="T23" fmla="*/ 2147483646 h 179"/>
              <a:gd name="T24" fmla="*/ 2147483646 w 166"/>
              <a:gd name="T25" fmla="*/ 2147483646 h 179"/>
              <a:gd name="T26" fmla="*/ 2147483646 w 166"/>
              <a:gd name="T27" fmla="*/ 2147483646 h 179"/>
              <a:gd name="T28" fmla="*/ 2147483646 w 166"/>
              <a:gd name="T29" fmla="*/ 2147483646 h 179"/>
              <a:gd name="T30" fmla="*/ 2147483646 w 166"/>
              <a:gd name="T31" fmla="*/ 2147483646 h 179"/>
              <a:gd name="T32" fmla="*/ 2147483646 w 166"/>
              <a:gd name="T33" fmla="*/ 2147483646 h 179"/>
              <a:gd name="T34" fmla="*/ 2147483646 w 166"/>
              <a:gd name="T35" fmla="*/ 2147483646 h 179"/>
              <a:gd name="T36" fmla="*/ 2147483646 w 166"/>
              <a:gd name="T37" fmla="*/ 2147483646 h 179"/>
              <a:gd name="T38" fmla="*/ 2147483646 w 166"/>
              <a:gd name="T39" fmla="*/ 2147483646 h 179"/>
              <a:gd name="T40" fmla="*/ 2147483646 w 166"/>
              <a:gd name="T41" fmla="*/ 2147483646 h 179"/>
              <a:gd name="T42" fmla="*/ 2147483646 w 166"/>
              <a:gd name="T43" fmla="*/ 2147483646 h 179"/>
              <a:gd name="T44" fmla="*/ 2147483646 w 166"/>
              <a:gd name="T45" fmla="*/ 2147483646 h 179"/>
              <a:gd name="T46" fmla="*/ 2147483646 w 166"/>
              <a:gd name="T47" fmla="*/ 2147483646 h 179"/>
              <a:gd name="T48" fmla="*/ 2147483646 w 166"/>
              <a:gd name="T49" fmla="*/ 2147483646 h 179"/>
              <a:gd name="T50" fmla="*/ 2147483646 w 166"/>
              <a:gd name="T51" fmla="*/ 2147483646 h 179"/>
              <a:gd name="T52" fmla="*/ 2147483646 w 166"/>
              <a:gd name="T53" fmla="*/ 2147483646 h 179"/>
              <a:gd name="T54" fmla="*/ 2147483646 w 166"/>
              <a:gd name="T55" fmla="*/ 2147483646 h 179"/>
              <a:gd name="T56" fmla="*/ 2147483646 w 166"/>
              <a:gd name="T57" fmla="*/ 2147483646 h 179"/>
              <a:gd name="T58" fmla="*/ 2147483646 w 166"/>
              <a:gd name="T59" fmla="*/ 2147483646 h 179"/>
              <a:gd name="T60" fmla="*/ 2147483646 w 166"/>
              <a:gd name="T61" fmla="*/ 2147483646 h 179"/>
              <a:gd name="T62" fmla="*/ 2147483646 w 166"/>
              <a:gd name="T63" fmla="*/ 2147483646 h 179"/>
              <a:gd name="T64" fmla="*/ 2147483646 w 166"/>
              <a:gd name="T65" fmla="*/ 2147483646 h 179"/>
              <a:gd name="T66" fmla="*/ 2147483646 w 166"/>
              <a:gd name="T67" fmla="*/ 2147483646 h 179"/>
              <a:gd name="T68" fmla="*/ 2147483646 w 166"/>
              <a:gd name="T69" fmla="*/ 2147483646 h 179"/>
              <a:gd name="T70" fmla="*/ 2147483646 w 166"/>
              <a:gd name="T71" fmla="*/ 2147483646 h 179"/>
              <a:gd name="T72" fmla="*/ 2147483646 w 166"/>
              <a:gd name="T73" fmla="*/ 2147483646 h 179"/>
              <a:gd name="T74" fmla="*/ 2147483646 w 166"/>
              <a:gd name="T75" fmla="*/ 2147483646 h 179"/>
              <a:gd name="T76" fmla="*/ 2147483646 w 166"/>
              <a:gd name="T77" fmla="*/ 2147483646 h 179"/>
              <a:gd name="T78" fmla="*/ 2147483646 w 166"/>
              <a:gd name="T79" fmla="*/ 2147483646 h 179"/>
              <a:gd name="T80" fmla="*/ 2147483646 w 166"/>
              <a:gd name="T81" fmla="*/ 2147483646 h 179"/>
              <a:gd name="T82" fmla="*/ 2147483646 w 166"/>
              <a:gd name="T83" fmla="*/ 2147483646 h 179"/>
              <a:gd name="T84" fmla="*/ 2147483646 w 166"/>
              <a:gd name="T85" fmla="*/ 2147483646 h 179"/>
              <a:gd name="T86" fmla="*/ 2147483646 w 166"/>
              <a:gd name="T87" fmla="*/ 2147483646 h 179"/>
              <a:gd name="T88" fmla="*/ 2147483646 w 166"/>
              <a:gd name="T89" fmla="*/ 2147483646 h 179"/>
              <a:gd name="T90" fmla="*/ 2147483646 w 166"/>
              <a:gd name="T91" fmla="*/ 2147483646 h 179"/>
              <a:gd name="T92" fmla="*/ 2147483646 w 166"/>
              <a:gd name="T93" fmla="*/ 2147483646 h 179"/>
              <a:gd name="T94" fmla="*/ 2147483646 w 166"/>
              <a:gd name="T95" fmla="*/ 2147483646 h 179"/>
              <a:gd name="T96" fmla="*/ 2147483646 w 166"/>
              <a:gd name="T97" fmla="*/ 2147483646 h 179"/>
              <a:gd name="T98" fmla="*/ 2147483646 w 166"/>
              <a:gd name="T99" fmla="*/ 2147483646 h 179"/>
              <a:gd name="T100" fmla="*/ 2147483646 w 166"/>
              <a:gd name="T101" fmla="*/ 21474836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6"/>
              <a:gd name="T154" fmla="*/ 0 h 179"/>
              <a:gd name="T155" fmla="*/ 166 w 166"/>
              <a:gd name="T156" fmla="*/ 179 h 17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6" h="179">
                <a:moveTo>
                  <a:pt x="132" y="9"/>
                </a:moveTo>
                <a:cubicBezTo>
                  <a:pt x="129" y="9"/>
                  <a:pt x="125" y="8"/>
                  <a:pt x="121" y="7"/>
                </a:cubicBezTo>
                <a:cubicBezTo>
                  <a:pt x="94" y="0"/>
                  <a:pt x="95" y="8"/>
                  <a:pt x="78" y="11"/>
                </a:cubicBezTo>
                <a:cubicBezTo>
                  <a:pt x="78" y="11"/>
                  <a:pt x="76" y="25"/>
                  <a:pt x="77" y="29"/>
                </a:cubicBezTo>
                <a:cubicBezTo>
                  <a:pt x="77" y="34"/>
                  <a:pt x="76" y="41"/>
                  <a:pt x="75" y="43"/>
                </a:cubicBezTo>
                <a:cubicBezTo>
                  <a:pt x="75" y="44"/>
                  <a:pt x="60" y="46"/>
                  <a:pt x="60" y="46"/>
                </a:cubicBezTo>
                <a:cubicBezTo>
                  <a:pt x="27" y="46"/>
                  <a:pt x="27" y="46"/>
                  <a:pt x="27" y="46"/>
                </a:cubicBezTo>
                <a:cubicBezTo>
                  <a:pt x="27" y="46"/>
                  <a:pt x="27" y="52"/>
                  <a:pt x="25" y="57"/>
                </a:cubicBezTo>
                <a:cubicBezTo>
                  <a:pt x="23" y="62"/>
                  <a:pt x="21" y="71"/>
                  <a:pt x="18" y="78"/>
                </a:cubicBezTo>
                <a:cubicBezTo>
                  <a:pt x="16" y="85"/>
                  <a:pt x="21" y="88"/>
                  <a:pt x="15" y="91"/>
                </a:cubicBezTo>
                <a:cubicBezTo>
                  <a:pt x="8" y="94"/>
                  <a:pt x="7" y="92"/>
                  <a:pt x="7" y="92"/>
                </a:cubicBezTo>
                <a:cubicBezTo>
                  <a:pt x="7" y="92"/>
                  <a:pt x="5" y="87"/>
                  <a:pt x="3" y="90"/>
                </a:cubicBezTo>
                <a:cubicBezTo>
                  <a:pt x="1" y="92"/>
                  <a:pt x="0" y="93"/>
                  <a:pt x="2" y="96"/>
                </a:cubicBezTo>
                <a:cubicBezTo>
                  <a:pt x="4" y="99"/>
                  <a:pt x="6" y="100"/>
                  <a:pt x="7" y="103"/>
                </a:cubicBezTo>
                <a:cubicBezTo>
                  <a:pt x="8" y="105"/>
                  <a:pt x="6" y="104"/>
                  <a:pt x="9" y="111"/>
                </a:cubicBezTo>
                <a:cubicBezTo>
                  <a:pt x="12" y="118"/>
                  <a:pt x="12" y="122"/>
                  <a:pt x="15" y="120"/>
                </a:cubicBezTo>
                <a:cubicBezTo>
                  <a:pt x="19" y="119"/>
                  <a:pt x="21" y="116"/>
                  <a:pt x="21" y="120"/>
                </a:cubicBezTo>
                <a:cubicBezTo>
                  <a:pt x="21" y="124"/>
                  <a:pt x="18" y="124"/>
                  <a:pt x="17" y="125"/>
                </a:cubicBezTo>
                <a:cubicBezTo>
                  <a:pt x="15" y="126"/>
                  <a:pt x="15" y="127"/>
                  <a:pt x="18" y="128"/>
                </a:cubicBezTo>
                <a:cubicBezTo>
                  <a:pt x="21" y="129"/>
                  <a:pt x="25" y="127"/>
                  <a:pt x="24" y="131"/>
                </a:cubicBezTo>
                <a:cubicBezTo>
                  <a:pt x="23" y="134"/>
                  <a:pt x="30" y="141"/>
                  <a:pt x="31" y="144"/>
                </a:cubicBezTo>
                <a:cubicBezTo>
                  <a:pt x="33" y="146"/>
                  <a:pt x="41" y="153"/>
                  <a:pt x="45" y="158"/>
                </a:cubicBezTo>
                <a:cubicBezTo>
                  <a:pt x="49" y="163"/>
                  <a:pt x="58" y="170"/>
                  <a:pt x="61" y="173"/>
                </a:cubicBezTo>
                <a:cubicBezTo>
                  <a:pt x="63" y="177"/>
                  <a:pt x="65" y="179"/>
                  <a:pt x="69" y="178"/>
                </a:cubicBezTo>
                <a:cubicBezTo>
                  <a:pt x="73" y="176"/>
                  <a:pt x="70" y="167"/>
                  <a:pt x="77" y="169"/>
                </a:cubicBezTo>
                <a:cubicBezTo>
                  <a:pt x="84" y="172"/>
                  <a:pt x="82" y="168"/>
                  <a:pt x="87" y="167"/>
                </a:cubicBezTo>
                <a:cubicBezTo>
                  <a:pt x="91" y="167"/>
                  <a:pt x="97" y="163"/>
                  <a:pt x="92" y="160"/>
                </a:cubicBezTo>
                <a:cubicBezTo>
                  <a:pt x="87" y="156"/>
                  <a:pt x="87" y="152"/>
                  <a:pt x="87" y="150"/>
                </a:cubicBezTo>
                <a:cubicBezTo>
                  <a:pt x="87" y="148"/>
                  <a:pt x="71" y="139"/>
                  <a:pt x="86" y="142"/>
                </a:cubicBezTo>
                <a:cubicBezTo>
                  <a:pt x="100" y="145"/>
                  <a:pt x="99" y="140"/>
                  <a:pt x="104" y="141"/>
                </a:cubicBezTo>
                <a:cubicBezTo>
                  <a:pt x="110" y="142"/>
                  <a:pt x="111" y="140"/>
                  <a:pt x="110" y="137"/>
                </a:cubicBezTo>
                <a:cubicBezTo>
                  <a:pt x="108" y="133"/>
                  <a:pt x="102" y="128"/>
                  <a:pt x="109" y="129"/>
                </a:cubicBezTo>
                <a:cubicBezTo>
                  <a:pt x="115" y="129"/>
                  <a:pt x="115" y="123"/>
                  <a:pt x="118" y="127"/>
                </a:cubicBezTo>
                <a:cubicBezTo>
                  <a:pt x="121" y="132"/>
                  <a:pt x="121" y="132"/>
                  <a:pt x="123" y="139"/>
                </a:cubicBezTo>
                <a:cubicBezTo>
                  <a:pt x="125" y="145"/>
                  <a:pt x="123" y="143"/>
                  <a:pt x="129" y="144"/>
                </a:cubicBezTo>
                <a:cubicBezTo>
                  <a:pt x="135" y="146"/>
                  <a:pt x="136" y="145"/>
                  <a:pt x="138" y="143"/>
                </a:cubicBezTo>
                <a:cubicBezTo>
                  <a:pt x="141" y="142"/>
                  <a:pt x="138" y="139"/>
                  <a:pt x="142" y="141"/>
                </a:cubicBezTo>
                <a:cubicBezTo>
                  <a:pt x="146" y="142"/>
                  <a:pt x="149" y="142"/>
                  <a:pt x="150" y="144"/>
                </a:cubicBezTo>
                <a:cubicBezTo>
                  <a:pt x="150" y="146"/>
                  <a:pt x="157" y="137"/>
                  <a:pt x="159" y="136"/>
                </a:cubicBezTo>
                <a:cubicBezTo>
                  <a:pt x="160" y="135"/>
                  <a:pt x="159" y="134"/>
                  <a:pt x="161" y="131"/>
                </a:cubicBezTo>
                <a:cubicBezTo>
                  <a:pt x="163" y="128"/>
                  <a:pt x="164" y="118"/>
                  <a:pt x="163" y="110"/>
                </a:cubicBezTo>
                <a:cubicBezTo>
                  <a:pt x="162" y="102"/>
                  <a:pt x="162" y="98"/>
                  <a:pt x="164" y="95"/>
                </a:cubicBezTo>
                <a:cubicBezTo>
                  <a:pt x="165" y="92"/>
                  <a:pt x="165" y="88"/>
                  <a:pt x="161" y="85"/>
                </a:cubicBezTo>
                <a:cubicBezTo>
                  <a:pt x="157" y="83"/>
                  <a:pt x="152" y="84"/>
                  <a:pt x="150" y="80"/>
                </a:cubicBezTo>
                <a:cubicBezTo>
                  <a:pt x="148" y="77"/>
                  <a:pt x="145" y="74"/>
                  <a:pt x="147" y="70"/>
                </a:cubicBezTo>
                <a:cubicBezTo>
                  <a:pt x="148" y="67"/>
                  <a:pt x="148" y="60"/>
                  <a:pt x="153" y="58"/>
                </a:cubicBezTo>
                <a:cubicBezTo>
                  <a:pt x="159" y="56"/>
                  <a:pt x="166" y="59"/>
                  <a:pt x="165" y="51"/>
                </a:cubicBezTo>
                <a:cubicBezTo>
                  <a:pt x="164" y="42"/>
                  <a:pt x="159" y="30"/>
                  <a:pt x="150" y="32"/>
                </a:cubicBezTo>
                <a:cubicBezTo>
                  <a:pt x="142" y="34"/>
                  <a:pt x="133" y="48"/>
                  <a:pt x="130" y="39"/>
                </a:cubicBezTo>
                <a:cubicBezTo>
                  <a:pt x="127" y="31"/>
                  <a:pt x="126" y="27"/>
                  <a:pt x="127" y="24"/>
                </a:cubicBezTo>
                <a:cubicBezTo>
                  <a:pt x="129" y="20"/>
                  <a:pt x="132" y="9"/>
                  <a:pt x="132" y="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3" name="Freeform 679"/>
          <p:cNvSpPr>
            <a:spLocks/>
          </p:cNvSpPr>
          <p:nvPr userDrawn="1"/>
        </p:nvSpPr>
        <p:spPr bwMode="auto">
          <a:xfrm>
            <a:off x="5748620" y="4937643"/>
            <a:ext cx="201011" cy="232837"/>
          </a:xfrm>
          <a:custGeom>
            <a:avLst/>
            <a:gdLst>
              <a:gd name="T0" fmla="*/ 2147483646 w 216"/>
              <a:gd name="T1" fmla="*/ 2147483646 h 249"/>
              <a:gd name="T2" fmla="*/ 2147483646 w 216"/>
              <a:gd name="T3" fmla="*/ 2147483646 h 249"/>
              <a:gd name="T4" fmla="*/ 2147483646 w 216"/>
              <a:gd name="T5" fmla="*/ 2147483646 h 249"/>
              <a:gd name="T6" fmla="*/ 2147483646 w 216"/>
              <a:gd name="T7" fmla="*/ 2147483646 h 249"/>
              <a:gd name="T8" fmla="*/ 2147483646 w 216"/>
              <a:gd name="T9" fmla="*/ 2147483646 h 249"/>
              <a:gd name="T10" fmla="*/ 2147483646 w 216"/>
              <a:gd name="T11" fmla="*/ 2147483646 h 249"/>
              <a:gd name="T12" fmla="*/ 2147483646 w 216"/>
              <a:gd name="T13" fmla="*/ 2147483646 h 249"/>
              <a:gd name="T14" fmla="*/ 2147483646 w 216"/>
              <a:gd name="T15" fmla="*/ 2147483646 h 249"/>
              <a:gd name="T16" fmla="*/ 2147483646 w 216"/>
              <a:gd name="T17" fmla="*/ 2147483646 h 249"/>
              <a:gd name="T18" fmla="*/ 2147483646 w 216"/>
              <a:gd name="T19" fmla="*/ 2147483646 h 249"/>
              <a:gd name="T20" fmla="*/ 2147483646 w 216"/>
              <a:gd name="T21" fmla="*/ 2147483646 h 249"/>
              <a:gd name="T22" fmla="*/ 2147483646 w 216"/>
              <a:gd name="T23" fmla="*/ 2147483646 h 249"/>
              <a:gd name="T24" fmla="*/ 2147483646 w 216"/>
              <a:gd name="T25" fmla="*/ 2147483646 h 249"/>
              <a:gd name="T26" fmla="*/ 2147483646 w 216"/>
              <a:gd name="T27" fmla="*/ 2147483646 h 249"/>
              <a:gd name="T28" fmla="*/ 2147483646 w 216"/>
              <a:gd name="T29" fmla="*/ 2147483646 h 249"/>
              <a:gd name="T30" fmla="*/ 2147483646 w 216"/>
              <a:gd name="T31" fmla="*/ 2147483646 h 249"/>
              <a:gd name="T32" fmla="*/ 2147483646 w 216"/>
              <a:gd name="T33" fmla="*/ 2147483646 h 249"/>
              <a:gd name="T34" fmla="*/ 2147483646 w 216"/>
              <a:gd name="T35" fmla="*/ 2147483646 h 249"/>
              <a:gd name="T36" fmla="*/ 2147483646 w 216"/>
              <a:gd name="T37" fmla="*/ 2147483646 h 249"/>
              <a:gd name="T38" fmla="*/ 2147483646 w 216"/>
              <a:gd name="T39" fmla="*/ 2147483646 h 249"/>
              <a:gd name="T40" fmla="*/ 2147483646 w 216"/>
              <a:gd name="T41" fmla="*/ 2147483646 h 249"/>
              <a:gd name="T42" fmla="*/ 2147483646 w 216"/>
              <a:gd name="T43" fmla="*/ 2147483646 h 249"/>
              <a:gd name="T44" fmla="*/ 2147483646 w 216"/>
              <a:gd name="T45" fmla="*/ 2147483646 h 249"/>
              <a:gd name="T46" fmla="*/ 2147483646 w 216"/>
              <a:gd name="T47" fmla="*/ 2147483646 h 249"/>
              <a:gd name="T48" fmla="*/ 2147483646 w 216"/>
              <a:gd name="T49" fmla="*/ 2147483646 h 249"/>
              <a:gd name="T50" fmla="*/ 2147483646 w 216"/>
              <a:gd name="T51" fmla="*/ 2147483646 h 249"/>
              <a:gd name="T52" fmla="*/ 2147483646 w 216"/>
              <a:gd name="T53" fmla="*/ 2147483646 h 249"/>
              <a:gd name="T54" fmla="*/ 2147483646 w 216"/>
              <a:gd name="T55" fmla="*/ 2147483646 h 249"/>
              <a:gd name="T56" fmla="*/ 2147483646 w 216"/>
              <a:gd name="T57" fmla="*/ 2147483646 h 249"/>
              <a:gd name="T58" fmla="*/ 2147483646 w 216"/>
              <a:gd name="T59" fmla="*/ 2147483646 h 249"/>
              <a:gd name="T60" fmla="*/ 2147483646 w 216"/>
              <a:gd name="T61" fmla="*/ 2147483646 h 249"/>
              <a:gd name="T62" fmla="*/ 2147483646 w 216"/>
              <a:gd name="T63" fmla="*/ 2147483646 h 249"/>
              <a:gd name="T64" fmla="*/ 2147483646 w 216"/>
              <a:gd name="T65" fmla="*/ 2147483646 h 249"/>
              <a:gd name="T66" fmla="*/ 2147483646 w 216"/>
              <a:gd name="T67" fmla="*/ 2147483646 h 249"/>
              <a:gd name="T68" fmla="*/ 2147483646 w 216"/>
              <a:gd name="T69" fmla="*/ 2147483646 h 249"/>
              <a:gd name="T70" fmla="*/ 2147483646 w 216"/>
              <a:gd name="T71" fmla="*/ 2147483646 h 249"/>
              <a:gd name="T72" fmla="*/ 0 w 216"/>
              <a:gd name="T73" fmla="*/ 2147483646 h 249"/>
              <a:gd name="T74" fmla="*/ 2147483646 w 216"/>
              <a:gd name="T75" fmla="*/ 2147483646 h 249"/>
              <a:gd name="T76" fmla="*/ 2147483646 w 216"/>
              <a:gd name="T77" fmla="*/ 2147483646 h 249"/>
              <a:gd name="T78" fmla="*/ 2147483646 w 216"/>
              <a:gd name="T79" fmla="*/ 2147483646 h 249"/>
              <a:gd name="T80" fmla="*/ 2147483646 w 216"/>
              <a:gd name="T81" fmla="*/ 2147483646 h 249"/>
              <a:gd name="T82" fmla="*/ 2147483646 w 216"/>
              <a:gd name="T83" fmla="*/ 2147483646 h 249"/>
              <a:gd name="T84" fmla="*/ 2147483646 w 216"/>
              <a:gd name="T85" fmla="*/ 2147483646 h 249"/>
              <a:gd name="T86" fmla="*/ 2147483646 w 216"/>
              <a:gd name="T87" fmla="*/ 2147483646 h 249"/>
              <a:gd name="T88" fmla="*/ 2147483646 w 216"/>
              <a:gd name="T89" fmla="*/ 2147483646 h 249"/>
              <a:gd name="T90" fmla="*/ 2147483646 w 216"/>
              <a:gd name="T91" fmla="*/ 2147483646 h 249"/>
              <a:gd name="T92" fmla="*/ 2147483646 w 216"/>
              <a:gd name="T93" fmla="*/ 2147483646 h 249"/>
              <a:gd name="T94" fmla="*/ 2147483646 w 216"/>
              <a:gd name="T95" fmla="*/ 2147483646 h 249"/>
              <a:gd name="T96" fmla="*/ 2147483646 w 216"/>
              <a:gd name="T97" fmla="*/ 2147483646 h 249"/>
              <a:gd name="T98" fmla="*/ 2147483646 w 216"/>
              <a:gd name="T99" fmla="*/ 2147483646 h 249"/>
              <a:gd name="T100" fmla="*/ 2147483646 w 216"/>
              <a:gd name="T101" fmla="*/ 2147483646 h 249"/>
              <a:gd name="T102" fmla="*/ 2147483646 w 216"/>
              <a:gd name="T103" fmla="*/ 2147483646 h 249"/>
              <a:gd name="T104" fmla="*/ 2147483646 w 216"/>
              <a:gd name="T105" fmla="*/ 2147483646 h 249"/>
              <a:gd name="T106" fmla="*/ 2147483646 w 216"/>
              <a:gd name="T107" fmla="*/ 2147483646 h 249"/>
              <a:gd name="T108" fmla="*/ 2147483646 w 216"/>
              <a:gd name="T109" fmla="*/ 2147483646 h 249"/>
              <a:gd name="T110" fmla="*/ 2147483646 w 216"/>
              <a:gd name="T111" fmla="*/ 2147483646 h 249"/>
              <a:gd name="T112" fmla="*/ 2147483646 w 216"/>
              <a:gd name="T113" fmla="*/ 2147483646 h 249"/>
              <a:gd name="T114" fmla="*/ 2147483646 w 216"/>
              <a:gd name="T115" fmla="*/ 2147483646 h 249"/>
              <a:gd name="T116" fmla="*/ 2147483646 w 216"/>
              <a:gd name="T117" fmla="*/ 2147483646 h 249"/>
              <a:gd name="T118" fmla="*/ 2147483646 w 216"/>
              <a:gd name="T119" fmla="*/ 2147483646 h 249"/>
              <a:gd name="T120" fmla="*/ 2147483646 w 216"/>
              <a:gd name="T121" fmla="*/ 2147483646 h 249"/>
              <a:gd name="T122" fmla="*/ 2147483646 w 216"/>
              <a:gd name="T123" fmla="*/ 2147483646 h 2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16"/>
              <a:gd name="T187" fmla="*/ 0 h 249"/>
              <a:gd name="T188" fmla="*/ 216 w 216"/>
              <a:gd name="T189" fmla="*/ 249 h 24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16" h="249">
                <a:moveTo>
                  <a:pt x="213" y="5"/>
                </a:moveTo>
                <a:cubicBezTo>
                  <a:pt x="213" y="5"/>
                  <a:pt x="209" y="9"/>
                  <a:pt x="200" y="7"/>
                </a:cubicBezTo>
                <a:cubicBezTo>
                  <a:pt x="190" y="5"/>
                  <a:pt x="183" y="4"/>
                  <a:pt x="179" y="2"/>
                </a:cubicBezTo>
                <a:cubicBezTo>
                  <a:pt x="175" y="0"/>
                  <a:pt x="171" y="1"/>
                  <a:pt x="170" y="5"/>
                </a:cubicBezTo>
                <a:cubicBezTo>
                  <a:pt x="170" y="9"/>
                  <a:pt x="163" y="9"/>
                  <a:pt x="158" y="10"/>
                </a:cubicBezTo>
                <a:cubicBezTo>
                  <a:pt x="153" y="11"/>
                  <a:pt x="154" y="22"/>
                  <a:pt x="154" y="24"/>
                </a:cubicBezTo>
                <a:cubicBezTo>
                  <a:pt x="154" y="27"/>
                  <a:pt x="149" y="52"/>
                  <a:pt x="143" y="59"/>
                </a:cubicBezTo>
                <a:cubicBezTo>
                  <a:pt x="138" y="43"/>
                  <a:pt x="110" y="50"/>
                  <a:pt x="104" y="48"/>
                </a:cubicBezTo>
                <a:cubicBezTo>
                  <a:pt x="99" y="46"/>
                  <a:pt x="85" y="45"/>
                  <a:pt x="65" y="41"/>
                </a:cubicBezTo>
                <a:cubicBezTo>
                  <a:pt x="63" y="40"/>
                  <a:pt x="63" y="40"/>
                  <a:pt x="63" y="40"/>
                </a:cubicBezTo>
                <a:cubicBezTo>
                  <a:pt x="63" y="40"/>
                  <a:pt x="60" y="51"/>
                  <a:pt x="58" y="55"/>
                </a:cubicBezTo>
                <a:cubicBezTo>
                  <a:pt x="57" y="58"/>
                  <a:pt x="58" y="62"/>
                  <a:pt x="61" y="70"/>
                </a:cubicBezTo>
                <a:cubicBezTo>
                  <a:pt x="64" y="79"/>
                  <a:pt x="73" y="65"/>
                  <a:pt x="81" y="63"/>
                </a:cubicBezTo>
                <a:cubicBezTo>
                  <a:pt x="90" y="61"/>
                  <a:pt x="95" y="73"/>
                  <a:pt x="96" y="82"/>
                </a:cubicBezTo>
                <a:cubicBezTo>
                  <a:pt x="97" y="90"/>
                  <a:pt x="90" y="87"/>
                  <a:pt x="84" y="89"/>
                </a:cubicBezTo>
                <a:cubicBezTo>
                  <a:pt x="79" y="91"/>
                  <a:pt x="79" y="98"/>
                  <a:pt x="78" y="101"/>
                </a:cubicBezTo>
                <a:cubicBezTo>
                  <a:pt x="76" y="105"/>
                  <a:pt x="79" y="108"/>
                  <a:pt x="81" y="111"/>
                </a:cubicBezTo>
                <a:cubicBezTo>
                  <a:pt x="83" y="115"/>
                  <a:pt x="88" y="114"/>
                  <a:pt x="92" y="116"/>
                </a:cubicBezTo>
                <a:cubicBezTo>
                  <a:pt x="96" y="119"/>
                  <a:pt x="96" y="123"/>
                  <a:pt x="95" y="126"/>
                </a:cubicBezTo>
                <a:cubicBezTo>
                  <a:pt x="93" y="129"/>
                  <a:pt x="93" y="133"/>
                  <a:pt x="94" y="141"/>
                </a:cubicBezTo>
                <a:cubicBezTo>
                  <a:pt x="95" y="149"/>
                  <a:pt x="94" y="159"/>
                  <a:pt x="92" y="162"/>
                </a:cubicBezTo>
                <a:cubicBezTo>
                  <a:pt x="90" y="165"/>
                  <a:pt x="91" y="166"/>
                  <a:pt x="90" y="167"/>
                </a:cubicBezTo>
                <a:cubicBezTo>
                  <a:pt x="88" y="168"/>
                  <a:pt x="81" y="177"/>
                  <a:pt x="81" y="175"/>
                </a:cubicBezTo>
                <a:cubicBezTo>
                  <a:pt x="80" y="173"/>
                  <a:pt x="77" y="173"/>
                  <a:pt x="73" y="172"/>
                </a:cubicBezTo>
                <a:cubicBezTo>
                  <a:pt x="69" y="170"/>
                  <a:pt x="72" y="173"/>
                  <a:pt x="69" y="174"/>
                </a:cubicBezTo>
                <a:cubicBezTo>
                  <a:pt x="67" y="176"/>
                  <a:pt x="66" y="177"/>
                  <a:pt x="60" y="175"/>
                </a:cubicBezTo>
                <a:cubicBezTo>
                  <a:pt x="54" y="174"/>
                  <a:pt x="56" y="176"/>
                  <a:pt x="54" y="170"/>
                </a:cubicBezTo>
                <a:cubicBezTo>
                  <a:pt x="52" y="163"/>
                  <a:pt x="52" y="163"/>
                  <a:pt x="49" y="158"/>
                </a:cubicBezTo>
                <a:cubicBezTo>
                  <a:pt x="46" y="154"/>
                  <a:pt x="46" y="160"/>
                  <a:pt x="40" y="160"/>
                </a:cubicBezTo>
                <a:cubicBezTo>
                  <a:pt x="33" y="159"/>
                  <a:pt x="39" y="164"/>
                  <a:pt x="41" y="168"/>
                </a:cubicBezTo>
                <a:cubicBezTo>
                  <a:pt x="42" y="171"/>
                  <a:pt x="41" y="173"/>
                  <a:pt x="35" y="172"/>
                </a:cubicBezTo>
                <a:cubicBezTo>
                  <a:pt x="30" y="171"/>
                  <a:pt x="31" y="176"/>
                  <a:pt x="17" y="173"/>
                </a:cubicBezTo>
                <a:cubicBezTo>
                  <a:pt x="2" y="170"/>
                  <a:pt x="18" y="179"/>
                  <a:pt x="18" y="181"/>
                </a:cubicBezTo>
                <a:cubicBezTo>
                  <a:pt x="18" y="183"/>
                  <a:pt x="18" y="187"/>
                  <a:pt x="23" y="191"/>
                </a:cubicBezTo>
                <a:cubicBezTo>
                  <a:pt x="28" y="194"/>
                  <a:pt x="22" y="198"/>
                  <a:pt x="18" y="198"/>
                </a:cubicBezTo>
                <a:cubicBezTo>
                  <a:pt x="13" y="199"/>
                  <a:pt x="15" y="203"/>
                  <a:pt x="8" y="200"/>
                </a:cubicBezTo>
                <a:cubicBezTo>
                  <a:pt x="1" y="198"/>
                  <a:pt x="4" y="207"/>
                  <a:pt x="0" y="209"/>
                </a:cubicBezTo>
                <a:cubicBezTo>
                  <a:pt x="0" y="209"/>
                  <a:pt x="0" y="222"/>
                  <a:pt x="6" y="225"/>
                </a:cubicBezTo>
                <a:cubicBezTo>
                  <a:pt x="12" y="228"/>
                  <a:pt x="20" y="227"/>
                  <a:pt x="21" y="234"/>
                </a:cubicBezTo>
                <a:cubicBezTo>
                  <a:pt x="22" y="241"/>
                  <a:pt x="26" y="248"/>
                  <a:pt x="26" y="248"/>
                </a:cubicBezTo>
                <a:cubicBezTo>
                  <a:pt x="26" y="248"/>
                  <a:pt x="33" y="241"/>
                  <a:pt x="37" y="237"/>
                </a:cubicBezTo>
                <a:cubicBezTo>
                  <a:pt x="41" y="233"/>
                  <a:pt x="47" y="223"/>
                  <a:pt x="51" y="229"/>
                </a:cubicBezTo>
                <a:cubicBezTo>
                  <a:pt x="55" y="235"/>
                  <a:pt x="60" y="249"/>
                  <a:pt x="67" y="245"/>
                </a:cubicBezTo>
                <a:cubicBezTo>
                  <a:pt x="74" y="240"/>
                  <a:pt x="77" y="235"/>
                  <a:pt x="79" y="232"/>
                </a:cubicBezTo>
                <a:cubicBezTo>
                  <a:pt x="81" y="229"/>
                  <a:pt x="85" y="223"/>
                  <a:pt x="89" y="226"/>
                </a:cubicBezTo>
                <a:cubicBezTo>
                  <a:pt x="92" y="230"/>
                  <a:pt x="96" y="222"/>
                  <a:pt x="96" y="225"/>
                </a:cubicBezTo>
                <a:cubicBezTo>
                  <a:pt x="97" y="229"/>
                  <a:pt x="90" y="233"/>
                  <a:pt x="93" y="240"/>
                </a:cubicBezTo>
                <a:cubicBezTo>
                  <a:pt x="95" y="246"/>
                  <a:pt x="97" y="244"/>
                  <a:pt x="101" y="243"/>
                </a:cubicBezTo>
                <a:cubicBezTo>
                  <a:pt x="105" y="243"/>
                  <a:pt x="116" y="232"/>
                  <a:pt x="122" y="226"/>
                </a:cubicBezTo>
                <a:cubicBezTo>
                  <a:pt x="127" y="220"/>
                  <a:pt x="132" y="218"/>
                  <a:pt x="137" y="215"/>
                </a:cubicBezTo>
                <a:cubicBezTo>
                  <a:pt x="141" y="212"/>
                  <a:pt x="144" y="210"/>
                  <a:pt x="144" y="204"/>
                </a:cubicBezTo>
                <a:cubicBezTo>
                  <a:pt x="145" y="198"/>
                  <a:pt x="142" y="193"/>
                  <a:pt x="143" y="185"/>
                </a:cubicBezTo>
                <a:cubicBezTo>
                  <a:pt x="144" y="176"/>
                  <a:pt x="139" y="176"/>
                  <a:pt x="146" y="166"/>
                </a:cubicBezTo>
                <a:cubicBezTo>
                  <a:pt x="154" y="155"/>
                  <a:pt x="155" y="151"/>
                  <a:pt x="160" y="145"/>
                </a:cubicBezTo>
                <a:cubicBezTo>
                  <a:pt x="165" y="140"/>
                  <a:pt x="163" y="135"/>
                  <a:pt x="174" y="131"/>
                </a:cubicBezTo>
                <a:cubicBezTo>
                  <a:pt x="184" y="128"/>
                  <a:pt x="187" y="124"/>
                  <a:pt x="189" y="120"/>
                </a:cubicBezTo>
                <a:cubicBezTo>
                  <a:pt x="191" y="115"/>
                  <a:pt x="190" y="111"/>
                  <a:pt x="191" y="104"/>
                </a:cubicBezTo>
                <a:cubicBezTo>
                  <a:pt x="192" y="97"/>
                  <a:pt x="194" y="88"/>
                  <a:pt x="194" y="80"/>
                </a:cubicBezTo>
                <a:cubicBezTo>
                  <a:pt x="194" y="73"/>
                  <a:pt x="197" y="68"/>
                  <a:pt x="199" y="63"/>
                </a:cubicBezTo>
                <a:cubicBezTo>
                  <a:pt x="201" y="58"/>
                  <a:pt x="204" y="54"/>
                  <a:pt x="202" y="50"/>
                </a:cubicBezTo>
                <a:cubicBezTo>
                  <a:pt x="201" y="45"/>
                  <a:pt x="211" y="25"/>
                  <a:pt x="213" y="22"/>
                </a:cubicBezTo>
                <a:cubicBezTo>
                  <a:pt x="215" y="19"/>
                  <a:pt x="216" y="9"/>
                  <a:pt x="213" y="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4" name="Freeform 680"/>
          <p:cNvSpPr>
            <a:spLocks/>
          </p:cNvSpPr>
          <p:nvPr userDrawn="1"/>
        </p:nvSpPr>
        <p:spPr bwMode="auto">
          <a:xfrm>
            <a:off x="6025011" y="4420039"/>
            <a:ext cx="418773" cy="522629"/>
          </a:xfrm>
          <a:custGeom>
            <a:avLst/>
            <a:gdLst>
              <a:gd name="T0" fmla="*/ 2147483646 w 450"/>
              <a:gd name="T1" fmla="*/ 2147483646 h 560"/>
              <a:gd name="T2" fmla="*/ 2147483646 w 450"/>
              <a:gd name="T3" fmla="*/ 2147483646 h 560"/>
              <a:gd name="T4" fmla="*/ 2147483646 w 450"/>
              <a:gd name="T5" fmla="*/ 2147483646 h 560"/>
              <a:gd name="T6" fmla="*/ 2147483646 w 450"/>
              <a:gd name="T7" fmla="*/ 2147483646 h 560"/>
              <a:gd name="T8" fmla="*/ 2147483646 w 450"/>
              <a:gd name="T9" fmla="*/ 2147483646 h 560"/>
              <a:gd name="T10" fmla="*/ 2147483646 w 450"/>
              <a:gd name="T11" fmla="*/ 2147483646 h 560"/>
              <a:gd name="T12" fmla="*/ 2147483646 w 450"/>
              <a:gd name="T13" fmla="*/ 2147483646 h 560"/>
              <a:gd name="T14" fmla="*/ 2147483646 w 450"/>
              <a:gd name="T15" fmla="*/ 2147483646 h 560"/>
              <a:gd name="T16" fmla="*/ 2147483646 w 450"/>
              <a:gd name="T17" fmla="*/ 2147483646 h 560"/>
              <a:gd name="T18" fmla="*/ 2147483646 w 450"/>
              <a:gd name="T19" fmla="*/ 2147483646 h 560"/>
              <a:gd name="T20" fmla="*/ 2147483646 w 450"/>
              <a:gd name="T21" fmla="*/ 2147483646 h 560"/>
              <a:gd name="T22" fmla="*/ 2147483646 w 450"/>
              <a:gd name="T23" fmla="*/ 2147483646 h 560"/>
              <a:gd name="T24" fmla="*/ 2147483646 w 450"/>
              <a:gd name="T25" fmla="*/ 2147483646 h 560"/>
              <a:gd name="T26" fmla="*/ 2147483646 w 450"/>
              <a:gd name="T27" fmla="*/ 2147483646 h 560"/>
              <a:gd name="T28" fmla="*/ 2147483646 w 450"/>
              <a:gd name="T29" fmla="*/ 2147483646 h 560"/>
              <a:gd name="T30" fmla="*/ 2147483646 w 450"/>
              <a:gd name="T31" fmla="*/ 2147483646 h 560"/>
              <a:gd name="T32" fmla="*/ 2147483646 w 450"/>
              <a:gd name="T33" fmla="*/ 2147483646 h 560"/>
              <a:gd name="T34" fmla="*/ 2147483646 w 450"/>
              <a:gd name="T35" fmla="*/ 2147483646 h 560"/>
              <a:gd name="T36" fmla="*/ 2147483646 w 450"/>
              <a:gd name="T37" fmla="*/ 2147483646 h 560"/>
              <a:gd name="T38" fmla="*/ 2147483646 w 450"/>
              <a:gd name="T39" fmla="*/ 2147483646 h 560"/>
              <a:gd name="T40" fmla="*/ 2147483646 w 450"/>
              <a:gd name="T41" fmla="*/ 2147483646 h 560"/>
              <a:gd name="T42" fmla="*/ 2147483646 w 450"/>
              <a:gd name="T43" fmla="*/ 2147483646 h 560"/>
              <a:gd name="T44" fmla="*/ 2147483646 w 450"/>
              <a:gd name="T45" fmla="*/ 2147483646 h 560"/>
              <a:gd name="T46" fmla="*/ 2147483646 w 450"/>
              <a:gd name="T47" fmla="*/ 2147483646 h 560"/>
              <a:gd name="T48" fmla="*/ 2147483646 w 450"/>
              <a:gd name="T49" fmla="*/ 2147483646 h 560"/>
              <a:gd name="T50" fmla="*/ 2147483646 w 450"/>
              <a:gd name="T51" fmla="*/ 2147483646 h 560"/>
              <a:gd name="T52" fmla="*/ 2147483646 w 450"/>
              <a:gd name="T53" fmla="*/ 2147483646 h 560"/>
              <a:gd name="T54" fmla="*/ 2147483646 w 450"/>
              <a:gd name="T55" fmla="*/ 2147483646 h 560"/>
              <a:gd name="T56" fmla="*/ 2147483646 w 450"/>
              <a:gd name="T57" fmla="*/ 2147483646 h 560"/>
              <a:gd name="T58" fmla="*/ 2147483646 w 450"/>
              <a:gd name="T59" fmla="*/ 2147483646 h 560"/>
              <a:gd name="T60" fmla="*/ 2147483646 w 450"/>
              <a:gd name="T61" fmla="*/ 2147483646 h 560"/>
              <a:gd name="T62" fmla="*/ 2147483646 w 450"/>
              <a:gd name="T63" fmla="*/ 2147483646 h 560"/>
              <a:gd name="T64" fmla="*/ 2147483646 w 450"/>
              <a:gd name="T65" fmla="*/ 2147483646 h 560"/>
              <a:gd name="T66" fmla="*/ 2147483646 w 450"/>
              <a:gd name="T67" fmla="*/ 2147483646 h 560"/>
              <a:gd name="T68" fmla="*/ 2147483646 w 450"/>
              <a:gd name="T69" fmla="*/ 2147483646 h 560"/>
              <a:gd name="T70" fmla="*/ 2147483646 w 450"/>
              <a:gd name="T71" fmla="*/ 2147483646 h 560"/>
              <a:gd name="T72" fmla="*/ 2147483646 w 450"/>
              <a:gd name="T73" fmla="*/ 2147483646 h 560"/>
              <a:gd name="T74" fmla="*/ 2147483646 w 450"/>
              <a:gd name="T75" fmla="*/ 2147483646 h 560"/>
              <a:gd name="T76" fmla="*/ 2147483646 w 450"/>
              <a:gd name="T77" fmla="*/ 2147483646 h 560"/>
              <a:gd name="T78" fmla="*/ 2147483646 w 450"/>
              <a:gd name="T79" fmla="*/ 2147483646 h 560"/>
              <a:gd name="T80" fmla="*/ 2147483646 w 450"/>
              <a:gd name="T81" fmla="*/ 2147483646 h 560"/>
              <a:gd name="T82" fmla="*/ 2147483646 w 450"/>
              <a:gd name="T83" fmla="*/ 2147483646 h 560"/>
              <a:gd name="T84" fmla="*/ 2147483646 w 450"/>
              <a:gd name="T85" fmla="*/ 2147483646 h 560"/>
              <a:gd name="T86" fmla="*/ 2147483646 w 450"/>
              <a:gd name="T87" fmla="*/ 2147483646 h 560"/>
              <a:gd name="T88" fmla="*/ 2147483646 w 450"/>
              <a:gd name="T89" fmla="*/ 2147483646 h 560"/>
              <a:gd name="T90" fmla="*/ 2147483646 w 450"/>
              <a:gd name="T91" fmla="*/ 2147483646 h 560"/>
              <a:gd name="T92" fmla="*/ 2147483646 w 450"/>
              <a:gd name="T93" fmla="*/ 2147483646 h 560"/>
              <a:gd name="T94" fmla="*/ 2147483646 w 450"/>
              <a:gd name="T95" fmla="*/ 2147483646 h 560"/>
              <a:gd name="T96" fmla="*/ 2147483646 w 450"/>
              <a:gd name="T97" fmla="*/ 2147483646 h 560"/>
              <a:gd name="T98" fmla="*/ 2147483646 w 450"/>
              <a:gd name="T99" fmla="*/ 2147483646 h 560"/>
              <a:gd name="T100" fmla="*/ 2147483646 w 450"/>
              <a:gd name="T101" fmla="*/ 2147483646 h 560"/>
              <a:gd name="T102" fmla="*/ 2147483646 w 450"/>
              <a:gd name="T103" fmla="*/ 2147483646 h 560"/>
              <a:gd name="T104" fmla="*/ 2147483646 w 450"/>
              <a:gd name="T105" fmla="*/ 2147483646 h 56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50"/>
              <a:gd name="T160" fmla="*/ 0 h 560"/>
              <a:gd name="T161" fmla="*/ 450 w 450"/>
              <a:gd name="T162" fmla="*/ 560 h 56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50" h="560">
                <a:moveTo>
                  <a:pt x="161" y="515"/>
                </a:moveTo>
                <a:cubicBezTo>
                  <a:pt x="161" y="515"/>
                  <a:pt x="163" y="511"/>
                  <a:pt x="163" y="508"/>
                </a:cubicBezTo>
                <a:cubicBezTo>
                  <a:pt x="163" y="504"/>
                  <a:pt x="157" y="502"/>
                  <a:pt x="155" y="500"/>
                </a:cubicBezTo>
                <a:cubicBezTo>
                  <a:pt x="153" y="499"/>
                  <a:pt x="146" y="495"/>
                  <a:pt x="140" y="491"/>
                </a:cubicBezTo>
                <a:cubicBezTo>
                  <a:pt x="133" y="487"/>
                  <a:pt x="139" y="477"/>
                  <a:pt x="136" y="473"/>
                </a:cubicBezTo>
                <a:cubicBezTo>
                  <a:pt x="133" y="469"/>
                  <a:pt x="130" y="463"/>
                  <a:pt x="122" y="458"/>
                </a:cubicBezTo>
                <a:cubicBezTo>
                  <a:pt x="114" y="453"/>
                  <a:pt x="113" y="458"/>
                  <a:pt x="106" y="455"/>
                </a:cubicBezTo>
                <a:cubicBezTo>
                  <a:pt x="100" y="452"/>
                  <a:pt x="108" y="450"/>
                  <a:pt x="109" y="442"/>
                </a:cubicBezTo>
                <a:cubicBezTo>
                  <a:pt x="111" y="434"/>
                  <a:pt x="103" y="438"/>
                  <a:pt x="97" y="437"/>
                </a:cubicBezTo>
                <a:cubicBezTo>
                  <a:pt x="91" y="435"/>
                  <a:pt x="91" y="431"/>
                  <a:pt x="85" y="428"/>
                </a:cubicBezTo>
                <a:cubicBezTo>
                  <a:pt x="79" y="426"/>
                  <a:pt x="75" y="429"/>
                  <a:pt x="72" y="426"/>
                </a:cubicBezTo>
                <a:cubicBezTo>
                  <a:pt x="68" y="424"/>
                  <a:pt x="76" y="420"/>
                  <a:pt x="70" y="413"/>
                </a:cubicBezTo>
                <a:cubicBezTo>
                  <a:pt x="65" y="407"/>
                  <a:pt x="60" y="415"/>
                  <a:pt x="54" y="414"/>
                </a:cubicBezTo>
                <a:cubicBezTo>
                  <a:pt x="48" y="413"/>
                  <a:pt x="52" y="403"/>
                  <a:pt x="57" y="394"/>
                </a:cubicBezTo>
                <a:cubicBezTo>
                  <a:pt x="63" y="385"/>
                  <a:pt x="49" y="368"/>
                  <a:pt x="42" y="363"/>
                </a:cubicBezTo>
                <a:cubicBezTo>
                  <a:pt x="34" y="358"/>
                  <a:pt x="35" y="353"/>
                  <a:pt x="35" y="353"/>
                </a:cubicBezTo>
                <a:cubicBezTo>
                  <a:pt x="35" y="353"/>
                  <a:pt x="35" y="353"/>
                  <a:pt x="35" y="353"/>
                </a:cubicBezTo>
                <a:cubicBezTo>
                  <a:pt x="35" y="353"/>
                  <a:pt x="42" y="347"/>
                  <a:pt x="32" y="341"/>
                </a:cubicBezTo>
                <a:cubicBezTo>
                  <a:pt x="23" y="335"/>
                  <a:pt x="23" y="331"/>
                  <a:pt x="23" y="322"/>
                </a:cubicBezTo>
                <a:cubicBezTo>
                  <a:pt x="23" y="313"/>
                  <a:pt x="23" y="305"/>
                  <a:pt x="17" y="306"/>
                </a:cubicBezTo>
                <a:cubicBezTo>
                  <a:pt x="12" y="307"/>
                  <a:pt x="0" y="309"/>
                  <a:pt x="4" y="300"/>
                </a:cubicBezTo>
                <a:cubicBezTo>
                  <a:pt x="7" y="291"/>
                  <a:pt x="7" y="290"/>
                  <a:pt x="12" y="290"/>
                </a:cubicBezTo>
                <a:cubicBezTo>
                  <a:pt x="16" y="289"/>
                  <a:pt x="16" y="287"/>
                  <a:pt x="17" y="285"/>
                </a:cubicBezTo>
                <a:cubicBezTo>
                  <a:pt x="17" y="282"/>
                  <a:pt x="18" y="279"/>
                  <a:pt x="14" y="278"/>
                </a:cubicBezTo>
                <a:cubicBezTo>
                  <a:pt x="9" y="277"/>
                  <a:pt x="4" y="274"/>
                  <a:pt x="6" y="271"/>
                </a:cubicBezTo>
                <a:cubicBezTo>
                  <a:pt x="9" y="268"/>
                  <a:pt x="6" y="263"/>
                  <a:pt x="12" y="263"/>
                </a:cubicBezTo>
                <a:cubicBezTo>
                  <a:pt x="18" y="263"/>
                  <a:pt x="23" y="257"/>
                  <a:pt x="20" y="255"/>
                </a:cubicBezTo>
                <a:cubicBezTo>
                  <a:pt x="17" y="252"/>
                  <a:pt x="20" y="248"/>
                  <a:pt x="20" y="248"/>
                </a:cubicBezTo>
                <a:cubicBezTo>
                  <a:pt x="20" y="248"/>
                  <a:pt x="25" y="243"/>
                  <a:pt x="31" y="243"/>
                </a:cubicBezTo>
                <a:cubicBezTo>
                  <a:pt x="37" y="243"/>
                  <a:pt x="39" y="241"/>
                  <a:pt x="36" y="232"/>
                </a:cubicBezTo>
                <a:cubicBezTo>
                  <a:pt x="34" y="223"/>
                  <a:pt x="31" y="219"/>
                  <a:pt x="36" y="219"/>
                </a:cubicBezTo>
                <a:cubicBezTo>
                  <a:pt x="41" y="219"/>
                  <a:pt x="36" y="211"/>
                  <a:pt x="42" y="211"/>
                </a:cubicBezTo>
                <a:cubicBezTo>
                  <a:pt x="49" y="211"/>
                  <a:pt x="50" y="207"/>
                  <a:pt x="54" y="212"/>
                </a:cubicBezTo>
                <a:cubicBezTo>
                  <a:pt x="58" y="217"/>
                  <a:pt x="62" y="217"/>
                  <a:pt x="62" y="217"/>
                </a:cubicBezTo>
                <a:cubicBezTo>
                  <a:pt x="57" y="110"/>
                  <a:pt x="57" y="110"/>
                  <a:pt x="57" y="110"/>
                </a:cubicBezTo>
                <a:cubicBezTo>
                  <a:pt x="61" y="96"/>
                  <a:pt x="61" y="96"/>
                  <a:pt x="61" y="96"/>
                </a:cubicBezTo>
                <a:cubicBezTo>
                  <a:pt x="86" y="95"/>
                  <a:pt x="86" y="95"/>
                  <a:pt x="86" y="95"/>
                </a:cubicBezTo>
                <a:cubicBezTo>
                  <a:pt x="86" y="95"/>
                  <a:pt x="85" y="73"/>
                  <a:pt x="84" y="43"/>
                </a:cubicBezTo>
                <a:cubicBezTo>
                  <a:pt x="84" y="39"/>
                  <a:pt x="84" y="39"/>
                  <a:pt x="84" y="39"/>
                </a:cubicBezTo>
                <a:cubicBezTo>
                  <a:pt x="84" y="39"/>
                  <a:pt x="280" y="35"/>
                  <a:pt x="284" y="35"/>
                </a:cubicBezTo>
                <a:cubicBezTo>
                  <a:pt x="288" y="35"/>
                  <a:pt x="299" y="38"/>
                  <a:pt x="299" y="38"/>
                </a:cubicBezTo>
                <a:cubicBezTo>
                  <a:pt x="304" y="42"/>
                  <a:pt x="304" y="42"/>
                  <a:pt x="304" y="42"/>
                </a:cubicBezTo>
                <a:cubicBezTo>
                  <a:pt x="304" y="42"/>
                  <a:pt x="310" y="43"/>
                  <a:pt x="311" y="43"/>
                </a:cubicBezTo>
                <a:cubicBezTo>
                  <a:pt x="313" y="42"/>
                  <a:pt x="317" y="41"/>
                  <a:pt x="318" y="40"/>
                </a:cubicBezTo>
                <a:cubicBezTo>
                  <a:pt x="319" y="39"/>
                  <a:pt x="317" y="36"/>
                  <a:pt x="315" y="34"/>
                </a:cubicBezTo>
                <a:cubicBezTo>
                  <a:pt x="314" y="32"/>
                  <a:pt x="316" y="29"/>
                  <a:pt x="318" y="28"/>
                </a:cubicBezTo>
                <a:cubicBezTo>
                  <a:pt x="321" y="27"/>
                  <a:pt x="321" y="32"/>
                  <a:pt x="322" y="33"/>
                </a:cubicBezTo>
                <a:cubicBezTo>
                  <a:pt x="324" y="34"/>
                  <a:pt x="325" y="33"/>
                  <a:pt x="326" y="33"/>
                </a:cubicBezTo>
                <a:cubicBezTo>
                  <a:pt x="328" y="32"/>
                  <a:pt x="328" y="28"/>
                  <a:pt x="327" y="25"/>
                </a:cubicBezTo>
                <a:cubicBezTo>
                  <a:pt x="325" y="22"/>
                  <a:pt x="328" y="22"/>
                  <a:pt x="333" y="22"/>
                </a:cubicBezTo>
                <a:cubicBezTo>
                  <a:pt x="337" y="22"/>
                  <a:pt x="333" y="18"/>
                  <a:pt x="335" y="12"/>
                </a:cubicBezTo>
                <a:cubicBezTo>
                  <a:pt x="337" y="6"/>
                  <a:pt x="341" y="7"/>
                  <a:pt x="347" y="9"/>
                </a:cubicBezTo>
                <a:cubicBezTo>
                  <a:pt x="352" y="11"/>
                  <a:pt x="358" y="0"/>
                  <a:pt x="358" y="0"/>
                </a:cubicBezTo>
                <a:cubicBezTo>
                  <a:pt x="358" y="0"/>
                  <a:pt x="363" y="9"/>
                  <a:pt x="366" y="11"/>
                </a:cubicBezTo>
                <a:cubicBezTo>
                  <a:pt x="369" y="13"/>
                  <a:pt x="377" y="9"/>
                  <a:pt x="381" y="16"/>
                </a:cubicBezTo>
                <a:cubicBezTo>
                  <a:pt x="385" y="22"/>
                  <a:pt x="387" y="26"/>
                  <a:pt x="390" y="30"/>
                </a:cubicBezTo>
                <a:cubicBezTo>
                  <a:pt x="392" y="33"/>
                  <a:pt x="403" y="44"/>
                  <a:pt x="406" y="53"/>
                </a:cubicBezTo>
                <a:cubicBezTo>
                  <a:pt x="410" y="62"/>
                  <a:pt x="411" y="59"/>
                  <a:pt x="409" y="79"/>
                </a:cubicBezTo>
                <a:cubicBezTo>
                  <a:pt x="407" y="99"/>
                  <a:pt x="411" y="104"/>
                  <a:pt x="415" y="107"/>
                </a:cubicBezTo>
                <a:cubicBezTo>
                  <a:pt x="419" y="111"/>
                  <a:pt x="430" y="114"/>
                  <a:pt x="434" y="121"/>
                </a:cubicBezTo>
                <a:cubicBezTo>
                  <a:pt x="439" y="129"/>
                  <a:pt x="449" y="140"/>
                  <a:pt x="449" y="140"/>
                </a:cubicBezTo>
                <a:cubicBezTo>
                  <a:pt x="449" y="140"/>
                  <a:pt x="450" y="145"/>
                  <a:pt x="443" y="151"/>
                </a:cubicBezTo>
                <a:cubicBezTo>
                  <a:pt x="436" y="156"/>
                  <a:pt x="428" y="154"/>
                  <a:pt x="425" y="161"/>
                </a:cubicBezTo>
                <a:cubicBezTo>
                  <a:pt x="423" y="168"/>
                  <a:pt x="423" y="175"/>
                  <a:pt x="416" y="174"/>
                </a:cubicBezTo>
                <a:cubicBezTo>
                  <a:pt x="408" y="173"/>
                  <a:pt x="408" y="166"/>
                  <a:pt x="408" y="184"/>
                </a:cubicBezTo>
                <a:cubicBezTo>
                  <a:pt x="408" y="201"/>
                  <a:pt x="405" y="204"/>
                  <a:pt x="402" y="213"/>
                </a:cubicBezTo>
                <a:cubicBezTo>
                  <a:pt x="399" y="222"/>
                  <a:pt x="402" y="230"/>
                  <a:pt x="403" y="238"/>
                </a:cubicBezTo>
                <a:cubicBezTo>
                  <a:pt x="405" y="247"/>
                  <a:pt x="406" y="257"/>
                  <a:pt x="403" y="264"/>
                </a:cubicBezTo>
                <a:cubicBezTo>
                  <a:pt x="400" y="271"/>
                  <a:pt x="393" y="290"/>
                  <a:pt x="393" y="295"/>
                </a:cubicBezTo>
                <a:cubicBezTo>
                  <a:pt x="393" y="299"/>
                  <a:pt x="391" y="296"/>
                  <a:pt x="387" y="296"/>
                </a:cubicBezTo>
                <a:cubicBezTo>
                  <a:pt x="382" y="296"/>
                  <a:pt x="378" y="298"/>
                  <a:pt x="378" y="307"/>
                </a:cubicBezTo>
                <a:cubicBezTo>
                  <a:pt x="377" y="317"/>
                  <a:pt x="370" y="323"/>
                  <a:pt x="368" y="327"/>
                </a:cubicBezTo>
                <a:cubicBezTo>
                  <a:pt x="366" y="331"/>
                  <a:pt x="367" y="337"/>
                  <a:pt x="367" y="346"/>
                </a:cubicBezTo>
                <a:cubicBezTo>
                  <a:pt x="366" y="355"/>
                  <a:pt x="363" y="351"/>
                  <a:pt x="358" y="351"/>
                </a:cubicBezTo>
                <a:cubicBezTo>
                  <a:pt x="353" y="351"/>
                  <a:pt x="351" y="344"/>
                  <a:pt x="350" y="359"/>
                </a:cubicBezTo>
                <a:cubicBezTo>
                  <a:pt x="348" y="375"/>
                  <a:pt x="348" y="387"/>
                  <a:pt x="346" y="392"/>
                </a:cubicBezTo>
                <a:cubicBezTo>
                  <a:pt x="343" y="396"/>
                  <a:pt x="344" y="401"/>
                  <a:pt x="345" y="410"/>
                </a:cubicBezTo>
                <a:cubicBezTo>
                  <a:pt x="346" y="419"/>
                  <a:pt x="343" y="422"/>
                  <a:pt x="337" y="420"/>
                </a:cubicBezTo>
                <a:cubicBezTo>
                  <a:pt x="332" y="419"/>
                  <a:pt x="327" y="408"/>
                  <a:pt x="323" y="419"/>
                </a:cubicBezTo>
                <a:cubicBezTo>
                  <a:pt x="318" y="431"/>
                  <a:pt x="304" y="441"/>
                  <a:pt x="314" y="442"/>
                </a:cubicBezTo>
                <a:cubicBezTo>
                  <a:pt x="324" y="443"/>
                  <a:pt x="331" y="438"/>
                  <a:pt x="338" y="442"/>
                </a:cubicBezTo>
                <a:cubicBezTo>
                  <a:pt x="346" y="446"/>
                  <a:pt x="345" y="447"/>
                  <a:pt x="350" y="456"/>
                </a:cubicBezTo>
                <a:cubicBezTo>
                  <a:pt x="355" y="465"/>
                  <a:pt x="364" y="463"/>
                  <a:pt x="365" y="474"/>
                </a:cubicBezTo>
                <a:cubicBezTo>
                  <a:pt x="367" y="485"/>
                  <a:pt x="367" y="491"/>
                  <a:pt x="374" y="495"/>
                </a:cubicBezTo>
                <a:cubicBezTo>
                  <a:pt x="381" y="498"/>
                  <a:pt x="376" y="502"/>
                  <a:pt x="383" y="504"/>
                </a:cubicBezTo>
                <a:cubicBezTo>
                  <a:pt x="390" y="505"/>
                  <a:pt x="397" y="496"/>
                  <a:pt x="398" y="501"/>
                </a:cubicBezTo>
                <a:cubicBezTo>
                  <a:pt x="400" y="506"/>
                  <a:pt x="397" y="526"/>
                  <a:pt x="397" y="526"/>
                </a:cubicBezTo>
                <a:cubicBezTo>
                  <a:pt x="359" y="527"/>
                  <a:pt x="359" y="527"/>
                  <a:pt x="359" y="527"/>
                </a:cubicBezTo>
                <a:cubicBezTo>
                  <a:pt x="335" y="551"/>
                  <a:pt x="335" y="551"/>
                  <a:pt x="335" y="551"/>
                </a:cubicBezTo>
                <a:cubicBezTo>
                  <a:pt x="335" y="551"/>
                  <a:pt x="321" y="552"/>
                  <a:pt x="318" y="550"/>
                </a:cubicBezTo>
                <a:cubicBezTo>
                  <a:pt x="315" y="549"/>
                  <a:pt x="313" y="544"/>
                  <a:pt x="305" y="551"/>
                </a:cubicBezTo>
                <a:cubicBezTo>
                  <a:pt x="298" y="558"/>
                  <a:pt x="288" y="556"/>
                  <a:pt x="288" y="556"/>
                </a:cubicBezTo>
                <a:cubicBezTo>
                  <a:pt x="288" y="556"/>
                  <a:pt x="287" y="547"/>
                  <a:pt x="284" y="553"/>
                </a:cubicBezTo>
                <a:cubicBezTo>
                  <a:pt x="281" y="558"/>
                  <a:pt x="278" y="556"/>
                  <a:pt x="275" y="555"/>
                </a:cubicBezTo>
                <a:cubicBezTo>
                  <a:pt x="272" y="554"/>
                  <a:pt x="271" y="549"/>
                  <a:pt x="270" y="553"/>
                </a:cubicBezTo>
                <a:cubicBezTo>
                  <a:pt x="269" y="556"/>
                  <a:pt x="262" y="555"/>
                  <a:pt x="262" y="555"/>
                </a:cubicBezTo>
                <a:cubicBezTo>
                  <a:pt x="258" y="560"/>
                  <a:pt x="258" y="560"/>
                  <a:pt x="258" y="560"/>
                </a:cubicBezTo>
                <a:cubicBezTo>
                  <a:pt x="253" y="556"/>
                  <a:pt x="253" y="556"/>
                  <a:pt x="253" y="556"/>
                </a:cubicBezTo>
                <a:cubicBezTo>
                  <a:pt x="253" y="556"/>
                  <a:pt x="247" y="540"/>
                  <a:pt x="242" y="542"/>
                </a:cubicBezTo>
                <a:cubicBezTo>
                  <a:pt x="236" y="543"/>
                  <a:pt x="231" y="544"/>
                  <a:pt x="230" y="538"/>
                </a:cubicBezTo>
                <a:cubicBezTo>
                  <a:pt x="228" y="532"/>
                  <a:pt x="229" y="528"/>
                  <a:pt x="226" y="528"/>
                </a:cubicBezTo>
                <a:cubicBezTo>
                  <a:pt x="223" y="528"/>
                  <a:pt x="220" y="520"/>
                  <a:pt x="220" y="527"/>
                </a:cubicBezTo>
                <a:cubicBezTo>
                  <a:pt x="219" y="534"/>
                  <a:pt x="216" y="536"/>
                  <a:pt x="211" y="534"/>
                </a:cubicBezTo>
                <a:cubicBezTo>
                  <a:pt x="206" y="533"/>
                  <a:pt x="203" y="520"/>
                  <a:pt x="198" y="527"/>
                </a:cubicBezTo>
                <a:cubicBezTo>
                  <a:pt x="192" y="534"/>
                  <a:pt x="192" y="535"/>
                  <a:pt x="185" y="534"/>
                </a:cubicBezTo>
                <a:cubicBezTo>
                  <a:pt x="178" y="534"/>
                  <a:pt x="179" y="533"/>
                  <a:pt x="174" y="528"/>
                </a:cubicBezTo>
                <a:cubicBezTo>
                  <a:pt x="170" y="523"/>
                  <a:pt x="161" y="515"/>
                  <a:pt x="161" y="51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5" name="Freeform 681"/>
          <p:cNvSpPr>
            <a:spLocks/>
          </p:cNvSpPr>
          <p:nvPr userDrawn="1"/>
        </p:nvSpPr>
        <p:spPr bwMode="auto">
          <a:xfrm>
            <a:off x="5778773" y="4890740"/>
            <a:ext cx="499177" cy="497501"/>
          </a:xfrm>
          <a:custGeom>
            <a:avLst/>
            <a:gdLst>
              <a:gd name="T0" fmla="*/ 2147483646 w 536"/>
              <a:gd name="T1" fmla="*/ 2147483646 h 533"/>
              <a:gd name="T2" fmla="*/ 2147483646 w 536"/>
              <a:gd name="T3" fmla="*/ 2147483646 h 533"/>
              <a:gd name="T4" fmla="*/ 2147483646 w 536"/>
              <a:gd name="T5" fmla="*/ 2147483646 h 533"/>
              <a:gd name="T6" fmla="*/ 2147483646 w 536"/>
              <a:gd name="T7" fmla="*/ 2147483646 h 533"/>
              <a:gd name="T8" fmla="*/ 2147483646 w 536"/>
              <a:gd name="T9" fmla="*/ 2147483646 h 533"/>
              <a:gd name="T10" fmla="*/ 2147483646 w 536"/>
              <a:gd name="T11" fmla="*/ 2147483646 h 533"/>
              <a:gd name="T12" fmla="*/ 2147483646 w 536"/>
              <a:gd name="T13" fmla="*/ 2147483646 h 533"/>
              <a:gd name="T14" fmla="*/ 2147483646 w 536"/>
              <a:gd name="T15" fmla="*/ 2147483646 h 533"/>
              <a:gd name="T16" fmla="*/ 2147483646 w 536"/>
              <a:gd name="T17" fmla="*/ 2147483646 h 533"/>
              <a:gd name="T18" fmla="*/ 2147483646 w 536"/>
              <a:gd name="T19" fmla="*/ 2147483646 h 533"/>
              <a:gd name="T20" fmla="*/ 2147483646 w 536"/>
              <a:gd name="T21" fmla="*/ 2147483646 h 533"/>
              <a:gd name="T22" fmla="*/ 2147483646 w 536"/>
              <a:gd name="T23" fmla="*/ 2147483646 h 533"/>
              <a:gd name="T24" fmla="*/ 2147483646 w 536"/>
              <a:gd name="T25" fmla="*/ 2147483646 h 533"/>
              <a:gd name="T26" fmla="*/ 2147483646 w 536"/>
              <a:gd name="T27" fmla="*/ 2147483646 h 533"/>
              <a:gd name="T28" fmla="*/ 2147483646 w 536"/>
              <a:gd name="T29" fmla="*/ 2147483646 h 533"/>
              <a:gd name="T30" fmla="*/ 2147483646 w 536"/>
              <a:gd name="T31" fmla="*/ 2147483646 h 533"/>
              <a:gd name="T32" fmla="*/ 2147483646 w 536"/>
              <a:gd name="T33" fmla="*/ 2147483646 h 533"/>
              <a:gd name="T34" fmla="*/ 2147483646 w 536"/>
              <a:gd name="T35" fmla="*/ 2147483646 h 533"/>
              <a:gd name="T36" fmla="*/ 2147483646 w 536"/>
              <a:gd name="T37" fmla="*/ 2147483646 h 533"/>
              <a:gd name="T38" fmla="*/ 2147483646 w 536"/>
              <a:gd name="T39" fmla="*/ 2147483646 h 533"/>
              <a:gd name="T40" fmla="*/ 2147483646 w 536"/>
              <a:gd name="T41" fmla="*/ 2147483646 h 533"/>
              <a:gd name="T42" fmla="*/ 2147483646 w 536"/>
              <a:gd name="T43" fmla="*/ 2147483646 h 533"/>
              <a:gd name="T44" fmla="*/ 2147483646 w 536"/>
              <a:gd name="T45" fmla="*/ 2147483646 h 533"/>
              <a:gd name="T46" fmla="*/ 2147483646 w 536"/>
              <a:gd name="T47" fmla="*/ 2147483646 h 533"/>
              <a:gd name="T48" fmla="*/ 2147483646 w 536"/>
              <a:gd name="T49" fmla="*/ 2147483646 h 533"/>
              <a:gd name="T50" fmla="*/ 2147483646 w 536"/>
              <a:gd name="T51" fmla="*/ 2147483646 h 533"/>
              <a:gd name="T52" fmla="*/ 2147483646 w 536"/>
              <a:gd name="T53" fmla="*/ 2147483646 h 533"/>
              <a:gd name="T54" fmla="*/ 2147483646 w 536"/>
              <a:gd name="T55" fmla="*/ 2147483646 h 533"/>
              <a:gd name="T56" fmla="*/ 2147483646 w 536"/>
              <a:gd name="T57" fmla="*/ 2147483646 h 533"/>
              <a:gd name="T58" fmla="*/ 2147483646 w 536"/>
              <a:gd name="T59" fmla="*/ 2147483646 h 533"/>
              <a:gd name="T60" fmla="*/ 2147483646 w 536"/>
              <a:gd name="T61" fmla="*/ 2147483646 h 533"/>
              <a:gd name="T62" fmla="*/ 2147483646 w 536"/>
              <a:gd name="T63" fmla="*/ 2147483646 h 533"/>
              <a:gd name="T64" fmla="*/ 2147483646 w 536"/>
              <a:gd name="T65" fmla="*/ 2147483646 h 533"/>
              <a:gd name="T66" fmla="*/ 2147483646 w 536"/>
              <a:gd name="T67" fmla="*/ 2147483646 h 533"/>
              <a:gd name="T68" fmla="*/ 2147483646 w 536"/>
              <a:gd name="T69" fmla="*/ 2147483646 h 533"/>
              <a:gd name="T70" fmla="*/ 2147483646 w 536"/>
              <a:gd name="T71" fmla="*/ 2147483646 h 533"/>
              <a:gd name="T72" fmla="*/ 2147483646 w 536"/>
              <a:gd name="T73" fmla="*/ 2147483646 h 533"/>
              <a:gd name="T74" fmla="*/ 2147483646 w 536"/>
              <a:gd name="T75" fmla="*/ 2147483646 h 533"/>
              <a:gd name="T76" fmla="*/ 2147483646 w 536"/>
              <a:gd name="T77" fmla="*/ 2147483646 h 533"/>
              <a:gd name="T78" fmla="*/ 2147483646 w 536"/>
              <a:gd name="T79" fmla="*/ 2147483646 h 533"/>
              <a:gd name="T80" fmla="*/ 2147483646 w 536"/>
              <a:gd name="T81" fmla="*/ 2147483646 h 533"/>
              <a:gd name="T82" fmla="*/ 2147483646 w 536"/>
              <a:gd name="T83" fmla="*/ 2147483646 h 533"/>
              <a:gd name="T84" fmla="*/ 0 w 536"/>
              <a:gd name="T85" fmla="*/ 2147483646 h 533"/>
              <a:gd name="T86" fmla="*/ 2147483646 w 536"/>
              <a:gd name="T87" fmla="*/ 2147483646 h 53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536"/>
              <a:gd name="T133" fmla="*/ 0 h 533"/>
              <a:gd name="T134" fmla="*/ 536 w 536"/>
              <a:gd name="T135" fmla="*/ 533 h 53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536" h="533">
                <a:moveTo>
                  <a:pt x="23" y="286"/>
                </a:moveTo>
                <a:cubicBezTo>
                  <a:pt x="26" y="292"/>
                  <a:pt x="30" y="298"/>
                  <a:pt x="35" y="295"/>
                </a:cubicBezTo>
                <a:cubicBezTo>
                  <a:pt x="42" y="290"/>
                  <a:pt x="45" y="285"/>
                  <a:pt x="47" y="282"/>
                </a:cubicBezTo>
                <a:cubicBezTo>
                  <a:pt x="49" y="279"/>
                  <a:pt x="53" y="273"/>
                  <a:pt x="57" y="276"/>
                </a:cubicBezTo>
                <a:cubicBezTo>
                  <a:pt x="60" y="280"/>
                  <a:pt x="64" y="272"/>
                  <a:pt x="64" y="275"/>
                </a:cubicBezTo>
                <a:cubicBezTo>
                  <a:pt x="65" y="279"/>
                  <a:pt x="58" y="283"/>
                  <a:pt x="61" y="290"/>
                </a:cubicBezTo>
                <a:cubicBezTo>
                  <a:pt x="63" y="296"/>
                  <a:pt x="65" y="294"/>
                  <a:pt x="69" y="293"/>
                </a:cubicBezTo>
                <a:cubicBezTo>
                  <a:pt x="73" y="293"/>
                  <a:pt x="84" y="282"/>
                  <a:pt x="90" y="276"/>
                </a:cubicBezTo>
                <a:cubicBezTo>
                  <a:pt x="95" y="270"/>
                  <a:pt x="100" y="268"/>
                  <a:pt x="105" y="265"/>
                </a:cubicBezTo>
                <a:cubicBezTo>
                  <a:pt x="109" y="262"/>
                  <a:pt x="112" y="260"/>
                  <a:pt x="112" y="254"/>
                </a:cubicBezTo>
                <a:cubicBezTo>
                  <a:pt x="113" y="248"/>
                  <a:pt x="110" y="243"/>
                  <a:pt x="111" y="235"/>
                </a:cubicBezTo>
                <a:cubicBezTo>
                  <a:pt x="112" y="226"/>
                  <a:pt x="107" y="226"/>
                  <a:pt x="114" y="216"/>
                </a:cubicBezTo>
                <a:cubicBezTo>
                  <a:pt x="122" y="205"/>
                  <a:pt x="123" y="201"/>
                  <a:pt x="128" y="195"/>
                </a:cubicBezTo>
                <a:cubicBezTo>
                  <a:pt x="133" y="190"/>
                  <a:pt x="131" y="185"/>
                  <a:pt x="142" y="181"/>
                </a:cubicBezTo>
                <a:cubicBezTo>
                  <a:pt x="152" y="178"/>
                  <a:pt x="155" y="174"/>
                  <a:pt x="157" y="170"/>
                </a:cubicBezTo>
                <a:cubicBezTo>
                  <a:pt x="159" y="165"/>
                  <a:pt x="158" y="161"/>
                  <a:pt x="159" y="154"/>
                </a:cubicBezTo>
                <a:cubicBezTo>
                  <a:pt x="160" y="147"/>
                  <a:pt x="162" y="138"/>
                  <a:pt x="162" y="130"/>
                </a:cubicBezTo>
                <a:cubicBezTo>
                  <a:pt x="162" y="123"/>
                  <a:pt x="165" y="118"/>
                  <a:pt x="167" y="113"/>
                </a:cubicBezTo>
                <a:cubicBezTo>
                  <a:pt x="169" y="108"/>
                  <a:pt x="172" y="104"/>
                  <a:pt x="170" y="100"/>
                </a:cubicBezTo>
                <a:cubicBezTo>
                  <a:pt x="169" y="95"/>
                  <a:pt x="179" y="75"/>
                  <a:pt x="181" y="72"/>
                </a:cubicBezTo>
                <a:cubicBezTo>
                  <a:pt x="183" y="69"/>
                  <a:pt x="184" y="59"/>
                  <a:pt x="181" y="55"/>
                </a:cubicBezTo>
                <a:cubicBezTo>
                  <a:pt x="181" y="35"/>
                  <a:pt x="190" y="16"/>
                  <a:pt x="207" y="12"/>
                </a:cubicBezTo>
                <a:cubicBezTo>
                  <a:pt x="224" y="8"/>
                  <a:pt x="233" y="25"/>
                  <a:pt x="234" y="29"/>
                </a:cubicBezTo>
                <a:cubicBezTo>
                  <a:pt x="235" y="32"/>
                  <a:pt x="242" y="35"/>
                  <a:pt x="246" y="35"/>
                </a:cubicBezTo>
                <a:cubicBezTo>
                  <a:pt x="251" y="34"/>
                  <a:pt x="272" y="38"/>
                  <a:pt x="276" y="38"/>
                </a:cubicBezTo>
                <a:cubicBezTo>
                  <a:pt x="280" y="39"/>
                  <a:pt x="282" y="40"/>
                  <a:pt x="286" y="40"/>
                </a:cubicBezTo>
                <a:cubicBezTo>
                  <a:pt x="290" y="40"/>
                  <a:pt x="295" y="32"/>
                  <a:pt x="297" y="21"/>
                </a:cubicBezTo>
                <a:cubicBezTo>
                  <a:pt x="299" y="11"/>
                  <a:pt x="303" y="21"/>
                  <a:pt x="308" y="21"/>
                </a:cubicBezTo>
                <a:cubicBezTo>
                  <a:pt x="312" y="21"/>
                  <a:pt x="316" y="27"/>
                  <a:pt x="321" y="25"/>
                </a:cubicBezTo>
                <a:cubicBezTo>
                  <a:pt x="325" y="23"/>
                  <a:pt x="328" y="25"/>
                  <a:pt x="330" y="25"/>
                </a:cubicBezTo>
                <a:cubicBezTo>
                  <a:pt x="332" y="25"/>
                  <a:pt x="335" y="14"/>
                  <a:pt x="339" y="12"/>
                </a:cubicBezTo>
                <a:cubicBezTo>
                  <a:pt x="343" y="9"/>
                  <a:pt x="368" y="10"/>
                  <a:pt x="369" y="5"/>
                </a:cubicBezTo>
                <a:cubicBezTo>
                  <a:pt x="371" y="0"/>
                  <a:pt x="376" y="7"/>
                  <a:pt x="378" y="8"/>
                </a:cubicBezTo>
                <a:cubicBezTo>
                  <a:pt x="380" y="9"/>
                  <a:pt x="385" y="10"/>
                  <a:pt x="388" y="8"/>
                </a:cubicBezTo>
                <a:cubicBezTo>
                  <a:pt x="392" y="5"/>
                  <a:pt x="396" y="10"/>
                  <a:pt x="401" y="12"/>
                </a:cubicBezTo>
                <a:cubicBezTo>
                  <a:pt x="406" y="15"/>
                  <a:pt x="413" y="13"/>
                  <a:pt x="415" y="10"/>
                </a:cubicBezTo>
                <a:cubicBezTo>
                  <a:pt x="417" y="8"/>
                  <a:pt x="425" y="10"/>
                  <a:pt x="425" y="10"/>
                </a:cubicBezTo>
                <a:cubicBezTo>
                  <a:pt x="425" y="10"/>
                  <a:pt x="434" y="18"/>
                  <a:pt x="438" y="23"/>
                </a:cubicBezTo>
                <a:cubicBezTo>
                  <a:pt x="443" y="28"/>
                  <a:pt x="442" y="29"/>
                  <a:pt x="449" y="29"/>
                </a:cubicBezTo>
                <a:cubicBezTo>
                  <a:pt x="456" y="30"/>
                  <a:pt x="456" y="29"/>
                  <a:pt x="462" y="22"/>
                </a:cubicBezTo>
                <a:cubicBezTo>
                  <a:pt x="467" y="15"/>
                  <a:pt x="470" y="28"/>
                  <a:pt x="475" y="29"/>
                </a:cubicBezTo>
                <a:cubicBezTo>
                  <a:pt x="480" y="31"/>
                  <a:pt x="483" y="29"/>
                  <a:pt x="484" y="22"/>
                </a:cubicBezTo>
                <a:cubicBezTo>
                  <a:pt x="484" y="15"/>
                  <a:pt x="487" y="23"/>
                  <a:pt x="490" y="23"/>
                </a:cubicBezTo>
                <a:cubicBezTo>
                  <a:pt x="493" y="23"/>
                  <a:pt x="492" y="27"/>
                  <a:pt x="494" y="33"/>
                </a:cubicBezTo>
                <a:cubicBezTo>
                  <a:pt x="495" y="39"/>
                  <a:pt x="500" y="38"/>
                  <a:pt x="506" y="37"/>
                </a:cubicBezTo>
                <a:cubicBezTo>
                  <a:pt x="511" y="35"/>
                  <a:pt x="517" y="51"/>
                  <a:pt x="517" y="51"/>
                </a:cubicBezTo>
                <a:cubicBezTo>
                  <a:pt x="522" y="55"/>
                  <a:pt x="522" y="55"/>
                  <a:pt x="522" y="55"/>
                </a:cubicBezTo>
                <a:cubicBezTo>
                  <a:pt x="522" y="55"/>
                  <a:pt x="521" y="65"/>
                  <a:pt x="522" y="68"/>
                </a:cubicBezTo>
                <a:cubicBezTo>
                  <a:pt x="523" y="71"/>
                  <a:pt x="526" y="75"/>
                  <a:pt x="524" y="77"/>
                </a:cubicBezTo>
                <a:cubicBezTo>
                  <a:pt x="521" y="80"/>
                  <a:pt x="520" y="81"/>
                  <a:pt x="522" y="83"/>
                </a:cubicBezTo>
                <a:cubicBezTo>
                  <a:pt x="524" y="85"/>
                  <a:pt x="531" y="87"/>
                  <a:pt x="533" y="88"/>
                </a:cubicBezTo>
                <a:cubicBezTo>
                  <a:pt x="534" y="90"/>
                  <a:pt x="536" y="95"/>
                  <a:pt x="533" y="97"/>
                </a:cubicBezTo>
                <a:cubicBezTo>
                  <a:pt x="531" y="99"/>
                  <a:pt x="520" y="109"/>
                  <a:pt x="517" y="112"/>
                </a:cubicBezTo>
                <a:cubicBezTo>
                  <a:pt x="514" y="116"/>
                  <a:pt x="502" y="136"/>
                  <a:pt x="499" y="142"/>
                </a:cubicBezTo>
                <a:cubicBezTo>
                  <a:pt x="496" y="148"/>
                  <a:pt x="491" y="150"/>
                  <a:pt x="491" y="159"/>
                </a:cubicBezTo>
                <a:cubicBezTo>
                  <a:pt x="491" y="168"/>
                  <a:pt x="488" y="174"/>
                  <a:pt x="489" y="180"/>
                </a:cubicBezTo>
                <a:cubicBezTo>
                  <a:pt x="489" y="186"/>
                  <a:pt x="490" y="189"/>
                  <a:pt x="489" y="192"/>
                </a:cubicBezTo>
                <a:cubicBezTo>
                  <a:pt x="487" y="194"/>
                  <a:pt x="489" y="196"/>
                  <a:pt x="484" y="197"/>
                </a:cubicBezTo>
                <a:cubicBezTo>
                  <a:pt x="479" y="199"/>
                  <a:pt x="474" y="198"/>
                  <a:pt x="475" y="204"/>
                </a:cubicBezTo>
                <a:cubicBezTo>
                  <a:pt x="476" y="210"/>
                  <a:pt x="477" y="210"/>
                  <a:pt x="473" y="214"/>
                </a:cubicBezTo>
                <a:cubicBezTo>
                  <a:pt x="470" y="219"/>
                  <a:pt x="468" y="221"/>
                  <a:pt x="469" y="224"/>
                </a:cubicBezTo>
                <a:cubicBezTo>
                  <a:pt x="471" y="226"/>
                  <a:pt x="469" y="228"/>
                  <a:pt x="472" y="229"/>
                </a:cubicBezTo>
                <a:cubicBezTo>
                  <a:pt x="476" y="230"/>
                  <a:pt x="477" y="243"/>
                  <a:pt x="477" y="243"/>
                </a:cubicBezTo>
                <a:cubicBezTo>
                  <a:pt x="477" y="243"/>
                  <a:pt x="480" y="257"/>
                  <a:pt x="480" y="264"/>
                </a:cubicBezTo>
                <a:cubicBezTo>
                  <a:pt x="479" y="270"/>
                  <a:pt x="483" y="275"/>
                  <a:pt x="482" y="284"/>
                </a:cubicBezTo>
                <a:cubicBezTo>
                  <a:pt x="482" y="293"/>
                  <a:pt x="482" y="297"/>
                  <a:pt x="484" y="306"/>
                </a:cubicBezTo>
                <a:cubicBezTo>
                  <a:pt x="485" y="316"/>
                  <a:pt x="489" y="320"/>
                  <a:pt x="489" y="325"/>
                </a:cubicBezTo>
                <a:cubicBezTo>
                  <a:pt x="489" y="330"/>
                  <a:pt x="485" y="330"/>
                  <a:pt x="487" y="335"/>
                </a:cubicBezTo>
                <a:cubicBezTo>
                  <a:pt x="489" y="340"/>
                  <a:pt x="496" y="343"/>
                  <a:pt x="500" y="348"/>
                </a:cubicBezTo>
                <a:cubicBezTo>
                  <a:pt x="505" y="353"/>
                  <a:pt x="510" y="359"/>
                  <a:pt x="511" y="362"/>
                </a:cubicBezTo>
                <a:cubicBezTo>
                  <a:pt x="513" y="365"/>
                  <a:pt x="521" y="388"/>
                  <a:pt x="521" y="388"/>
                </a:cubicBezTo>
                <a:cubicBezTo>
                  <a:pt x="521" y="388"/>
                  <a:pt x="474" y="387"/>
                  <a:pt x="471" y="391"/>
                </a:cubicBezTo>
                <a:cubicBezTo>
                  <a:pt x="468" y="395"/>
                  <a:pt x="470" y="406"/>
                  <a:pt x="470" y="406"/>
                </a:cubicBezTo>
                <a:cubicBezTo>
                  <a:pt x="470" y="406"/>
                  <a:pt x="460" y="415"/>
                  <a:pt x="456" y="415"/>
                </a:cubicBezTo>
                <a:cubicBezTo>
                  <a:pt x="456" y="415"/>
                  <a:pt x="459" y="422"/>
                  <a:pt x="460" y="428"/>
                </a:cubicBezTo>
                <a:cubicBezTo>
                  <a:pt x="462" y="434"/>
                  <a:pt x="458" y="436"/>
                  <a:pt x="459" y="444"/>
                </a:cubicBezTo>
                <a:cubicBezTo>
                  <a:pt x="459" y="451"/>
                  <a:pt x="465" y="454"/>
                  <a:pt x="462" y="460"/>
                </a:cubicBezTo>
                <a:cubicBezTo>
                  <a:pt x="459" y="466"/>
                  <a:pt x="456" y="469"/>
                  <a:pt x="454" y="474"/>
                </a:cubicBezTo>
                <a:cubicBezTo>
                  <a:pt x="453" y="478"/>
                  <a:pt x="454" y="472"/>
                  <a:pt x="453" y="478"/>
                </a:cubicBezTo>
                <a:cubicBezTo>
                  <a:pt x="452" y="484"/>
                  <a:pt x="459" y="483"/>
                  <a:pt x="462" y="489"/>
                </a:cubicBezTo>
                <a:cubicBezTo>
                  <a:pt x="465" y="495"/>
                  <a:pt x="472" y="495"/>
                  <a:pt x="475" y="499"/>
                </a:cubicBezTo>
                <a:cubicBezTo>
                  <a:pt x="478" y="504"/>
                  <a:pt x="481" y="501"/>
                  <a:pt x="481" y="501"/>
                </a:cubicBezTo>
                <a:cubicBezTo>
                  <a:pt x="490" y="503"/>
                  <a:pt x="490" y="503"/>
                  <a:pt x="490" y="503"/>
                </a:cubicBezTo>
                <a:cubicBezTo>
                  <a:pt x="490" y="503"/>
                  <a:pt x="493" y="510"/>
                  <a:pt x="493" y="515"/>
                </a:cubicBezTo>
                <a:cubicBezTo>
                  <a:pt x="493" y="520"/>
                  <a:pt x="496" y="522"/>
                  <a:pt x="492" y="526"/>
                </a:cubicBezTo>
                <a:cubicBezTo>
                  <a:pt x="487" y="529"/>
                  <a:pt x="481" y="533"/>
                  <a:pt x="478" y="531"/>
                </a:cubicBezTo>
                <a:cubicBezTo>
                  <a:pt x="475" y="529"/>
                  <a:pt x="472" y="518"/>
                  <a:pt x="468" y="521"/>
                </a:cubicBezTo>
                <a:cubicBezTo>
                  <a:pt x="465" y="524"/>
                  <a:pt x="461" y="527"/>
                  <a:pt x="459" y="522"/>
                </a:cubicBezTo>
                <a:cubicBezTo>
                  <a:pt x="458" y="518"/>
                  <a:pt x="459" y="510"/>
                  <a:pt x="456" y="510"/>
                </a:cubicBezTo>
                <a:cubicBezTo>
                  <a:pt x="454" y="510"/>
                  <a:pt x="452" y="505"/>
                  <a:pt x="449" y="505"/>
                </a:cubicBezTo>
                <a:cubicBezTo>
                  <a:pt x="446" y="505"/>
                  <a:pt x="440" y="498"/>
                  <a:pt x="440" y="498"/>
                </a:cubicBezTo>
                <a:cubicBezTo>
                  <a:pt x="440" y="498"/>
                  <a:pt x="435" y="499"/>
                  <a:pt x="432" y="499"/>
                </a:cubicBezTo>
                <a:cubicBezTo>
                  <a:pt x="429" y="499"/>
                  <a:pt x="424" y="497"/>
                  <a:pt x="424" y="490"/>
                </a:cubicBezTo>
                <a:cubicBezTo>
                  <a:pt x="423" y="483"/>
                  <a:pt x="422" y="476"/>
                  <a:pt x="419" y="476"/>
                </a:cubicBezTo>
                <a:cubicBezTo>
                  <a:pt x="416" y="476"/>
                  <a:pt x="412" y="478"/>
                  <a:pt x="412" y="484"/>
                </a:cubicBezTo>
                <a:cubicBezTo>
                  <a:pt x="412" y="490"/>
                  <a:pt x="411" y="485"/>
                  <a:pt x="404" y="488"/>
                </a:cubicBezTo>
                <a:cubicBezTo>
                  <a:pt x="398" y="491"/>
                  <a:pt x="396" y="477"/>
                  <a:pt x="390" y="482"/>
                </a:cubicBezTo>
                <a:cubicBezTo>
                  <a:pt x="384" y="486"/>
                  <a:pt x="380" y="487"/>
                  <a:pt x="376" y="486"/>
                </a:cubicBezTo>
                <a:cubicBezTo>
                  <a:pt x="372" y="484"/>
                  <a:pt x="371" y="483"/>
                  <a:pt x="370" y="480"/>
                </a:cubicBezTo>
                <a:cubicBezTo>
                  <a:pt x="369" y="477"/>
                  <a:pt x="369" y="467"/>
                  <a:pt x="366" y="469"/>
                </a:cubicBezTo>
                <a:cubicBezTo>
                  <a:pt x="363" y="472"/>
                  <a:pt x="355" y="475"/>
                  <a:pt x="355" y="475"/>
                </a:cubicBezTo>
                <a:cubicBezTo>
                  <a:pt x="355" y="475"/>
                  <a:pt x="352" y="475"/>
                  <a:pt x="349" y="474"/>
                </a:cubicBezTo>
                <a:cubicBezTo>
                  <a:pt x="346" y="473"/>
                  <a:pt x="343" y="473"/>
                  <a:pt x="340" y="469"/>
                </a:cubicBezTo>
                <a:cubicBezTo>
                  <a:pt x="337" y="466"/>
                  <a:pt x="326" y="467"/>
                  <a:pt x="326" y="467"/>
                </a:cubicBezTo>
                <a:cubicBezTo>
                  <a:pt x="309" y="466"/>
                  <a:pt x="309" y="466"/>
                  <a:pt x="309" y="466"/>
                </a:cubicBezTo>
                <a:cubicBezTo>
                  <a:pt x="309" y="466"/>
                  <a:pt x="285" y="469"/>
                  <a:pt x="283" y="472"/>
                </a:cubicBezTo>
                <a:cubicBezTo>
                  <a:pt x="281" y="475"/>
                  <a:pt x="278" y="466"/>
                  <a:pt x="280" y="461"/>
                </a:cubicBezTo>
                <a:cubicBezTo>
                  <a:pt x="282" y="455"/>
                  <a:pt x="283" y="450"/>
                  <a:pt x="281" y="444"/>
                </a:cubicBezTo>
                <a:cubicBezTo>
                  <a:pt x="279" y="437"/>
                  <a:pt x="274" y="433"/>
                  <a:pt x="273" y="430"/>
                </a:cubicBezTo>
                <a:cubicBezTo>
                  <a:pt x="271" y="427"/>
                  <a:pt x="268" y="424"/>
                  <a:pt x="269" y="419"/>
                </a:cubicBezTo>
                <a:cubicBezTo>
                  <a:pt x="270" y="414"/>
                  <a:pt x="273" y="406"/>
                  <a:pt x="273" y="401"/>
                </a:cubicBezTo>
                <a:cubicBezTo>
                  <a:pt x="273" y="397"/>
                  <a:pt x="274" y="387"/>
                  <a:pt x="270" y="384"/>
                </a:cubicBezTo>
                <a:cubicBezTo>
                  <a:pt x="267" y="382"/>
                  <a:pt x="265" y="376"/>
                  <a:pt x="267" y="373"/>
                </a:cubicBezTo>
                <a:cubicBezTo>
                  <a:pt x="268" y="369"/>
                  <a:pt x="271" y="365"/>
                  <a:pt x="270" y="363"/>
                </a:cubicBezTo>
                <a:cubicBezTo>
                  <a:pt x="270" y="361"/>
                  <a:pt x="268" y="359"/>
                  <a:pt x="268" y="359"/>
                </a:cubicBezTo>
                <a:cubicBezTo>
                  <a:pt x="234" y="360"/>
                  <a:pt x="234" y="360"/>
                  <a:pt x="234" y="360"/>
                </a:cubicBezTo>
                <a:cubicBezTo>
                  <a:pt x="237" y="349"/>
                  <a:pt x="237" y="349"/>
                  <a:pt x="237" y="349"/>
                </a:cubicBezTo>
                <a:cubicBezTo>
                  <a:pt x="227" y="349"/>
                  <a:pt x="227" y="349"/>
                  <a:pt x="227" y="349"/>
                </a:cubicBezTo>
                <a:cubicBezTo>
                  <a:pt x="227" y="349"/>
                  <a:pt x="226" y="353"/>
                  <a:pt x="220" y="354"/>
                </a:cubicBezTo>
                <a:cubicBezTo>
                  <a:pt x="214" y="354"/>
                  <a:pt x="205" y="352"/>
                  <a:pt x="205" y="352"/>
                </a:cubicBezTo>
                <a:cubicBezTo>
                  <a:pt x="205" y="352"/>
                  <a:pt x="208" y="361"/>
                  <a:pt x="205" y="368"/>
                </a:cubicBezTo>
                <a:cubicBezTo>
                  <a:pt x="202" y="376"/>
                  <a:pt x="191" y="382"/>
                  <a:pt x="191" y="382"/>
                </a:cubicBezTo>
                <a:cubicBezTo>
                  <a:pt x="191" y="382"/>
                  <a:pt x="177" y="377"/>
                  <a:pt x="169" y="380"/>
                </a:cubicBezTo>
                <a:cubicBezTo>
                  <a:pt x="161" y="383"/>
                  <a:pt x="149" y="387"/>
                  <a:pt x="143" y="374"/>
                </a:cubicBezTo>
                <a:cubicBezTo>
                  <a:pt x="137" y="361"/>
                  <a:pt x="137" y="349"/>
                  <a:pt x="129" y="345"/>
                </a:cubicBezTo>
                <a:cubicBezTo>
                  <a:pt x="121" y="341"/>
                  <a:pt x="131" y="327"/>
                  <a:pt x="123" y="323"/>
                </a:cubicBezTo>
                <a:cubicBezTo>
                  <a:pt x="115" y="319"/>
                  <a:pt x="21" y="321"/>
                  <a:pt x="21" y="321"/>
                </a:cubicBezTo>
                <a:cubicBezTo>
                  <a:pt x="5" y="327"/>
                  <a:pt x="5" y="327"/>
                  <a:pt x="5" y="327"/>
                </a:cubicBezTo>
                <a:cubicBezTo>
                  <a:pt x="0" y="319"/>
                  <a:pt x="0" y="319"/>
                  <a:pt x="0" y="319"/>
                </a:cubicBezTo>
                <a:cubicBezTo>
                  <a:pt x="0" y="319"/>
                  <a:pt x="7" y="322"/>
                  <a:pt x="8" y="316"/>
                </a:cubicBezTo>
                <a:cubicBezTo>
                  <a:pt x="10" y="309"/>
                  <a:pt x="7" y="297"/>
                  <a:pt x="11" y="296"/>
                </a:cubicBezTo>
                <a:lnTo>
                  <a:pt x="23" y="28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6" name="Freeform 682"/>
          <p:cNvSpPr>
            <a:spLocks/>
          </p:cNvSpPr>
          <p:nvPr userDrawn="1"/>
        </p:nvSpPr>
        <p:spPr bwMode="auto">
          <a:xfrm>
            <a:off x="5772072" y="5145355"/>
            <a:ext cx="28477" cy="45227"/>
          </a:xfrm>
          <a:custGeom>
            <a:avLst/>
            <a:gdLst>
              <a:gd name="T0" fmla="*/ 0 w 29"/>
              <a:gd name="T1" fmla="*/ 2147483646 h 48"/>
              <a:gd name="T2" fmla="*/ 2147483646 w 29"/>
              <a:gd name="T3" fmla="*/ 2147483646 h 48"/>
              <a:gd name="T4" fmla="*/ 2147483646 w 29"/>
              <a:gd name="T5" fmla="*/ 2147483646 h 48"/>
              <a:gd name="T6" fmla="*/ 2147483646 w 29"/>
              <a:gd name="T7" fmla="*/ 2147483646 h 48"/>
              <a:gd name="T8" fmla="*/ 2147483646 w 29"/>
              <a:gd name="T9" fmla="*/ 2147483646 h 48"/>
              <a:gd name="T10" fmla="*/ 2147483646 w 29"/>
              <a:gd name="T11" fmla="*/ 2147483646 h 48"/>
              <a:gd name="T12" fmla="*/ 2147483646 w 29"/>
              <a:gd name="T13" fmla="*/ 2147483646 h 48"/>
              <a:gd name="T14" fmla="*/ 2147483646 w 29"/>
              <a:gd name="T15" fmla="*/ 2147483646 h 48"/>
              <a:gd name="T16" fmla="*/ 0 w 29"/>
              <a:gd name="T17" fmla="*/ 2147483646 h 4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9"/>
              <a:gd name="T28" fmla="*/ 0 h 48"/>
              <a:gd name="T29" fmla="*/ 29 w 29"/>
              <a:gd name="T30" fmla="*/ 48 h 4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9" h="48">
                <a:moveTo>
                  <a:pt x="0" y="25"/>
                </a:moveTo>
                <a:cubicBezTo>
                  <a:pt x="0" y="25"/>
                  <a:pt x="7" y="18"/>
                  <a:pt x="11" y="14"/>
                </a:cubicBezTo>
                <a:cubicBezTo>
                  <a:pt x="15" y="10"/>
                  <a:pt x="21" y="0"/>
                  <a:pt x="25" y="6"/>
                </a:cubicBezTo>
                <a:cubicBezTo>
                  <a:pt x="26" y="8"/>
                  <a:pt x="28" y="10"/>
                  <a:pt x="29" y="13"/>
                </a:cubicBezTo>
                <a:cubicBezTo>
                  <a:pt x="19" y="22"/>
                  <a:pt x="19" y="22"/>
                  <a:pt x="19" y="22"/>
                </a:cubicBezTo>
                <a:cubicBezTo>
                  <a:pt x="19" y="22"/>
                  <a:pt x="15" y="24"/>
                  <a:pt x="15" y="28"/>
                </a:cubicBezTo>
                <a:cubicBezTo>
                  <a:pt x="15" y="32"/>
                  <a:pt x="16" y="43"/>
                  <a:pt x="12" y="46"/>
                </a:cubicBezTo>
                <a:cubicBezTo>
                  <a:pt x="9" y="48"/>
                  <a:pt x="6" y="46"/>
                  <a:pt x="6" y="46"/>
                </a:cubicBezTo>
                <a:cubicBezTo>
                  <a:pt x="6" y="46"/>
                  <a:pt x="3" y="29"/>
                  <a:pt x="0" y="2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7" name="Freeform 683"/>
          <p:cNvSpPr>
            <a:spLocks/>
          </p:cNvSpPr>
          <p:nvPr userDrawn="1"/>
        </p:nvSpPr>
        <p:spPr bwMode="auto">
          <a:xfrm>
            <a:off x="5768722" y="5188907"/>
            <a:ext cx="314917" cy="328319"/>
          </a:xfrm>
          <a:custGeom>
            <a:avLst/>
            <a:gdLst>
              <a:gd name="T0" fmla="*/ 2147483646 w 337"/>
              <a:gd name="T1" fmla="*/ 2147483646 h 351"/>
              <a:gd name="T2" fmla="*/ 2147483646 w 337"/>
              <a:gd name="T3" fmla="*/ 2147483646 h 351"/>
              <a:gd name="T4" fmla="*/ 2147483646 w 337"/>
              <a:gd name="T5" fmla="*/ 2147483646 h 351"/>
              <a:gd name="T6" fmla="*/ 2147483646 w 337"/>
              <a:gd name="T7" fmla="*/ 2147483646 h 351"/>
              <a:gd name="T8" fmla="*/ 2147483646 w 337"/>
              <a:gd name="T9" fmla="*/ 2147483646 h 351"/>
              <a:gd name="T10" fmla="*/ 2147483646 w 337"/>
              <a:gd name="T11" fmla="*/ 2147483646 h 351"/>
              <a:gd name="T12" fmla="*/ 2147483646 w 337"/>
              <a:gd name="T13" fmla="*/ 2147483646 h 351"/>
              <a:gd name="T14" fmla="*/ 2147483646 w 337"/>
              <a:gd name="T15" fmla="*/ 2147483646 h 351"/>
              <a:gd name="T16" fmla="*/ 2147483646 w 337"/>
              <a:gd name="T17" fmla="*/ 2147483646 h 351"/>
              <a:gd name="T18" fmla="*/ 2147483646 w 337"/>
              <a:gd name="T19" fmla="*/ 2147483646 h 351"/>
              <a:gd name="T20" fmla="*/ 2147483646 w 337"/>
              <a:gd name="T21" fmla="*/ 2147483646 h 351"/>
              <a:gd name="T22" fmla="*/ 2147483646 w 337"/>
              <a:gd name="T23" fmla="*/ 2147483646 h 351"/>
              <a:gd name="T24" fmla="*/ 2147483646 w 337"/>
              <a:gd name="T25" fmla="*/ 2147483646 h 351"/>
              <a:gd name="T26" fmla="*/ 2147483646 w 337"/>
              <a:gd name="T27" fmla="*/ 2147483646 h 351"/>
              <a:gd name="T28" fmla="*/ 2147483646 w 337"/>
              <a:gd name="T29" fmla="*/ 2147483646 h 351"/>
              <a:gd name="T30" fmla="*/ 2147483646 w 337"/>
              <a:gd name="T31" fmla="*/ 2147483646 h 351"/>
              <a:gd name="T32" fmla="*/ 2147483646 w 337"/>
              <a:gd name="T33" fmla="*/ 2147483646 h 351"/>
              <a:gd name="T34" fmla="*/ 2147483646 w 337"/>
              <a:gd name="T35" fmla="*/ 2147483646 h 351"/>
              <a:gd name="T36" fmla="*/ 2147483646 w 337"/>
              <a:gd name="T37" fmla="*/ 2147483646 h 351"/>
              <a:gd name="T38" fmla="*/ 2147483646 w 337"/>
              <a:gd name="T39" fmla="*/ 2147483646 h 351"/>
              <a:gd name="T40" fmla="*/ 2147483646 w 337"/>
              <a:gd name="T41" fmla="*/ 2147483646 h 351"/>
              <a:gd name="T42" fmla="*/ 2147483646 w 337"/>
              <a:gd name="T43" fmla="*/ 2147483646 h 351"/>
              <a:gd name="T44" fmla="*/ 2147483646 w 337"/>
              <a:gd name="T45" fmla="*/ 2147483646 h 351"/>
              <a:gd name="T46" fmla="*/ 2147483646 w 337"/>
              <a:gd name="T47" fmla="*/ 2147483646 h 351"/>
              <a:gd name="T48" fmla="*/ 2147483646 w 337"/>
              <a:gd name="T49" fmla="*/ 2147483646 h 351"/>
              <a:gd name="T50" fmla="*/ 2147483646 w 337"/>
              <a:gd name="T51" fmla="*/ 2147483646 h 351"/>
              <a:gd name="T52" fmla="*/ 2147483646 w 337"/>
              <a:gd name="T53" fmla="*/ 2147483646 h 351"/>
              <a:gd name="T54" fmla="*/ 2147483646 w 337"/>
              <a:gd name="T55" fmla="*/ 2147483646 h 351"/>
              <a:gd name="T56" fmla="*/ 2147483646 w 337"/>
              <a:gd name="T57" fmla="*/ 2147483646 h 351"/>
              <a:gd name="T58" fmla="*/ 2147483646 w 337"/>
              <a:gd name="T59" fmla="*/ 2147483646 h 351"/>
              <a:gd name="T60" fmla="*/ 2147483646 w 337"/>
              <a:gd name="T61" fmla="*/ 2147483646 h 351"/>
              <a:gd name="T62" fmla="*/ 2147483646 w 337"/>
              <a:gd name="T63" fmla="*/ 2147483646 h 351"/>
              <a:gd name="T64" fmla="*/ 2147483646 w 337"/>
              <a:gd name="T65" fmla="*/ 2147483646 h 351"/>
              <a:gd name="T66" fmla="*/ 2147483646 w 337"/>
              <a:gd name="T67" fmla="*/ 2147483646 h 351"/>
              <a:gd name="T68" fmla="*/ 2147483646 w 337"/>
              <a:gd name="T69" fmla="*/ 2147483646 h 351"/>
              <a:gd name="T70" fmla="*/ 2147483646 w 337"/>
              <a:gd name="T71" fmla="*/ 2147483646 h 351"/>
              <a:gd name="T72" fmla="*/ 2147483646 w 337"/>
              <a:gd name="T73" fmla="*/ 2147483646 h 351"/>
              <a:gd name="T74" fmla="*/ 2147483646 w 337"/>
              <a:gd name="T75" fmla="*/ 2147483646 h 351"/>
              <a:gd name="T76" fmla="*/ 2147483646 w 337"/>
              <a:gd name="T77" fmla="*/ 2147483646 h 351"/>
              <a:gd name="T78" fmla="*/ 2147483646 w 337"/>
              <a:gd name="T79" fmla="*/ 2147483646 h 351"/>
              <a:gd name="T80" fmla="*/ 2147483646 w 337"/>
              <a:gd name="T81" fmla="*/ 2147483646 h 351"/>
              <a:gd name="T82" fmla="*/ 2147483646 w 337"/>
              <a:gd name="T83" fmla="*/ 2147483646 h 351"/>
              <a:gd name="T84" fmla="*/ 2147483646 w 337"/>
              <a:gd name="T85" fmla="*/ 2147483646 h 351"/>
              <a:gd name="T86" fmla="*/ 2147483646 w 337"/>
              <a:gd name="T87" fmla="*/ 2147483646 h 351"/>
              <a:gd name="T88" fmla="*/ 2147483646 w 337"/>
              <a:gd name="T89" fmla="*/ 2147483646 h 351"/>
              <a:gd name="T90" fmla="*/ 2147483646 w 337"/>
              <a:gd name="T91" fmla="*/ 2147483646 h 351"/>
              <a:gd name="T92" fmla="*/ 2147483646 w 337"/>
              <a:gd name="T93" fmla="*/ 2147483646 h 351"/>
              <a:gd name="T94" fmla="*/ 2147483646 w 337"/>
              <a:gd name="T95" fmla="*/ 2147483646 h 351"/>
              <a:gd name="T96" fmla="*/ 2147483646 w 337"/>
              <a:gd name="T97" fmla="*/ 2147483646 h 351"/>
              <a:gd name="T98" fmla="*/ 2147483646 w 337"/>
              <a:gd name="T99" fmla="*/ 2147483646 h 351"/>
              <a:gd name="T100" fmla="*/ 2147483646 w 337"/>
              <a:gd name="T101" fmla="*/ 2147483646 h 351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37"/>
              <a:gd name="T154" fmla="*/ 0 h 351"/>
              <a:gd name="T155" fmla="*/ 337 w 337"/>
              <a:gd name="T156" fmla="*/ 351 h 351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37" h="351">
                <a:moveTo>
                  <a:pt x="15" y="8"/>
                </a:moveTo>
                <a:cubicBezTo>
                  <a:pt x="31" y="2"/>
                  <a:pt x="31" y="2"/>
                  <a:pt x="31" y="2"/>
                </a:cubicBezTo>
                <a:cubicBezTo>
                  <a:pt x="31" y="2"/>
                  <a:pt x="125" y="0"/>
                  <a:pt x="133" y="4"/>
                </a:cubicBezTo>
                <a:cubicBezTo>
                  <a:pt x="141" y="8"/>
                  <a:pt x="131" y="22"/>
                  <a:pt x="139" y="26"/>
                </a:cubicBezTo>
                <a:cubicBezTo>
                  <a:pt x="147" y="30"/>
                  <a:pt x="147" y="42"/>
                  <a:pt x="153" y="55"/>
                </a:cubicBezTo>
                <a:cubicBezTo>
                  <a:pt x="159" y="68"/>
                  <a:pt x="171" y="64"/>
                  <a:pt x="179" y="61"/>
                </a:cubicBezTo>
                <a:cubicBezTo>
                  <a:pt x="187" y="58"/>
                  <a:pt x="201" y="63"/>
                  <a:pt x="201" y="63"/>
                </a:cubicBezTo>
                <a:cubicBezTo>
                  <a:pt x="201" y="63"/>
                  <a:pt x="212" y="57"/>
                  <a:pt x="215" y="49"/>
                </a:cubicBezTo>
                <a:cubicBezTo>
                  <a:pt x="218" y="42"/>
                  <a:pt x="215" y="33"/>
                  <a:pt x="215" y="33"/>
                </a:cubicBezTo>
                <a:cubicBezTo>
                  <a:pt x="215" y="33"/>
                  <a:pt x="224" y="35"/>
                  <a:pt x="230" y="35"/>
                </a:cubicBezTo>
                <a:cubicBezTo>
                  <a:pt x="236" y="34"/>
                  <a:pt x="237" y="30"/>
                  <a:pt x="237" y="30"/>
                </a:cubicBezTo>
                <a:cubicBezTo>
                  <a:pt x="247" y="30"/>
                  <a:pt x="247" y="30"/>
                  <a:pt x="247" y="30"/>
                </a:cubicBezTo>
                <a:cubicBezTo>
                  <a:pt x="244" y="41"/>
                  <a:pt x="244" y="41"/>
                  <a:pt x="244" y="41"/>
                </a:cubicBezTo>
                <a:cubicBezTo>
                  <a:pt x="278" y="40"/>
                  <a:pt x="278" y="40"/>
                  <a:pt x="278" y="40"/>
                </a:cubicBezTo>
                <a:cubicBezTo>
                  <a:pt x="278" y="40"/>
                  <a:pt x="280" y="42"/>
                  <a:pt x="280" y="44"/>
                </a:cubicBezTo>
                <a:cubicBezTo>
                  <a:pt x="281" y="46"/>
                  <a:pt x="278" y="50"/>
                  <a:pt x="277" y="54"/>
                </a:cubicBezTo>
                <a:cubicBezTo>
                  <a:pt x="275" y="57"/>
                  <a:pt x="277" y="63"/>
                  <a:pt x="280" y="65"/>
                </a:cubicBezTo>
                <a:cubicBezTo>
                  <a:pt x="284" y="68"/>
                  <a:pt x="283" y="78"/>
                  <a:pt x="283" y="82"/>
                </a:cubicBezTo>
                <a:cubicBezTo>
                  <a:pt x="283" y="87"/>
                  <a:pt x="280" y="95"/>
                  <a:pt x="279" y="100"/>
                </a:cubicBezTo>
                <a:cubicBezTo>
                  <a:pt x="278" y="105"/>
                  <a:pt x="281" y="108"/>
                  <a:pt x="283" y="111"/>
                </a:cubicBezTo>
                <a:cubicBezTo>
                  <a:pt x="284" y="114"/>
                  <a:pt x="289" y="118"/>
                  <a:pt x="291" y="125"/>
                </a:cubicBezTo>
                <a:cubicBezTo>
                  <a:pt x="293" y="131"/>
                  <a:pt x="292" y="136"/>
                  <a:pt x="290" y="142"/>
                </a:cubicBezTo>
                <a:cubicBezTo>
                  <a:pt x="288" y="147"/>
                  <a:pt x="291" y="156"/>
                  <a:pt x="293" y="153"/>
                </a:cubicBezTo>
                <a:cubicBezTo>
                  <a:pt x="295" y="150"/>
                  <a:pt x="319" y="147"/>
                  <a:pt x="319" y="147"/>
                </a:cubicBezTo>
                <a:cubicBezTo>
                  <a:pt x="336" y="148"/>
                  <a:pt x="336" y="148"/>
                  <a:pt x="336" y="148"/>
                </a:cubicBezTo>
                <a:cubicBezTo>
                  <a:pt x="337" y="201"/>
                  <a:pt x="337" y="201"/>
                  <a:pt x="337" y="201"/>
                </a:cubicBezTo>
                <a:cubicBezTo>
                  <a:pt x="283" y="203"/>
                  <a:pt x="283" y="203"/>
                  <a:pt x="283" y="203"/>
                </a:cubicBezTo>
                <a:cubicBezTo>
                  <a:pt x="283" y="290"/>
                  <a:pt x="283" y="290"/>
                  <a:pt x="283" y="290"/>
                </a:cubicBezTo>
                <a:cubicBezTo>
                  <a:pt x="283" y="290"/>
                  <a:pt x="282" y="295"/>
                  <a:pt x="289" y="302"/>
                </a:cubicBezTo>
                <a:cubicBezTo>
                  <a:pt x="296" y="310"/>
                  <a:pt x="319" y="332"/>
                  <a:pt x="319" y="332"/>
                </a:cubicBezTo>
                <a:cubicBezTo>
                  <a:pt x="319" y="332"/>
                  <a:pt x="263" y="351"/>
                  <a:pt x="244" y="343"/>
                </a:cubicBezTo>
                <a:cubicBezTo>
                  <a:pt x="225" y="335"/>
                  <a:pt x="210" y="338"/>
                  <a:pt x="203" y="337"/>
                </a:cubicBezTo>
                <a:cubicBezTo>
                  <a:pt x="196" y="336"/>
                  <a:pt x="185" y="333"/>
                  <a:pt x="186" y="325"/>
                </a:cubicBezTo>
                <a:cubicBezTo>
                  <a:pt x="63" y="323"/>
                  <a:pt x="63" y="323"/>
                  <a:pt x="63" y="323"/>
                </a:cubicBezTo>
                <a:cubicBezTo>
                  <a:pt x="63" y="323"/>
                  <a:pt x="49" y="309"/>
                  <a:pt x="41" y="312"/>
                </a:cubicBezTo>
                <a:cubicBezTo>
                  <a:pt x="32" y="314"/>
                  <a:pt x="29" y="320"/>
                  <a:pt x="21" y="319"/>
                </a:cubicBezTo>
                <a:cubicBezTo>
                  <a:pt x="14" y="318"/>
                  <a:pt x="1" y="318"/>
                  <a:pt x="1" y="320"/>
                </a:cubicBezTo>
                <a:cubicBezTo>
                  <a:pt x="1" y="320"/>
                  <a:pt x="0" y="303"/>
                  <a:pt x="2" y="293"/>
                </a:cubicBezTo>
                <a:cubicBezTo>
                  <a:pt x="4" y="284"/>
                  <a:pt x="8" y="275"/>
                  <a:pt x="9" y="268"/>
                </a:cubicBezTo>
                <a:cubicBezTo>
                  <a:pt x="10" y="260"/>
                  <a:pt x="7" y="259"/>
                  <a:pt x="9" y="253"/>
                </a:cubicBezTo>
                <a:cubicBezTo>
                  <a:pt x="11" y="247"/>
                  <a:pt x="15" y="241"/>
                  <a:pt x="18" y="235"/>
                </a:cubicBezTo>
                <a:cubicBezTo>
                  <a:pt x="20" y="229"/>
                  <a:pt x="24" y="225"/>
                  <a:pt x="23" y="220"/>
                </a:cubicBezTo>
                <a:cubicBezTo>
                  <a:pt x="23" y="214"/>
                  <a:pt x="24" y="208"/>
                  <a:pt x="28" y="204"/>
                </a:cubicBezTo>
                <a:cubicBezTo>
                  <a:pt x="32" y="201"/>
                  <a:pt x="32" y="190"/>
                  <a:pt x="39" y="190"/>
                </a:cubicBezTo>
                <a:cubicBezTo>
                  <a:pt x="46" y="189"/>
                  <a:pt x="48" y="186"/>
                  <a:pt x="52" y="180"/>
                </a:cubicBezTo>
                <a:cubicBezTo>
                  <a:pt x="55" y="173"/>
                  <a:pt x="58" y="164"/>
                  <a:pt x="59" y="160"/>
                </a:cubicBezTo>
                <a:cubicBezTo>
                  <a:pt x="60" y="157"/>
                  <a:pt x="58" y="138"/>
                  <a:pt x="48" y="125"/>
                </a:cubicBezTo>
                <a:cubicBezTo>
                  <a:pt x="38" y="112"/>
                  <a:pt x="27" y="101"/>
                  <a:pt x="35" y="96"/>
                </a:cubicBezTo>
                <a:cubicBezTo>
                  <a:pt x="43" y="90"/>
                  <a:pt x="53" y="89"/>
                  <a:pt x="44" y="74"/>
                </a:cubicBezTo>
                <a:cubicBezTo>
                  <a:pt x="35" y="59"/>
                  <a:pt x="33" y="37"/>
                  <a:pt x="27" y="31"/>
                </a:cubicBezTo>
                <a:cubicBezTo>
                  <a:pt x="22" y="25"/>
                  <a:pt x="10" y="18"/>
                  <a:pt x="15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8" name="Freeform 684"/>
          <p:cNvSpPr>
            <a:spLocks/>
          </p:cNvSpPr>
          <p:nvPr userDrawn="1"/>
        </p:nvSpPr>
        <p:spPr bwMode="auto">
          <a:xfrm>
            <a:off x="6234398" y="4922568"/>
            <a:ext cx="145733" cy="152433"/>
          </a:xfrm>
          <a:custGeom>
            <a:avLst/>
            <a:gdLst>
              <a:gd name="T0" fmla="*/ 2147483646 w 157"/>
              <a:gd name="T1" fmla="*/ 0 h 163"/>
              <a:gd name="T2" fmla="*/ 2147483646 w 157"/>
              <a:gd name="T3" fmla="*/ 2147483646 h 163"/>
              <a:gd name="T4" fmla="*/ 2147483646 w 157"/>
              <a:gd name="T5" fmla="*/ 2147483646 h 163"/>
              <a:gd name="T6" fmla="*/ 2147483646 w 157"/>
              <a:gd name="T7" fmla="*/ 2147483646 h 163"/>
              <a:gd name="T8" fmla="*/ 2147483646 w 157"/>
              <a:gd name="T9" fmla="*/ 2147483646 h 163"/>
              <a:gd name="T10" fmla="*/ 2147483646 w 157"/>
              <a:gd name="T11" fmla="*/ 2147483646 h 163"/>
              <a:gd name="T12" fmla="*/ 2147483646 w 157"/>
              <a:gd name="T13" fmla="*/ 2147483646 h 163"/>
              <a:gd name="T14" fmla="*/ 2147483646 w 157"/>
              <a:gd name="T15" fmla="*/ 2147483646 h 163"/>
              <a:gd name="T16" fmla="*/ 2147483646 w 157"/>
              <a:gd name="T17" fmla="*/ 2147483646 h 163"/>
              <a:gd name="T18" fmla="*/ 2147483646 w 157"/>
              <a:gd name="T19" fmla="*/ 2147483646 h 163"/>
              <a:gd name="T20" fmla="*/ 2147483646 w 157"/>
              <a:gd name="T21" fmla="*/ 2147483646 h 163"/>
              <a:gd name="T22" fmla="*/ 2147483646 w 157"/>
              <a:gd name="T23" fmla="*/ 2147483646 h 163"/>
              <a:gd name="T24" fmla="*/ 2147483646 w 157"/>
              <a:gd name="T25" fmla="*/ 2147483646 h 163"/>
              <a:gd name="T26" fmla="*/ 2147483646 w 157"/>
              <a:gd name="T27" fmla="*/ 2147483646 h 163"/>
              <a:gd name="T28" fmla="*/ 2147483646 w 157"/>
              <a:gd name="T29" fmla="*/ 2147483646 h 163"/>
              <a:gd name="T30" fmla="*/ 2147483646 w 157"/>
              <a:gd name="T31" fmla="*/ 2147483646 h 163"/>
              <a:gd name="T32" fmla="*/ 2147483646 w 157"/>
              <a:gd name="T33" fmla="*/ 2147483646 h 163"/>
              <a:gd name="T34" fmla="*/ 2147483646 w 157"/>
              <a:gd name="T35" fmla="*/ 2147483646 h 163"/>
              <a:gd name="T36" fmla="*/ 2147483646 w 157"/>
              <a:gd name="T37" fmla="*/ 2147483646 h 163"/>
              <a:gd name="T38" fmla="*/ 2147483646 w 157"/>
              <a:gd name="T39" fmla="*/ 2147483646 h 163"/>
              <a:gd name="T40" fmla="*/ 2147483646 w 157"/>
              <a:gd name="T41" fmla="*/ 2147483646 h 163"/>
              <a:gd name="T42" fmla="*/ 2147483646 w 157"/>
              <a:gd name="T43" fmla="*/ 2147483646 h 163"/>
              <a:gd name="T44" fmla="*/ 2147483646 w 157"/>
              <a:gd name="T45" fmla="*/ 2147483646 h 163"/>
              <a:gd name="T46" fmla="*/ 2147483646 w 157"/>
              <a:gd name="T47" fmla="*/ 2147483646 h 163"/>
              <a:gd name="T48" fmla="*/ 2147483646 w 157"/>
              <a:gd name="T49" fmla="*/ 2147483646 h 163"/>
              <a:gd name="T50" fmla="*/ 2147483646 w 157"/>
              <a:gd name="T51" fmla="*/ 2147483646 h 163"/>
              <a:gd name="T52" fmla="*/ 2147483646 w 157"/>
              <a:gd name="T53" fmla="*/ 2147483646 h 163"/>
              <a:gd name="T54" fmla="*/ 2147483646 w 157"/>
              <a:gd name="T55" fmla="*/ 2147483646 h 163"/>
              <a:gd name="T56" fmla="*/ 2147483646 w 157"/>
              <a:gd name="T57" fmla="*/ 2147483646 h 163"/>
              <a:gd name="T58" fmla="*/ 2147483646 w 157"/>
              <a:gd name="T59" fmla="*/ 2147483646 h 163"/>
              <a:gd name="T60" fmla="*/ 2147483646 w 157"/>
              <a:gd name="T61" fmla="*/ 2147483646 h 163"/>
              <a:gd name="T62" fmla="*/ 2147483646 w 157"/>
              <a:gd name="T63" fmla="*/ 2147483646 h 163"/>
              <a:gd name="T64" fmla="*/ 2147483646 w 157"/>
              <a:gd name="T65" fmla="*/ 2147483646 h 163"/>
              <a:gd name="T66" fmla="*/ 2147483646 w 157"/>
              <a:gd name="T67" fmla="*/ 2147483646 h 163"/>
              <a:gd name="T68" fmla="*/ 2147483646 w 157"/>
              <a:gd name="T69" fmla="*/ 2147483646 h 163"/>
              <a:gd name="T70" fmla="*/ 2147483646 w 157"/>
              <a:gd name="T71" fmla="*/ 2147483646 h 163"/>
              <a:gd name="T72" fmla="*/ 2147483646 w 157"/>
              <a:gd name="T73" fmla="*/ 2147483646 h 163"/>
              <a:gd name="T74" fmla="*/ 2147483646 w 157"/>
              <a:gd name="T75" fmla="*/ 0 h 16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57"/>
              <a:gd name="T115" fmla="*/ 0 h 163"/>
              <a:gd name="T116" fmla="*/ 157 w 157"/>
              <a:gd name="T117" fmla="*/ 163 h 16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57" h="163">
                <a:moveTo>
                  <a:pt x="124" y="0"/>
                </a:moveTo>
                <a:cubicBezTo>
                  <a:pt x="111" y="12"/>
                  <a:pt x="111" y="12"/>
                  <a:pt x="111" y="12"/>
                </a:cubicBezTo>
                <a:cubicBezTo>
                  <a:pt x="111" y="12"/>
                  <a:pt x="97" y="13"/>
                  <a:pt x="94" y="11"/>
                </a:cubicBezTo>
                <a:cubicBezTo>
                  <a:pt x="91" y="10"/>
                  <a:pt x="89" y="5"/>
                  <a:pt x="81" y="12"/>
                </a:cubicBezTo>
                <a:cubicBezTo>
                  <a:pt x="74" y="19"/>
                  <a:pt x="64" y="17"/>
                  <a:pt x="64" y="17"/>
                </a:cubicBezTo>
                <a:cubicBezTo>
                  <a:pt x="64" y="17"/>
                  <a:pt x="63" y="8"/>
                  <a:pt x="60" y="14"/>
                </a:cubicBezTo>
                <a:cubicBezTo>
                  <a:pt x="57" y="19"/>
                  <a:pt x="54" y="17"/>
                  <a:pt x="51" y="16"/>
                </a:cubicBezTo>
                <a:cubicBezTo>
                  <a:pt x="48" y="15"/>
                  <a:pt x="47" y="10"/>
                  <a:pt x="46" y="14"/>
                </a:cubicBezTo>
                <a:cubicBezTo>
                  <a:pt x="45" y="17"/>
                  <a:pt x="38" y="16"/>
                  <a:pt x="38" y="16"/>
                </a:cubicBezTo>
                <a:cubicBezTo>
                  <a:pt x="34" y="21"/>
                  <a:pt x="34" y="21"/>
                  <a:pt x="34" y="21"/>
                </a:cubicBezTo>
                <a:cubicBezTo>
                  <a:pt x="34" y="21"/>
                  <a:pt x="33" y="31"/>
                  <a:pt x="34" y="34"/>
                </a:cubicBezTo>
                <a:cubicBezTo>
                  <a:pt x="35" y="37"/>
                  <a:pt x="38" y="41"/>
                  <a:pt x="36" y="43"/>
                </a:cubicBezTo>
                <a:cubicBezTo>
                  <a:pt x="33" y="46"/>
                  <a:pt x="32" y="47"/>
                  <a:pt x="34" y="49"/>
                </a:cubicBezTo>
                <a:cubicBezTo>
                  <a:pt x="36" y="51"/>
                  <a:pt x="43" y="53"/>
                  <a:pt x="45" y="54"/>
                </a:cubicBezTo>
                <a:cubicBezTo>
                  <a:pt x="46" y="56"/>
                  <a:pt x="48" y="61"/>
                  <a:pt x="45" y="63"/>
                </a:cubicBezTo>
                <a:cubicBezTo>
                  <a:pt x="43" y="65"/>
                  <a:pt x="32" y="75"/>
                  <a:pt x="29" y="78"/>
                </a:cubicBezTo>
                <a:cubicBezTo>
                  <a:pt x="26" y="82"/>
                  <a:pt x="14" y="102"/>
                  <a:pt x="11" y="108"/>
                </a:cubicBezTo>
                <a:cubicBezTo>
                  <a:pt x="8" y="114"/>
                  <a:pt x="3" y="116"/>
                  <a:pt x="3" y="125"/>
                </a:cubicBezTo>
                <a:cubicBezTo>
                  <a:pt x="3" y="134"/>
                  <a:pt x="0" y="140"/>
                  <a:pt x="1" y="146"/>
                </a:cubicBezTo>
                <a:cubicBezTo>
                  <a:pt x="1" y="152"/>
                  <a:pt x="2" y="155"/>
                  <a:pt x="1" y="158"/>
                </a:cubicBezTo>
                <a:cubicBezTo>
                  <a:pt x="1" y="158"/>
                  <a:pt x="10" y="163"/>
                  <a:pt x="15" y="161"/>
                </a:cubicBezTo>
                <a:cubicBezTo>
                  <a:pt x="20" y="159"/>
                  <a:pt x="21" y="148"/>
                  <a:pt x="32" y="149"/>
                </a:cubicBezTo>
                <a:cubicBezTo>
                  <a:pt x="42" y="150"/>
                  <a:pt x="60" y="147"/>
                  <a:pt x="60" y="147"/>
                </a:cubicBezTo>
                <a:cubicBezTo>
                  <a:pt x="60" y="147"/>
                  <a:pt x="65" y="141"/>
                  <a:pt x="67" y="135"/>
                </a:cubicBezTo>
                <a:cubicBezTo>
                  <a:pt x="69" y="129"/>
                  <a:pt x="68" y="121"/>
                  <a:pt x="74" y="121"/>
                </a:cubicBezTo>
                <a:cubicBezTo>
                  <a:pt x="80" y="120"/>
                  <a:pt x="83" y="114"/>
                  <a:pt x="89" y="118"/>
                </a:cubicBezTo>
                <a:cubicBezTo>
                  <a:pt x="96" y="122"/>
                  <a:pt x="99" y="117"/>
                  <a:pt x="102" y="113"/>
                </a:cubicBezTo>
                <a:cubicBezTo>
                  <a:pt x="105" y="109"/>
                  <a:pt x="107" y="106"/>
                  <a:pt x="109" y="107"/>
                </a:cubicBezTo>
                <a:cubicBezTo>
                  <a:pt x="111" y="109"/>
                  <a:pt x="113" y="107"/>
                  <a:pt x="116" y="110"/>
                </a:cubicBezTo>
                <a:cubicBezTo>
                  <a:pt x="119" y="113"/>
                  <a:pt x="125" y="118"/>
                  <a:pt x="125" y="118"/>
                </a:cubicBezTo>
                <a:cubicBezTo>
                  <a:pt x="125" y="118"/>
                  <a:pt x="127" y="105"/>
                  <a:pt x="132" y="101"/>
                </a:cubicBezTo>
                <a:cubicBezTo>
                  <a:pt x="137" y="98"/>
                  <a:pt x="141" y="88"/>
                  <a:pt x="145" y="85"/>
                </a:cubicBezTo>
                <a:cubicBezTo>
                  <a:pt x="149" y="83"/>
                  <a:pt x="152" y="77"/>
                  <a:pt x="153" y="73"/>
                </a:cubicBezTo>
                <a:cubicBezTo>
                  <a:pt x="153" y="69"/>
                  <a:pt x="153" y="63"/>
                  <a:pt x="153" y="61"/>
                </a:cubicBezTo>
                <a:cubicBezTo>
                  <a:pt x="154" y="58"/>
                  <a:pt x="157" y="52"/>
                  <a:pt x="155" y="49"/>
                </a:cubicBezTo>
                <a:cubicBezTo>
                  <a:pt x="154" y="45"/>
                  <a:pt x="153" y="39"/>
                  <a:pt x="149" y="36"/>
                </a:cubicBezTo>
                <a:cubicBezTo>
                  <a:pt x="146" y="33"/>
                  <a:pt x="140" y="33"/>
                  <a:pt x="139" y="27"/>
                </a:cubicBezTo>
                <a:cubicBezTo>
                  <a:pt x="137" y="20"/>
                  <a:pt x="124" y="0"/>
                  <a:pt x="12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9" name="Freeform 685"/>
          <p:cNvSpPr>
            <a:spLocks/>
          </p:cNvSpPr>
          <p:nvPr userDrawn="1"/>
        </p:nvSpPr>
        <p:spPr bwMode="auto">
          <a:xfrm>
            <a:off x="6214297" y="5059924"/>
            <a:ext cx="298167" cy="284765"/>
          </a:xfrm>
          <a:custGeom>
            <a:avLst/>
            <a:gdLst>
              <a:gd name="T0" fmla="*/ 2147483646 w 319"/>
              <a:gd name="T1" fmla="*/ 2147483646 h 305"/>
              <a:gd name="T2" fmla="*/ 2147483646 w 319"/>
              <a:gd name="T3" fmla="*/ 2147483646 h 305"/>
              <a:gd name="T4" fmla="*/ 2147483646 w 319"/>
              <a:gd name="T5" fmla="*/ 2147483646 h 305"/>
              <a:gd name="T6" fmla="*/ 2147483646 w 319"/>
              <a:gd name="T7" fmla="*/ 2147483646 h 305"/>
              <a:gd name="T8" fmla="*/ 2147483646 w 319"/>
              <a:gd name="T9" fmla="*/ 2147483646 h 305"/>
              <a:gd name="T10" fmla="*/ 2147483646 w 319"/>
              <a:gd name="T11" fmla="*/ 2147483646 h 305"/>
              <a:gd name="T12" fmla="*/ 2147483646 w 319"/>
              <a:gd name="T13" fmla="*/ 2147483646 h 305"/>
              <a:gd name="T14" fmla="*/ 2147483646 w 319"/>
              <a:gd name="T15" fmla="*/ 2147483646 h 305"/>
              <a:gd name="T16" fmla="*/ 2147483646 w 319"/>
              <a:gd name="T17" fmla="*/ 2147483646 h 305"/>
              <a:gd name="T18" fmla="*/ 2147483646 w 319"/>
              <a:gd name="T19" fmla="*/ 2147483646 h 305"/>
              <a:gd name="T20" fmla="*/ 2147483646 w 319"/>
              <a:gd name="T21" fmla="*/ 2147483646 h 305"/>
              <a:gd name="T22" fmla="*/ 2147483646 w 319"/>
              <a:gd name="T23" fmla="*/ 2147483646 h 305"/>
              <a:gd name="T24" fmla="*/ 2147483646 w 319"/>
              <a:gd name="T25" fmla="*/ 2147483646 h 305"/>
              <a:gd name="T26" fmla="*/ 2147483646 w 319"/>
              <a:gd name="T27" fmla="*/ 2147483646 h 305"/>
              <a:gd name="T28" fmla="*/ 2147483646 w 319"/>
              <a:gd name="T29" fmla="*/ 2147483646 h 305"/>
              <a:gd name="T30" fmla="*/ 2147483646 w 319"/>
              <a:gd name="T31" fmla="*/ 2147483646 h 305"/>
              <a:gd name="T32" fmla="*/ 2147483646 w 319"/>
              <a:gd name="T33" fmla="*/ 2147483646 h 305"/>
              <a:gd name="T34" fmla="*/ 2147483646 w 319"/>
              <a:gd name="T35" fmla="*/ 2147483646 h 305"/>
              <a:gd name="T36" fmla="*/ 2147483646 w 319"/>
              <a:gd name="T37" fmla="*/ 2147483646 h 305"/>
              <a:gd name="T38" fmla="*/ 2147483646 w 319"/>
              <a:gd name="T39" fmla="*/ 2147483646 h 305"/>
              <a:gd name="T40" fmla="*/ 2147483646 w 319"/>
              <a:gd name="T41" fmla="*/ 2147483646 h 305"/>
              <a:gd name="T42" fmla="*/ 2147483646 w 319"/>
              <a:gd name="T43" fmla="*/ 2147483646 h 305"/>
              <a:gd name="T44" fmla="*/ 2147483646 w 319"/>
              <a:gd name="T45" fmla="*/ 2147483646 h 305"/>
              <a:gd name="T46" fmla="*/ 2147483646 w 319"/>
              <a:gd name="T47" fmla="*/ 2147483646 h 305"/>
              <a:gd name="T48" fmla="*/ 2147483646 w 319"/>
              <a:gd name="T49" fmla="*/ 2147483646 h 305"/>
              <a:gd name="T50" fmla="*/ 2147483646 w 319"/>
              <a:gd name="T51" fmla="*/ 2147483646 h 305"/>
              <a:gd name="T52" fmla="*/ 2147483646 w 319"/>
              <a:gd name="T53" fmla="*/ 2147483646 h 305"/>
              <a:gd name="T54" fmla="*/ 2147483646 w 319"/>
              <a:gd name="T55" fmla="*/ 2147483646 h 305"/>
              <a:gd name="T56" fmla="*/ 2147483646 w 319"/>
              <a:gd name="T57" fmla="*/ 2147483646 h 305"/>
              <a:gd name="T58" fmla="*/ 2147483646 w 319"/>
              <a:gd name="T59" fmla="*/ 2147483646 h 305"/>
              <a:gd name="T60" fmla="*/ 2147483646 w 319"/>
              <a:gd name="T61" fmla="*/ 2147483646 h 305"/>
              <a:gd name="T62" fmla="*/ 2147483646 w 319"/>
              <a:gd name="T63" fmla="*/ 2147483646 h 305"/>
              <a:gd name="T64" fmla="*/ 2147483646 w 319"/>
              <a:gd name="T65" fmla="*/ 2147483646 h 305"/>
              <a:gd name="T66" fmla="*/ 2147483646 w 319"/>
              <a:gd name="T67" fmla="*/ 2147483646 h 305"/>
              <a:gd name="T68" fmla="*/ 2147483646 w 319"/>
              <a:gd name="T69" fmla="*/ 0 h 30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19"/>
              <a:gd name="T106" fmla="*/ 0 h 305"/>
              <a:gd name="T107" fmla="*/ 319 w 319"/>
              <a:gd name="T108" fmla="*/ 305 h 30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19" h="305">
                <a:moveTo>
                  <a:pt x="80" y="0"/>
                </a:moveTo>
                <a:cubicBezTo>
                  <a:pt x="80" y="0"/>
                  <a:pt x="62" y="3"/>
                  <a:pt x="52" y="2"/>
                </a:cubicBezTo>
                <a:cubicBezTo>
                  <a:pt x="41" y="1"/>
                  <a:pt x="40" y="12"/>
                  <a:pt x="35" y="14"/>
                </a:cubicBezTo>
                <a:cubicBezTo>
                  <a:pt x="30" y="16"/>
                  <a:pt x="21" y="11"/>
                  <a:pt x="21" y="11"/>
                </a:cubicBezTo>
                <a:cubicBezTo>
                  <a:pt x="19" y="13"/>
                  <a:pt x="21" y="15"/>
                  <a:pt x="16" y="16"/>
                </a:cubicBezTo>
                <a:cubicBezTo>
                  <a:pt x="11" y="18"/>
                  <a:pt x="6" y="17"/>
                  <a:pt x="7" y="23"/>
                </a:cubicBezTo>
                <a:cubicBezTo>
                  <a:pt x="8" y="29"/>
                  <a:pt x="9" y="29"/>
                  <a:pt x="5" y="33"/>
                </a:cubicBezTo>
                <a:cubicBezTo>
                  <a:pt x="2" y="38"/>
                  <a:pt x="0" y="40"/>
                  <a:pt x="1" y="43"/>
                </a:cubicBezTo>
                <a:cubicBezTo>
                  <a:pt x="3" y="45"/>
                  <a:pt x="1" y="47"/>
                  <a:pt x="4" y="48"/>
                </a:cubicBezTo>
                <a:cubicBezTo>
                  <a:pt x="8" y="49"/>
                  <a:pt x="9" y="62"/>
                  <a:pt x="9" y="62"/>
                </a:cubicBezTo>
                <a:cubicBezTo>
                  <a:pt x="9" y="62"/>
                  <a:pt x="12" y="76"/>
                  <a:pt x="12" y="83"/>
                </a:cubicBezTo>
                <a:cubicBezTo>
                  <a:pt x="11" y="89"/>
                  <a:pt x="15" y="94"/>
                  <a:pt x="14" y="103"/>
                </a:cubicBezTo>
                <a:cubicBezTo>
                  <a:pt x="14" y="112"/>
                  <a:pt x="14" y="116"/>
                  <a:pt x="16" y="125"/>
                </a:cubicBezTo>
                <a:cubicBezTo>
                  <a:pt x="17" y="135"/>
                  <a:pt x="21" y="139"/>
                  <a:pt x="21" y="144"/>
                </a:cubicBezTo>
                <a:cubicBezTo>
                  <a:pt x="21" y="149"/>
                  <a:pt x="17" y="149"/>
                  <a:pt x="19" y="154"/>
                </a:cubicBezTo>
                <a:cubicBezTo>
                  <a:pt x="21" y="159"/>
                  <a:pt x="28" y="162"/>
                  <a:pt x="32" y="167"/>
                </a:cubicBezTo>
                <a:cubicBezTo>
                  <a:pt x="37" y="172"/>
                  <a:pt x="42" y="178"/>
                  <a:pt x="43" y="181"/>
                </a:cubicBezTo>
                <a:cubicBezTo>
                  <a:pt x="45" y="184"/>
                  <a:pt x="53" y="207"/>
                  <a:pt x="53" y="207"/>
                </a:cubicBezTo>
                <a:cubicBezTo>
                  <a:pt x="53" y="207"/>
                  <a:pt x="65" y="217"/>
                  <a:pt x="73" y="217"/>
                </a:cubicBezTo>
                <a:cubicBezTo>
                  <a:pt x="80" y="218"/>
                  <a:pt x="85" y="214"/>
                  <a:pt x="89" y="223"/>
                </a:cubicBezTo>
                <a:cubicBezTo>
                  <a:pt x="92" y="232"/>
                  <a:pt x="99" y="231"/>
                  <a:pt x="105" y="235"/>
                </a:cubicBezTo>
                <a:cubicBezTo>
                  <a:pt x="111" y="239"/>
                  <a:pt x="120" y="241"/>
                  <a:pt x="124" y="242"/>
                </a:cubicBezTo>
                <a:cubicBezTo>
                  <a:pt x="128" y="244"/>
                  <a:pt x="139" y="241"/>
                  <a:pt x="141" y="242"/>
                </a:cubicBezTo>
                <a:cubicBezTo>
                  <a:pt x="143" y="244"/>
                  <a:pt x="148" y="241"/>
                  <a:pt x="153" y="252"/>
                </a:cubicBezTo>
                <a:cubicBezTo>
                  <a:pt x="158" y="263"/>
                  <a:pt x="160" y="267"/>
                  <a:pt x="158" y="275"/>
                </a:cubicBezTo>
                <a:cubicBezTo>
                  <a:pt x="155" y="282"/>
                  <a:pt x="158" y="288"/>
                  <a:pt x="159" y="290"/>
                </a:cubicBezTo>
                <a:cubicBezTo>
                  <a:pt x="161" y="292"/>
                  <a:pt x="166" y="301"/>
                  <a:pt x="166" y="301"/>
                </a:cubicBezTo>
                <a:cubicBezTo>
                  <a:pt x="186" y="302"/>
                  <a:pt x="186" y="302"/>
                  <a:pt x="186" y="302"/>
                </a:cubicBezTo>
                <a:cubicBezTo>
                  <a:pt x="186" y="302"/>
                  <a:pt x="194" y="292"/>
                  <a:pt x="197" y="297"/>
                </a:cubicBezTo>
                <a:cubicBezTo>
                  <a:pt x="200" y="302"/>
                  <a:pt x="206" y="305"/>
                  <a:pt x="210" y="305"/>
                </a:cubicBezTo>
                <a:cubicBezTo>
                  <a:pt x="215" y="304"/>
                  <a:pt x="212" y="299"/>
                  <a:pt x="221" y="299"/>
                </a:cubicBezTo>
                <a:cubicBezTo>
                  <a:pt x="231" y="300"/>
                  <a:pt x="231" y="305"/>
                  <a:pt x="237" y="304"/>
                </a:cubicBezTo>
                <a:cubicBezTo>
                  <a:pt x="243" y="303"/>
                  <a:pt x="251" y="297"/>
                  <a:pt x="251" y="297"/>
                </a:cubicBezTo>
                <a:cubicBezTo>
                  <a:pt x="251" y="297"/>
                  <a:pt x="248" y="291"/>
                  <a:pt x="252" y="289"/>
                </a:cubicBezTo>
                <a:cubicBezTo>
                  <a:pt x="256" y="288"/>
                  <a:pt x="257" y="281"/>
                  <a:pt x="265" y="287"/>
                </a:cubicBezTo>
                <a:cubicBezTo>
                  <a:pt x="272" y="293"/>
                  <a:pt x="273" y="288"/>
                  <a:pt x="281" y="287"/>
                </a:cubicBezTo>
                <a:cubicBezTo>
                  <a:pt x="288" y="286"/>
                  <a:pt x="313" y="270"/>
                  <a:pt x="319" y="272"/>
                </a:cubicBezTo>
                <a:cubicBezTo>
                  <a:pt x="319" y="272"/>
                  <a:pt x="315" y="265"/>
                  <a:pt x="307" y="262"/>
                </a:cubicBezTo>
                <a:cubicBezTo>
                  <a:pt x="299" y="259"/>
                  <a:pt x="296" y="255"/>
                  <a:pt x="297" y="249"/>
                </a:cubicBezTo>
                <a:cubicBezTo>
                  <a:pt x="299" y="243"/>
                  <a:pt x="302" y="236"/>
                  <a:pt x="300" y="234"/>
                </a:cubicBezTo>
                <a:cubicBezTo>
                  <a:pt x="297" y="231"/>
                  <a:pt x="294" y="225"/>
                  <a:pt x="291" y="223"/>
                </a:cubicBezTo>
                <a:cubicBezTo>
                  <a:pt x="288" y="220"/>
                  <a:pt x="287" y="217"/>
                  <a:pt x="288" y="212"/>
                </a:cubicBezTo>
                <a:cubicBezTo>
                  <a:pt x="289" y="206"/>
                  <a:pt x="290" y="201"/>
                  <a:pt x="293" y="199"/>
                </a:cubicBezTo>
                <a:cubicBezTo>
                  <a:pt x="296" y="197"/>
                  <a:pt x="297" y="194"/>
                  <a:pt x="292" y="188"/>
                </a:cubicBezTo>
                <a:cubicBezTo>
                  <a:pt x="288" y="182"/>
                  <a:pt x="293" y="178"/>
                  <a:pt x="295" y="175"/>
                </a:cubicBezTo>
                <a:cubicBezTo>
                  <a:pt x="296" y="172"/>
                  <a:pt x="295" y="160"/>
                  <a:pt x="291" y="160"/>
                </a:cubicBezTo>
                <a:cubicBezTo>
                  <a:pt x="287" y="159"/>
                  <a:pt x="281" y="160"/>
                  <a:pt x="280" y="155"/>
                </a:cubicBezTo>
                <a:cubicBezTo>
                  <a:pt x="278" y="150"/>
                  <a:pt x="276" y="149"/>
                  <a:pt x="277" y="143"/>
                </a:cubicBezTo>
                <a:cubicBezTo>
                  <a:pt x="278" y="138"/>
                  <a:pt x="281" y="127"/>
                  <a:pt x="283" y="124"/>
                </a:cubicBezTo>
                <a:cubicBezTo>
                  <a:pt x="284" y="120"/>
                  <a:pt x="288" y="102"/>
                  <a:pt x="288" y="102"/>
                </a:cubicBezTo>
                <a:cubicBezTo>
                  <a:pt x="254" y="77"/>
                  <a:pt x="254" y="77"/>
                  <a:pt x="254" y="77"/>
                </a:cubicBezTo>
                <a:cubicBezTo>
                  <a:pt x="254" y="77"/>
                  <a:pt x="246" y="65"/>
                  <a:pt x="248" y="59"/>
                </a:cubicBezTo>
                <a:cubicBezTo>
                  <a:pt x="148" y="1"/>
                  <a:pt x="148" y="1"/>
                  <a:pt x="148" y="1"/>
                </a:cubicBezTo>
                <a:cubicBezTo>
                  <a:pt x="148" y="1"/>
                  <a:pt x="144" y="6"/>
                  <a:pt x="144" y="12"/>
                </a:cubicBezTo>
                <a:cubicBezTo>
                  <a:pt x="143" y="18"/>
                  <a:pt x="137" y="14"/>
                  <a:pt x="133" y="19"/>
                </a:cubicBezTo>
                <a:cubicBezTo>
                  <a:pt x="128" y="24"/>
                  <a:pt x="115" y="27"/>
                  <a:pt x="123" y="31"/>
                </a:cubicBezTo>
                <a:cubicBezTo>
                  <a:pt x="131" y="36"/>
                  <a:pt x="139" y="29"/>
                  <a:pt x="140" y="34"/>
                </a:cubicBezTo>
                <a:cubicBezTo>
                  <a:pt x="142" y="39"/>
                  <a:pt x="138" y="42"/>
                  <a:pt x="131" y="44"/>
                </a:cubicBezTo>
                <a:cubicBezTo>
                  <a:pt x="123" y="46"/>
                  <a:pt x="120" y="47"/>
                  <a:pt x="118" y="44"/>
                </a:cubicBezTo>
                <a:cubicBezTo>
                  <a:pt x="116" y="40"/>
                  <a:pt x="114" y="31"/>
                  <a:pt x="110" y="36"/>
                </a:cubicBezTo>
                <a:cubicBezTo>
                  <a:pt x="106" y="41"/>
                  <a:pt x="103" y="43"/>
                  <a:pt x="103" y="43"/>
                </a:cubicBezTo>
                <a:cubicBezTo>
                  <a:pt x="103" y="43"/>
                  <a:pt x="101" y="34"/>
                  <a:pt x="98" y="38"/>
                </a:cubicBezTo>
                <a:cubicBezTo>
                  <a:pt x="94" y="42"/>
                  <a:pt x="98" y="35"/>
                  <a:pt x="94" y="42"/>
                </a:cubicBezTo>
                <a:cubicBezTo>
                  <a:pt x="90" y="50"/>
                  <a:pt x="89" y="53"/>
                  <a:pt x="84" y="53"/>
                </a:cubicBezTo>
                <a:cubicBezTo>
                  <a:pt x="80" y="53"/>
                  <a:pt x="74" y="53"/>
                  <a:pt x="77" y="46"/>
                </a:cubicBezTo>
                <a:cubicBezTo>
                  <a:pt x="80" y="39"/>
                  <a:pt x="86" y="37"/>
                  <a:pt x="83" y="32"/>
                </a:cubicBezTo>
                <a:cubicBezTo>
                  <a:pt x="80" y="28"/>
                  <a:pt x="80" y="30"/>
                  <a:pt x="80" y="24"/>
                </a:cubicBezTo>
                <a:cubicBezTo>
                  <a:pt x="80" y="18"/>
                  <a:pt x="82" y="15"/>
                  <a:pt x="84" y="14"/>
                </a:cubicBezTo>
                <a:cubicBezTo>
                  <a:pt x="87" y="12"/>
                  <a:pt x="89" y="6"/>
                  <a:pt x="89" y="6"/>
                </a:cubicBezTo>
                <a:lnTo>
                  <a:pt x="8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0" name="Freeform 686"/>
          <p:cNvSpPr>
            <a:spLocks/>
          </p:cNvSpPr>
          <p:nvPr userDrawn="1"/>
        </p:nvSpPr>
        <p:spPr bwMode="auto">
          <a:xfrm>
            <a:off x="6349980" y="4907491"/>
            <a:ext cx="204361" cy="251264"/>
          </a:xfrm>
          <a:custGeom>
            <a:avLst/>
            <a:gdLst>
              <a:gd name="T0" fmla="*/ 2147483646 w 219"/>
              <a:gd name="T1" fmla="*/ 2147483646 h 268"/>
              <a:gd name="T2" fmla="*/ 2147483646 w 219"/>
              <a:gd name="T3" fmla="*/ 2147483646 h 268"/>
              <a:gd name="T4" fmla="*/ 2147483646 w 219"/>
              <a:gd name="T5" fmla="*/ 2147483646 h 268"/>
              <a:gd name="T6" fmla="*/ 2147483646 w 219"/>
              <a:gd name="T7" fmla="*/ 2147483646 h 268"/>
              <a:gd name="T8" fmla="*/ 2147483646 w 219"/>
              <a:gd name="T9" fmla="*/ 2147483646 h 268"/>
              <a:gd name="T10" fmla="*/ 2147483646 w 219"/>
              <a:gd name="T11" fmla="*/ 2147483646 h 268"/>
              <a:gd name="T12" fmla="*/ 2147483646 w 219"/>
              <a:gd name="T13" fmla="*/ 2147483646 h 268"/>
              <a:gd name="T14" fmla="*/ 2147483646 w 219"/>
              <a:gd name="T15" fmla="*/ 2147483646 h 268"/>
              <a:gd name="T16" fmla="*/ 2147483646 w 219"/>
              <a:gd name="T17" fmla="*/ 2147483646 h 268"/>
              <a:gd name="T18" fmla="*/ 2147483646 w 219"/>
              <a:gd name="T19" fmla="*/ 2147483646 h 268"/>
              <a:gd name="T20" fmla="*/ 2147483646 w 219"/>
              <a:gd name="T21" fmla="*/ 2147483646 h 268"/>
              <a:gd name="T22" fmla="*/ 2147483646 w 219"/>
              <a:gd name="T23" fmla="*/ 2147483646 h 268"/>
              <a:gd name="T24" fmla="*/ 2147483646 w 219"/>
              <a:gd name="T25" fmla="*/ 2147483646 h 268"/>
              <a:gd name="T26" fmla="*/ 2147483646 w 219"/>
              <a:gd name="T27" fmla="*/ 2147483646 h 268"/>
              <a:gd name="T28" fmla="*/ 2147483646 w 219"/>
              <a:gd name="T29" fmla="*/ 2147483646 h 268"/>
              <a:gd name="T30" fmla="*/ 2147483646 w 219"/>
              <a:gd name="T31" fmla="*/ 2147483646 h 268"/>
              <a:gd name="T32" fmla="*/ 2147483646 w 219"/>
              <a:gd name="T33" fmla="*/ 2147483646 h 268"/>
              <a:gd name="T34" fmla="*/ 2147483646 w 219"/>
              <a:gd name="T35" fmla="*/ 2147483646 h 268"/>
              <a:gd name="T36" fmla="*/ 2147483646 w 219"/>
              <a:gd name="T37" fmla="*/ 2147483646 h 268"/>
              <a:gd name="T38" fmla="*/ 0 w 219"/>
              <a:gd name="T39" fmla="*/ 2147483646 h 268"/>
              <a:gd name="T40" fmla="*/ 2147483646 w 219"/>
              <a:gd name="T41" fmla="*/ 2147483646 h 268"/>
              <a:gd name="T42" fmla="*/ 2147483646 w 219"/>
              <a:gd name="T43" fmla="*/ 2147483646 h 268"/>
              <a:gd name="T44" fmla="*/ 2147483646 w 219"/>
              <a:gd name="T45" fmla="*/ 2147483646 h 268"/>
              <a:gd name="T46" fmla="*/ 2147483646 w 219"/>
              <a:gd name="T47" fmla="*/ 2147483646 h 268"/>
              <a:gd name="T48" fmla="*/ 2147483646 w 219"/>
              <a:gd name="T49" fmla="*/ 2147483646 h 268"/>
              <a:gd name="T50" fmla="*/ 2147483646 w 219"/>
              <a:gd name="T51" fmla="*/ 2147483646 h 268"/>
              <a:gd name="T52" fmla="*/ 2147483646 w 219"/>
              <a:gd name="T53" fmla="*/ 2147483646 h 268"/>
              <a:gd name="T54" fmla="*/ 2147483646 w 219"/>
              <a:gd name="T55" fmla="*/ 2147483646 h 268"/>
              <a:gd name="T56" fmla="*/ 2147483646 w 219"/>
              <a:gd name="T57" fmla="*/ 2147483646 h 268"/>
              <a:gd name="T58" fmla="*/ 2147483646 w 219"/>
              <a:gd name="T59" fmla="*/ 2147483646 h 268"/>
              <a:gd name="T60" fmla="*/ 2147483646 w 219"/>
              <a:gd name="T61" fmla="*/ 2147483646 h 268"/>
              <a:gd name="T62" fmla="*/ 2147483646 w 219"/>
              <a:gd name="T63" fmla="*/ 2147483646 h 268"/>
              <a:gd name="T64" fmla="*/ 2147483646 w 219"/>
              <a:gd name="T65" fmla="*/ 2147483646 h 268"/>
              <a:gd name="T66" fmla="*/ 2147483646 w 219"/>
              <a:gd name="T67" fmla="*/ 2147483646 h 268"/>
              <a:gd name="T68" fmla="*/ 2147483646 w 219"/>
              <a:gd name="T69" fmla="*/ 2147483646 h 268"/>
              <a:gd name="T70" fmla="*/ 2147483646 w 219"/>
              <a:gd name="T71" fmla="*/ 2147483646 h 268"/>
              <a:gd name="T72" fmla="*/ 2147483646 w 219"/>
              <a:gd name="T73" fmla="*/ 2147483646 h 268"/>
              <a:gd name="T74" fmla="*/ 2147483646 w 219"/>
              <a:gd name="T75" fmla="*/ 2147483646 h 268"/>
              <a:gd name="T76" fmla="*/ 2147483646 w 219"/>
              <a:gd name="T77" fmla="*/ 2147483646 h 268"/>
              <a:gd name="T78" fmla="*/ 2147483646 w 219"/>
              <a:gd name="T79" fmla="*/ 2147483646 h 268"/>
              <a:gd name="T80" fmla="*/ 2147483646 w 219"/>
              <a:gd name="T81" fmla="*/ 2147483646 h 268"/>
              <a:gd name="T82" fmla="*/ 2147483646 w 219"/>
              <a:gd name="T83" fmla="*/ 2147483646 h 268"/>
              <a:gd name="T84" fmla="*/ 2147483646 w 219"/>
              <a:gd name="T85" fmla="*/ 2147483646 h 268"/>
              <a:gd name="T86" fmla="*/ 2147483646 w 219"/>
              <a:gd name="T87" fmla="*/ 2147483646 h 268"/>
              <a:gd name="T88" fmla="*/ 2147483646 w 219"/>
              <a:gd name="T89" fmla="*/ 2147483646 h 268"/>
              <a:gd name="T90" fmla="*/ 2147483646 w 219"/>
              <a:gd name="T91" fmla="*/ 2147483646 h 268"/>
              <a:gd name="T92" fmla="*/ 2147483646 w 219"/>
              <a:gd name="T93" fmla="*/ 2147483646 h 268"/>
              <a:gd name="T94" fmla="*/ 2147483646 w 219"/>
              <a:gd name="T95" fmla="*/ 2147483646 h 268"/>
              <a:gd name="T96" fmla="*/ 2147483646 w 219"/>
              <a:gd name="T97" fmla="*/ 2147483646 h 268"/>
              <a:gd name="T98" fmla="*/ 2147483646 w 219"/>
              <a:gd name="T99" fmla="*/ 2147483646 h 268"/>
              <a:gd name="T100" fmla="*/ 2147483646 w 219"/>
              <a:gd name="T101" fmla="*/ 2147483646 h 26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19"/>
              <a:gd name="T154" fmla="*/ 0 h 268"/>
              <a:gd name="T155" fmla="*/ 219 w 219"/>
              <a:gd name="T156" fmla="*/ 268 h 268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19" h="268">
                <a:moveTo>
                  <a:pt x="144" y="265"/>
                </a:moveTo>
                <a:cubicBezTo>
                  <a:pt x="110" y="240"/>
                  <a:pt x="110" y="240"/>
                  <a:pt x="110" y="240"/>
                </a:cubicBezTo>
                <a:cubicBezTo>
                  <a:pt x="110" y="240"/>
                  <a:pt x="102" y="228"/>
                  <a:pt x="104" y="222"/>
                </a:cubicBezTo>
                <a:cubicBezTo>
                  <a:pt x="4" y="164"/>
                  <a:pt x="4" y="164"/>
                  <a:pt x="4" y="164"/>
                </a:cubicBezTo>
                <a:cubicBezTo>
                  <a:pt x="4" y="164"/>
                  <a:pt x="1" y="153"/>
                  <a:pt x="4" y="149"/>
                </a:cubicBezTo>
                <a:cubicBezTo>
                  <a:pt x="8" y="145"/>
                  <a:pt x="7" y="149"/>
                  <a:pt x="10" y="149"/>
                </a:cubicBezTo>
                <a:cubicBezTo>
                  <a:pt x="13" y="148"/>
                  <a:pt x="15" y="147"/>
                  <a:pt x="16" y="146"/>
                </a:cubicBezTo>
                <a:cubicBezTo>
                  <a:pt x="18" y="145"/>
                  <a:pt x="25" y="144"/>
                  <a:pt x="27" y="142"/>
                </a:cubicBezTo>
                <a:cubicBezTo>
                  <a:pt x="29" y="139"/>
                  <a:pt x="26" y="140"/>
                  <a:pt x="22" y="137"/>
                </a:cubicBezTo>
                <a:cubicBezTo>
                  <a:pt x="18" y="135"/>
                  <a:pt x="15" y="141"/>
                  <a:pt x="13" y="142"/>
                </a:cubicBezTo>
                <a:cubicBezTo>
                  <a:pt x="11" y="143"/>
                  <a:pt x="8" y="142"/>
                  <a:pt x="4" y="140"/>
                </a:cubicBezTo>
                <a:cubicBezTo>
                  <a:pt x="1" y="138"/>
                  <a:pt x="1" y="134"/>
                  <a:pt x="1" y="134"/>
                </a:cubicBezTo>
                <a:cubicBezTo>
                  <a:pt x="1" y="134"/>
                  <a:pt x="3" y="121"/>
                  <a:pt x="8" y="117"/>
                </a:cubicBezTo>
                <a:cubicBezTo>
                  <a:pt x="13" y="114"/>
                  <a:pt x="17" y="104"/>
                  <a:pt x="21" y="101"/>
                </a:cubicBezTo>
                <a:cubicBezTo>
                  <a:pt x="25" y="99"/>
                  <a:pt x="28" y="93"/>
                  <a:pt x="29" y="89"/>
                </a:cubicBezTo>
                <a:cubicBezTo>
                  <a:pt x="29" y="85"/>
                  <a:pt x="29" y="79"/>
                  <a:pt x="29" y="77"/>
                </a:cubicBezTo>
                <a:cubicBezTo>
                  <a:pt x="30" y="74"/>
                  <a:pt x="33" y="68"/>
                  <a:pt x="31" y="65"/>
                </a:cubicBezTo>
                <a:cubicBezTo>
                  <a:pt x="30" y="61"/>
                  <a:pt x="29" y="55"/>
                  <a:pt x="25" y="52"/>
                </a:cubicBezTo>
                <a:cubicBezTo>
                  <a:pt x="22" y="49"/>
                  <a:pt x="16" y="49"/>
                  <a:pt x="15" y="43"/>
                </a:cubicBezTo>
                <a:cubicBezTo>
                  <a:pt x="13" y="36"/>
                  <a:pt x="0" y="16"/>
                  <a:pt x="0" y="16"/>
                </a:cubicBezTo>
                <a:cubicBezTo>
                  <a:pt x="1" y="13"/>
                  <a:pt x="1" y="13"/>
                  <a:pt x="1" y="13"/>
                </a:cubicBezTo>
                <a:cubicBezTo>
                  <a:pt x="11" y="4"/>
                  <a:pt x="11" y="4"/>
                  <a:pt x="11" y="4"/>
                </a:cubicBezTo>
                <a:cubicBezTo>
                  <a:pt x="49" y="3"/>
                  <a:pt x="49" y="3"/>
                  <a:pt x="49" y="3"/>
                </a:cubicBezTo>
                <a:cubicBezTo>
                  <a:pt x="49" y="3"/>
                  <a:pt x="55" y="4"/>
                  <a:pt x="57" y="6"/>
                </a:cubicBezTo>
                <a:cubicBezTo>
                  <a:pt x="59" y="8"/>
                  <a:pt x="84" y="9"/>
                  <a:pt x="84" y="9"/>
                </a:cubicBezTo>
                <a:cubicBezTo>
                  <a:pt x="114" y="28"/>
                  <a:pt x="114" y="28"/>
                  <a:pt x="114" y="28"/>
                </a:cubicBezTo>
                <a:cubicBezTo>
                  <a:pt x="155" y="31"/>
                  <a:pt x="155" y="31"/>
                  <a:pt x="155" y="31"/>
                </a:cubicBezTo>
                <a:cubicBezTo>
                  <a:pt x="155" y="31"/>
                  <a:pt x="162" y="21"/>
                  <a:pt x="169" y="19"/>
                </a:cubicBezTo>
                <a:cubicBezTo>
                  <a:pt x="176" y="17"/>
                  <a:pt x="183" y="0"/>
                  <a:pt x="189" y="9"/>
                </a:cubicBezTo>
                <a:cubicBezTo>
                  <a:pt x="196" y="18"/>
                  <a:pt x="200" y="16"/>
                  <a:pt x="204" y="17"/>
                </a:cubicBezTo>
                <a:cubicBezTo>
                  <a:pt x="208" y="17"/>
                  <a:pt x="219" y="17"/>
                  <a:pt x="219" y="17"/>
                </a:cubicBezTo>
                <a:cubicBezTo>
                  <a:pt x="219" y="17"/>
                  <a:pt x="200" y="47"/>
                  <a:pt x="195" y="50"/>
                </a:cubicBezTo>
                <a:cubicBezTo>
                  <a:pt x="197" y="157"/>
                  <a:pt x="197" y="157"/>
                  <a:pt x="197" y="157"/>
                </a:cubicBezTo>
                <a:cubicBezTo>
                  <a:pt x="213" y="177"/>
                  <a:pt x="213" y="177"/>
                  <a:pt x="213" y="177"/>
                </a:cubicBezTo>
                <a:cubicBezTo>
                  <a:pt x="213" y="177"/>
                  <a:pt x="206" y="189"/>
                  <a:pt x="202" y="189"/>
                </a:cubicBezTo>
                <a:cubicBezTo>
                  <a:pt x="199" y="190"/>
                  <a:pt x="195" y="184"/>
                  <a:pt x="194" y="187"/>
                </a:cubicBezTo>
                <a:cubicBezTo>
                  <a:pt x="192" y="189"/>
                  <a:pt x="193" y="192"/>
                  <a:pt x="193" y="194"/>
                </a:cubicBezTo>
                <a:cubicBezTo>
                  <a:pt x="192" y="195"/>
                  <a:pt x="190" y="194"/>
                  <a:pt x="191" y="199"/>
                </a:cubicBezTo>
                <a:cubicBezTo>
                  <a:pt x="192" y="204"/>
                  <a:pt x="188" y="205"/>
                  <a:pt x="185" y="205"/>
                </a:cubicBezTo>
                <a:cubicBezTo>
                  <a:pt x="183" y="205"/>
                  <a:pt x="183" y="203"/>
                  <a:pt x="181" y="204"/>
                </a:cubicBezTo>
                <a:cubicBezTo>
                  <a:pt x="179" y="204"/>
                  <a:pt x="180" y="197"/>
                  <a:pt x="178" y="202"/>
                </a:cubicBezTo>
                <a:cubicBezTo>
                  <a:pt x="175" y="208"/>
                  <a:pt x="167" y="207"/>
                  <a:pt x="170" y="214"/>
                </a:cubicBezTo>
                <a:cubicBezTo>
                  <a:pt x="174" y="221"/>
                  <a:pt x="174" y="223"/>
                  <a:pt x="171" y="228"/>
                </a:cubicBezTo>
                <a:cubicBezTo>
                  <a:pt x="169" y="233"/>
                  <a:pt x="166" y="233"/>
                  <a:pt x="164" y="234"/>
                </a:cubicBezTo>
                <a:cubicBezTo>
                  <a:pt x="163" y="235"/>
                  <a:pt x="159" y="231"/>
                  <a:pt x="159" y="235"/>
                </a:cubicBezTo>
                <a:cubicBezTo>
                  <a:pt x="159" y="239"/>
                  <a:pt x="166" y="242"/>
                  <a:pt x="163" y="245"/>
                </a:cubicBezTo>
                <a:cubicBezTo>
                  <a:pt x="160" y="247"/>
                  <a:pt x="153" y="245"/>
                  <a:pt x="153" y="245"/>
                </a:cubicBezTo>
                <a:cubicBezTo>
                  <a:pt x="153" y="245"/>
                  <a:pt x="151" y="248"/>
                  <a:pt x="154" y="252"/>
                </a:cubicBezTo>
                <a:cubicBezTo>
                  <a:pt x="157" y="256"/>
                  <a:pt x="159" y="256"/>
                  <a:pt x="158" y="259"/>
                </a:cubicBezTo>
                <a:cubicBezTo>
                  <a:pt x="156" y="263"/>
                  <a:pt x="159" y="263"/>
                  <a:pt x="154" y="265"/>
                </a:cubicBezTo>
                <a:cubicBezTo>
                  <a:pt x="149" y="268"/>
                  <a:pt x="144" y="265"/>
                  <a:pt x="144" y="26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1" name="Freeform 687"/>
          <p:cNvSpPr>
            <a:spLocks/>
          </p:cNvSpPr>
          <p:nvPr userDrawn="1"/>
        </p:nvSpPr>
        <p:spPr bwMode="auto">
          <a:xfrm>
            <a:off x="6396882" y="4550696"/>
            <a:ext cx="170860" cy="145733"/>
          </a:xfrm>
          <a:custGeom>
            <a:avLst/>
            <a:gdLst>
              <a:gd name="T0" fmla="*/ 2147483646 w 184"/>
              <a:gd name="T1" fmla="*/ 0 h 157"/>
              <a:gd name="T2" fmla="*/ 2147483646 w 184"/>
              <a:gd name="T3" fmla="*/ 2147483646 h 157"/>
              <a:gd name="T4" fmla="*/ 2147483646 w 184"/>
              <a:gd name="T5" fmla="*/ 2147483646 h 157"/>
              <a:gd name="T6" fmla="*/ 2147483646 w 184"/>
              <a:gd name="T7" fmla="*/ 2147483646 h 157"/>
              <a:gd name="T8" fmla="*/ 2147483646 w 184"/>
              <a:gd name="T9" fmla="*/ 2147483646 h 157"/>
              <a:gd name="T10" fmla="*/ 2147483646 w 184"/>
              <a:gd name="T11" fmla="*/ 2147483646 h 157"/>
              <a:gd name="T12" fmla="*/ 2147483646 w 184"/>
              <a:gd name="T13" fmla="*/ 2147483646 h 157"/>
              <a:gd name="T14" fmla="*/ 2147483646 w 184"/>
              <a:gd name="T15" fmla="*/ 2147483646 h 157"/>
              <a:gd name="T16" fmla="*/ 2147483646 w 184"/>
              <a:gd name="T17" fmla="*/ 2147483646 h 157"/>
              <a:gd name="T18" fmla="*/ 2147483646 w 184"/>
              <a:gd name="T19" fmla="*/ 2147483646 h 157"/>
              <a:gd name="T20" fmla="*/ 2147483646 w 184"/>
              <a:gd name="T21" fmla="*/ 2147483646 h 157"/>
              <a:gd name="T22" fmla="*/ 2147483646 w 184"/>
              <a:gd name="T23" fmla="*/ 2147483646 h 157"/>
              <a:gd name="T24" fmla="*/ 2147483646 w 184"/>
              <a:gd name="T25" fmla="*/ 2147483646 h 157"/>
              <a:gd name="T26" fmla="*/ 2147483646 w 184"/>
              <a:gd name="T27" fmla="*/ 2147483646 h 157"/>
              <a:gd name="T28" fmla="*/ 2147483646 w 184"/>
              <a:gd name="T29" fmla="*/ 2147483646 h 157"/>
              <a:gd name="T30" fmla="*/ 2147483646 w 184"/>
              <a:gd name="T31" fmla="*/ 2147483646 h 157"/>
              <a:gd name="T32" fmla="*/ 2147483646 w 184"/>
              <a:gd name="T33" fmla="*/ 2147483646 h 157"/>
              <a:gd name="T34" fmla="*/ 2147483646 w 184"/>
              <a:gd name="T35" fmla="*/ 2147483646 h 157"/>
              <a:gd name="T36" fmla="*/ 2147483646 w 184"/>
              <a:gd name="T37" fmla="*/ 2147483646 h 157"/>
              <a:gd name="T38" fmla="*/ 2147483646 w 184"/>
              <a:gd name="T39" fmla="*/ 2147483646 h 157"/>
              <a:gd name="T40" fmla="*/ 2147483646 w 184"/>
              <a:gd name="T41" fmla="*/ 2147483646 h 157"/>
              <a:gd name="T42" fmla="*/ 2147483646 w 184"/>
              <a:gd name="T43" fmla="*/ 2147483646 h 157"/>
              <a:gd name="T44" fmla="*/ 2147483646 w 184"/>
              <a:gd name="T45" fmla="*/ 2147483646 h 157"/>
              <a:gd name="T46" fmla="*/ 2147483646 w 184"/>
              <a:gd name="T47" fmla="*/ 2147483646 h 157"/>
              <a:gd name="T48" fmla="*/ 2147483646 w 184"/>
              <a:gd name="T49" fmla="*/ 2147483646 h 157"/>
              <a:gd name="T50" fmla="*/ 2147483646 w 184"/>
              <a:gd name="T51" fmla="*/ 2147483646 h 157"/>
              <a:gd name="T52" fmla="*/ 2147483646 w 184"/>
              <a:gd name="T53" fmla="*/ 2147483646 h 157"/>
              <a:gd name="T54" fmla="*/ 2147483646 w 184"/>
              <a:gd name="T55" fmla="*/ 2147483646 h 157"/>
              <a:gd name="T56" fmla="*/ 2147483646 w 184"/>
              <a:gd name="T57" fmla="*/ 0 h 15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84"/>
              <a:gd name="T88" fmla="*/ 0 h 157"/>
              <a:gd name="T89" fmla="*/ 184 w 184"/>
              <a:gd name="T90" fmla="*/ 157 h 15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84" h="157">
                <a:moveTo>
                  <a:pt x="50" y="0"/>
                </a:moveTo>
                <a:cubicBezTo>
                  <a:pt x="50" y="0"/>
                  <a:pt x="51" y="5"/>
                  <a:pt x="44" y="11"/>
                </a:cubicBezTo>
                <a:cubicBezTo>
                  <a:pt x="37" y="16"/>
                  <a:pt x="29" y="14"/>
                  <a:pt x="26" y="21"/>
                </a:cubicBezTo>
                <a:cubicBezTo>
                  <a:pt x="24" y="28"/>
                  <a:pt x="24" y="35"/>
                  <a:pt x="17" y="34"/>
                </a:cubicBezTo>
                <a:cubicBezTo>
                  <a:pt x="9" y="33"/>
                  <a:pt x="9" y="26"/>
                  <a:pt x="9" y="44"/>
                </a:cubicBezTo>
                <a:cubicBezTo>
                  <a:pt x="9" y="61"/>
                  <a:pt x="6" y="64"/>
                  <a:pt x="3" y="73"/>
                </a:cubicBezTo>
                <a:cubicBezTo>
                  <a:pt x="0" y="82"/>
                  <a:pt x="3" y="90"/>
                  <a:pt x="4" y="98"/>
                </a:cubicBezTo>
                <a:cubicBezTo>
                  <a:pt x="5" y="101"/>
                  <a:pt x="5" y="104"/>
                  <a:pt x="6" y="107"/>
                </a:cubicBezTo>
                <a:cubicBezTo>
                  <a:pt x="6" y="107"/>
                  <a:pt x="15" y="108"/>
                  <a:pt x="16" y="108"/>
                </a:cubicBezTo>
                <a:cubicBezTo>
                  <a:pt x="17" y="108"/>
                  <a:pt x="22" y="104"/>
                  <a:pt x="25" y="103"/>
                </a:cubicBezTo>
                <a:cubicBezTo>
                  <a:pt x="27" y="103"/>
                  <a:pt x="29" y="103"/>
                  <a:pt x="31" y="109"/>
                </a:cubicBezTo>
                <a:cubicBezTo>
                  <a:pt x="34" y="114"/>
                  <a:pt x="38" y="111"/>
                  <a:pt x="38" y="108"/>
                </a:cubicBezTo>
                <a:cubicBezTo>
                  <a:pt x="39" y="104"/>
                  <a:pt x="38" y="100"/>
                  <a:pt x="40" y="97"/>
                </a:cubicBezTo>
                <a:cubicBezTo>
                  <a:pt x="42" y="94"/>
                  <a:pt x="41" y="88"/>
                  <a:pt x="45" y="89"/>
                </a:cubicBezTo>
                <a:cubicBezTo>
                  <a:pt x="49" y="90"/>
                  <a:pt x="53" y="92"/>
                  <a:pt x="54" y="95"/>
                </a:cubicBezTo>
                <a:cubicBezTo>
                  <a:pt x="54" y="99"/>
                  <a:pt x="57" y="96"/>
                  <a:pt x="60" y="99"/>
                </a:cubicBezTo>
                <a:cubicBezTo>
                  <a:pt x="63" y="103"/>
                  <a:pt x="66" y="100"/>
                  <a:pt x="68" y="99"/>
                </a:cubicBezTo>
                <a:cubicBezTo>
                  <a:pt x="71" y="98"/>
                  <a:pt x="72" y="91"/>
                  <a:pt x="75" y="94"/>
                </a:cubicBezTo>
                <a:cubicBezTo>
                  <a:pt x="77" y="98"/>
                  <a:pt x="76" y="99"/>
                  <a:pt x="81" y="100"/>
                </a:cubicBezTo>
                <a:cubicBezTo>
                  <a:pt x="86" y="102"/>
                  <a:pt x="100" y="98"/>
                  <a:pt x="112" y="105"/>
                </a:cubicBezTo>
                <a:cubicBezTo>
                  <a:pt x="124" y="113"/>
                  <a:pt x="126" y="114"/>
                  <a:pt x="134" y="123"/>
                </a:cubicBezTo>
                <a:cubicBezTo>
                  <a:pt x="142" y="132"/>
                  <a:pt x="165" y="152"/>
                  <a:pt x="170" y="155"/>
                </a:cubicBezTo>
                <a:cubicBezTo>
                  <a:pt x="175" y="157"/>
                  <a:pt x="184" y="149"/>
                  <a:pt x="183" y="146"/>
                </a:cubicBezTo>
                <a:cubicBezTo>
                  <a:pt x="183" y="146"/>
                  <a:pt x="169" y="133"/>
                  <a:pt x="165" y="129"/>
                </a:cubicBezTo>
                <a:cubicBezTo>
                  <a:pt x="162" y="125"/>
                  <a:pt x="156" y="118"/>
                  <a:pt x="149" y="113"/>
                </a:cubicBezTo>
                <a:cubicBezTo>
                  <a:pt x="143" y="108"/>
                  <a:pt x="134" y="95"/>
                  <a:pt x="130" y="92"/>
                </a:cubicBezTo>
                <a:cubicBezTo>
                  <a:pt x="127" y="89"/>
                  <a:pt x="112" y="87"/>
                  <a:pt x="97" y="79"/>
                </a:cubicBezTo>
                <a:cubicBezTo>
                  <a:pt x="82" y="71"/>
                  <a:pt x="77" y="65"/>
                  <a:pt x="77" y="59"/>
                </a:cubicBezTo>
                <a:cubicBezTo>
                  <a:pt x="76" y="54"/>
                  <a:pt x="73" y="23"/>
                  <a:pt x="5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2" name="Freeform 688"/>
          <p:cNvSpPr>
            <a:spLocks/>
          </p:cNvSpPr>
          <p:nvPr userDrawn="1"/>
        </p:nvSpPr>
        <p:spPr bwMode="auto">
          <a:xfrm>
            <a:off x="6308102" y="4632776"/>
            <a:ext cx="395321" cy="304867"/>
          </a:xfrm>
          <a:custGeom>
            <a:avLst/>
            <a:gdLst>
              <a:gd name="T0" fmla="*/ 2147483646 w 423"/>
              <a:gd name="T1" fmla="*/ 2147483646 h 326"/>
              <a:gd name="T2" fmla="*/ 2147483646 w 423"/>
              <a:gd name="T3" fmla="*/ 2147483646 h 326"/>
              <a:gd name="T4" fmla="*/ 2147483646 w 423"/>
              <a:gd name="T5" fmla="*/ 2147483646 h 326"/>
              <a:gd name="T6" fmla="*/ 2147483646 w 423"/>
              <a:gd name="T7" fmla="*/ 2147483646 h 326"/>
              <a:gd name="T8" fmla="*/ 2147483646 w 423"/>
              <a:gd name="T9" fmla="*/ 2147483646 h 326"/>
              <a:gd name="T10" fmla="*/ 2147483646 w 423"/>
              <a:gd name="T11" fmla="*/ 2147483646 h 326"/>
              <a:gd name="T12" fmla="*/ 2147483646 w 423"/>
              <a:gd name="T13" fmla="*/ 2147483646 h 326"/>
              <a:gd name="T14" fmla="*/ 2147483646 w 423"/>
              <a:gd name="T15" fmla="*/ 2147483646 h 326"/>
              <a:gd name="T16" fmla="*/ 2147483646 w 423"/>
              <a:gd name="T17" fmla="*/ 2147483646 h 326"/>
              <a:gd name="T18" fmla="*/ 2147483646 w 423"/>
              <a:gd name="T19" fmla="*/ 2147483646 h 326"/>
              <a:gd name="T20" fmla="*/ 2147483646 w 423"/>
              <a:gd name="T21" fmla="*/ 2147483646 h 326"/>
              <a:gd name="T22" fmla="*/ 2147483646 w 423"/>
              <a:gd name="T23" fmla="*/ 2147483646 h 326"/>
              <a:gd name="T24" fmla="*/ 2147483646 w 423"/>
              <a:gd name="T25" fmla="*/ 2147483646 h 326"/>
              <a:gd name="T26" fmla="*/ 2147483646 w 423"/>
              <a:gd name="T27" fmla="*/ 2147483646 h 326"/>
              <a:gd name="T28" fmla="*/ 2147483646 w 423"/>
              <a:gd name="T29" fmla="*/ 2147483646 h 326"/>
              <a:gd name="T30" fmla="*/ 2147483646 w 423"/>
              <a:gd name="T31" fmla="*/ 2147483646 h 326"/>
              <a:gd name="T32" fmla="*/ 2147483646 w 423"/>
              <a:gd name="T33" fmla="*/ 2147483646 h 326"/>
              <a:gd name="T34" fmla="*/ 2147483646 w 423"/>
              <a:gd name="T35" fmla="*/ 2147483646 h 326"/>
              <a:gd name="T36" fmla="*/ 2147483646 w 423"/>
              <a:gd name="T37" fmla="*/ 2147483646 h 326"/>
              <a:gd name="T38" fmla="*/ 2147483646 w 423"/>
              <a:gd name="T39" fmla="*/ 2147483646 h 326"/>
              <a:gd name="T40" fmla="*/ 2147483646 w 423"/>
              <a:gd name="T41" fmla="*/ 2147483646 h 326"/>
              <a:gd name="T42" fmla="*/ 2147483646 w 423"/>
              <a:gd name="T43" fmla="*/ 2147483646 h 326"/>
              <a:gd name="T44" fmla="*/ 2147483646 w 423"/>
              <a:gd name="T45" fmla="*/ 2147483646 h 326"/>
              <a:gd name="T46" fmla="*/ 2147483646 w 423"/>
              <a:gd name="T47" fmla="*/ 2147483646 h 326"/>
              <a:gd name="T48" fmla="*/ 2147483646 w 423"/>
              <a:gd name="T49" fmla="*/ 2147483646 h 326"/>
              <a:gd name="T50" fmla="*/ 2147483646 w 423"/>
              <a:gd name="T51" fmla="*/ 2147483646 h 326"/>
              <a:gd name="T52" fmla="*/ 2147483646 w 423"/>
              <a:gd name="T53" fmla="*/ 2147483646 h 326"/>
              <a:gd name="T54" fmla="*/ 2147483646 w 423"/>
              <a:gd name="T55" fmla="*/ 2147483646 h 326"/>
              <a:gd name="T56" fmla="*/ 2147483646 w 423"/>
              <a:gd name="T57" fmla="*/ 2147483646 h 326"/>
              <a:gd name="T58" fmla="*/ 2147483646 w 423"/>
              <a:gd name="T59" fmla="*/ 2147483646 h 326"/>
              <a:gd name="T60" fmla="*/ 2147483646 w 423"/>
              <a:gd name="T61" fmla="*/ 2147483646 h 326"/>
              <a:gd name="T62" fmla="*/ 2147483646 w 423"/>
              <a:gd name="T63" fmla="*/ 2147483646 h 326"/>
              <a:gd name="T64" fmla="*/ 2147483646 w 423"/>
              <a:gd name="T65" fmla="*/ 2147483646 h 326"/>
              <a:gd name="T66" fmla="*/ 2147483646 w 423"/>
              <a:gd name="T67" fmla="*/ 2147483646 h 326"/>
              <a:gd name="T68" fmla="*/ 2147483646 w 423"/>
              <a:gd name="T69" fmla="*/ 2147483646 h 326"/>
              <a:gd name="T70" fmla="*/ 2147483646 w 423"/>
              <a:gd name="T71" fmla="*/ 2147483646 h 326"/>
              <a:gd name="T72" fmla="*/ 2147483646 w 423"/>
              <a:gd name="T73" fmla="*/ 2147483646 h 326"/>
              <a:gd name="T74" fmla="*/ 2147483646 w 423"/>
              <a:gd name="T75" fmla="*/ 2147483646 h 326"/>
              <a:gd name="T76" fmla="*/ 2147483646 w 423"/>
              <a:gd name="T77" fmla="*/ 2147483646 h 326"/>
              <a:gd name="T78" fmla="*/ 2147483646 w 423"/>
              <a:gd name="T79" fmla="*/ 2147483646 h 326"/>
              <a:gd name="T80" fmla="*/ 2147483646 w 423"/>
              <a:gd name="T81" fmla="*/ 2147483646 h 326"/>
              <a:gd name="T82" fmla="*/ 2147483646 w 423"/>
              <a:gd name="T83" fmla="*/ 2147483646 h 326"/>
              <a:gd name="T84" fmla="*/ 2147483646 w 423"/>
              <a:gd name="T85" fmla="*/ 2147483646 h 326"/>
              <a:gd name="T86" fmla="*/ 2147483646 w 423"/>
              <a:gd name="T87" fmla="*/ 2147483646 h 326"/>
              <a:gd name="T88" fmla="*/ 2147483646 w 423"/>
              <a:gd name="T89" fmla="*/ 2147483646 h 326"/>
              <a:gd name="T90" fmla="*/ 2147483646 w 423"/>
              <a:gd name="T91" fmla="*/ 2147483646 h 326"/>
              <a:gd name="T92" fmla="*/ 2147483646 w 423"/>
              <a:gd name="T93" fmla="*/ 2147483646 h 326"/>
              <a:gd name="T94" fmla="*/ 2147483646 w 423"/>
              <a:gd name="T95" fmla="*/ 2147483646 h 326"/>
              <a:gd name="T96" fmla="*/ 2147483646 w 423"/>
              <a:gd name="T97" fmla="*/ 2147483646 h 326"/>
              <a:gd name="T98" fmla="*/ 2147483646 w 423"/>
              <a:gd name="T99" fmla="*/ 2147483646 h 326"/>
              <a:gd name="T100" fmla="*/ 2147483646 w 423"/>
              <a:gd name="T101" fmla="*/ 2147483646 h 326"/>
              <a:gd name="T102" fmla="*/ 2147483646 w 423"/>
              <a:gd name="T103" fmla="*/ 2147483646 h 326"/>
              <a:gd name="T104" fmla="*/ 2147483646 w 423"/>
              <a:gd name="T105" fmla="*/ 2147483646 h 326"/>
              <a:gd name="T106" fmla="*/ 2147483646 w 423"/>
              <a:gd name="T107" fmla="*/ 2147483646 h 326"/>
              <a:gd name="T108" fmla="*/ 2147483646 w 423"/>
              <a:gd name="T109" fmla="*/ 2147483646 h 326"/>
              <a:gd name="T110" fmla="*/ 2147483646 w 423"/>
              <a:gd name="T111" fmla="*/ 2147483646 h 326"/>
              <a:gd name="T112" fmla="*/ 2147483646 w 423"/>
              <a:gd name="T113" fmla="*/ 2147483646 h 3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23"/>
              <a:gd name="T172" fmla="*/ 0 h 326"/>
              <a:gd name="T173" fmla="*/ 423 w 423"/>
              <a:gd name="T174" fmla="*/ 326 h 32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23" h="326">
                <a:moveTo>
                  <a:pt x="263" y="312"/>
                </a:moveTo>
                <a:cubicBezTo>
                  <a:pt x="263" y="312"/>
                  <a:pt x="252" y="312"/>
                  <a:pt x="248" y="312"/>
                </a:cubicBezTo>
                <a:cubicBezTo>
                  <a:pt x="244" y="311"/>
                  <a:pt x="240" y="313"/>
                  <a:pt x="233" y="304"/>
                </a:cubicBezTo>
                <a:cubicBezTo>
                  <a:pt x="227" y="295"/>
                  <a:pt x="220" y="312"/>
                  <a:pt x="213" y="314"/>
                </a:cubicBezTo>
                <a:cubicBezTo>
                  <a:pt x="206" y="316"/>
                  <a:pt x="199" y="326"/>
                  <a:pt x="199" y="326"/>
                </a:cubicBezTo>
                <a:cubicBezTo>
                  <a:pt x="158" y="323"/>
                  <a:pt x="158" y="323"/>
                  <a:pt x="158" y="323"/>
                </a:cubicBezTo>
                <a:cubicBezTo>
                  <a:pt x="128" y="304"/>
                  <a:pt x="128" y="304"/>
                  <a:pt x="128" y="304"/>
                </a:cubicBezTo>
                <a:cubicBezTo>
                  <a:pt x="128" y="304"/>
                  <a:pt x="103" y="303"/>
                  <a:pt x="101" y="301"/>
                </a:cubicBezTo>
                <a:cubicBezTo>
                  <a:pt x="99" y="299"/>
                  <a:pt x="93" y="298"/>
                  <a:pt x="93" y="298"/>
                </a:cubicBezTo>
                <a:cubicBezTo>
                  <a:pt x="93" y="298"/>
                  <a:pt x="93" y="298"/>
                  <a:pt x="93" y="298"/>
                </a:cubicBezTo>
                <a:cubicBezTo>
                  <a:pt x="93" y="298"/>
                  <a:pt x="96" y="278"/>
                  <a:pt x="94" y="273"/>
                </a:cubicBezTo>
                <a:cubicBezTo>
                  <a:pt x="93" y="268"/>
                  <a:pt x="86" y="277"/>
                  <a:pt x="79" y="276"/>
                </a:cubicBezTo>
                <a:cubicBezTo>
                  <a:pt x="72" y="274"/>
                  <a:pt x="77" y="270"/>
                  <a:pt x="70" y="267"/>
                </a:cubicBezTo>
                <a:cubicBezTo>
                  <a:pt x="63" y="263"/>
                  <a:pt x="63" y="257"/>
                  <a:pt x="61" y="246"/>
                </a:cubicBezTo>
                <a:cubicBezTo>
                  <a:pt x="60" y="235"/>
                  <a:pt x="51" y="237"/>
                  <a:pt x="46" y="228"/>
                </a:cubicBezTo>
                <a:cubicBezTo>
                  <a:pt x="41" y="219"/>
                  <a:pt x="42" y="218"/>
                  <a:pt x="34" y="214"/>
                </a:cubicBezTo>
                <a:cubicBezTo>
                  <a:pt x="27" y="210"/>
                  <a:pt x="20" y="215"/>
                  <a:pt x="10" y="214"/>
                </a:cubicBezTo>
                <a:cubicBezTo>
                  <a:pt x="0" y="213"/>
                  <a:pt x="14" y="203"/>
                  <a:pt x="19" y="191"/>
                </a:cubicBezTo>
                <a:cubicBezTo>
                  <a:pt x="23" y="180"/>
                  <a:pt x="28" y="191"/>
                  <a:pt x="33" y="192"/>
                </a:cubicBezTo>
                <a:cubicBezTo>
                  <a:pt x="39" y="194"/>
                  <a:pt x="42" y="191"/>
                  <a:pt x="41" y="182"/>
                </a:cubicBezTo>
                <a:cubicBezTo>
                  <a:pt x="40" y="173"/>
                  <a:pt x="39" y="168"/>
                  <a:pt x="42" y="164"/>
                </a:cubicBezTo>
                <a:cubicBezTo>
                  <a:pt x="44" y="159"/>
                  <a:pt x="44" y="147"/>
                  <a:pt x="46" y="131"/>
                </a:cubicBezTo>
                <a:cubicBezTo>
                  <a:pt x="47" y="116"/>
                  <a:pt x="49" y="123"/>
                  <a:pt x="54" y="123"/>
                </a:cubicBezTo>
                <a:cubicBezTo>
                  <a:pt x="59" y="123"/>
                  <a:pt x="62" y="127"/>
                  <a:pt x="63" y="118"/>
                </a:cubicBezTo>
                <a:cubicBezTo>
                  <a:pt x="63" y="109"/>
                  <a:pt x="62" y="103"/>
                  <a:pt x="64" y="99"/>
                </a:cubicBezTo>
                <a:cubicBezTo>
                  <a:pt x="66" y="95"/>
                  <a:pt x="73" y="89"/>
                  <a:pt x="74" y="79"/>
                </a:cubicBezTo>
                <a:cubicBezTo>
                  <a:pt x="74" y="70"/>
                  <a:pt x="78" y="68"/>
                  <a:pt x="83" y="68"/>
                </a:cubicBezTo>
                <a:cubicBezTo>
                  <a:pt x="87" y="68"/>
                  <a:pt x="89" y="71"/>
                  <a:pt x="89" y="67"/>
                </a:cubicBezTo>
                <a:cubicBezTo>
                  <a:pt x="89" y="62"/>
                  <a:pt x="96" y="43"/>
                  <a:pt x="99" y="36"/>
                </a:cubicBezTo>
                <a:cubicBezTo>
                  <a:pt x="101" y="33"/>
                  <a:pt x="101" y="28"/>
                  <a:pt x="101" y="23"/>
                </a:cubicBezTo>
                <a:cubicBezTo>
                  <a:pt x="101" y="19"/>
                  <a:pt x="101" y="19"/>
                  <a:pt x="101" y="19"/>
                </a:cubicBezTo>
                <a:cubicBezTo>
                  <a:pt x="101" y="19"/>
                  <a:pt x="110" y="20"/>
                  <a:pt x="111" y="20"/>
                </a:cubicBezTo>
                <a:cubicBezTo>
                  <a:pt x="112" y="20"/>
                  <a:pt x="117" y="16"/>
                  <a:pt x="120" y="15"/>
                </a:cubicBezTo>
                <a:cubicBezTo>
                  <a:pt x="122" y="15"/>
                  <a:pt x="124" y="15"/>
                  <a:pt x="126" y="21"/>
                </a:cubicBezTo>
                <a:cubicBezTo>
                  <a:pt x="129" y="26"/>
                  <a:pt x="133" y="23"/>
                  <a:pt x="133" y="20"/>
                </a:cubicBezTo>
                <a:cubicBezTo>
                  <a:pt x="134" y="16"/>
                  <a:pt x="133" y="12"/>
                  <a:pt x="135" y="9"/>
                </a:cubicBezTo>
                <a:cubicBezTo>
                  <a:pt x="137" y="6"/>
                  <a:pt x="136" y="0"/>
                  <a:pt x="140" y="1"/>
                </a:cubicBezTo>
                <a:cubicBezTo>
                  <a:pt x="144" y="2"/>
                  <a:pt x="148" y="4"/>
                  <a:pt x="149" y="7"/>
                </a:cubicBezTo>
                <a:cubicBezTo>
                  <a:pt x="149" y="11"/>
                  <a:pt x="152" y="8"/>
                  <a:pt x="155" y="11"/>
                </a:cubicBezTo>
                <a:cubicBezTo>
                  <a:pt x="158" y="15"/>
                  <a:pt x="161" y="12"/>
                  <a:pt x="163" y="11"/>
                </a:cubicBezTo>
                <a:cubicBezTo>
                  <a:pt x="166" y="10"/>
                  <a:pt x="167" y="3"/>
                  <a:pt x="170" y="6"/>
                </a:cubicBezTo>
                <a:cubicBezTo>
                  <a:pt x="172" y="10"/>
                  <a:pt x="171" y="11"/>
                  <a:pt x="176" y="12"/>
                </a:cubicBezTo>
                <a:cubicBezTo>
                  <a:pt x="181" y="14"/>
                  <a:pt x="195" y="10"/>
                  <a:pt x="207" y="17"/>
                </a:cubicBezTo>
                <a:cubicBezTo>
                  <a:pt x="219" y="25"/>
                  <a:pt x="221" y="26"/>
                  <a:pt x="229" y="35"/>
                </a:cubicBezTo>
                <a:cubicBezTo>
                  <a:pt x="237" y="44"/>
                  <a:pt x="260" y="64"/>
                  <a:pt x="265" y="67"/>
                </a:cubicBezTo>
                <a:cubicBezTo>
                  <a:pt x="265" y="67"/>
                  <a:pt x="260" y="72"/>
                  <a:pt x="258" y="74"/>
                </a:cubicBezTo>
                <a:cubicBezTo>
                  <a:pt x="256" y="75"/>
                  <a:pt x="250" y="82"/>
                  <a:pt x="249" y="86"/>
                </a:cubicBezTo>
                <a:cubicBezTo>
                  <a:pt x="247" y="89"/>
                  <a:pt x="244" y="93"/>
                  <a:pt x="247" y="100"/>
                </a:cubicBezTo>
                <a:cubicBezTo>
                  <a:pt x="250" y="108"/>
                  <a:pt x="252" y="111"/>
                  <a:pt x="255" y="111"/>
                </a:cubicBezTo>
                <a:cubicBezTo>
                  <a:pt x="258" y="110"/>
                  <a:pt x="279" y="108"/>
                  <a:pt x="279" y="108"/>
                </a:cubicBezTo>
                <a:cubicBezTo>
                  <a:pt x="279" y="108"/>
                  <a:pt x="273" y="119"/>
                  <a:pt x="279" y="126"/>
                </a:cubicBezTo>
                <a:cubicBezTo>
                  <a:pt x="284" y="134"/>
                  <a:pt x="304" y="160"/>
                  <a:pt x="320" y="166"/>
                </a:cubicBezTo>
                <a:cubicBezTo>
                  <a:pt x="335" y="172"/>
                  <a:pt x="402" y="191"/>
                  <a:pt x="423" y="188"/>
                </a:cubicBezTo>
                <a:cubicBezTo>
                  <a:pt x="344" y="281"/>
                  <a:pt x="344" y="281"/>
                  <a:pt x="344" y="281"/>
                </a:cubicBezTo>
                <a:cubicBezTo>
                  <a:pt x="344" y="281"/>
                  <a:pt x="315" y="283"/>
                  <a:pt x="310" y="285"/>
                </a:cubicBezTo>
                <a:cubicBezTo>
                  <a:pt x="304" y="287"/>
                  <a:pt x="294" y="289"/>
                  <a:pt x="291" y="295"/>
                </a:cubicBezTo>
                <a:cubicBezTo>
                  <a:pt x="288" y="300"/>
                  <a:pt x="267" y="301"/>
                  <a:pt x="263" y="31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3" name="Freeform 689"/>
          <p:cNvSpPr>
            <a:spLocks/>
          </p:cNvSpPr>
          <p:nvPr userDrawn="1"/>
        </p:nvSpPr>
        <p:spPr bwMode="auto">
          <a:xfrm>
            <a:off x="6535914" y="4686379"/>
            <a:ext cx="45228" cy="50253"/>
          </a:xfrm>
          <a:custGeom>
            <a:avLst/>
            <a:gdLst>
              <a:gd name="T0" fmla="*/ 2147483646 w 49"/>
              <a:gd name="T1" fmla="*/ 2147483646 h 54"/>
              <a:gd name="T2" fmla="*/ 2147483646 w 49"/>
              <a:gd name="T3" fmla="*/ 2147483646 h 54"/>
              <a:gd name="T4" fmla="*/ 2147483646 w 49"/>
              <a:gd name="T5" fmla="*/ 2147483646 h 54"/>
              <a:gd name="T6" fmla="*/ 2147483646 w 49"/>
              <a:gd name="T7" fmla="*/ 2147483646 h 54"/>
              <a:gd name="T8" fmla="*/ 2147483646 w 49"/>
              <a:gd name="T9" fmla="*/ 2147483646 h 54"/>
              <a:gd name="T10" fmla="*/ 2147483646 w 49"/>
              <a:gd name="T11" fmla="*/ 2147483646 h 54"/>
              <a:gd name="T12" fmla="*/ 2147483646 w 49"/>
              <a:gd name="T13" fmla="*/ 2147483646 h 54"/>
              <a:gd name="T14" fmla="*/ 2147483646 w 49"/>
              <a:gd name="T15" fmla="*/ 2147483646 h 54"/>
              <a:gd name="T16" fmla="*/ 2147483646 w 49"/>
              <a:gd name="T17" fmla="*/ 2147483646 h 54"/>
              <a:gd name="T18" fmla="*/ 2147483646 w 49"/>
              <a:gd name="T19" fmla="*/ 2147483646 h 54"/>
              <a:gd name="T20" fmla="*/ 2147483646 w 49"/>
              <a:gd name="T21" fmla="*/ 2147483646 h 54"/>
              <a:gd name="T22" fmla="*/ 2147483646 w 49"/>
              <a:gd name="T23" fmla="*/ 2147483646 h 54"/>
              <a:gd name="T24" fmla="*/ 2147483646 w 49"/>
              <a:gd name="T25" fmla="*/ 2147483646 h 54"/>
              <a:gd name="T26" fmla="*/ 2147483646 w 49"/>
              <a:gd name="T27" fmla="*/ 2147483646 h 54"/>
              <a:gd name="T28" fmla="*/ 2147483646 w 49"/>
              <a:gd name="T29" fmla="*/ 2147483646 h 5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9"/>
              <a:gd name="T46" fmla="*/ 0 h 54"/>
              <a:gd name="T47" fmla="*/ 49 w 49"/>
              <a:gd name="T48" fmla="*/ 54 h 5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9" h="54">
                <a:moveTo>
                  <a:pt x="35" y="51"/>
                </a:moveTo>
                <a:cubicBezTo>
                  <a:pt x="35" y="51"/>
                  <a:pt x="14" y="53"/>
                  <a:pt x="11" y="54"/>
                </a:cubicBezTo>
                <a:cubicBezTo>
                  <a:pt x="8" y="54"/>
                  <a:pt x="6" y="51"/>
                  <a:pt x="3" y="43"/>
                </a:cubicBezTo>
                <a:cubicBezTo>
                  <a:pt x="0" y="36"/>
                  <a:pt x="3" y="32"/>
                  <a:pt x="5" y="29"/>
                </a:cubicBezTo>
                <a:cubicBezTo>
                  <a:pt x="6" y="25"/>
                  <a:pt x="12" y="18"/>
                  <a:pt x="14" y="17"/>
                </a:cubicBezTo>
                <a:cubicBezTo>
                  <a:pt x="16" y="15"/>
                  <a:pt x="21" y="10"/>
                  <a:pt x="21" y="10"/>
                </a:cubicBezTo>
                <a:cubicBezTo>
                  <a:pt x="26" y="12"/>
                  <a:pt x="35" y="4"/>
                  <a:pt x="34" y="1"/>
                </a:cubicBezTo>
                <a:cubicBezTo>
                  <a:pt x="34" y="1"/>
                  <a:pt x="39" y="0"/>
                  <a:pt x="41" y="5"/>
                </a:cubicBezTo>
                <a:cubicBezTo>
                  <a:pt x="44" y="9"/>
                  <a:pt x="46" y="14"/>
                  <a:pt x="47" y="15"/>
                </a:cubicBezTo>
                <a:cubicBezTo>
                  <a:pt x="47" y="17"/>
                  <a:pt x="46" y="21"/>
                  <a:pt x="43" y="23"/>
                </a:cubicBezTo>
                <a:cubicBezTo>
                  <a:pt x="39" y="24"/>
                  <a:pt x="35" y="26"/>
                  <a:pt x="37" y="28"/>
                </a:cubicBezTo>
                <a:cubicBezTo>
                  <a:pt x="39" y="30"/>
                  <a:pt x="43" y="29"/>
                  <a:pt x="44" y="31"/>
                </a:cubicBezTo>
                <a:cubicBezTo>
                  <a:pt x="46" y="34"/>
                  <a:pt x="45" y="35"/>
                  <a:pt x="47" y="36"/>
                </a:cubicBezTo>
                <a:cubicBezTo>
                  <a:pt x="48" y="37"/>
                  <a:pt x="49" y="38"/>
                  <a:pt x="49" y="39"/>
                </a:cubicBezTo>
                <a:cubicBezTo>
                  <a:pt x="48" y="41"/>
                  <a:pt x="35" y="51"/>
                  <a:pt x="35" y="5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4" name="Freeform 690"/>
          <p:cNvSpPr>
            <a:spLocks/>
          </p:cNvSpPr>
          <p:nvPr userDrawn="1"/>
        </p:nvSpPr>
        <p:spPr bwMode="auto">
          <a:xfrm>
            <a:off x="6530889" y="4683029"/>
            <a:ext cx="256288" cy="390296"/>
          </a:xfrm>
          <a:custGeom>
            <a:avLst/>
            <a:gdLst>
              <a:gd name="T0" fmla="*/ 2147483646 w 274"/>
              <a:gd name="T1" fmla="*/ 2147483646 h 418"/>
              <a:gd name="T2" fmla="*/ 2147483646 w 274"/>
              <a:gd name="T3" fmla="*/ 2147483646 h 418"/>
              <a:gd name="T4" fmla="*/ 0 w 274"/>
              <a:gd name="T5" fmla="*/ 2147483646 h 418"/>
              <a:gd name="T6" fmla="*/ 2147483646 w 274"/>
              <a:gd name="T7" fmla="*/ 2147483646 h 418"/>
              <a:gd name="T8" fmla="*/ 2147483646 w 274"/>
              <a:gd name="T9" fmla="*/ 2147483646 h 418"/>
              <a:gd name="T10" fmla="*/ 2147483646 w 274"/>
              <a:gd name="T11" fmla="*/ 2147483646 h 418"/>
              <a:gd name="T12" fmla="*/ 2147483646 w 274"/>
              <a:gd name="T13" fmla="*/ 2147483646 h 418"/>
              <a:gd name="T14" fmla="*/ 2147483646 w 274"/>
              <a:gd name="T15" fmla="*/ 2147483646 h 418"/>
              <a:gd name="T16" fmla="*/ 2147483646 w 274"/>
              <a:gd name="T17" fmla="*/ 2147483646 h 418"/>
              <a:gd name="T18" fmla="*/ 2147483646 w 274"/>
              <a:gd name="T19" fmla="*/ 2147483646 h 418"/>
              <a:gd name="T20" fmla="*/ 2147483646 w 274"/>
              <a:gd name="T21" fmla="*/ 2147483646 h 418"/>
              <a:gd name="T22" fmla="*/ 2147483646 w 274"/>
              <a:gd name="T23" fmla="*/ 2147483646 h 418"/>
              <a:gd name="T24" fmla="*/ 2147483646 w 274"/>
              <a:gd name="T25" fmla="*/ 2147483646 h 418"/>
              <a:gd name="T26" fmla="*/ 2147483646 w 274"/>
              <a:gd name="T27" fmla="*/ 2147483646 h 418"/>
              <a:gd name="T28" fmla="*/ 2147483646 w 274"/>
              <a:gd name="T29" fmla="*/ 2147483646 h 418"/>
              <a:gd name="T30" fmla="*/ 2147483646 w 274"/>
              <a:gd name="T31" fmla="*/ 2147483646 h 418"/>
              <a:gd name="T32" fmla="*/ 2147483646 w 274"/>
              <a:gd name="T33" fmla="*/ 2147483646 h 418"/>
              <a:gd name="T34" fmla="*/ 2147483646 w 274"/>
              <a:gd name="T35" fmla="*/ 2147483646 h 418"/>
              <a:gd name="T36" fmla="*/ 2147483646 w 274"/>
              <a:gd name="T37" fmla="*/ 2147483646 h 418"/>
              <a:gd name="T38" fmla="*/ 2147483646 w 274"/>
              <a:gd name="T39" fmla="*/ 2147483646 h 418"/>
              <a:gd name="T40" fmla="*/ 2147483646 w 274"/>
              <a:gd name="T41" fmla="*/ 2147483646 h 418"/>
              <a:gd name="T42" fmla="*/ 2147483646 w 274"/>
              <a:gd name="T43" fmla="*/ 2147483646 h 418"/>
              <a:gd name="T44" fmla="*/ 2147483646 w 274"/>
              <a:gd name="T45" fmla="*/ 2147483646 h 418"/>
              <a:gd name="T46" fmla="*/ 2147483646 w 274"/>
              <a:gd name="T47" fmla="*/ 2147483646 h 418"/>
              <a:gd name="T48" fmla="*/ 2147483646 w 274"/>
              <a:gd name="T49" fmla="*/ 2147483646 h 418"/>
              <a:gd name="T50" fmla="*/ 2147483646 w 274"/>
              <a:gd name="T51" fmla="*/ 2147483646 h 418"/>
              <a:gd name="T52" fmla="*/ 2147483646 w 274"/>
              <a:gd name="T53" fmla="*/ 2147483646 h 418"/>
              <a:gd name="T54" fmla="*/ 2147483646 w 274"/>
              <a:gd name="T55" fmla="*/ 2147483646 h 418"/>
              <a:gd name="T56" fmla="*/ 2147483646 w 274"/>
              <a:gd name="T57" fmla="*/ 2147483646 h 418"/>
              <a:gd name="T58" fmla="*/ 2147483646 w 274"/>
              <a:gd name="T59" fmla="*/ 2147483646 h 418"/>
              <a:gd name="T60" fmla="*/ 2147483646 w 274"/>
              <a:gd name="T61" fmla="*/ 2147483646 h 418"/>
              <a:gd name="T62" fmla="*/ 2147483646 w 274"/>
              <a:gd name="T63" fmla="*/ 2147483646 h 418"/>
              <a:gd name="T64" fmla="*/ 2147483646 w 274"/>
              <a:gd name="T65" fmla="*/ 2147483646 h 41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74"/>
              <a:gd name="T100" fmla="*/ 0 h 418"/>
              <a:gd name="T101" fmla="*/ 274 w 274"/>
              <a:gd name="T102" fmla="*/ 418 h 41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74" h="418">
                <a:moveTo>
                  <a:pt x="18" y="418"/>
                </a:moveTo>
                <a:cubicBezTo>
                  <a:pt x="2" y="398"/>
                  <a:pt x="2" y="398"/>
                  <a:pt x="2" y="398"/>
                </a:cubicBezTo>
                <a:cubicBezTo>
                  <a:pt x="0" y="291"/>
                  <a:pt x="0" y="291"/>
                  <a:pt x="0" y="291"/>
                </a:cubicBezTo>
                <a:cubicBezTo>
                  <a:pt x="5" y="288"/>
                  <a:pt x="24" y="258"/>
                  <a:pt x="24" y="258"/>
                </a:cubicBezTo>
                <a:cubicBezTo>
                  <a:pt x="28" y="247"/>
                  <a:pt x="49" y="246"/>
                  <a:pt x="52" y="241"/>
                </a:cubicBezTo>
                <a:cubicBezTo>
                  <a:pt x="55" y="235"/>
                  <a:pt x="65" y="233"/>
                  <a:pt x="71" y="231"/>
                </a:cubicBezTo>
                <a:cubicBezTo>
                  <a:pt x="76" y="229"/>
                  <a:pt x="105" y="227"/>
                  <a:pt x="105" y="227"/>
                </a:cubicBezTo>
                <a:cubicBezTo>
                  <a:pt x="184" y="134"/>
                  <a:pt x="184" y="134"/>
                  <a:pt x="184" y="134"/>
                </a:cubicBezTo>
                <a:cubicBezTo>
                  <a:pt x="163" y="137"/>
                  <a:pt x="96" y="118"/>
                  <a:pt x="81" y="112"/>
                </a:cubicBezTo>
                <a:cubicBezTo>
                  <a:pt x="65" y="106"/>
                  <a:pt x="45" y="80"/>
                  <a:pt x="40" y="72"/>
                </a:cubicBezTo>
                <a:cubicBezTo>
                  <a:pt x="34" y="65"/>
                  <a:pt x="40" y="54"/>
                  <a:pt x="40" y="54"/>
                </a:cubicBezTo>
                <a:cubicBezTo>
                  <a:pt x="40" y="54"/>
                  <a:pt x="53" y="44"/>
                  <a:pt x="54" y="42"/>
                </a:cubicBezTo>
                <a:cubicBezTo>
                  <a:pt x="54" y="42"/>
                  <a:pt x="70" y="73"/>
                  <a:pt x="84" y="71"/>
                </a:cubicBezTo>
                <a:cubicBezTo>
                  <a:pt x="97" y="70"/>
                  <a:pt x="109" y="63"/>
                  <a:pt x="115" y="59"/>
                </a:cubicBezTo>
                <a:cubicBezTo>
                  <a:pt x="121" y="54"/>
                  <a:pt x="124" y="50"/>
                  <a:pt x="133" y="56"/>
                </a:cubicBezTo>
                <a:cubicBezTo>
                  <a:pt x="142" y="62"/>
                  <a:pt x="148" y="53"/>
                  <a:pt x="151" y="52"/>
                </a:cubicBezTo>
                <a:cubicBezTo>
                  <a:pt x="154" y="51"/>
                  <a:pt x="153" y="46"/>
                  <a:pt x="159" y="43"/>
                </a:cubicBezTo>
                <a:cubicBezTo>
                  <a:pt x="165" y="40"/>
                  <a:pt x="163" y="35"/>
                  <a:pt x="173" y="39"/>
                </a:cubicBezTo>
                <a:cubicBezTo>
                  <a:pt x="184" y="44"/>
                  <a:pt x="185" y="36"/>
                  <a:pt x="193" y="35"/>
                </a:cubicBezTo>
                <a:cubicBezTo>
                  <a:pt x="201" y="33"/>
                  <a:pt x="210" y="28"/>
                  <a:pt x="213" y="32"/>
                </a:cubicBezTo>
                <a:cubicBezTo>
                  <a:pt x="216" y="35"/>
                  <a:pt x="225" y="32"/>
                  <a:pt x="231" y="30"/>
                </a:cubicBezTo>
                <a:cubicBezTo>
                  <a:pt x="237" y="29"/>
                  <a:pt x="240" y="24"/>
                  <a:pt x="243" y="19"/>
                </a:cubicBezTo>
                <a:cubicBezTo>
                  <a:pt x="246" y="15"/>
                  <a:pt x="251" y="12"/>
                  <a:pt x="255" y="16"/>
                </a:cubicBezTo>
                <a:cubicBezTo>
                  <a:pt x="258" y="19"/>
                  <a:pt x="274" y="0"/>
                  <a:pt x="267" y="18"/>
                </a:cubicBezTo>
                <a:cubicBezTo>
                  <a:pt x="259" y="36"/>
                  <a:pt x="263" y="43"/>
                  <a:pt x="263" y="49"/>
                </a:cubicBezTo>
                <a:cubicBezTo>
                  <a:pt x="263" y="55"/>
                  <a:pt x="255" y="55"/>
                  <a:pt x="255" y="67"/>
                </a:cubicBezTo>
                <a:cubicBezTo>
                  <a:pt x="256" y="78"/>
                  <a:pt x="257" y="90"/>
                  <a:pt x="253" y="99"/>
                </a:cubicBezTo>
                <a:cubicBezTo>
                  <a:pt x="249" y="108"/>
                  <a:pt x="242" y="117"/>
                  <a:pt x="235" y="134"/>
                </a:cubicBezTo>
                <a:cubicBezTo>
                  <a:pt x="228" y="151"/>
                  <a:pt x="224" y="169"/>
                  <a:pt x="218" y="187"/>
                </a:cubicBezTo>
                <a:cubicBezTo>
                  <a:pt x="212" y="204"/>
                  <a:pt x="203" y="222"/>
                  <a:pt x="179" y="254"/>
                </a:cubicBezTo>
                <a:cubicBezTo>
                  <a:pt x="154" y="287"/>
                  <a:pt x="138" y="307"/>
                  <a:pt x="118" y="316"/>
                </a:cubicBezTo>
                <a:cubicBezTo>
                  <a:pt x="97" y="324"/>
                  <a:pt x="87" y="334"/>
                  <a:pt x="70" y="355"/>
                </a:cubicBezTo>
                <a:cubicBezTo>
                  <a:pt x="53" y="375"/>
                  <a:pt x="26" y="393"/>
                  <a:pt x="18" y="41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5" name="Freeform 691"/>
          <p:cNvSpPr>
            <a:spLocks/>
          </p:cNvSpPr>
          <p:nvPr userDrawn="1"/>
        </p:nvSpPr>
        <p:spPr bwMode="auto">
          <a:xfrm>
            <a:off x="6031713" y="5252561"/>
            <a:ext cx="311567" cy="259639"/>
          </a:xfrm>
          <a:custGeom>
            <a:avLst/>
            <a:gdLst>
              <a:gd name="T0" fmla="*/ 2147483646 w 333"/>
              <a:gd name="T1" fmla="*/ 2147483646 h 279"/>
              <a:gd name="T2" fmla="*/ 2147483646 w 333"/>
              <a:gd name="T3" fmla="*/ 2147483646 h 279"/>
              <a:gd name="T4" fmla="*/ 2147483646 w 333"/>
              <a:gd name="T5" fmla="*/ 2147483646 h 279"/>
              <a:gd name="T6" fmla="*/ 2147483646 w 333"/>
              <a:gd name="T7" fmla="*/ 2147483646 h 279"/>
              <a:gd name="T8" fmla="*/ 2147483646 w 333"/>
              <a:gd name="T9" fmla="*/ 2147483646 h 279"/>
              <a:gd name="T10" fmla="*/ 2147483646 w 333"/>
              <a:gd name="T11" fmla="*/ 2147483646 h 279"/>
              <a:gd name="T12" fmla="*/ 2147483646 w 333"/>
              <a:gd name="T13" fmla="*/ 2147483646 h 279"/>
              <a:gd name="T14" fmla="*/ 2147483646 w 333"/>
              <a:gd name="T15" fmla="*/ 2147483646 h 279"/>
              <a:gd name="T16" fmla="*/ 2147483646 w 333"/>
              <a:gd name="T17" fmla="*/ 2147483646 h 279"/>
              <a:gd name="T18" fmla="*/ 2147483646 w 333"/>
              <a:gd name="T19" fmla="*/ 2147483646 h 279"/>
              <a:gd name="T20" fmla="*/ 2147483646 w 333"/>
              <a:gd name="T21" fmla="*/ 2147483646 h 279"/>
              <a:gd name="T22" fmla="*/ 2147483646 w 333"/>
              <a:gd name="T23" fmla="*/ 2147483646 h 279"/>
              <a:gd name="T24" fmla="*/ 2147483646 w 333"/>
              <a:gd name="T25" fmla="*/ 2147483646 h 279"/>
              <a:gd name="T26" fmla="*/ 2147483646 w 333"/>
              <a:gd name="T27" fmla="*/ 2147483646 h 279"/>
              <a:gd name="T28" fmla="*/ 2147483646 w 333"/>
              <a:gd name="T29" fmla="*/ 2147483646 h 279"/>
              <a:gd name="T30" fmla="*/ 2147483646 w 333"/>
              <a:gd name="T31" fmla="*/ 2147483646 h 279"/>
              <a:gd name="T32" fmla="*/ 2147483646 w 333"/>
              <a:gd name="T33" fmla="*/ 2147483646 h 279"/>
              <a:gd name="T34" fmla="*/ 2147483646 w 333"/>
              <a:gd name="T35" fmla="*/ 2147483646 h 279"/>
              <a:gd name="T36" fmla="*/ 2147483646 w 333"/>
              <a:gd name="T37" fmla="*/ 2147483646 h 279"/>
              <a:gd name="T38" fmla="*/ 2147483646 w 333"/>
              <a:gd name="T39" fmla="*/ 2147483646 h 279"/>
              <a:gd name="T40" fmla="*/ 2147483646 w 333"/>
              <a:gd name="T41" fmla="*/ 2147483646 h 279"/>
              <a:gd name="T42" fmla="*/ 2147483646 w 333"/>
              <a:gd name="T43" fmla="*/ 2147483646 h 279"/>
              <a:gd name="T44" fmla="*/ 2147483646 w 333"/>
              <a:gd name="T45" fmla="*/ 2147483646 h 279"/>
              <a:gd name="T46" fmla="*/ 2147483646 w 333"/>
              <a:gd name="T47" fmla="*/ 2147483646 h 279"/>
              <a:gd name="T48" fmla="*/ 2147483646 w 333"/>
              <a:gd name="T49" fmla="*/ 2147483646 h 279"/>
              <a:gd name="T50" fmla="*/ 2147483646 w 333"/>
              <a:gd name="T51" fmla="*/ 2147483646 h 279"/>
              <a:gd name="T52" fmla="*/ 2147483646 w 333"/>
              <a:gd name="T53" fmla="*/ 2147483646 h 279"/>
              <a:gd name="T54" fmla="*/ 2147483646 w 333"/>
              <a:gd name="T55" fmla="*/ 2147483646 h 279"/>
              <a:gd name="T56" fmla="*/ 2147483646 w 333"/>
              <a:gd name="T57" fmla="*/ 2147483646 h 279"/>
              <a:gd name="T58" fmla="*/ 2147483646 w 333"/>
              <a:gd name="T59" fmla="*/ 2147483646 h 279"/>
              <a:gd name="T60" fmla="*/ 2147483646 w 333"/>
              <a:gd name="T61" fmla="*/ 2147483646 h 279"/>
              <a:gd name="T62" fmla="*/ 2147483646 w 333"/>
              <a:gd name="T63" fmla="*/ 2147483646 h 279"/>
              <a:gd name="T64" fmla="*/ 2147483646 w 333"/>
              <a:gd name="T65" fmla="*/ 2147483646 h 279"/>
              <a:gd name="T66" fmla="*/ 2147483646 w 333"/>
              <a:gd name="T67" fmla="*/ 2147483646 h 279"/>
              <a:gd name="T68" fmla="*/ 2147483646 w 333"/>
              <a:gd name="T69" fmla="*/ 2147483646 h 27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33"/>
              <a:gd name="T106" fmla="*/ 0 h 279"/>
              <a:gd name="T107" fmla="*/ 333 w 333"/>
              <a:gd name="T108" fmla="*/ 279 h 27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33" h="279">
                <a:moveTo>
                  <a:pt x="37" y="264"/>
                </a:moveTo>
                <a:cubicBezTo>
                  <a:pt x="37" y="264"/>
                  <a:pt x="14" y="242"/>
                  <a:pt x="7" y="234"/>
                </a:cubicBezTo>
                <a:cubicBezTo>
                  <a:pt x="0" y="227"/>
                  <a:pt x="1" y="222"/>
                  <a:pt x="1" y="222"/>
                </a:cubicBezTo>
                <a:cubicBezTo>
                  <a:pt x="1" y="135"/>
                  <a:pt x="1" y="135"/>
                  <a:pt x="1" y="135"/>
                </a:cubicBezTo>
                <a:cubicBezTo>
                  <a:pt x="55" y="133"/>
                  <a:pt x="55" y="133"/>
                  <a:pt x="55" y="133"/>
                </a:cubicBezTo>
                <a:cubicBezTo>
                  <a:pt x="54" y="80"/>
                  <a:pt x="54" y="80"/>
                  <a:pt x="54" y="80"/>
                </a:cubicBezTo>
                <a:cubicBezTo>
                  <a:pt x="54" y="80"/>
                  <a:pt x="65" y="79"/>
                  <a:pt x="68" y="82"/>
                </a:cubicBezTo>
                <a:cubicBezTo>
                  <a:pt x="71" y="86"/>
                  <a:pt x="74" y="86"/>
                  <a:pt x="77" y="87"/>
                </a:cubicBezTo>
                <a:cubicBezTo>
                  <a:pt x="80" y="88"/>
                  <a:pt x="83" y="88"/>
                  <a:pt x="83" y="88"/>
                </a:cubicBezTo>
                <a:cubicBezTo>
                  <a:pt x="83" y="88"/>
                  <a:pt x="91" y="85"/>
                  <a:pt x="94" y="82"/>
                </a:cubicBezTo>
                <a:cubicBezTo>
                  <a:pt x="97" y="80"/>
                  <a:pt x="97" y="90"/>
                  <a:pt x="98" y="93"/>
                </a:cubicBezTo>
                <a:cubicBezTo>
                  <a:pt x="99" y="96"/>
                  <a:pt x="100" y="97"/>
                  <a:pt x="104" y="99"/>
                </a:cubicBezTo>
                <a:cubicBezTo>
                  <a:pt x="108" y="100"/>
                  <a:pt x="112" y="99"/>
                  <a:pt x="118" y="95"/>
                </a:cubicBezTo>
                <a:cubicBezTo>
                  <a:pt x="124" y="90"/>
                  <a:pt x="126" y="104"/>
                  <a:pt x="132" y="101"/>
                </a:cubicBezTo>
                <a:cubicBezTo>
                  <a:pt x="139" y="98"/>
                  <a:pt x="140" y="103"/>
                  <a:pt x="140" y="97"/>
                </a:cubicBezTo>
                <a:cubicBezTo>
                  <a:pt x="140" y="91"/>
                  <a:pt x="144" y="89"/>
                  <a:pt x="147" y="89"/>
                </a:cubicBezTo>
                <a:cubicBezTo>
                  <a:pt x="150" y="89"/>
                  <a:pt x="151" y="96"/>
                  <a:pt x="152" y="103"/>
                </a:cubicBezTo>
                <a:cubicBezTo>
                  <a:pt x="152" y="110"/>
                  <a:pt x="157" y="112"/>
                  <a:pt x="160" y="112"/>
                </a:cubicBezTo>
                <a:cubicBezTo>
                  <a:pt x="163" y="112"/>
                  <a:pt x="168" y="111"/>
                  <a:pt x="168" y="111"/>
                </a:cubicBezTo>
                <a:cubicBezTo>
                  <a:pt x="168" y="111"/>
                  <a:pt x="174" y="118"/>
                  <a:pt x="177" y="118"/>
                </a:cubicBezTo>
                <a:cubicBezTo>
                  <a:pt x="180" y="118"/>
                  <a:pt x="182" y="123"/>
                  <a:pt x="184" y="123"/>
                </a:cubicBezTo>
                <a:cubicBezTo>
                  <a:pt x="187" y="123"/>
                  <a:pt x="186" y="131"/>
                  <a:pt x="187" y="135"/>
                </a:cubicBezTo>
                <a:cubicBezTo>
                  <a:pt x="189" y="140"/>
                  <a:pt x="193" y="137"/>
                  <a:pt x="196" y="134"/>
                </a:cubicBezTo>
                <a:cubicBezTo>
                  <a:pt x="200" y="131"/>
                  <a:pt x="203" y="142"/>
                  <a:pt x="206" y="144"/>
                </a:cubicBezTo>
                <a:cubicBezTo>
                  <a:pt x="209" y="146"/>
                  <a:pt x="215" y="142"/>
                  <a:pt x="220" y="139"/>
                </a:cubicBezTo>
                <a:cubicBezTo>
                  <a:pt x="224" y="135"/>
                  <a:pt x="221" y="133"/>
                  <a:pt x="221" y="128"/>
                </a:cubicBezTo>
                <a:cubicBezTo>
                  <a:pt x="221" y="123"/>
                  <a:pt x="218" y="116"/>
                  <a:pt x="218" y="116"/>
                </a:cubicBezTo>
                <a:cubicBezTo>
                  <a:pt x="209" y="114"/>
                  <a:pt x="209" y="114"/>
                  <a:pt x="209" y="114"/>
                </a:cubicBezTo>
                <a:cubicBezTo>
                  <a:pt x="209" y="114"/>
                  <a:pt x="206" y="117"/>
                  <a:pt x="203" y="112"/>
                </a:cubicBezTo>
                <a:cubicBezTo>
                  <a:pt x="200" y="108"/>
                  <a:pt x="193" y="108"/>
                  <a:pt x="190" y="102"/>
                </a:cubicBezTo>
                <a:cubicBezTo>
                  <a:pt x="187" y="96"/>
                  <a:pt x="180" y="97"/>
                  <a:pt x="181" y="91"/>
                </a:cubicBezTo>
                <a:cubicBezTo>
                  <a:pt x="182" y="85"/>
                  <a:pt x="181" y="91"/>
                  <a:pt x="182" y="87"/>
                </a:cubicBezTo>
                <a:cubicBezTo>
                  <a:pt x="184" y="82"/>
                  <a:pt x="187" y="79"/>
                  <a:pt x="190" y="73"/>
                </a:cubicBezTo>
                <a:cubicBezTo>
                  <a:pt x="193" y="67"/>
                  <a:pt x="187" y="64"/>
                  <a:pt x="187" y="57"/>
                </a:cubicBezTo>
                <a:cubicBezTo>
                  <a:pt x="186" y="49"/>
                  <a:pt x="190" y="47"/>
                  <a:pt x="188" y="41"/>
                </a:cubicBezTo>
                <a:cubicBezTo>
                  <a:pt x="187" y="35"/>
                  <a:pt x="184" y="28"/>
                  <a:pt x="184" y="28"/>
                </a:cubicBezTo>
                <a:cubicBezTo>
                  <a:pt x="188" y="28"/>
                  <a:pt x="198" y="19"/>
                  <a:pt x="198" y="19"/>
                </a:cubicBezTo>
                <a:cubicBezTo>
                  <a:pt x="198" y="19"/>
                  <a:pt x="196" y="8"/>
                  <a:pt x="199" y="4"/>
                </a:cubicBezTo>
                <a:cubicBezTo>
                  <a:pt x="202" y="0"/>
                  <a:pt x="249" y="1"/>
                  <a:pt x="249" y="1"/>
                </a:cubicBezTo>
                <a:cubicBezTo>
                  <a:pt x="249" y="1"/>
                  <a:pt x="261" y="11"/>
                  <a:pt x="269" y="11"/>
                </a:cubicBezTo>
                <a:cubicBezTo>
                  <a:pt x="276" y="12"/>
                  <a:pt x="281" y="8"/>
                  <a:pt x="285" y="17"/>
                </a:cubicBezTo>
                <a:cubicBezTo>
                  <a:pt x="288" y="26"/>
                  <a:pt x="295" y="25"/>
                  <a:pt x="301" y="29"/>
                </a:cubicBezTo>
                <a:cubicBezTo>
                  <a:pt x="307" y="33"/>
                  <a:pt x="316" y="35"/>
                  <a:pt x="320" y="36"/>
                </a:cubicBezTo>
                <a:cubicBezTo>
                  <a:pt x="320" y="36"/>
                  <a:pt x="319" y="48"/>
                  <a:pt x="321" y="52"/>
                </a:cubicBezTo>
                <a:cubicBezTo>
                  <a:pt x="323" y="57"/>
                  <a:pt x="333" y="67"/>
                  <a:pt x="326" y="71"/>
                </a:cubicBezTo>
                <a:cubicBezTo>
                  <a:pt x="319" y="75"/>
                  <a:pt x="311" y="79"/>
                  <a:pt x="313" y="84"/>
                </a:cubicBezTo>
                <a:cubicBezTo>
                  <a:pt x="316" y="88"/>
                  <a:pt x="320" y="90"/>
                  <a:pt x="320" y="95"/>
                </a:cubicBezTo>
                <a:cubicBezTo>
                  <a:pt x="320" y="99"/>
                  <a:pt x="310" y="99"/>
                  <a:pt x="313" y="103"/>
                </a:cubicBezTo>
                <a:cubicBezTo>
                  <a:pt x="316" y="107"/>
                  <a:pt x="322" y="108"/>
                  <a:pt x="322" y="111"/>
                </a:cubicBezTo>
                <a:cubicBezTo>
                  <a:pt x="322" y="114"/>
                  <a:pt x="313" y="117"/>
                  <a:pt x="313" y="120"/>
                </a:cubicBezTo>
                <a:cubicBezTo>
                  <a:pt x="312" y="123"/>
                  <a:pt x="313" y="119"/>
                  <a:pt x="310" y="124"/>
                </a:cubicBezTo>
                <a:cubicBezTo>
                  <a:pt x="307" y="129"/>
                  <a:pt x="301" y="124"/>
                  <a:pt x="301" y="131"/>
                </a:cubicBezTo>
                <a:cubicBezTo>
                  <a:pt x="301" y="138"/>
                  <a:pt x="306" y="138"/>
                  <a:pt x="303" y="142"/>
                </a:cubicBezTo>
                <a:cubicBezTo>
                  <a:pt x="301" y="147"/>
                  <a:pt x="294" y="146"/>
                  <a:pt x="298" y="151"/>
                </a:cubicBezTo>
                <a:cubicBezTo>
                  <a:pt x="302" y="156"/>
                  <a:pt x="308" y="157"/>
                  <a:pt x="307" y="162"/>
                </a:cubicBezTo>
                <a:cubicBezTo>
                  <a:pt x="306" y="167"/>
                  <a:pt x="240" y="183"/>
                  <a:pt x="232" y="189"/>
                </a:cubicBezTo>
                <a:cubicBezTo>
                  <a:pt x="224" y="196"/>
                  <a:pt x="228" y="196"/>
                  <a:pt x="229" y="200"/>
                </a:cubicBezTo>
                <a:cubicBezTo>
                  <a:pt x="231" y="203"/>
                  <a:pt x="230" y="213"/>
                  <a:pt x="230" y="213"/>
                </a:cubicBezTo>
                <a:cubicBezTo>
                  <a:pt x="230" y="213"/>
                  <a:pt x="208" y="206"/>
                  <a:pt x="201" y="212"/>
                </a:cubicBezTo>
                <a:cubicBezTo>
                  <a:pt x="193" y="218"/>
                  <a:pt x="186" y="219"/>
                  <a:pt x="188" y="228"/>
                </a:cubicBezTo>
                <a:cubicBezTo>
                  <a:pt x="190" y="237"/>
                  <a:pt x="180" y="238"/>
                  <a:pt x="176" y="238"/>
                </a:cubicBezTo>
                <a:cubicBezTo>
                  <a:pt x="172" y="238"/>
                  <a:pt x="154" y="242"/>
                  <a:pt x="153" y="251"/>
                </a:cubicBezTo>
                <a:cubicBezTo>
                  <a:pt x="152" y="260"/>
                  <a:pt x="152" y="260"/>
                  <a:pt x="145" y="267"/>
                </a:cubicBezTo>
                <a:cubicBezTo>
                  <a:pt x="138" y="274"/>
                  <a:pt x="132" y="279"/>
                  <a:pt x="129" y="275"/>
                </a:cubicBezTo>
                <a:cubicBezTo>
                  <a:pt x="126" y="270"/>
                  <a:pt x="122" y="264"/>
                  <a:pt x="120" y="270"/>
                </a:cubicBezTo>
                <a:cubicBezTo>
                  <a:pt x="118" y="275"/>
                  <a:pt x="113" y="273"/>
                  <a:pt x="113" y="273"/>
                </a:cubicBezTo>
                <a:cubicBezTo>
                  <a:pt x="113" y="273"/>
                  <a:pt x="109" y="267"/>
                  <a:pt x="108" y="270"/>
                </a:cubicBezTo>
                <a:cubicBezTo>
                  <a:pt x="107" y="274"/>
                  <a:pt x="101" y="270"/>
                  <a:pt x="101" y="270"/>
                </a:cubicBezTo>
                <a:cubicBezTo>
                  <a:pt x="101" y="270"/>
                  <a:pt x="92" y="267"/>
                  <a:pt x="90" y="268"/>
                </a:cubicBezTo>
                <a:cubicBezTo>
                  <a:pt x="90" y="268"/>
                  <a:pt x="89" y="261"/>
                  <a:pt x="79" y="260"/>
                </a:cubicBezTo>
                <a:cubicBezTo>
                  <a:pt x="68" y="259"/>
                  <a:pt x="40" y="259"/>
                  <a:pt x="37" y="26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6" name="Freeform 692"/>
          <p:cNvSpPr>
            <a:spLocks/>
          </p:cNvSpPr>
          <p:nvPr userDrawn="1"/>
        </p:nvSpPr>
        <p:spPr bwMode="auto">
          <a:xfrm>
            <a:off x="6306427" y="5284387"/>
            <a:ext cx="83755" cy="206037"/>
          </a:xfrm>
          <a:custGeom>
            <a:avLst/>
            <a:gdLst>
              <a:gd name="T0" fmla="*/ 2147483646 w 90"/>
              <a:gd name="T1" fmla="*/ 2147483646 h 220"/>
              <a:gd name="T2" fmla="*/ 2147483646 w 90"/>
              <a:gd name="T3" fmla="*/ 2147483646 h 220"/>
              <a:gd name="T4" fmla="*/ 2147483646 w 90"/>
              <a:gd name="T5" fmla="*/ 2147483646 h 220"/>
              <a:gd name="T6" fmla="*/ 2147483646 w 90"/>
              <a:gd name="T7" fmla="*/ 2147483646 h 220"/>
              <a:gd name="T8" fmla="*/ 2147483646 w 90"/>
              <a:gd name="T9" fmla="*/ 2147483646 h 220"/>
              <a:gd name="T10" fmla="*/ 2147483646 w 90"/>
              <a:gd name="T11" fmla="*/ 2147483646 h 220"/>
              <a:gd name="T12" fmla="*/ 2147483646 w 90"/>
              <a:gd name="T13" fmla="*/ 2147483646 h 220"/>
              <a:gd name="T14" fmla="*/ 2147483646 w 90"/>
              <a:gd name="T15" fmla="*/ 2147483646 h 220"/>
              <a:gd name="T16" fmla="*/ 2147483646 w 90"/>
              <a:gd name="T17" fmla="*/ 2147483646 h 220"/>
              <a:gd name="T18" fmla="*/ 2147483646 w 90"/>
              <a:gd name="T19" fmla="*/ 2147483646 h 220"/>
              <a:gd name="T20" fmla="*/ 2147483646 w 90"/>
              <a:gd name="T21" fmla="*/ 2147483646 h 220"/>
              <a:gd name="T22" fmla="*/ 2147483646 w 90"/>
              <a:gd name="T23" fmla="*/ 2147483646 h 220"/>
              <a:gd name="T24" fmla="*/ 2147483646 w 90"/>
              <a:gd name="T25" fmla="*/ 2147483646 h 220"/>
              <a:gd name="T26" fmla="*/ 2147483646 w 90"/>
              <a:gd name="T27" fmla="*/ 2147483646 h 220"/>
              <a:gd name="T28" fmla="*/ 2147483646 w 90"/>
              <a:gd name="T29" fmla="*/ 2147483646 h 220"/>
              <a:gd name="T30" fmla="*/ 2147483646 w 90"/>
              <a:gd name="T31" fmla="*/ 2147483646 h 220"/>
              <a:gd name="T32" fmla="*/ 2147483646 w 90"/>
              <a:gd name="T33" fmla="*/ 2147483646 h 220"/>
              <a:gd name="T34" fmla="*/ 2147483646 w 90"/>
              <a:gd name="T35" fmla="*/ 2147483646 h 220"/>
              <a:gd name="T36" fmla="*/ 2147483646 w 90"/>
              <a:gd name="T37" fmla="*/ 2147483646 h 220"/>
              <a:gd name="T38" fmla="*/ 2147483646 w 90"/>
              <a:gd name="T39" fmla="*/ 2147483646 h 220"/>
              <a:gd name="T40" fmla="*/ 2147483646 w 90"/>
              <a:gd name="T41" fmla="*/ 2147483646 h 220"/>
              <a:gd name="T42" fmla="*/ 2147483646 w 90"/>
              <a:gd name="T43" fmla="*/ 2147483646 h 220"/>
              <a:gd name="T44" fmla="*/ 2147483646 w 90"/>
              <a:gd name="T45" fmla="*/ 2147483646 h 220"/>
              <a:gd name="T46" fmla="*/ 2147483646 w 90"/>
              <a:gd name="T47" fmla="*/ 2147483646 h 220"/>
              <a:gd name="T48" fmla="*/ 2147483646 w 90"/>
              <a:gd name="T49" fmla="*/ 2147483646 h 220"/>
              <a:gd name="T50" fmla="*/ 2147483646 w 90"/>
              <a:gd name="T51" fmla="*/ 2147483646 h 220"/>
              <a:gd name="T52" fmla="*/ 2147483646 w 90"/>
              <a:gd name="T53" fmla="*/ 2147483646 h 220"/>
              <a:gd name="T54" fmla="*/ 2147483646 w 90"/>
              <a:gd name="T55" fmla="*/ 2147483646 h 220"/>
              <a:gd name="T56" fmla="*/ 2147483646 w 90"/>
              <a:gd name="T57" fmla="*/ 2147483646 h 220"/>
              <a:gd name="T58" fmla="*/ 2147483646 w 90"/>
              <a:gd name="T59" fmla="*/ 2147483646 h 220"/>
              <a:gd name="T60" fmla="*/ 2147483646 w 90"/>
              <a:gd name="T61" fmla="*/ 2147483646 h 220"/>
              <a:gd name="T62" fmla="*/ 2147483646 w 90"/>
              <a:gd name="T63" fmla="*/ 2147483646 h 220"/>
              <a:gd name="T64" fmla="*/ 2147483646 w 90"/>
              <a:gd name="T65" fmla="*/ 2147483646 h 220"/>
              <a:gd name="T66" fmla="*/ 2147483646 w 90"/>
              <a:gd name="T67" fmla="*/ 2147483646 h 220"/>
              <a:gd name="T68" fmla="*/ 2147483646 w 90"/>
              <a:gd name="T69" fmla="*/ 2147483646 h 220"/>
              <a:gd name="T70" fmla="*/ 2147483646 w 90"/>
              <a:gd name="T71" fmla="*/ 2147483646 h 220"/>
              <a:gd name="T72" fmla="*/ 2147483646 w 90"/>
              <a:gd name="T73" fmla="*/ 2147483646 h 220"/>
              <a:gd name="T74" fmla="*/ 2147483646 w 90"/>
              <a:gd name="T75" fmla="*/ 2147483646 h 22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90"/>
              <a:gd name="T115" fmla="*/ 0 h 220"/>
              <a:gd name="T116" fmla="*/ 90 w 90"/>
              <a:gd name="T117" fmla="*/ 220 h 22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90" h="220">
                <a:moveTo>
                  <a:pt x="43" y="1"/>
                </a:moveTo>
                <a:cubicBezTo>
                  <a:pt x="41" y="0"/>
                  <a:pt x="30" y="3"/>
                  <a:pt x="26" y="1"/>
                </a:cubicBezTo>
                <a:cubicBezTo>
                  <a:pt x="26" y="1"/>
                  <a:pt x="25" y="13"/>
                  <a:pt x="27" y="17"/>
                </a:cubicBezTo>
                <a:cubicBezTo>
                  <a:pt x="29" y="22"/>
                  <a:pt x="39" y="32"/>
                  <a:pt x="32" y="36"/>
                </a:cubicBezTo>
                <a:cubicBezTo>
                  <a:pt x="25" y="40"/>
                  <a:pt x="17" y="44"/>
                  <a:pt x="19" y="49"/>
                </a:cubicBezTo>
                <a:cubicBezTo>
                  <a:pt x="22" y="53"/>
                  <a:pt x="26" y="55"/>
                  <a:pt x="26" y="60"/>
                </a:cubicBezTo>
                <a:cubicBezTo>
                  <a:pt x="26" y="64"/>
                  <a:pt x="16" y="64"/>
                  <a:pt x="19" y="68"/>
                </a:cubicBezTo>
                <a:cubicBezTo>
                  <a:pt x="22" y="72"/>
                  <a:pt x="28" y="73"/>
                  <a:pt x="28" y="76"/>
                </a:cubicBezTo>
                <a:cubicBezTo>
                  <a:pt x="28" y="79"/>
                  <a:pt x="19" y="82"/>
                  <a:pt x="19" y="85"/>
                </a:cubicBezTo>
                <a:cubicBezTo>
                  <a:pt x="18" y="88"/>
                  <a:pt x="19" y="84"/>
                  <a:pt x="16" y="89"/>
                </a:cubicBezTo>
                <a:cubicBezTo>
                  <a:pt x="13" y="94"/>
                  <a:pt x="7" y="89"/>
                  <a:pt x="7" y="96"/>
                </a:cubicBezTo>
                <a:cubicBezTo>
                  <a:pt x="7" y="103"/>
                  <a:pt x="12" y="103"/>
                  <a:pt x="9" y="107"/>
                </a:cubicBezTo>
                <a:cubicBezTo>
                  <a:pt x="7" y="112"/>
                  <a:pt x="0" y="111"/>
                  <a:pt x="4" y="116"/>
                </a:cubicBezTo>
                <a:cubicBezTo>
                  <a:pt x="8" y="121"/>
                  <a:pt x="14" y="122"/>
                  <a:pt x="13" y="127"/>
                </a:cubicBezTo>
                <a:cubicBezTo>
                  <a:pt x="13" y="127"/>
                  <a:pt x="18" y="128"/>
                  <a:pt x="20" y="132"/>
                </a:cubicBezTo>
                <a:cubicBezTo>
                  <a:pt x="22" y="136"/>
                  <a:pt x="24" y="143"/>
                  <a:pt x="32" y="143"/>
                </a:cubicBezTo>
                <a:cubicBezTo>
                  <a:pt x="40" y="142"/>
                  <a:pt x="47" y="141"/>
                  <a:pt x="49" y="143"/>
                </a:cubicBezTo>
                <a:cubicBezTo>
                  <a:pt x="51" y="146"/>
                  <a:pt x="60" y="152"/>
                  <a:pt x="52" y="165"/>
                </a:cubicBezTo>
                <a:cubicBezTo>
                  <a:pt x="44" y="177"/>
                  <a:pt x="38" y="177"/>
                  <a:pt x="48" y="190"/>
                </a:cubicBezTo>
                <a:cubicBezTo>
                  <a:pt x="58" y="203"/>
                  <a:pt x="57" y="197"/>
                  <a:pt x="60" y="205"/>
                </a:cubicBezTo>
                <a:cubicBezTo>
                  <a:pt x="63" y="213"/>
                  <a:pt x="70" y="220"/>
                  <a:pt x="70" y="220"/>
                </a:cubicBezTo>
                <a:cubicBezTo>
                  <a:pt x="70" y="220"/>
                  <a:pt x="72" y="211"/>
                  <a:pt x="69" y="206"/>
                </a:cubicBezTo>
                <a:cubicBezTo>
                  <a:pt x="66" y="200"/>
                  <a:pt x="65" y="198"/>
                  <a:pt x="70" y="195"/>
                </a:cubicBezTo>
                <a:cubicBezTo>
                  <a:pt x="74" y="191"/>
                  <a:pt x="86" y="189"/>
                  <a:pt x="87" y="183"/>
                </a:cubicBezTo>
                <a:cubicBezTo>
                  <a:pt x="88" y="177"/>
                  <a:pt x="90" y="151"/>
                  <a:pt x="81" y="138"/>
                </a:cubicBezTo>
                <a:cubicBezTo>
                  <a:pt x="72" y="124"/>
                  <a:pt x="70" y="122"/>
                  <a:pt x="70" y="122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3" y="142"/>
                  <a:pt x="65" y="129"/>
                  <a:pt x="64" y="132"/>
                </a:cubicBezTo>
                <a:cubicBezTo>
                  <a:pt x="62" y="134"/>
                  <a:pt x="51" y="138"/>
                  <a:pt x="53" y="130"/>
                </a:cubicBezTo>
                <a:cubicBezTo>
                  <a:pt x="55" y="123"/>
                  <a:pt x="55" y="118"/>
                  <a:pt x="52" y="115"/>
                </a:cubicBezTo>
                <a:cubicBezTo>
                  <a:pt x="48" y="112"/>
                  <a:pt x="47" y="109"/>
                  <a:pt x="47" y="105"/>
                </a:cubicBezTo>
                <a:cubicBezTo>
                  <a:pt x="47" y="101"/>
                  <a:pt x="46" y="106"/>
                  <a:pt x="45" y="94"/>
                </a:cubicBezTo>
                <a:cubicBezTo>
                  <a:pt x="44" y="81"/>
                  <a:pt x="40" y="76"/>
                  <a:pt x="41" y="73"/>
                </a:cubicBezTo>
                <a:cubicBezTo>
                  <a:pt x="41" y="70"/>
                  <a:pt x="44" y="62"/>
                  <a:pt x="47" y="64"/>
                </a:cubicBezTo>
                <a:cubicBezTo>
                  <a:pt x="49" y="65"/>
                  <a:pt x="52" y="61"/>
                  <a:pt x="52" y="59"/>
                </a:cubicBezTo>
                <a:cubicBezTo>
                  <a:pt x="51" y="57"/>
                  <a:pt x="52" y="42"/>
                  <a:pt x="51" y="38"/>
                </a:cubicBezTo>
                <a:cubicBezTo>
                  <a:pt x="50" y="33"/>
                  <a:pt x="45" y="26"/>
                  <a:pt x="43" y="17"/>
                </a:cubicBezTo>
                <a:cubicBezTo>
                  <a:pt x="41" y="9"/>
                  <a:pt x="43" y="1"/>
                  <a:pt x="4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7" name="Freeform 693"/>
          <p:cNvSpPr>
            <a:spLocks/>
          </p:cNvSpPr>
          <p:nvPr userDrawn="1"/>
        </p:nvSpPr>
        <p:spPr bwMode="auto">
          <a:xfrm>
            <a:off x="6241098" y="5312865"/>
            <a:ext cx="276391" cy="425473"/>
          </a:xfrm>
          <a:custGeom>
            <a:avLst/>
            <a:gdLst>
              <a:gd name="T0" fmla="*/ 2147483646 w 297"/>
              <a:gd name="T1" fmla="*/ 2147483646 h 457"/>
              <a:gd name="T2" fmla="*/ 2147483646 w 297"/>
              <a:gd name="T3" fmla="*/ 2147483646 h 457"/>
              <a:gd name="T4" fmla="*/ 2147483646 w 297"/>
              <a:gd name="T5" fmla="*/ 2147483646 h 457"/>
              <a:gd name="T6" fmla="*/ 2147483646 w 297"/>
              <a:gd name="T7" fmla="*/ 2147483646 h 457"/>
              <a:gd name="T8" fmla="*/ 2147483646 w 297"/>
              <a:gd name="T9" fmla="*/ 2147483646 h 457"/>
              <a:gd name="T10" fmla="*/ 2147483646 w 297"/>
              <a:gd name="T11" fmla="*/ 2147483646 h 457"/>
              <a:gd name="T12" fmla="*/ 2147483646 w 297"/>
              <a:gd name="T13" fmla="*/ 2147483646 h 457"/>
              <a:gd name="T14" fmla="*/ 2147483646 w 297"/>
              <a:gd name="T15" fmla="*/ 2147483646 h 457"/>
              <a:gd name="T16" fmla="*/ 2147483646 w 297"/>
              <a:gd name="T17" fmla="*/ 2147483646 h 457"/>
              <a:gd name="T18" fmla="*/ 2147483646 w 297"/>
              <a:gd name="T19" fmla="*/ 2147483646 h 457"/>
              <a:gd name="T20" fmla="*/ 2147483646 w 297"/>
              <a:gd name="T21" fmla="*/ 2147483646 h 457"/>
              <a:gd name="T22" fmla="*/ 2147483646 w 297"/>
              <a:gd name="T23" fmla="*/ 2147483646 h 457"/>
              <a:gd name="T24" fmla="*/ 2147483646 w 297"/>
              <a:gd name="T25" fmla="*/ 2147483646 h 457"/>
              <a:gd name="T26" fmla="*/ 2147483646 w 297"/>
              <a:gd name="T27" fmla="*/ 2147483646 h 457"/>
              <a:gd name="T28" fmla="*/ 2147483646 w 297"/>
              <a:gd name="T29" fmla="*/ 2147483646 h 457"/>
              <a:gd name="T30" fmla="*/ 2147483646 w 297"/>
              <a:gd name="T31" fmla="*/ 2147483646 h 457"/>
              <a:gd name="T32" fmla="*/ 2147483646 w 297"/>
              <a:gd name="T33" fmla="*/ 2147483646 h 457"/>
              <a:gd name="T34" fmla="*/ 2147483646 w 297"/>
              <a:gd name="T35" fmla="*/ 2147483646 h 457"/>
              <a:gd name="T36" fmla="*/ 2147483646 w 297"/>
              <a:gd name="T37" fmla="*/ 2147483646 h 457"/>
              <a:gd name="T38" fmla="*/ 2147483646 w 297"/>
              <a:gd name="T39" fmla="*/ 2147483646 h 457"/>
              <a:gd name="T40" fmla="*/ 2147483646 w 297"/>
              <a:gd name="T41" fmla="*/ 2147483646 h 457"/>
              <a:gd name="T42" fmla="*/ 2147483646 w 297"/>
              <a:gd name="T43" fmla="*/ 2147483646 h 457"/>
              <a:gd name="T44" fmla="*/ 2147483646 w 297"/>
              <a:gd name="T45" fmla="*/ 2147483646 h 457"/>
              <a:gd name="T46" fmla="*/ 2147483646 w 297"/>
              <a:gd name="T47" fmla="*/ 2147483646 h 457"/>
              <a:gd name="T48" fmla="*/ 2147483646 w 297"/>
              <a:gd name="T49" fmla="*/ 2147483646 h 457"/>
              <a:gd name="T50" fmla="*/ 2147483646 w 297"/>
              <a:gd name="T51" fmla="*/ 2147483646 h 457"/>
              <a:gd name="T52" fmla="*/ 2147483646 w 297"/>
              <a:gd name="T53" fmla="*/ 2147483646 h 457"/>
              <a:gd name="T54" fmla="*/ 2147483646 w 297"/>
              <a:gd name="T55" fmla="*/ 2147483646 h 457"/>
              <a:gd name="T56" fmla="*/ 2147483646 w 297"/>
              <a:gd name="T57" fmla="*/ 2147483646 h 457"/>
              <a:gd name="T58" fmla="*/ 2147483646 w 297"/>
              <a:gd name="T59" fmla="*/ 2147483646 h 457"/>
              <a:gd name="T60" fmla="*/ 2147483646 w 297"/>
              <a:gd name="T61" fmla="*/ 2147483646 h 457"/>
              <a:gd name="T62" fmla="*/ 2147483646 w 297"/>
              <a:gd name="T63" fmla="*/ 2147483646 h 457"/>
              <a:gd name="T64" fmla="*/ 2147483646 w 297"/>
              <a:gd name="T65" fmla="*/ 2147483646 h 457"/>
              <a:gd name="T66" fmla="*/ 2147483646 w 297"/>
              <a:gd name="T67" fmla="*/ 2147483646 h 457"/>
              <a:gd name="T68" fmla="*/ 2147483646 w 297"/>
              <a:gd name="T69" fmla="*/ 2147483646 h 457"/>
              <a:gd name="T70" fmla="*/ 2147483646 w 297"/>
              <a:gd name="T71" fmla="*/ 2147483646 h 457"/>
              <a:gd name="T72" fmla="*/ 2147483646 w 297"/>
              <a:gd name="T73" fmla="*/ 2147483646 h 457"/>
              <a:gd name="T74" fmla="*/ 2147483646 w 297"/>
              <a:gd name="T75" fmla="*/ 2147483646 h 457"/>
              <a:gd name="T76" fmla="*/ 2147483646 w 297"/>
              <a:gd name="T77" fmla="*/ 2147483646 h 457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97"/>
              <a:gd name="T118" fmla="*/ 0 h 457"/>
              <a:gd name="T119" fmla="*/ 297 w 297"/>
              <a:gd name="T120" fmla="*/ 457 h 457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97" h="457">
                <a:moveTo>
                  <a:pt x="6" y="149"/>
                </a:moveTo>
                <a:cubicBezTo>
                  <a:pt x="6" y="149"/>
                  <a:pt x="7" y="139"/>
                  <a:pt x="5" y="136"/>
                </a:cubicBezTo>
                <a:cubicBezTo>
                  <a:pt x="4" y="132"/>
                  <a:pt x="0" y="132"/>
                  <a:pt x="8" y="125"/>
                </a:cubicBezTo>
                <a:cubicBezTo>
                  <a:pt x="16" y="119"/>
                  <a:pt x="82" y="103"/>
                  <a:pt x="83" y="98"/>
                </a:cubicBezTo>
                <a:cubicBezTo>
                  <a:pt x="83" y="98"/>
                  <a:pt x="88" y="99"/>
                  <a:pt x="90" y="103"/>
                </a:cubicBezTo>
                <a:cubicBezTo>
                  <a:pt x="92" y="107"/>
                  <a:pt x="94" y="114"/>
                  <a:pt x="102" y="114"/>
                </a:cubicBezTo>
                <a:cubicBezTo>
                  <a:pt x="110" y="113"/>
                  <a:pt x="117" y="112"/>
                  <a:pt x="119" y="114"/>
                </a:cubicBezTo>
                <a:cubicBezTo>
                  <a:pt x="121" y="117"/>
                  <a:pt x="130" y="123"/>
                  <a:pt x="122" y="136"/>
                </a:cubicBezTo>
                <a:cubicBezTo>
                  <a:pt x="114" y="148"/>
                  <a:pt x="108" y="148"/>
                  <a:pt x="118" y="161"/>
                </a:cubicBezTo>
                <a:cubicBezTo>
                  <a:pt x="128" y="174"/>
                  <a:pt x="127" y="168"/>
                  <a:pt x="130" y="176"/>
                </a:cubicBezTo>
                <a:cubicBezTo>
                  <a:pt x="133" y="184"/>
                  <a:pt x="140" y="191"/>
                  <a:pt x="140" y="191"/>
                </a:cubicBezTo>
                <a:cubicBezTo>
                  <a:pt x="140" y="191"/>
                  <a:pt x="142" y="182"/>
                  <a:pt x="139" y="177"/>
                </a:cubicBezTo>
                <a:cubicBezTo>
                  <a:pt x="136" y="171"/>
                  <a:pt x="135" y="169"/>
                  <a:pt x="140" y="166"/>
                </a:cubicBezTo>
                <a:cubicBezTo>
                  <a:pt x="144" y="162"/>
                  <a:pt x="156" y="160"/>
                  <a:pt x="157" y="154"/>
                </a:cubicBezTo>
                <a:cubicBezTo>
                  <a:pt x="158" y="148"/>
                  <a:pt x="160" y="122"/>
                  <a:pt x="151" y="109"/>
                </a:cubicBezTo>
                <a:cubicBezTo>
                  <a:pt x="142" y="95"/>
                  <a:pt x="140" y="93"/>
                  <a:pt x="140" y="93"/>
                </a:cubicBezTo>
                <a:cubicBezTo>
                  <a:pt x="140" y="93"/>
                  <a:pt x="134" y="92"/>
                  <a:pt x="130" y="82"/>
                </a:cubicBezTo>
                <a:cubicBezTo>
                  <a:pt x="127" y="72"/>
                  <a:pt x="127" y="61"/>
                  <a:pt x="127" y="57"/>
                </a:cubicBezTo>
                <a:cubicBezTo>
                  <a:pt x="127" y="52"/>
                  <a:pt x="134" y="33"/>
                  <a:pt x="138" y="31"/>
                </a:cubicBezTo>
                <a:cubicBezTo>
                  <a:pt x="158" y="32"/>
                  <a:pt x="158" y="32"/>
                  <a:pt x="158" y="32"/>
                </a:cubicBezTo>
                <a:cubicBezTo>
                  <a:pt x="158" y="32"/>
                  <a:pt x="166" y="22"/>
                  <a:pt x="169" y="27"/>
                </a:cubicBezTo>
                <a:cubicBezTo>
                  <a:pt x="172" y="32"/>
                  <a:pt x="178" y="35"/>
                  <a:pt x="182" y="35"/>
                </a:cubicBezTo>
                <a:cubicBezTo>
                  <a:pt x="187" y="34"/>
                  <a:pt x="184" y="29"/>
                  <a:pt x="193" y="29"/>
                </a:cubicBezTo>
                <a:cubicBezTo>
                  <a:pt x="203" y="30"/>
                  <a:pt x="203" y="35"/>
                  <a:pt x="209" y="34"/>
                </a:cubicBezTo>
                <a:cubicBezTo>
                  <a:pt x="215" y="33"/>
                  <a:pt x="223" y="27"/>
                  <a:pt x="223" y="27"/>
                </a:cubicBezTo>
                <a:cubicBezTo>
                  <a:pt x="223" y="27"/>
                  <a:pt x="220" y="21"/>
                  <a:pt x="224" y="19"/>
                </a:cubicBezTo>
                <a:cubicBezTo>
                  <a:pt x="228" y="18"/>
                  <a:pt x="229" y="11"/>
                  <a:pt x="237" y="17"/>
                </a:cubicBezTo>
                <a:cubicBezTo>
                  <a:pt x="244" y="23"/>
                  <a:pt x="245" y="18"/>
                  <a:pt x="253" y="17"/>
                </a:cubicBezTo>
                <a:cubicBezTo>
                  <a:pt x="260" y="16"/>
                  <a:pt x="285" y="0"/>
                  <a:pt x="291" y="2"/>
                </a:cubicBezTo>
                <a:cubicBezTo>
                  <a:pt x="291" y="2"/>
                  <a:pt x="297" y="14"/>
                  <a:pt x="293" y="19"/>
                </a:cubicBezTo>
                <a:cubicBezTo>
                  <a:pt x="288" y="25"/>
                  <a:pt x="286" y="26"/>
                  <a:pt x="287" y="38"/>
                </a:cubicBezTo>
                <a:cubicBezTo>
                  <a:pt x="288" y="50"/>
                  <a:pt x="287" y="53"/>
                  <a:pt x="288" y="69"/>
                </a:cubicBezTo>
                <a:cubicBezTo>
                  <a:pt x="289" y="85"/>
                  <a:pt x="291" y="94"/>
                  <a:pt x="291" y="98"/>
                </a:cubicBezTo>
                <a:cubicBezTo>
                  <a:pt x="291" y="102"/>
                  <a:pt x="291" y="104"/>
                  <a:pt x="292" y="107"/>
                </a:cubicBezTo>
                <a:cubicBezTo>
                  <a:pt x="293" y="110"/>
                  <a:pt x="285" y="123"/>
                  <a:pt x="287" y="127"/>
                </a:cubicBezTo>
                <a:cubicBezTo>
                  <a:pt x="289" y="132"/>
                  <a:pt x="291" y="136"/>
                  <a:pt x="289" y="138"/>
                </a:cubicBezTo>
                <a:cubicBezTo>
                  <a:pt x="287" y="141"/>
                  <a:pt x="281" y="145"/>
                  <a:pt x="278" y="149"/>
                </a:cubicBezTo>
                <a:cubicBezTo>
                  <a:pt x="274" y="153"/>
                  <a:pt x="262" y="173"/>
                  <a:pt x="246" y="181"/>
                </a:cubicBezTo>
                <a:cubicBezTo>
                  <a:pt x="230" y="189"/>
                  <a:pt x="218" y="194"/>
                  <a:pt x="207" y="200"/>
                </a:cubicBezTo>
                <a:cubicBezTo>
                  <a:pt x="196" y="205"/>
                  <a:pt x="184" y="208"/>
                  <a:pt x="179" y="216"/>
                </a:cubicBezTo>
                <a:cubicBezTo>
                  <a:pt x="173" y="225"/>
                  <a:pt x="165" y="234"/>
                  <a:pt x="160" y="235"/>
                </a:cubicBezTo>
                <a:cubicBezTo>
                  <a:pt x="155" y="236"/>
                  <a:pt x="149" y="238"/>
                  <a:pt x="143" y="248"/>
                </a:cubicBezTo>
                <a:cubicBezTo>
                  <a:pt x="137" y="258"/>
                  <a:pt x="126" y="265"/>
                  <a:pt x="121" y="260"/>
                </a:cubicBezTo>
                <a:cubicBezTo>
                  <a:pt x="121" y="260"/>
                  <a:pt x="120" y="259"/>
                  <a:pt x="118" y="269"/>
                </a:cubicBezTo>
                <a:cubicBezTo>
                  <a:pt x="117" y="278"/>
                  <a:pt x="117" y="283"/>
                  <a:pt x="122" y="288"/>
                </a:cubicBezTo>
                <a:cubicBezTo>
                  <a:pt x="126" y="292"/>
                  <a:pt x="124" y="294"/>
                  <a:pt x="123" y="304"/>
                </a:cubicBezTo>
                <a:cubicBezTo>
                  <a:pt x="123" y="314"/>
                  <a:pt x="126" y="311"/>
                  <a:pt x="128" y="324"/>
                </a:cubicBezTo>
                <a:cubicBezTo>
                  <a:pt x="131" y="337"/>
                  <a:pt x="136" y="332"/>
                  <a:pt x="136" y="337"/>
                </a:cubicBezTo>
                <a:cubicBezTo>
                  <a:pt x="136" y="342"/>
                  <a:pt x="131" y="345"/>
                  <a:pt x="131" y="350"/>
                </a:cubicBezTo>
                <a:cubicBezTo>
                  <a:pt x="131" y="355"/>
                  <a:pt x="127" y="360"/>
                  <a:pt x="127" y="367"/>
                </a:cubicBezTo>
                <a:cubicBezTo>
                  <a:pt x="128" y="375"/>
                  <a:pt x="130" y="378"/>
                  <a:pt x="130" y="381"/>
                </a:cubicBezTo>
                <a:cubicBezTo>
                  <a:pt x="130" y="383"/>
                  <a:pt x="123" y="385"/>
                  <a:pt x="120" y="390"/>
                </a:cubicBezTo>
                <a:cubicBezTo>
                  <a:pt x="117" y="396"/>
                  <a:pt x="111" y="399"/>
                  <a:pt x="104" y="400"/>
                </a:cubicBezTo>
                <a:cubicBezTo>
                  <a:pt x="97" y="401"/>
                  <a:pt x="95" y="403"/>
                  <a:pt x="94" y="405"/>
                </a:cubicBezTo>
                <a:cubicBezTo>
                  <a:pt x="92" y="406"/>
                  <a:pt x="85" y="409"/>
                  <a:pt x="78" y="409"/>
                </a:cubicBezTo>
                <a:cubicBezTo>
                  <a:pt x="71" y="410"/>
                  <a:pt x="68" y="411"/>
                  <a:pt x="64" y="416"/>
                </a:cubicBezTo>
                <a:cubicBezTo>
                  <a:pt x="60" y="421"/>
                  <a:pt x="58" y="420"/>
                  <a:pt x="55" y="424"/>
                </a:cubicBezTo>
                <a:cubicBezTo>
                  <a:pt x="51" y="428"/>
                  <a:pt x="48" y="427"/>
                  <a:pt x="52" y="433"/>
                </a:cubicBezTo>
                <a:cubicBezTo>
                  <a:pt x="56" y="440"/>
                  <a:pt x="59" y="439"/>
                  <a:pt x="55" y="448"/>
                </a:cubicBezTo>
                <a:cubicBezTo>
                  <a:pt x="51" y="457"/>
                  <a:pt x="51" y="456"/>
                  <a:pt x="46" y="455"/>
                </a:cubicBezTo>
                <a:cubicBezTo>
                  <a:pt x="41" y="453"/>
                  <a:pt x="33" y="455"/>
                  <a:pt x="33" y="455"/>
                </a:cubicBezTo>
                <a:cubicBezTo>
                  <a:pt x="31" y="432"/>
                  <a:pt x="31" y="432"/>
                  <a:pt x="31" y="432"/>
                </a:cubicBezTo>
                <a:cubicBezTo>
                  <a:pt x="31" y="432"/>
                  <a:pt x="33" y="410"/>
                  <a:pt x="34" y="397"/>
                </a:cubicBezTo>
                <a:cubicBezTo>
                  <a:pt x="34" y="384"/>
                  <a:pt x="35" y="379"/>
                  <a:pt x="29" y="367"/>
                </a:cubicBezTo>
                <a:cubicBezTo>
                  <a:pt x="24" y="355"/>
                  <a:pt x="23" y="332"/>
                  <a:pt x="23" y="332"/>
                </a:cubicBezTo>
                <a:cubicBezTo>
                  <a:pt x="23" y="332"/>
                  <a:pt x="33" y="323"/>
                  <a:pt x="42" y="315"/>
                </a:cubicBezTo>
                <a:cubicBezTo>
                  <a:pt x="50" y="306"/>
                  <a:pt x="53" y="299"/>
                  <a:pt x="55" y="291"/>
                </a:cubicBezTo>
                <a:cubicBezTo>
                  <a:pt x="56" y="283"/>
                  <a:pt x="62" y="283"/>
                  <a:pt x="66" y="276"/>
                </a:cubicBezTo>
                <a:cubicBezTo>
                  <a:pt x="71" y="268"/>
                  <a:pt x="70" y="259"/>
                  <a:pt x="67" y="250"/>
                </a:cubicBezTo>
                <a:cubicBezTo>
                  <a:pt x="64" y="241"/>
                  <a:pt x="61" y="236"/>
                  <a:pt x="66" y="233"/>
                </a:cubicBezTo>
                <a:cubicBezTo>
                  <a:pt x="70" y="230"/>
                  <a:pt x="64" y="229"/>
                  <a:pt x="68" y="226"/>
                </a:cubicBezTo>
                <a:cubicBezTo>
                  <a:pt x="73" y="222"/>
                  <a:pt x="74" y="208"/>
                  <a:pt x="75" y="205"/>
                </a:cubicBezTo>
                <a:cubicBezTo>
                  <a:pt x="75" y="202"/>
                  <a:pt x="78" y="206"/>
                  <a:pt x="75" y="191"/>
                </a:cubicBezTo>
                <a:cubicBezTo>
                  <a:pt x="72" y="176"/>
                  <a:pt x="68" y="170"/>
                  <a:pt x="65" y="170"/>
                </a:cubicBezTo>
                <a:cubicBezTo>
                  <a:pt x="61" y="169"/>
                  <a:pt x="58" y="170"/>
                  <a:pt x="53" y="166"/>
                </a:cubicBezTo>
                <a:cubicBezTo>
                  <a:pt x="47" y="162"/>
                  <a:pt x="44" y="158"/>
                  <a:pt x="39" y="157"/>
                </a:cubicBezTo>
                <a:cubicBezTo>
                  <a:pt x="33" y="156"/>
                  <a:pt x="29" y="155"/>
                  <a:pt x="26" y="154"/>
                </a:cubicBezTo>
                <a:cubicBezTo>
                  <a:pt x="23" y="154"/>
                  <a:pt x="19" y="153"/>
                  <a:pt x="16" y="154"/>
                </a:cubicBezTo>
                <a:cubicBezTo>
                  <a:pt x="12" y="154"/>
                  <a:pt x="6" y="149"/>
                  <a:pt x="6" y="14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8" name="Freeform 694"/>
          <p:cNvSpPr>
            <a:spLocks/>
          </p:cNvSpPr>
          <p:nvPr userDrawn="1"/>
        </p:nvSpPr>
        <p:spPr bwMode="auto">
          <a:xfrm>
            <a:off x="6112116" y="5445196"/>
            <a:ext cx="201011" cy="177560"/>
          </a:xfrm>
          <a:custGeom>
            <a:avLst/>
            <a:gdLst>
              <a:gd name="T0" fmla="*/ 2147483646 w 217"/>
              <a:gd name="T1" fmla="*/ 2147483646 h 190"/>
              <a:gd name="T2" fmla="*/ 2147483646 w 217"/>
              <a:gd name="T3" fmla="*/ 2147483646 h 190"/>
              <a:gd name="T4" fmla="*/ 2147483646 w 217"/>
              <a:gd name="T5" fmla="*/ 2147483646 h 190"/>
              <a:gd name="T6" fmla="*/ 2147483646 w 217"/>
              <a:gd name="T7" fmla="*/ 2147483646 h 190"/>
              <a:gd name="T8" fmla="*/ 2147483646 w 217"/>
              <a:gd name="T9" fmla="*/ 2147483646 h 190"/>
              <a:gd name="T10" fmla="*/ 2147483646 w 217"/>
              <a:gd name="T11" fmla="*/ 2147483646 h 190"/>
              <a:gd name="T12" fmla="*/ 2147483646 w 217"/>
              <a:gd name="T13" fmla="*/ 2147483646 h 190"/>
              <a:gd name="T14" fmla="*/ 2147483646 w 217"/>
              <a:gd name="T15" fmla="*/ 2147483646 h 190"/>
              <a:gd name="T16" fmla="*/ 2147483646 w 217"/>
              <a:gd name="T17" fmla="*/ 2147483646 h 190"/>
              <a:gd name="T18" fmla="*/ 2147483646 w 217"/>
              <a:gd name="T19" fmla="*/ 2147483646 h 190"/>
              <a:gd name="T20" fmla="*/ 2147483646 w 217"/>
              <a:gd name="T21" fmla="*/ 2147483646 h 190"/>
              <a:gd name="T22" fmla="*/ 2147483646 w 217"/>
              <a:gd name="T23" fmla="*/ 2147483646 h 190"/>
              <a:gd name="T24" fmla="*/ 2147483646 w 217"/>
              <a:gd name="T25" fmla="*/ 2147483646 h 190"/>
              <a:gd name="T26" fmla="*/ 2147483646 w 217"/>
              <a:gd name="T27" fmla="*/ 2147483646 h 190"/>
              <a:gd name="T28" fmla="*/ 2147483646 w 217"/>
              <a:gd name="T29" fmla="*/ 2147483646 h 190"/>
              <a:gd name="T30" fmla="*/ 2147483646 w 217"/>
              <a:gd name="T31" fmla="*/ 2147483646 h 190"/>
              <a:gd name="T32" fmla="*/ 2147483646 w 217"/>
              <a:gd name="T33" fmla="*/ 2147483646 h 190"/>
              <a:gd name="T34" fmla="*/ 2147483646 w 217"/>
              <a:gd name="T35" fmla="*/ 2147483646 h 190"/>
              <a:gd name="T36" fmla="*/ 2147483646 w 217"/>
              <a:gd name="T37" fmla="*/ 2147483646 h 190"/>
              <a:gd name="T38" fmla="*/ 2147483646 w 217"/>
              <a:gd name="T39" fmla="*/ 2147483646 h 190"/>
              <a:gd name="T40" fmla="*/ 2147483646 w 217"/>
              <a:gd name="T41" fmla="*/ 2147483646 h 190"/>
              <a:gd name="T42" fmla="*/ 2147483646 w 217"/>
              <a:gd name="T43" fmla="*/ 2147483646 h 190"/>
              <a:gd name="T44" fmla="*/ 2147483646 w 217"/>
              <a:gd name="T45" fmla="*/ 2147483646 h 190"/>
              <a:gd name="T46" fmla="*/ 2147483646 w 217"/>
              <a:gd name="T47" fmla="*/ 2147483646 h 190"/>
              <a:gd name="T48" fmla="*/ 2147483646 w 217"/>
              <a:gd name="T49" fmla="*/ 2147483646 h 190"/>
              <a:gd name="T50" fmla="*/ 2147483646 w 217"/>
              <a:gd name="T51" fmla="*/ 2147483646 h 190"/>
              <a:gd name="T52" fmla="*/ 2147483646 w 217"/>
              <a:gd name="T53" fmla="*/ 2147483646 h 190"/>
              <a:gd name="T54" fmla="*/ 2147483646 w 217"/>
              <a:gd name="T55" fmla="*/ 2147483646 h 190"/>
              <a:gd name="T56" fmla="*/ 2147483646 w 217"/>
              <a:gd name="T57" fmla="*/ 2147483646 h 190"/>
              <a:gd name="T58" fmla="*/ 2147483646 w 217"/>
              <a:gd name="T59" fmla="*/ 2147483646 h 190"/>
              <a:gd name="T60" fmla="*/ 2147483646 w 217"/>
              <a:gd name="T61" fmla="*/ 2147483646 h 190"/>
              <a:gd name="T62" fmla="*/ 2147483646 w 217"/>
              <a:gd name="T63" fmla="*/ 2147483646 h 190"/>
              <a:gd name="T64" fmla="*/ 2147483646 w 217"/>
              <a:gd name="T65" fmla="*/ 2147483646 h 190"/>
              <a:gd name="T66" fmla="*/ 2147483646 w 217"/>
              <a:gd name="T67" fmla="*/ 2147483646 h 190"/>
              <a:gd name="T68" fmla="*/ 2147483646 w 217"/>
              <a:gd name="T69" fmla="*/ 2147483646 h 190"/>
              <a:gd name="T70" fmla="*/ 2147483646 w 217"/>
              <a:gd name="T71" fmla="*/ 2147483646 h 190"/>
              <a:gd name="T72" fmla="*/ 2147483646 w 217"/>
              <a:gd name="T73" fmla="*/ 2147483646 h 190"/>
              <a:gd name="T74" fmla="*/ 2147483646 w 217"/>
              <a:gd name="T75" fmla="*/ 2147483646 h 1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17"/>
              <a:gd name="T115" fmla="*/ 0 h 190"/>
              <a:gd name="T116" fmla="*/ 217 w 217"/>
              <a:gd name="T117" fmla="*/ 190 h 19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17" h="190">
                <a:moveTo>
                  <a:pt x="162" y="190"/>
                </a:moveTo>
                <a:cubicBezTo>
                  <a:pt x="162" y="190"/>
                  <a:pt x="172" y="181"/>
                  <a:pt x="181" y="173"/>
                </a:cubicBezTo>
                <a:cubicBezTo>
                  <a:pt x="189" y="164"/>
                  <a:pt x="192" y="157"/>
                  <a:pt x="194" y="149"/>
                </a:cubicBezTo>
                <a:cubicBezTo>
                  <a:pt x="195" y="141"/>
                  <a:pt x="201" y="141"/>
                  <a:pt x="205" y="134"/>
                </a:cubicBezTo>
                <a:cubicBezTo>
                  <a:pt x="210" y="126"/>
                  <a:pt x="209" y="117"/>
                  <a:pt x="206" y="108"/>
                </a:cubicBezTo>
                <a:cubicBezTo>
                  <a:pt x="203" y="99"/>
                  <a:pt x="200" y="94"/>
                  <a:pt x="205" y="91"/>
                </a:cubicBezTo>
                <a:cubicBezTo>
                  <a:pt x="209" y="88"/>
                  <a:pt x="203" y="87"/>
                  <a:pt x="207" y="84"/>
                </a:cubicBezTo>
                <a:cubicBezTo>
                  <a:pt x="212" y="80"/>
                  <a:pt x="213" y="66"/>
                  <a:pt x="214" y="63"/>
                </a:cubicBezTo>
                <a:cubicBezTo>
                  <a:pt x="214" y="60"/>
                  <a:pt x="217" y="64"/>
                  <a:pt x="214" y="49"/>
                </a:cubicBezTo>
                <a:cubicBezTo>
                  <a:pt x="211" y="34"/>
                  <a:pt x="207" y="28"/>
                  <a:pt x="204" y="28"/>
                </a:cubicBezTo>
                <a:cubicBezTo>
                  <a:pt x="200" y="27"/>
                  <a:pt x="197" y="28"/>
                  <a:pt x="192" y="24"/>
                </a:cubicBezTo>
                <a:cubicBezTo>
                  <a:pt x="186" y="20"/>
                  <a:pt x="183" y="16"/>
                  <a:pt x="178" y="15"/>
                </a:cubicBezTo>
                <a:cubicBezTo>
                  <a:pt x="172" y="14"/>
                  <a:pt x="168" y="13"/>
                  <a:pt x="165" y="12"/>
                </a:cubicBezTo>
                <a:cubicBezTo>
                  <a:pt x="162" y="12"/>
                  <a:pt x="158" y="11"/>
                  <a:pt x="155" y="12"/>
                </a:cubicBezTo>
                <a:cubicBezTo>
                  <a:pt x="151" y="12"/>
                  <a:pt x="145" y="7"/>
                  <a:pt x="145" y="7"/>
                </a:cubicBezTo>
                <a:cubicBezTo>
                  <a:pt x="145" y="7"/>
                  <a:pt x="123" y="0"/>
                  <a:pt x="116" y="6"/>
                </a:cubicBezTo>
                <a:cubicBezTo>
                  <a:pt x="108" y="12"/>
                  <a:pt x="101" y="13"/>
                  <a:pt x="103" y="22"/>
                </a:cubicBezTo>
                <a:cubicBezTo>
                  <a:pt x="105" y="31"/>
                  <a:pt x="95" y="32"/>
                  <a:pt x="91" y="32"/>
                </a:cubicBezTo>
                <a:cubicBezTo>
                  <a:pt x="87" y="32"/>
                  <a:pt x="69" y="36"/>
                  <a:pt x="68" y="45"/>
                </a:cubicBezTo>
                <a:cubicBezTo>
                  <a:pt x="67" y="54"/>
                  <a:pt x="67" y="54"/>
                  <a:pt x="60" y="61"/>
                </a:cubicBezTo>
                <a:cubicBezTo>
                  <a:pt x="53" y="68"/>
                  <a:pt x="47" y="73"/>
                  <a:pt x="44" y="69"/>
                </a:cubicBezTo>
                <a:cubicBezTo>
                  <a:pt x="41" y="64"/>
                  <a:pt x="37" y="58"/>
                  <a:pt x="35" y="64"/>
                </a:cubicBezTo>
                <a:cubicBezTo>
                  <a:pt x="33" y="69"/>
                  <a:pt x="28" y="67"/>
                  <a:pt x="28" y="67"/>
                </a:cubicBezTo>
                <a:cubicBezTo>
                  <a:pt x="28" y="67"/>
                  <a:pt x="24" y="61"/>
                  <a:pt x="23" y="64"/>
                </a:cubicBezTo>
                <a:cubicBezTo>
                  <a:pt x="22" y="68"/>
                  <a:pt x="16" y="64"/>
                  <a:pt x="16" y="64"/>
                </a:cubicBezTo>
                <a:cubicBezTo>
                  <a:pt x="16" y="64"/>
                  <a:pt x="7" y="61"/>
                  <a:pt x="5" y="62"/>
                </a:cubicBezTo>
                <a:cubicBezTo>
                  <a:pt x="5" y="62"/>
                  <a:pt x="0" y="73"/>
                  <a:pt x="8" y="79"/>
                </a:cubicBezTo>
                <a:cubicBezTo>
                  <a:pt x="15" y="85"/>
                  <a:pt x="28" y="95"/>
                  <a:pt x="30" y="109"/>
                </a:cubicBezTo>
                <a:cubicBezTo>
                  <a:pt x="32" y="123"/>
                  <a:pt x="43" y="126"/>
                  <a:pt x="48" y="128"/>
                </a:cubicBezTo>
                <a:cubicBezTo>
                  <a:pt x="53" y="131"/>
                  <a:pt x="60" y="133"/>
                  <a:pt x="61" y="136"/>
                </a:cubicBezTo>
                <a:cubicBezTo>
                  <a:pt x="61" y="139"/>
                  <a:pt x="65" y="128"/>
                  <a:pt x="66" y="133"/>
                </a:cubicBezTo>
                <a:cubicBezTo>
                  <a:pt x="67" y="139"/>
                  <a:pt x="62" y="140"/>
                  <a:pt x="63" y="144"/>
                </a:cubicBezTo>
                <a:cubicBezTo>
                  <a:pt x="63" y="149"/>
                  <a:pt x="70" y="148"/>
                  <a:pt x="71" y="151"/>
                </a:cubicBezTo>
                <a:cubicBezTo>
                  <a:pt x="71" y="154"/>
                  <a:pt x="63" y="159"/>
                  <a:pt x="66" y="162"/>
                </a:cubicBezTo>
                <a:cubicBezTo>
                  <a:pt x="70" y="164"/>
                  <a:pt x="72" y="163"/>
                  <a:pt x="76" y="164"/>
                </a:cubicBezTo>
                <a:cubicBezTo>
                  <a:pt x="80" y="164"/>
                  <a:pt x="80" y="164"/>
                  <a:pt x="83" y="167"/>
                </a:cubicBezTo>
                <a:cubicBezTo>
                  <a:pt x="86" y="171"/>
                  <a:pt x="102" y="175"/>
                  <a:pt x="103" y="183"/>
                </a:cubicBezTo>
                <a:cubicBezTo>
                  <a:pt x="103" y="183"/>
                  <a:pt x="153" y="185"/>
                  <a:pt x="162" y="19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9" name="Freeform 695"/>
          <p:cNvSpPr>
            <a:spLocks/>
          </p:cNvSpPr>
          <p:nvPr userDrawn="1"/>
        </p:nvSpPr>
        <p:spPr bwMode="auto">
          <a:xfrm>
            <a:off x="5767047" y="5477023"/>
            <a:ext cx="348419" cy="309892"/>
          </a:xfrm>
          <a:custGeom>
            <a:avLst/>
            <a:gdLst>
              <a:gd name="T0" fmla="*/ 2147483646 w 375"/>
              <a:gd name="T1" fmla="*/ 2147483646 h 332"/>
              <a:gd name="T2" fmla="*/ 2147483646 w 375"/>
              <a:gd name="T3" fmla="*/ 2147483646 h 332"/>
              <a:gd name="T4" fmla="*/ 2147483646 w 375"/>
              <a:gd name="T5" fmla="*/ 2147483646 h 332"/>
              <a:gd name="T6" fmla="*/ 2147483646 w 375"/>
              <a:gd name="T7" fmla="*/ 2147483646 h 332"/>
              <a:gd name="T8" fmla="*/ 2147483646 w 375"/>
              <a:gd name="T9" fmla="*/ 2147483646 h 332"/>
              <a:gd name="T10" fmla="*/ 2147483646 w 375"/>
              <a:gd name="T11" fmla="*/ 2147483646 h 332"/>
              <a:gd name="T12" fmla="*/ 2147483646 w 375"/>
              <a:gd name="T13" fmla="*/ 2147483646 h 332"/>
              <a:gd name="T14" fmla="*/ 2147483646 w 375"/>
              <a:gd name="T15" fmla="*/ 2147483646 h 332"/>
              <a:gd name="T16" fmla="*/ 2147483646 w 375"/>
              <a:gd name="T17" fmla="*/ 2147483646 h 332"/>
              <a:gd name="T18" fmla="*/ 2147483646 w 375"/>
              <a:gd name="T19" fmla="*/ 2147483646 h 332"/>
              <a:gd name="T20" fmla="*/ 2147483646 w 375"/>
              <a:gd name="T21" fmla="*/ 2147483646 h 332"/>
              <a:gd name="T22" fmla="*/ 2147483646 w 375"/>
              <a:gd name="T23" fmla="*/ 2147483646 h 332"/>
              <a:gd name="T24" fmla="*/ 2147483646 w 375"/>
              <a:gd name="T25" fmla="*/ 2147483646 h 332"/>
              <a:gd name="T26" fmla="*/ 2147483646 w 375"/>
              <a:gd name="T27" fmla="*/ 2147483646 h 332"/>
              <a:gd name="T28" fmla="*/ 2147483646 w 375"/>
              <a:gd name="T29" fmla="*/ 2147483646 h 332"/>
              <a:gd name="T30" fmla="*/ 2147483646 w 375"/>
              <a:gd name="T31" fmla="*/ 2147483646 h 332"/>
              <a:gd name="T32" fmla="*/ 2147483646 w 375"/>
              <a:gd name="T33" fmla="*/ 2147483646 h 332"/>
              <a:gd name="T34" fmla="*/ 2147483646 w 375"/>
              <a:gd name="T35" fmla="*/ 2147483646 h 332"/>
              <a:gd name="T36" fmla="*/ 2147483646 w 375"/>
              <a:gd name="T37" fmla="*/ 2147483646 h 332"/>
              <a:gd name="T38" fmla="*/ 2147483646 w 375"/>
              <a:gd name="T39" fmla="*/ 2147483646 h 332"/>
              <a:gd name="T40" fmla="*/ 2147483646 w 375"/>
              <a:gd name="T41" fmla="*/ 2147483646 h 332"/>
              <a:gd name="T42" fmla="*/ 2147483646 w 375"/>
              <a:gd name="T43" fmla="*/ 2147483646 h 332"/>
              <a:gd name="T44" fmla="*/ 2147483646 w 375"/>
              <a:gd name="T45" fmla="*/ 2147483646 h 332"/>
              <a:gd name="T46" fmla="*/ 2147483646 w 375"/>
              <a:gd name="T47" fmla="*/ 2147483646 h 332"/>
              <a:gd name="T48" fmla="*/ 2147483646 w 375"/>
              <a:gd name="T49" fmla="*/ 2147483646 h 332"/>
              <a:gd name="T50" fmla="*/ 2147483646 w 375"/>
              <a:gd name="T51" fmla="*/ 2147483646 h 332"/>
              <a:gd name="T52" fmla="*/ 2147483646 w 375"/>
              <a:gd name="T53" fmla="*/ 2147483646 h 332"/>
              <a:gd name="T54" fmla="*/ 2147483646 w 375"/>
              <a:gd name="T55" fmla="*/ 2147483646 h 332"/>
              <a:gd name="T56" fmla="*/ 2147483646 w 375"/>
              <a:gd name="T57" fmla="*/ 2147483646 h 332"/>
              <a:gd name="T58" fmla="*/ 2147483646 w 375"/>
              <a:gd name="T59" fmla="*/ 2147483646 h 332"/>
              <a:gd name="T60" fmla="*/ 2147483646 w 375"/>
              <a:gd name="T61" fmla="*/ 2147483646 h 332"/>
              <a:gd name="T62" fmla="*/ 2147483646 w 375"/>
              <a:gd name="T63" fmla="*/ 2147483646 h 332"/>
              <a:gd name="T64" fmla="*/ 2147483646 w 375"/>
              <a:gd name="T65" fmla="*/ 2147483646 h 332"/>
              <a:gd name="T66" fmla="*/ 2147483646 w 375"/>
              <a:gd name="T67" fmla="*/ 2147483646 h 332"/>
              <a:gd name="T68" fmla="*/ 2147483646 w 375"/>
              <a:gd name="T69" fmla="*/ 2147483646 h 332"/>
              <a:gd name="T70" fmla="*/ 2147483646 w 375"/>
              <a:gd name="T71" fmla="*/ 2147483646 h 332"/>
              <a:gd name="T72" fmla="*/ 2147483646 w 375"/>
              <a:gd name="T73" fmla="*/ 2147483646 h 33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375"/>
              <a:gd name="T112" fmla="*/ 0 h 332"/>
              <a:gd name="T113" fmla="*/ 375 w 375"/>
              <a:gd name="T114" fmla="*/ 332 h 33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375" h="332">
                <a:moveTo>
                  <a:pt x="4" y="11"/>
                </a:moveTo>
                <a:cubicBezTo>
                  <a:pt x="4" y="9"/>
                  <a:pt x="17" y="9"/>
                  <a:pt x="24" y="10"/>
                </a:cubicBezTo>
                <a:cubicBezTo>
                  <a:pt x="32" y="11"/>
                  <a:pt x="35" y="5"/>
                  <a:pt x="44" y="3"/>
                </a:cubicBezTo>
                <a:cubicBezTo>
                  <a:pt x="52" y="0"/>
                  <a:pt x="66" y="14"/>
                  <a:pt x="66" y="14"/>
                </a:cubicBezTo>
                <a:cubicBezTo>
                  <a:pt x="189" y="16"/>
                  <a:pt x="189" y="16"/>
                  <a:pt x="189" y="16"/>
                </a:cubicBezTo>
                <a:cubicBezTo>
                  <a:pt x="188" y="24"/>
                  <a:pt x="199" y="27"/>
                  <a:pt x="206" y="28"/>
                </a:cubicBezTo>
                <a:cubicBezTo>
                  <a:pt x="213" y="29"/>
                  <a:pt x="228" y="26"/>
                  <a:pt x="247" y="34"/>
                </a:cubicBezTo>
                <a:cubicBezTo>
                  <a:pt x="266" y="42"/>
                  <a:pt x="322" y="23"/>
                  <a:pt x="322" y="23"/>
                </a:cubicBezTo>
                <a:cubicBezTo>
                  <a:pt x="325" y="18"/>
                  <a:pt x="353" y="18"/>
                  <a:pt x="364" y="19"/>
                </a:cubicBezTo>
                <a:cubicBezTo>
                  <a:pt x="374" y="20"/>
                  <a:pt x="375" y="27"/>
                  <a:pt x="375" y="27"/>
                </a:cubicBezTo>
                <a:cubicBezTo>
                  <a:pt x="375" y="27"/>
                  <a:pt x="374" y="27"/>
                  <a:pt x="368" y="28"/>
                </a:cubicBezTo>
                <a:cubicBezTo>
                  <a:pt x="361" y="30"/>
                  <a:pt x="361" y="38"/>
                  <a:pt x="355" y="35"/>
                </a:cubicBezTo>
                <a:cubicBezTo>
                  <a:pt x="349" y="33"/>
                  <a:pt x="347" y="28"/>
                  <a:pt x="341" y="34"/>
                </a:cubicBezTo>
                <a:cubicBezTo>
                  <a:pt x="335" y="40"/>
                  <a:pt x="328" y="43"/>
                  <a:pt x="328" y="43"/>
                </a:cubicBezTo>
                <a:cubicBezTo>
                  <a:pt x="320" y="34"/>
                  <a:pt x="320" y="34"/>
                  <a:pt x="320" y="34"/>
                </a:cubicBezTo>
                <a:cubicBezTo>
                  <a:pt x="320" y="34"/>
                  <a:pt x="268" y="45"/>
                  <a:pt x="259" y="43"/>
                </a:cubicBezTo>
                <a:cubicBezTo>
                  <a:pt x="254" y="142"/>
                  <a:pt x="254" y="142"/>
                  <a:pt x="254" y="142"/>
                </a:cubicBezTo>
                <a:cubicBezTo>
                  <a:pt x="229" y="144"/>
                  <a:pt x="229" y="144"/>
                  <a:pt x="229" y="144"/>
                </a:cubicBezTo>
                <a:cubicBezTo>
                  <a:pt x="227" y="315"/>
                  <a:pt x="227" y="315"/>
                  <a:pt x="227" y="315"/>
                </a:cubicBezTo>
                <a:cubicBezTo>
                  <a:pt x="227" y="315"/>
                  <a:pt x="212" y="320"/>
                  <a:pt x="210" y="325"/>
                </a:cubicBezTo>
                <a:cubicBezTo>
                  <a:pt x="208" y="330"/>
                  <a:pt x="204" y="331"/>
                  <a:pt x="199" y="329"/>
                </a:cubicBezTo>
                <a:cubicBezTo>
                  <a:pt x="193" y="328"/>
                  <a:pt x="189" y="325"/>
                  <a:pt x="186" y="328"/>
                </a:cubicBezTo>
                <a:cubicBezTo>
                  <a:pt x="183" y="330"/>
                  <a:pt x="177" y="332"/>
                  <a:pt x="174" y="330"/>
                </a:cubicBezTo>
                <a:cubicBezTo>
                  <a:pt x="171" y="328"/>
                  <a:pt x="169" y="321"/>
                  <a:pt x="166" y="323"/>
                </a:cubicBezTo>
                <a:cubicBezTo>
                  <a:pt x="163" y="325"/>
                  <a:pt x="157" y="323"/>
                  <a:pt x="156" y="320"/>
                </a:cubicBezTo>
                <a:cubicBezTo>
                  <a:pt x="155" y="318"/>
                  <a:pt x="152" y="305"/>
                  <a:pt x="149" y="306"/>
                </a:cubicBezTo>
                <a:cubicBezTo>
                  <a:pt x="147" y="308"/>
                  <a:pt x="136" y="325"/>
                  <a:pt x="136" y="325"/>
                </a:cubicBezTo>
                <a:cubicBezTo>
                  <a:pt x="136" y="325"/>
                  <a:pt x="103" y="304"/>
                  <a:pt x="101" y="284"/>
                </a:cubicBezTo>
                <a:cubicBezTo>
                  <a:pt x="100" y="265"/>
                  <a:pt x="99" y="259"/>
                  <a:pt x="95" y="251"/>
                </a:cubicBezTo>
                <a:cubicBezTo>
                  <a:pt x="92" y="243"/>
                  <a:pt x="91" y="234"/>
                  <a:pt x="92" y="227"/>
                </a:cubicBezTo>
                <a:cubicBezTo>
                  <a:pt x="92" y="221"/>
                  <a:pt x="95" y="213"/>
                  <a:pt x="90" y="211"/>
                </a:cubicBezTo>
                <a:cubicBezTo>
                  <a:pt x="86" y="210"/>
                  <a:pt x="78" y="224"/>
                  <a:pt x="81" y="202"/>
                </a:cubicBezTo>
                <a:cubicBezTo>
                  <a:pt x="84" y="179"/>
                  <a:pt x="91" y="171"/>
                  <a:pt x="80" y="155"/>
                </a:cubicBezTo>
                <a:cubicBezTo>
                  <a:pt x="69" y="139"/>
                  <a:pt x="64" y="127"/>
                  <a:pt x="54" y="111"/>
                </a:cubicBezTo>
                <a:cubicBezTo>
                  <a:pt x="43" y="95"/>
                  <a:pt x="32" y="91"/>
                  <a:pt x="30" y="74"/>
                </a:cubicBezTo>
                <a:cubicBezTo>
                  <a:pt x="28" y="56"/>
                  <a:pt x="27" y="64"/>
                  <a:pt x="16" y="51"/>
                </a:cubicBezTo>
                <a:cubicBezTo>
                  <a:pt x="5" y="38"/>
                  <a:pt x="0" y="25"/>
                  <a:pt x="4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0" name="Freeform 696"/>
          <p:cNvSpPr>
            <a:spLocks/>
          </p:cNvSpPr>
          <p:nvPr userDrawn="1"/>
        </p:nvSpPr>
        <p:spPr bwMode="auto">
          <a:xfrm>
            <a:off x="5979783" y="5502149"/>
            <a:ext cx="229488" cy="236188"/>
          </a:xfrm>
          <a:custGeom>
            <a:avLst/>
            <a:gdLst>
              <a:gd name="T0" fmla="*/ 0 w 246"/>
              <a:gd name="T1" fmla="*/ 2147483646 h 253"/>
              <a:gd name="T2" fmla="*/ 2147483646 w 246"/>
              <a:gd name="T3" fmla="*/ 2147483646 h 253"/>
              <a:gd name="T4" fmla="*/ 2147483646 w 246"/>
              <a:gd name="T5" fmla="*/ 2147483646 h 253"/>
              <a:gd name="T6" fmla="*/ 2147483646 w 246"/>
              <a:gd name="T7" fmla="*/ 2147483646 h 253"/>
              <a:gd name="T8" fmla="*/ 2147483646 w 246"/>
              <a:gd name="T9" fmla="*/ 2147483646 h 253"/>
              <a:gd name="T10" fmla="*/ 2147483646 w 246"/>
              <a:gd name="T11" fmla="*/ 2147483646 h 253"/>
              <a:gd name="T12" fmla="*/ 2147483646 w 246"/>
              <a:gd name="T13" fmla="*/ 2147483646 h 253"/>
              <a:gd name="T14" fmla="*/ 2147483646 w 246"/>
              <a:gd name="T15" fmla="*/ 2147483646 h 253"/>
              <a:gd name="T16" fmla="*/ 2147483646 w 246"/>
              <a:gd name="T17" fmla="*/ 2147483646 h 253"/>
              <a:gd name="T18" fmla="*/ 2147483646 w 246"/>
              <a:gd name="T19" fmla="*/ 0 h 253"/>
              <a:gd name="T20" fmla="*/ 2147483646 w 246"/>
              <a:gd name="T21" fmla="*/ 2147483646 h 253"/>
              <a:gd name="T22" fmla="*/ 2147483646 w 246"/>
              <a:gd name="T23" fmla="*/ 2147483646 h 253"/>
              <a:gd name="T24" fmla="*/ 2147483646 w 246"/>
              <a:gd name="T25" fmla="*/ 2147483646 h 253"/>
              <a:gd name="T26" fmla="*/ 2147483646 w 246"/>
              <a:gd name="T27" fmla="*/ 2147483646 h 253"/>
              <a:gd name="T28" fmla="*/ 2147483646 w 246"/>
              <a:gd name="T29" fmla="*/ 2147483646 h 253"/>
              <a:gd name="T30" fmla="*/ 2147483646 w 246"/>
              <a:gd name="T31" fmla="*/ 2147483646 h 253"/>
              <a:gd name="T32" fmla="*/ 2147483646 w 246"/>
              <a:gd name="T33" fmla="*/ 2147483646 h 253"/>
              <a:gd name="T34" fmla="*/ 2147483646 w 246"/>
              <a:gd name="T35" fmla="*/ 2147483646 h 253"/>
              <a:gd name="T36" fmla="*/ 2147483646 w 246"/>
              <a:gd name="T37" fmla="*/ 2147483646 h 253"/>
              <a:gd name="T38" fmla="*/ 2147483646 w 246"/>
              <a:gd name="T39" fmla="*/ 2147483646 h 253"/>
              <a:gd name="T40" fmla="*/ 2147483646 w 246"/>
              <a:gd name="T41" fmla="*/ 2147483646 h 253"/>
              <a:gd name="T42" fmla="*/ 2147483646 w 246"/>
              <a:gd name="T43" fmla="*/ 2147483646 h 253"/>
              <a:gd name="T44" fmla="*/ 2147483646 w 246"/>
              <a:gd name="T45" fmla="*/ 2147483646 h 253"/>
              <a:gd name="T46" fmla="*/ 2147483646 w 246"/>
              <a:gd name="T47" fmla="*/ 2147483646 h 253"/>
              <a:gd name="T48" fmla="*/ 2147483646 w 246"/>
              <a:gd name="T49" fmla="*/ 2147483646 h 253"/>
              <a:gd name="T50" fmla="*/ 2147483646 w 246"/>
              <a:gd name="T51" fmla="*/ 2147483646 h 253"/>
              <a:gd name="T52" fmla="*/ 2147483646 w 246"/>
              <a:gd name="T53" fmla="*/ 2147483646 h 253"/>
              <a:gd name="T54" fmla="*/ 2147483646 w 246"/>
              <a:gd name="T55" fmla="*/ 2147483646 h 253"/>
              <a:gd name="T56" fmla="*/ 2147483646 w 246"/>
              <a:gd name="T57" fmla="*/ 2147483646 h 253"/>
              <a:gd name="T58" fmla="*/ 2147483646 w 246"/>
              <a:gd name="T59" fmla="*/ 2147483646 h 253"/>
              <a:gd name="T60" fmla="*/ 2147483646 w 246"/>
              <a:gd name="T61" fmla="*/ 2147483646 h 253"/>
              <a:gd name="T62" fmla="*/ 2147483646 w 246"/>
              <a:gd name="T63" fmla="*/ 2147483646 h 253"/>
              <a:gd name="T64" fmla="*/ 2147483646 w 246"/>
              <a:gd name="T65" fmla="*/ 2147483646 h 253"/>
              <a:gd name="T66" fmla="*/ 2147483646 w 246"/>
              <a:gd name="T67" fmla="*/ 2147483646 h 253"/>
              <a:gd name="T68" fmla="*/ 2147483646 w 246"/>
              <a:gd name="T69" fmla="*/ 2147483646 h 253"/>
              <a:gd name="T70" fmla="*/ 2147483646 w 246"/>
              <a:gd name="T71" fmla="*/ 2147483646 h 253"/>
              <a:gd name="T72" fmla="*/ 2147483646 w 246"/>
              <a:gd name="T73" fmla="*/ 2147483646 h 253"/>
              <a:gd name="T74" fmla="*/ 2147483646 w 246"/>
              <a:gd name="T75" fmla="*/ 2147483646 h 253"/>
              <a:gd name="T76" fmla="*/ 2147483646 w 246"/>
              <a:gd name="T77" fmla="*/ 2147483646 h 253"/>
              <a:gd name="T78" fmla="*/ 0 w 246"/>
              <a:gd name="T79" fmla="*/ 2147483646 h 253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46"/>
              <a:gd name="T121" fmla="*/ 0 h 253"/>
              <a:gd name="T122" fmla="*/ 246 w 246"/>
              <a:gd name="T123" fmla="*/ 253 h 253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46" h="253">
                <a:moveTo>
                  <a:pt x="0" y="193"/>
                </a:moveTo>
                <a:cubicBezTo>
                  <a:pt x="1" y="117"/>
                  <a:pt x="1" y="117"/>
                  <a:pt x="1" y="117"/>
                </a:cubicBezTo>
                <a:cubicBezTo>
                  <a:pt x="26" y="115"/>
                  <a:pt x="26" y="115"/>
                  <a:pt x="26" y="115"/>
                </a:cubicBezTo>
                <a:cubicBezTo>
                  <a:pt x="31" y="16"/>
                  <a:pt x="31" y="16"/>
                  <a:pt x="31" y="16"/>
                </a:cubicBezTo>
                <a:cubicBezTo>
                  <a:pt x="40" y="18"/>
                  <a:pt x="92" y="7"/>
                  <a:pt x="92" y="7"/>
                </a:cubicBezTo>
                <a:cubicBezTo>
                  <a:pt x="100" y="16"/>
                  <a:pt x="100" y="16"/>
                  <a:pt x="100" y="16"/>
                </a:cubicBezTo>
                <a:cubicBezTo>
                  <a:pt x="100" y="16"/>
                  <a:pt x="107" y="13"/>
                  <a:pt x="113" y="7"/>
                </a:cubicBezTo>
                <a:cubicBezTo>
                  <a:pt x="119" y="1"/>
                  <a:pt x="121" y="6"/>
                  <a:pt x="127" y="8"/>
                </a:cubicBezTo>
                <a:cubicBezTo>
                  <a:pt x="133" y="11"/>
                  <a:pt x="133" y="3"/>
                  <a:pt x="140" y="1"/>
                </a:cubicBezTo>
                <a:cubicBezTo>
                  <a:pt x="142" y="1"/>
                  <a:pt x="144" y="0"/>
                  <a:pt x="145" y="0"/>
                </a:cubicBezTo>
                <a:cubicBezTo>
                  <a:pt x="147" y="1"/>
                  <a:pt x="147" y="1"/>
                  <a:pt x="147" y="1"/>
                </a:cubicBezTo>
                <a:cubicBezTo>
                  <a:pt x="147" y="1"/>
                  <a:pt x="142" y="11"/>
                  <a:pt x="150" y="17"/>
                </a:cubicBezTo>
                <a:cubicBezTo>
                  <a:pt x="157" y="23"/>
                  <a:pt x="170" y="33"/>
                  <a:pt x="172" y="47"/>
                </a:cubicBezTo>
                <a:cubicBezTo>
                  <a:pt x="174" y="61"/>
                  <a:pt x="185" y="64"/>
                  <a:pt x="190" y="66"/>
                </a:cubicBezTo>
                <a:cubicBezTo>
                  <a:pt x="195" y="69"/>
                  <a:pt x="202" y="71"/>
                  <a:pt x="203" y="74"/>
                </a:cubicBezTo>
                <a:cubicBezTo>
                  <a:pt x="203" y="77"/>
                  <a:pt x="207" y="66"/>
                  <a:pt x="208" y="71"/>
                </a:cubicBezTo>
                <a:cubicBezTo>
                  <a:pt x="209" y="77"/>
                  <a:pt x="204" y="78"/>
                  <a:pt x="205" y="82"/>
                </a:cubicBezTo>
                <a:cubicBezTo>
                  <a:pt x="205" y="87"/>
                  <a:pt x="212" y="86"/>
                  <a:pt x="213" y="89"/>
                </a:cubicBezTo>
                <a:cubicBezTo>
                  <a:pt x="213" y="92"/>
                  <a:pt x="205" y="97"/>
                  <a:pt x="208" y="100"/>
                </a:cubicBezTo>
                <a:cubicBezTo>
                  <a:pt x="212" y="102"/>
                  <a:pt x="214" y="101"/>
                  <a:pt x="218" y="102"/>
                </a:cubicBezTo>
                <a:cubicBezTo>
                  <a:pt x="222" y="102"/>
                  <a:pt x="222" y="102"/>
                  <a:pt x="225" y="105"/>
                </a:cubicBezTo>
                <a:cubicBezTo>
                  <a:pt x="228" y="109"/>
                  <a:pt x="244" y="113"/>
                  <a:pt x="245" y="121"/>
                </a:cubicBezTo>
                <a:cubicBezTo>
                  <a:pt x="245" y="121"/>
                  <a:pt x="246" y="122"/>
                  <a:pt x="241" y="124"/>
                </a:cubicBezTo>
                <a:cubicBezTo>
                  <a:pt x="236" y="125"/>
                  <a:pt x="235" y="129"/>
                  <a:pt x="231" y="133"/>
                </a:cubicBezTo>
                <a:cubicBezTo>
                  <a:pt x="227" y="136"/>
                  <a:pt x="219" y="133"/>
                  <a:pt x="217" y="134"/>
                </a:cubicBezTo>
                <a:cubicBezTo>
                  <a:pt x="214" y="135"/>
                  <a:pt x="212" y="135"/>
                  <a:pt x="210" y="141"/>
                </a:cubicBezTo>
                <a:cubicBezTo>
                  <a:pt x="207" y="148"/>
                  <a:pt x="198" y="153"/>
                  <a:pt x="194" y="155"/>
                </a:cubicBezTo>
                <a:cubicBezTo>
                  <a:pt x="190" y="157"/>
                  <a:pt x="182" y="164"/>
                  <a:pt x="180" y="168"/>
                </a:cubicBezTo>
                <a:cubicBezTo>
                  <a:pt x="178" y="172"/>
                  <a:pt x="181" y="183"/>
                  <a:pt x="170" y="185"/>
                </a:cubicBezTo>
                <a:cubicBezTo>
                  <a:pt x="160" y="188"/>
                  <a:pt x="157" y="181"/>
                  <a:pt x="153" y="189"/>
                </a:cubicBezTo>
                <a:cubicBezTo>
                  <a:pt x="149" y="198"/>
                  <a:pt x="152" y="209"/>
                  <a:pt x="146" y="212"/>
                </a:cubicBezTo>
                <a:cubicBezTo>
                  <a:pt x="141" y="215"/>
                  <a:pt x="147" y="217"/>
                  <a:pt x="136" y="217"/>
                </a:cubicBezTo>
                <a:cubicBezTo>
                  <a:pt x="125" y="218"/>
                  <a:pt x="103" y="225"/>
                  <a:pt x="96" y="211"/>
                </a:cubicBezTo>
                <a:cubicBezTo>
                  <a:pt x="90" y="196"/>
                  <a:pt x="76" y="203"/>
                  <a:pt x="72" y="216"/>
                </a:cubicBezTo>
                <a:cubicBezTo>
                  <a:pt x="67" y="229"/>
                  <a:pt x="58" y="235"/>
                  <a:pt x="55" y="236"/>
                </a:cubicBezTo>
                <a:cubicBezTo>
                  <a:pt x="51" y="238"/>
                  <a:pt x="51" y="240"/>
                  <a:pt x="44" y="246"/>
                </a:cubicBezTo>
                <a:cubicBezTo>
                  <a:pt x="36" y="253"/>
                  <a:pt x="19" y="252"/>
                  <a:pt x="16" y="248"/>
                </a:cubicBezTo>
                <a:cubicBezTo>
                  <a:pt x="13" y="244"/>
                  <a:pt x="16" y="239"/>
                  <a:pt x="19" y="233"/>
                </a:cubicBezTo>
                <a:cubicBezTo>
                  <a:pt x="23" y="227"/>
                  <a:pt x="25" y="222"/>
                  <a:pt x="19" y="214"/>
                </a:cubicBezTo>
                <a:cubicBezTo>
                  <a:pt x="14" y="207"/>
                  <a:pt x="9" y="193"/>
                  <a:pt x="0" y="19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1" name="Freeform 697"/>
          <p:cNvSpPr>
            <a:spLocks/>
          </p:cNvSpPr>
          <p:nvPr userDrawn="1"/>
        </p:nvSpPr>
        <p:spPr bwMode="auto">
          <a:xfrm>
            <a:off x="5892679" y="5616056"/>
            <a:ext cx="393647" cy="329993"/>
          </a:xfrm>
          <a:custGeom>
            <a:avLst/>
            <a:gdLst>
              <a:gd name="T0" fmla="*/ 0 w 422"/>
              <a:gd name="T1" fmla="*/ 2147483646 h 355"/>
              <a:gd name="T2" fmla="*/ 2147483646 w 422"/>
              <a:gd name="T3" fmla="*/ 2147483646 h 355"/>
              <a:gd name="T4" fmla="*/ 2147483646 w 422"/>
              <a:gd name="T5" fmla="*/ 2147483646 h 355"/>
              <a:gd name="T6" fmla="*/ 2147483646 w 422"/>
              <a:gd name="T7" fmla="*/ 2147483646 h 355"/>
              <a:gd name="T8" fmla="*/ 2147483646 w 422"/>
              <a:gd name="T9" fmla="*/ 2147483646 h 355"/>
              <a:gd name="T10" fmla="*/ 2147483646 w 422"/>
              <a:gd name="T11" fmla="*/ 2147483646 h 355"/>
              <a:gd name="T12" fmla="*/ 2147483646 w 422"/>
              <a:gd name="T13" fmla="*/ 2147483646 h 355"/>
              <a:gd name="T14" fmla="*/ 2147483646 w 422"/>
              <a:gd name="T15" fmla="*/ 2147483646 h 355"/>
              <a:gd name="T16" fmla="*/ 2147483646 w 422"/>
              <a:gd name="T17" fmla="*/ 2147483646 h 355"/>
              <a:gd name="T18" fmla="*/ 2147483646 w 422"/>
              <a:gd name="T19" fmla="*/ 2147483646 h 355"/>
              <a:gd name="T20" fmla="*/ 2147483646 w 422"/>
              <a:gd name="T21" fmla="*/ 2147483646 h 355"/>
              <a:gd name="T22" fmla="*/ 2147483646 w 422"/>
              <a:gd name="T23" fmla="*/ 2147483646 h 355"/>
              <a:gd name="T24" fmla="*/ 2147483646 w 422"/>
              <a:gd name="T25" fmla="*/ 2147483646 h 355"/>
              <a:gd name="T26" fmla="*/ 2147483646 w 422"/>
              <a:gd name="T27" fmla="*/ 2147483646 h 355"/>
              <a:gd name="T28" fmla="*/ 2147483646 w 422"/>
              <a:gd name="T29" fmla="*/ 2147483646 h 355"/>
              <a:gd name="T30" fmla="*/ 2147483646 w 422"/>
              <a:gd name="T31" fmla="*/ 2147483646 h 355"/>
              <a:gd name="T32" fmla="*/ 2147483646 w 422"/>
              <a:gd name="T33" fmla="*/ 2147483646 h 355"/>
              <a:gd name="T34" fmla="*/ 2147483646 w 422"/>
              <a:gd name="T35" fmla="*/ 2147483646 h 355"/>
              <a:gd name="T36" fmla="*/ 2147483646 w 422"/>
              <a:gd name="T37" fmla="*/ 2147483646 h 355"/>
              <a:gd name="T38" fmla="*/ 2147483646 w 422"/>
              <a:gd name="T39" fmla="*/ 2147483646 h 355"/>
              <a:gd name="T40" fmla="*/ 2147483646 w 422"/>
              <a:gd name="T41" fmla="*/ 2147483646 h 355"/>
              <a:gd name="T42" fmla="*/ 2147483646 w 422"/>
              <a:gd name="T43" fmla="*/ 2147483646 h 355"/>
              <a:gd name="T44" fmla="*/ 2147483646 w 422"/>
              <a:gd name="T45" fmla="*/ 2147483646 h 355"/>
              <a:gd name="T46" fmla="*/ 2147483646 w 422"/>
              <a:gd name="T47" fmla="*/ 2147483646 h 355"/>
              <a:gd name="T48" fmla="*/ 2147483646 w 422"/>
              <a:gd name="T49" fmla="*/ 2147483646 h 355"/>
              <a:gd name="T50" fmla="*/ 2147483646 w 422"/>
              <a:gd name="T51" fmla="*/ 2147483646 h 355"/>
              <a:gd name="T52" fmla="*/ 2147483646 w 422"/>
              <a:gd name="T53" fmla="*/ 2147483646 h 355"/>
              <a:gd name="T54" fmla="*/ 2147483646 w 422"/>
              <a:gd name="T55" fmla="*/ 2147483646 h 355"/>
              <a:gd name="T56" fmla="*/ 2147483646 w 422"/>
              <a:gd name="T57" fmla="*/ 0 h 355"/>
              <a:gd name="T58" fmla="*/ 2147483646 w 422"/>
              <a:gd name="T59" fmla="*/ 2147483646 h 355"/>
              <a:gd name="T60" fmla="*/ 2147483646 w 422"/>
              <a:gd name="T61" fmla="*/ 2147483646 h 355"/>
              <a:gd name="T62" fmla="*/ 2147483646 w 422"/>
              <a:gd name="T63" fmla="*/ 2147483646 h 355"/>
              <a:gd name="T64" fmla="*/ 2147483646 w 422"/>
              <a:gd name="T65" fmla="*/ 2147483646 h 355"/>
              <a:gd name="T66" fmla="*/ 2147483646 w 422"/>
              <a:gd name="T67" fmla="*/ 2147483646 h 355"/>
              <a:gd name="T68" fmla="*/ 2147483646 w 422"/>
              <a:gd name="T69" fmla="*/ 2147483646 h 355"/>
              <a:gd name="T70" fmla="*/ 2147483646 w 422"/>
              <a:gd name="T71" fmla="*/ 2147483646 h 355"/>
              <a:gd name="T72" fmla="*/ 2147483646 w 422"/>
              <a:gd name="T73" fmla="*/ 2147483646 h 355"/>
              <a:gd name="T74" fmla="*/ 2147483646 w 422"/>
              <a:gd name="T75" fmla="*/ 2147483646 h 355"/>
              <a:gd name="T76" fmla="*/ 2147483646 w 422"/>
              <a:gd name="T77" fmla="*/ 2147483646 h 355"/>
              <a:gd name="T78" fmla="*/ 2147483646 w 422"/>
              <a:gd name="T79" fmla="*/ 2147483646 h 355"/>
              <a:gd name="T80" fmla="*/ 2147483646 w 422"/>
              <a:gd name="T81" fmla="*/ 2147483646 h 355"/>
              <a:gd name="T82" fmla="*/ 2147483646 w 422"/>
              <a:gd name="T83" fmla="*/ 2147483646 h 355"/>
              <a:gd name="T84" fmla="*/ 2147483646 w 422"/>
              <a:gd name="T85" fmla="*/ 2147483646 h 355"/>
              <a:gd name="T86" fmla="*/ 2147483646 w 422"/>
              <a:gd name="T87" fmla="*/ 2147483646 h 355"/>
              <a:gd name="T88" fmla="*/ 2147483646 w 422"/>
              <a:gd name="T89" fmla="*/ 2147483646 h 355"/>
              <a:gd name="T90" fmla="*/ 2147483646 w 422"/>
              <a:gd name="T91" fmla="*/ 2147483646 h 355"/>
              <a:gd name="T92" fmla="*/ 2147483646 w 422"/>
              <a:gd name="T93" fmla="*/ 2147483646 h 355"/>
              <a:gd name="T94" fmla="*/ 2147483646 w 422"/>
              <a:gd name="T95" fmla="*/ 2147483646 h 355"/>
              <a:gd name="T96" fmla="*/ 2147483646 w 422"/>
              <a:gd name="T97" fmla="*/ 2147483646 h 355"/>
              <a:gd name="T98" fmla="*/ 2147483646 w 422"/>
              <a:gd name="T99" fmla="*/ 2147483646 h 355"/>
              <a:gd name="T100" fmla="*/ 2147483646 w 422"/>
              <a:gd name="T101" fmla="*/ 2147483646 h 355"/>
              <a:gd name="T102" fmla="*/ 2147483646 w 422"/>
              <a:gd name="T103" fmla="*/ 2147483646 h 355"/>
              <a:gd name="T104" fmla="*/ 2147483646 w 422"/>
              <a:gd name="T105" fmla="*/ 2147483646 h 355"/>
              <a:gd name="T106" fmla="*/ 2147483646 w 422"/>
              <a:gd name="T107" fmla="*/ 2147483646 h 355"/>
              <a:gd name="T108" fmla="*/ 2147483646 w 422"/>
              <a:gd name="T109" fmla="*/ 2147483646 h 355"/>
              <a:gd name="T110" fmla="*/ 2147483646 w 422"/>
              <a:gd name="T111" fmla="*/ 2147483646 h 355"/>
              <a:gd name="T112" fmla="*/ 2147483646 w 422"/>
              <a:gd name="T113" fmla="*/ 2147483646 h 355"/>
              <a:gd name="T114" fmla="*/ 2147483646 w 422"/>
              <a:gd name="T115" fmla="*/ 2147483646 h 355"/>
              <a:gd name="T116" fmla="*/ 2147483646 w 422"/>
              <a:gd name="T117" fmla="*/ 2147483646 h 355"/>
              <a:gd name="T118" fmla="*/ 2147483646 w 422"/>
              <a:gd name="T119" fmla="*/ 2147483646 h 355"/>
              <a:gd name="T120" fmla="*/ 2147483646 w 422"/>
              <a:gd name="T121" fmla="*/ 2147483646 h 355"/>
              <a:gd name="T122" fmla="*/ 2147483646 w 422"/>
              <a:gd name="T123" fmla="*/ 2147483646 h 355"/>
              <a:gd name="T124" fmla="*/ 0 w 422"/>
              <a:gd name="T125" fmla="*/ 2147483646 h 3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22"/>
              <a:gd name="T190" fmla="*/ 0 h 355"/>
              <a:gd name="T191" fmla="*/ 422 w 422"/>
              <a:gd name="T192" fmla="*/ 355 h 35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22" h="355">
                <a:moveTo>
                  <a:pt x="0" y="177"/>
                </a:moveTo>
                <a:cubicBezTo>
                  <a:pt x="0" y="177"/>
                  <a:pt x="11" y="160"/>
                  <a:pt x="13" y="158"/>
                </a:cubicBezTo>
                <a:cubicBezTo>
                  <a:pt x="16" y="157"/>
                  <a:pt x="19" y="170"/>
                  <a:pt x="20" y="172"/>
                </a:cubicBezTo>
                <a:cubicBezTo>
                  <a:pt x="21" y="175"/>
                  <a:pt x="27" y="177"/>
                  <a:pt x="30" y="175"/>
                </a:cubicBezTo>
                <a:cubicBezTo>
                  <a:pt x="33" y="173"/>
                  <a:pt x="35" y="180"/>
                  <a:pt x="38" y="182"/>
                </a:cubicBezTo>
                <a:cubicBezTo>
                  <a:pt x="41" y="184"/>
                  <a:pt x="47" y="182"/>
                  <a:pt x="50" y="180"/>
                </a:cubicBezTo>
                <a:cubicBezTo>
                  <a:pt x="53" y="177"/>
                  <a:pt x="57" y="180"/>
                  <a:pt x="63" y="181"/>
                </a:cubicBezTo>
                <a:cubicBezTo>
                  <a:pt x="68" y="183"/>
                  <a:pt x="72" y="182"/>
                  <a:pt x="74" y="177"/>
                </a:cubicBezTo>
                <a:cubicBezTo>
                  <a:pt x="76" y="172"/>
                  <a:pt x="91" y="167"/>
                  <a:pt x="91" y="167"/>
                </a:cubicBezTo>
                <a:cubicBezTo>
                  <a:pt x="92" y="77"/>
                  <a:pt x="92" y="77"/>
                  <a:pt x="92" y="77"/>
                </a:cubicBezTo>
                <a:cubicBezTo>
                  <a:pt x="92" y="72"/>
                  <a:pt x="92" y="72"/>
                  <a:pt x="92" y="72"/>
                </a:cubicBezTo>
                <a:cubicBezTo>
                  <a:pt x="101" y="72"/>
                  <a:pt x="106" y="86"/>
                  <a:pt x="111" y="93"/>
                </a:cubicBezTo>
                <a:cubicBezTo>
                  <a:pt x="117" y="101"/>
                  <a:pt x="115" y="106"/>
                  <a:pt x="111" y="112"/>
                </a:cubicBezTo>
                <a:cubicBezTo>
                  <a:pt x="108" y="118"/>
                  <a:pt x="105" y="123"/>
                  <a:pt x="108" y="127"/>
                </a:cubicBezTo>
                <a:cubicBezTo>
                  <a:pt x="111" y="131"/>
                  <a:pt x="128" y="132"/>
                  <a:pt x="136" y="125"/>
                </a:cubicBezTo>
                <a:cubicBezTo>
                  <a:pt x="143" y="119"/>
                  <a:pt x="143" y="117"/>
                  <a:pt x="147" y="115"/>
                </a:cubicBezTo>
                <a:cubicBezTo>
                  <a:pt x="150" y="114"/>
                  <a:pt x="159" y="108"/>
                  <a:pt x="164" y="95"/>
                </a:cubicBezTo>
                <a:cubicBezTo>
                  <a:pt x="168" y="82"/>
                  <a:pt x="182" y="75"/>
                  <a:pt x="188" y="90"/>
                </a:cubicBezTo>
                <a:cubicBezTo>
                  <a:pt x="195" y="104"/>
                  <a:pt x="217" y="97"/>
                  <a:pt x="228" y="96"/>
                </a:cubicBezTo>
                <a:cubicBezTo>
                  <a:pt x="239" y="96"/>
                  <a:pt x="233" y="94"/>
                  <a:pt x="238" y="91"/>
                </a:cubicBezTo>
                <a:cubicBezTo>
                  <a:pt x="244" y="88"/>
                  <a:pt x="241" y="77"/>
                  <a:pt x="245" y="68"/>
                </a:cubicBezTo>
                <a:cubicBezTo>
                  <a:pt x="249" y="60"/>
                  <a:pt x="252" y="67"/>
                  <a:pt x="262" y="64"/>
                </a:cubicBezTo>
                <a:cubicBezTo>
                  <a:pt x="273" y="62"/>
                  <a:pt x="270" y="51"/>
                  <a:pt x="272" y="47"/>
                </a:cubicBezTo>
                <a:cubicBezTo>
                  <a:pt x="274" y="43"/>
                  <a:pt x="282" y="36"/>
                  <a:pt x="286" y="34"/>
                </a:cubicBezTo>
                <a:cubicBezTo>
                  <a:pt x="290" y="32"/>
                  <a:pt x="299" y="27"/>
                  <a:pt x="302" y="20"/>
                </a:cubicBezTo>
                <a:cubicBezTo>
                  <a:pt x="304" y="14"/>
                  <a:pt x="306" y="14"/>
                  <a:pt x="309" y="13"/>
                </a:cubicBezTo>
                <a:cubicBezTo>
                  <a:pt x="311" y="12"/>
                  <a:pt x="319" y="15"/>
                  <a:pt x="323" y="12"/>
                </a:cubicBezTo>
                <a:cubicBezTo>
                  <a:pt x="327" y="8"/>
                  <a:pt x="328" y="4"/>
                  <a:pt x="333" y="3"/>
                </a:cubicBezTo>
                <a:cubicBezTo>
                  <a:pt x="338" y="1"/>
                  <a:pt x="337" y="0"/>
                  <a:pt x="337" y="0"/>
                </a:cubicBezTo>
                <a:cubicBezTo>
                  <a:pt x="337" y="0"/>
                  <a:pt x="387" y="2"/>
                  <a:pt x="396" y="7"/>
                </a:cubicBezTo>
                <a:cubicBezTo>
                  <a:pt x="396" y="7"/>
                  <a:pt x="397" y="30"/>
                  <a:pt x="402" y="42"/>
                </a:cubicBezTo>
                <a:cubicBezTo>
                  <a:pt x="408" y="54"/>
                  <a:pt x="407" y="59"/>
                  <a:pt x="407" y="72"/>
                </a:cubicBezTo>
                <a:cubicBezTo>
                  <a:pt x="406" y="85"/>
                  <a:pt x="404" y="107"/>
                  <a:pt x="404" y="107"/>
                </a:cubicBezTo>
                <a:cubicBezTo>
                  <a:pt x="404" y="107"/>
                  <a:pt x="397" y="106"/>
                  <a:pt x="395" y="104"/>
                </a:cubicBezTo>
                <a:cubicBezTo>
                  <a:pt x="393" y="102"/>
                  <a:pt x="387" y="97"/>
                  <a:pt x="385" y="99"/>
                </a:cubicBezTo>
                <a:cubicBezTo>
                  <a:pt x="382" y="101"/>
                  <a:pt x="379" y="99"/>
                  <a:pt x="378" y="106"/>
                </a:cubicBezTo>
                <a:cubicBezTo>
                  <a:pt x="378" y="112"/>
                  <a:pt x="380" y="113"/>
                  <a:pt x="379" y="116"/>
                </a:cubicBezTo>
                <a:cubicBezTo>
                  <a:pt x="378" y="119"/>
                  <a:pt x="371" y="121"/>
                  <a:pt x="372" y="123"/>
                </a:cubicBezTo>
                <a:cubicBezTo>
                  <a:pt x="374" y="126"/>
                  <a:pt x="378" y="130"/>
                  <a:pt x="381" y="133"/>
                </a:cubicBezTo>
                <a:cubicBezTo>
                  <a:pt x="384" y="136"/>
                  <a:pt x="388" y="141"/>
                  <a:pt x="392" y="142"/>
                </a:cubicBezTo>
                <a:cubicBezTo>
                  <a:pt x="397" y="144"/>
                  <a:pt x="400" y="139"/>
                  <a:pt x="402" y="136"/>
                </a:cubicBezTo>
                <a:cubicBezTo>
                  <a:pt x="403" y="134"/>
                  <a:pt x="406" y="130"/>
                  <a:pt x="406" y="130"/>
                </a:cubicBezTo>
                <a:cubicBezTo>
                  <a:pt x="406" y="130"/>
                  <a:pt x="415" y="127"/>
                  <a:pt x="422" y="131"/>
                </a:cubicBezTo>
                <a:cubicBezTo>
                  <a:pt x="422" y="131"/>
                  <a:pt x="421" y="135"/>
                  <a:pt x="418" y="147"/>
                </a:cubicBezTo>
                <a:cubicBezTo>
                  <a:pt x="416" y="160"/>
                  <a:pt x="419" y="178"/>
                  <a:pt x="399" y="188"/>
                </a:cubicBezTo>
                <a:cubicBezTo>
                  <a:pt x="380" y="197"/>
                  <a:pt x="377" y="205"/>
                  <a:pt x="362" y="224"/>
                </a:cubicBezTo>
                <a:cubicBezTo>
                  <a:pt x="347" y="243"/>
                  <a:pt x="328" y="258"/>
                  <a:pt x="311" y="274"/>
                </a:cubicBezTo>
                <a:cubicBezTo>
                  <a:pt x="295" y="290"/>
                  <a:pt x="261" y="317"/>
                  <a:pt x="240" y="314"/>
                </a:cubicBezTo>
                <a:cubicBezTo>
                  <a:pt x="218" y="311"/>
                  <a:pt x="224" y="322"/>
                  <a:pt x="214" y="323"/>
                </a:cubicBezTo>
                <a:cubicBezTo>
                  <a:pt x="204" y="325"/>
                  <a:pt x="199" y="329"/>
                  <a:pt x="194" y="324"/>
                </a:cubicBezTo>
                <a:cubicBezTo>
                  <a:pt x="188" y="319"/>
                  <a:pt x="186" y="317"/>
                  <a:pt x="180" y="321"/>
                </a:cubicBezTo>
                <a:cubicBezTo>
                  <a:pt x="175" y="325"/>
                  <a:pt x="173" y="325"/>
                  <a:pt x="166" y="322"/>
                </a:cubicBezTo>
                <a:cubicBezTo>
                  <a:pt x="158" y="320"/>
                  <a:pt x="156" y="319"/>
                  <a:pt x="151" y="322"/>
                </a:cubicBezTo>
                <a:cubicBezTo>
                  <a:pt x="147" y="325"/>
                  <a:pt x="143" y="316"/>
                  <a:pt x="139" y="319"/>
                </a:cubicBezTo>
                <a:cubicBezTo>
                  <a:pt x="136" y="322"/>
                  <a:pt x="137" y="322"/>
                  <a:pt x="134" y="326"/>
                </a:cubicBezTo>
                <a:cubicBezTo>
                  <a:pt x="130" y="330"/>
                  <a:pt x="126" y="333"/>
                  <a:pt x="112" y="332"/>
                </a:cubicBezTo>
                <a:cubicBezTo>
                  <a:pt x="97" y="331"/>
                  <a:pt x="93" y="355"/>
                  <a:pt x="79" y="342"/>
                </a:cubicBezTo>
                <a:cubicBezTo>
                  <a:pt x="64" y="328"/>
                  <a:pt x="57" y="327"/>
                  <a:pt x="49" y="319"/>
                </a:cubicBezTo>
                <a:cubicBezTo>
                  <a:pt x="40" y="311"/>
                  <a:pt x="27" y="284"/>
                  <a:pt x="36" y="284"/>
                </a:cubicBezTo>
                <a:cubicBezTo>
                  <a:pt x="46" y="285"/>
                  <a:pt x="49" y="276"/>
                  <a:pt x="42" y="263"/>
                </a:cubicBezTo>
                <a:cubicBezTo>
                  <a:pt x="35" y="250"/>
                  <a:pt x="23" y="240"/>
                  <a:pt x="17" y="220"/>
                </a:cubicBezTo>
                <a:cubicBezTo>
                  <a:pt x="11" y="200"/>
                  <a:pt x="12" y="194"/>
                  <a:pt x="6" y="187"/>
                </a:cubicBezTo>
                <a:lnTo>
                  <a:pt x="0" y="177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2" name="Freeform 698"/>
          <p:cNvSpPr>
            <a:spLocks/>
          </p:cNvSpPr>
          <p:nvPr userDrawn="1"/>
        </p:nvSpPr>
        <p:spPr bwMode="auto">
          <a:xfrm>
            <a:off x="6239423" y="5706509"/>
            <a:ext cx="31827" cy="43552"/>
          </a:xfrm>
          <a:custGeom>
            <a:avLst/>
            <a:gdLst>
              <a:gd name="T0" fmla="*/ 2147483646 w 35"/>
              <a:gd name="T1" fmla="*/ 2147483646 h 47"/>
              <a:gd name="T2" fmla="*/ 2147483646 w 35"/>
              <a:gd name="T3" fmla="*/ 2147483646 h 47"/>
              <a:gd name="T4" fmla="*/ 2147483646 w 35"/>
              <a:gd name="T5" fmla="*/ 2147483646 h 47"/>
              <a:gd name="T6" fmla="*/ 2147483646 w 35"/>
              <a:gd name="T7" fmla="*/ 2147483646 h 47"/>
              <a:gd name="T8" fmla="*/ 2147483646 w 35"/>
              <a:gd name="T9" fmla="*/ 2147483646 h 47"/>
              <a:gd name="T10" fmla="*/ 2147483646 w 35"/>
              <a:gd name="T11" fmla="*/ 2147483646 h 47"/>
              <a:gd name="T12" fmla="*/ 2147483646 w 35"/>
              <a:gd name="T13" fmla="*/ 2147483646 h 47"/>
              <a:gd name="T14" fmla="*/ 2147483646 w 35"/>
              <a:gd name="T15" fmla="*/ 2147483646 h 47"/>
              <a:gd name="T16" fmla="*/ 2147483646 w 35"/>
              <a:gd name="T17" fmla="*/ 2147483646 h 47"/>
              <a:gd name="T18" fmla="*/ 2147483646 w 35"/>
              <a:gd name="T19" fmla="*/ 2147483646 h 47"/>
              <a:gd name="T20" fmla="*/ 2147483646 w 35"/>
              <a:gd name="T21" fmla="*/ 2147483646 h 4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5"/>
              <a:gd name="T34" fmla="*/ 0 h 47"/>
              <a:gd name="T35" fmla="*/ 35 w 35"/>
              <a:gd name="T36" fmla="*/ 47 h 4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5" h="47">
                <a:moveTo>
                  <a:pt x="35" y="33"/>
                </a:moveTo>
                <a:cubicBezTo>
                  <a:pt x="33" y="10"/>
                  <a:pt x="33" y="10"/>
                  <a:pt x="33" y="10"/>
                </a:cubicBezTo>
                <a:cubicBezTo>
                  <a:pt x="33" y="10"/>
                  <a:pt x="26" y="9"/>
                  <a:pt x="24" y="7"/>
                </a:cubicBezTo>
                <a:cubicBezTo>
                  <a:pt x="22" y="5"/>
                  <a:pt x="16" y="0"/>
                  <a:pt x="14" y="2"/>
                </a:cubicBezTo>
                <a:cubicBezTo>
                  <a:pt x="11" y="4"/>
                  <a:pt x="8" y="2"/>
                  <a:pt x="7" y="9"/>
                </a:cubicBezTo>
                <a:cubicBezTo>
                  <a:pt x="7" y="15"/>
                  <a:pt x="9" y="16"/>
                  <a:pt x="8" y="19"/>
                </a:cubicBezTo>
                <a:cubicBezTo>
                  <a:pt x="7" y="22"/>
                  <a:pt x="0" y="24"/>
                  <a:pt x="1" y="26"/>
                </a:cubicBezTo>
                <a:cubicBezTo>
                  <a:pt x="3" y="29"/>
                  <a:pt x="7" y="33"/>
                  <a:pt x="10" y="36"/>
                </a:cubicBezTo>
                <a:cubicBezTo>
                  <a:pt x="13" y="39"/>
                  <a:pt x="17" y="44"/>
                  <a:pt x="21" y="45"/>
                </a:cubicBezTo>
                <a:cubicBezTo>
                  <a:pt x="26" y="47"/>
                  <a:pt x="29" y="42"/>
                  <a:pt x="31" y="39"/>
                </a:cubicBezTo>
                <a:cubicBezTo>
                  <a:pt x="32" y="37"/>
                  <a:pt x="35" y="33"/>
                  <a:pt x="35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3" name="Freeform 699"/>
          <p:cNvSpPr>
            <a:spLocks/>
          </p:cNvSpPr>
          <p:nvPr userDrawn="1"/>
        </p:nvSpPr>
        <p:spPr bwMode="auto">
          <a:xfrm>
            <a:off x="6549316" y="5349716"/>
            <a:ext cx="204361" cy="366845"/>
          </a:xfrm>
          <a:custGeom>
            <a:avLst/>
            <a:gdLst>
              <a:gd name="T0" fmla="*/ 2147483646 w 219"/>
              <a:gd name="T1" fmla="*/ 2147483646 h 392"/>
              <a:gd name="T2" fmla="*/ 2147483646 w 219"/>
              <a:gd name="T3" fmla="*/ 2147483646 h 392"/>
              <a:gd name="T4" fmla="*/ 2147483646 w 219"/>
              <a:gd name="T5" fmla="*/ 2147483646 h 392"/>
              <a:gd name="T6" fmla="*/ 2147483646 w 219"/>
              <a:gd name="T7" fmla="*/ 2147483646 h 392"/>
              <a:gd name="T8" fmla="*/ 2147483646 w 219"/>
              <a:gd name="T9" fmla="*/ 2147483646 h 392"/>
              <a:gd name="T10" fmla="*/ 2147483646 w 219"/>
              <a:gd name="T11" fmla="*/ 2147483646 h 392"/>
              <a:gd name="T12" fmla="*/ 2147483646 w 219"/>
              <a:gd name="T13" fmla="*/ 2147483646 h 392"/>
              <a:gd name="T14" fmla="*/ 2147483646 w 219"/>
              <a:gd name="T15" fmla="*/ 2147483646 h 392"/>
              <a:gd name="T16" fmla="*/ 2147483646 w 219"/>
              <a:gd name="T17" fmla="*/ 2147483646 h 392"/>
              <a:gd name="T18" fmla="*/ 2147483646 w 219"/>
              <a:gd name="T19" fmla="*/ 2147483646 h 392"/>
              <a:gd name="T20" fmla="*/ 2147483646 w 219"/>
              <a:gd name="T21" fmla="*/ 2147483646 h 392"/>
              <a:gd name="T22" fmla="*/ 2147483646 w 219"/>
              <a:gd name="T23" fmla="*/ 2147483646 h 392"/>
              <a:gd name="T24" fmla="*/ 2147483646 w 219"/>
              <a:gd name="T25" fmla="*/ 2147483646 h 392"/>
              <a:gd name="T26" fmla="*/ 2147483646 w 219"/>
              <a:gd name="T27" fmla="*/ 2147483646 h 392"/>
              <a:gd name="T28" fmla="*/ 2147483646 w 219"/>
              <a:gd name="T29" fmla="*/ 2147483646 h 392"/>
              <a:gd name="T30" fmla="*/ 2147483646 w 219"/>
              <a:gd name="T31" fmla="*/ 2147483646 h 392"/>
              <a:gd name="T32" fmla="*/ 2147483646 w 219"/>
              <a:gd name="T33" fmla="*/ 2147483646 h 392"/>
              <a:gd name="T34" fmla="*/ 2147483646 w 219"/>
              <a:gd name="T35" fmla="*/ 2147483646 h 392"/>
              <a:gd name="T36" fmla="*/ 2147483646 w 219"/>
              <a:gd name="T37" fmla="*/ 2147483646 h 392"/>
              <a:gd name="T38" fmla="*/ 2147483646 w 219"/>
              <a:gd name="T39" fmla="*/ 2147483646 h 392"/>
              <a:gd name="T40" fmla="*/ 2147483646 w 219"/>
              <a:gd name="T41" fmla="*/ 2147483646 h 392"/>
              <a:gd name="T42" fmla="*/ 2147483646 w 219"/>
              <a:gd name="T43" fmla="*/ 2147483646 h 392"/>
              <a:gd name="T44" fmla="*/ 2147483646 w 219"/>
              <a:gd name="T45" fmla="*/ 2147483646 h 392"/>
              <a:gd name="T46" fmla="*/ 2147483646 w 219"/>
              <a:gd name="T47" fmla="*/ 2147483646 h 392"/>
              <a:gd name="T48" fmla="*/ 2147483646 w 219"/>
              <a:gd name="T49" fmla="*/ 2147483646 h 392"/>
              <a:gd name="T50" fmla="*/ 2147483646 w 219"/>
              <a:gd name="T51" fmla="*/ 2147483646 h 392"/>
              <a:gd name="T52" fmla="*/ 2147483646 w 219"/>
              <a:gd name="T53" fmla="*/ 2147483646 h 392"/>
              <a:gd name="T54" fmla="*/ 2147483646 w 219"/>
              <a:gd name="T55" fmla="*/ 2147483646 h 392"/>
              <a:gd name="T56" fmla="*/ 2147483646 w 219"/>
              <a:gd name="T57" fmla="*/ 2147483646 h 392"/>
              <a:gd name="T58" fmla="*/ 2147483646 w 219"/>
              <a:gd name="T59" fmla="*/ 0 h 392"/>
              <a:gd name="T60" fmla="*/ 2147483646 w 219"/>
              <a:gd name="T61" fmla="*/ 2147483646 h 392"/>
              <a:gd name="T62" fmla="*/ 2147483646 w 219"/>
              <a:gd name="T63" fmla="*/ 2147483646 h 392"/>
              <a:gd name="T64" fmla="*/ 2147483646 w 219"/>
              <a:gd name="T65" fmla="*/ 2147483646 h 392"/>
              <a:gd name="T66" fmla="*/ 2147483646 w 219"/>
              <a:gd name="T67" fmla="*/ 2147483646 h 392"/>
              <a:gd name="T68" fmla="*/ 2147483646 w 219"/>
              <a:gd name="T69" fmla="*/ 2147483646 h 392"/>
              <a:gd name="T70" fmla="*/ 2147483646 w 219"/>
              <a:gd name="T71" fmla="*/ 2147483646 h 392"/>
              <a:gd name="T72" fmla="*/ 2147483646 w 219"/>
              <a:gd name="T73" fmla="*/ 2147483646 h 392"/>
              <a:gd name="T74" fmla="*/ 2147483646 w 219"/>
              <a:gd name="T75" fmla="*/ 2147483646 h 392"/>
              <a:gd name="T76" fmla="*/ 2147483646 w 219"/>
              <a:gd name="T77" fmla="*/ 2147483646 h 392"/>
              <a:gd name="T78" fmla="*/ 2147483646 w 219"/>
              <a:gd name="T79" fmla="*/ 2147483646 h 392"/>
              <a:gd name="T80" fmla="*/ 2147483646 w 219"/>
              <a:gd name="T81" fmla="*/ 2147483646 h 392"/>
              <a:gd name="T82" fmla="*/ 2147483646 w 219"/>
              <a:gd name="T83" fmla="*/ 2147483646 h 392"/>
              <a:gd name="T84" fmla="*/ 2147483646 w 219"/>
              <a:gd name="T85" fmla="*/ 2147483646 h 392"/>
              <a:gd name="T86" fmla="*/ 2147483646 w 219"/>
              <a:gd name="T87" fmla="*/ 2147483646 h 392"/>
              <a:gd name="T88" fmla="*/ 2147483646 w 219"/>
              <a:gd name="T89" fmla="*/ 2147483646 h 392"/>
              <a:gd name="T90" fmla="*/ 2147483646 w 219"/>
              <a:gd name="T91" fmla="*/ 2147483646 h 392"/>
              <a:gd name="T92" fmla="*/ 2147483646 w 219"/>
              <a:gd name="T93" fmla="*/ 2147483646 h 392"/>
              <a:gd name="T94" fmla="*/ 2147483646 w 219"/>
              <a:gd name="T95" fmla="*/ 2147483646 h 392"/>
              <a:gd name="T96" fmla="*/ 2147483646 w 219"/>
              <a:gd name="T97" fmla="*/ 2147483646 h 392"/>
              <a:gd name="T98" fmla="*/ 2147483646 w 219"/>
              <a:gd name="T99" fmla="*/ 2147483646 h 392"/>
              <a:gd name="T100" fmla="*/ 2147483646 w 219"/>
              <a:gd name="T101" fmla="*/ 2147483646 h 392"/>
              <a:gd name="T102" fmla="*/ 2147483646 w 219"/>
              <a:gd name="T103" fmla="*/ 2147483646 h 392"/>
              <a:gd name="T104" fmla="*/ 2147483646 w 219"/>
              <a:gd name="T105" fmla="*/ 2147483646 h 392"/>
              <a:gd name="T106" fmla="*/ 2147483646 w 219"/>
              <a:gd name="T107" fmla="*/ 2147483646 h 392"/>
              <a:gd name="T108" fmla="*/ 2147483646 w 219"/>
              <a:gd name="T109" fmla="*/ 2147483646 h 392"/>
              <a:gd name="T110" fmla="*/ 2147483646 w 219"/>
              <a:gd name="T111" fmla="*/ 2147483646 h 3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19"/>
              <a:gd name="T169" fmla="*/ 0 h 392"/>
              <a:gd name="T170" fmla="*/ 219 w 219"/>
              <a:gd name="T171" fmla="*/ 392 h 39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19" h="392">
                <a:moveTo>
                  <a:pt x="63" y="122"/>
                </a:moveTo>
                <a:cubicBezTo>
                  <a:pt x="63" y="122"/>
                  <a:pt x="53" y="118"/>
                  <a:pt x="53" y="126"/>
                </a:cubicBezTo>
                <a:cubicBezTo>
                  <a:pt x="54" y="134"/>
                  <a:pt x="46" y="140"/>
                  <a:pt x="43" y="145"/>
                </a:cubicBezTo>
                <a:cubicBezTo>
                  <a:pt x="39" y="151"/>
                  <a:pt x="33" y="164"/>
                  <a:pt x="37" y="173"/>
                </a:cubicBezTo>
                <a:cubicBezTo>
                  <a:pt x="40" y="182"/>
                  <a:pt x="43" y="193"/>
                  <a:pt x="43" y="202"/>
                </a:cubicBezTo>
                <a:cubicBezTo>
                  <a:pt x="43" y="212"/>
                  <a:pt x="39" y="215"/>
                  <a:pt x="43" y="217"/>
                </a:cubicBezTo>
                <a:cubicBezTo>
                  <a:pt x="46" y="220"/>
                  <a:pt x="39" y="231"/>
                  <a:pt x="37" y="240"/>
                </a:cubicBezTo>
                <a:cubicBezTo>
                  <a:pt x="34" y="249"/>
                  <a:pt x="24" y="252"/>
                  <a:pt x="21" y="260"/>
                </a:cubicBezTo>
                <a:cubicBezTo>
                  <a:pt x="19" y="268"/>
                  <a:pt x="20" y="273"/>
                  <a:pt x="15" y="275"/>
                </a:cubicBezTo>
                <a:cubicBezTo>
                  <a:pt x="11" y="277"/>
                  <a:pt x="8" y="275"/>
                  <a:pt x="6" y="281"/>
                </a:cubicBezTo>
                <a:cubicBezTo>
                  <a:pt x="5" y="288"/>
                  <a:pt x="0" y="301"/>
                  <a:pt x="5" y="307"/>
                </a:cubicBezTo>
                <a:cubicBezTo>
                  <a:pt x="9" y="314"/>
                  <a:pt x="10" y="316"/>
                  <a:pt x="13" y="322"/>
                </a:cubicBezTo>
                <a:cubicBezTo>
                  <a:pt x="15" y="327"/>
                  <a:pt x="23" y="322"/>
                  <a:pt x="14" y="336"/>
                </a:cubicBezTo>
                <a:cubicBezTo>
                  <a:pt x="5" y="350"/>
                  <a:pt x="6" y="350"/>
                  <a:pt x="10" y="360"/>
                </a:cubicBezTo>
                <a:cubicBezTo>
                  <a:pt x="13" y="370"/>
                  <a:pt x="11" y="372"/>
                  <a:pt x="19" y="378"/>
                </a:cubicBezTo>
                <a:cubicBezTo>
                  <a:pt x="27" y="383"/>
                  <a:pt x="40" y="385"/>
                  <a:pt x="43" y="388"/>
                </a:cubicBezTo>
                <a:cubicBezTo>
                  <a:pt x="45" y="392"/>
                  <a:pt x="52" y="392"/>
                  <a:pt x="56" y="387"/>
                </a:cubicBezTo>
                <a:cubicBezTo>
                  <a:pt x="61" y="383"/>
                  <a:pt x="67" y="377"/>
                  <a:pt x="75" y="377"/>
                </a:cubicBezTo>
                <a:cubicBezTo>
                  <a:pt x="83" y="377"/>
                  <a:pt x="88" y="381"/>
                  <a:pt x="93" y="376"/>
                </a:cubicBezTo>
                <a:cubicBezTo>
                  <a:pt x="97" y="370"/>
                  <a:pt x="167" y="215"/>
                  <a:pt x="180" y="195"/>
                </a:cubicBezTo>
                <a:cubicBezTo>
                  <a:pt x="192" y="176"/>
                  <a:pt x="186" y="165"/>
                  <a:pt x="188" y="156"/>
                </a:cubicBezTo>
                <a:cubicBezTo>
                  <a:pt x="190" y="147"/>
                  <a:pt x="202" y="132"/>
                  <a:pt x="198" y="123"/>
                </a:cubicBezTo>
                <a:cubicBezTo>
                  <a:pt x="195" y="114"/>
                  <a:pt x="195" y="106"/>
                  <a:pt x="199" y="105"/>
                </a:cubicBezTo>
                <a:cubicBezTo>
                  <a:pt x="204" y="105"/>
                  <a:pt x="208" y="109"/>
                  <a:pt x="209" y="116"/>
                </a:cubicBezTo>
                <a:cubicBezTo>
                  <a:pt x="210" y="123"/>
                  <a:pt x="215" y="120"/>
                  <a:pt x="217" y="108"/>
                </a:cubicBezTo>
                <a:cubicBezTo>
                  <a:pt x="219" y="97"/>
                  <a:pt x="218" y="102"/>
                  <a:pt x="216" y="81"/>
                </a:cubicBezTo>
                <a:cubicBezTo>
                  <a:pt x="214" y="61"/>
                  <a:pt x="214" y="52"/>
                  <a:pt x="214" y="46"/>
                </a:cubicBezTo>
                <a:cubicBezTo>
                  <a:pt x="213" y="40"/>
                  <a:pt x="213" y="34"/>
                  <a:pt x="207" y="29"/>
                </a:cubicBezTo>
                <a:cubicBezTo>
                  <a:pt x="202" y="24"/>
                  <a:pt x="199" y="22"/>
                  <a:pt x="198" y="13"/>
                </a:cubicBezTo>
                <a:cubicBezTo>
                  <a:pt x="198" y="4"/>
                  <a:pt x="194" y="0"/>
                  <a:pt x="194" y="0"/>
                </a:cubicBezTo>
                <a:cubicBezTo>
                  <a:pt x="194" y="0"/>
                  <a:pt x="191" y="9"/>
                  <a:pt x="189" y="12"/>
                </a:cubicBezTo>
                <a:cubicBezTo>
                  <a:pt x="186" y="15"/>
                  <a:pt x="180" y="10"/>
                  <a:pt x="180" y="16"/>
                </a:cubicBezTo>
                <a:cubicBezTo>
                  <a:pt x="180" y="23"/>
                  <a:pt x="183" y="24"/>
                  <a:pt x="183" y="30"/>
                </a:cubicBezTo>
                <a:cubicBezTo>
                  <a:pt x="183" y="36"/>
                  <a:pt x="181" y="34"/>
                  <a:pt x="179" y="40"/>
                </a:cubicBezTo>
                <a:cubicBezTo>
                  <a:pt x="177" y="47"/>
                  <a:pt x="168" y="48"/>
                  <a:pt x="168" y="48"/>
                </a:cubicBezTo>
                <a:cubicBezTo>
                  <a:pt x="168" y="48"/>
                  <a:pt x="168" y="60"/>
                  <a:pt x="165" y="57"/>
                </a:cubicBezTo>
                <a:cubicBezTo>
                  <a:pt x="161" y="55"/>
                  <a:pt x="163" y="47"/>
                  <a:pt x="158" y="48"/>
                </a:cubicBezTo>
                <a:cubicBezTo>
                  <a:pt x="154" y="50"/>
                  <a:pt x="149" y="54"/>
                  <a:pt x="152" y="57"/>
                </a:cubicBezTo>
                <a:cubicBezTo>
                  <a:pt x="155" y="61"/>
                  <a:pt x="161" y="69"/>
                  <a:pt x="157" y="69"/>
                </a:cubicBezTo>
                <a:cubicBezTo>
                  <a:pt x="152" y="69"/>
                  <a:pt x="147" y="61"/>
                  <a:pt x="146" y="67"/>
                </a:cubicBezTo>
                <a:cubicBezTo>
                  <a:pt x="145" y="73"/>
                  <a:pt x="154" y="75"/>
                  <a:pt x="156" y="79"/>
                </a:cubicBezTo>
                <a:cubicBezTo>
                  <a:pt x="157" y="82"/>
                  <a:pt x="156" y="90"/>
                  <a:pt x="151" y="90"/>
                </a:cubicBezTo>
                <a:cubicBezTo>
                  <a:pt x="147" y="90"/>
                  <a:pt x="148" y="81"/>
                  <a:pt x="143" y="82"/>
                </a:cubicBezTo>
                <a:cubicBezTo>
                  <a:pt x="139" y="83"/>
                  <a:pt x="138" y="82"/>
                  <a:pt x="136" y="88"/>
                </a:cubicBezTo>
                <a:cubicBezTo>
                  <a:pt x="134" y="93"/>
                  <a:pt x="133" y="93"/>
                  <a:pt x="133" y="97"/>
                </a:cubicBezTo>
                <a:cubicBezTo>
                  <a:pt x="132" y="102"/>
                  <a:pt x="126" y="107"/>
                  <a:pt x="124" y="105"/>
                </a:cubicBezTo>
                <a:cubicBezTo>
                  <a:pt x="121" y="102"/>
                  <a:pt x="125" y="94"/>
                  <a:pt x="121" y="96"/>
                </a:cubicBezTo>
                <a:cubicBezTo>
                  <a:pt x="117" y="97"/>
                  <a:pt x="113" y="94"/>
                  <a:pt x="112" y="100"/>
                </a:cubicBezTo>
                <a:cubicBezTo>
                  <a:pt x="111" y="106"/>
                  <a:pt x="105" y="108"/>
                  <a:pt x="105" y="108"/>
                </a:cubicBezTo>
                <a:cubicBezTo>
                  <a:pt x="102" y="118"/>
                  <a:pt x="102" y="118"/>
                  <a:pt x="102" y="118"/>
                </a:cubicBezTo>
                <a:cubicBezTo>
                  <a:pt x="102" y="118"/>
                  <a:pt x="100" y="113"/>
                  <a:pt x="97" y="112"/>
                </a:cubicBezTo>
                <a:cubicBezTo>
                  <a:pt x="94" y="110"/>
                  <a:pt x="91" y="104"/>
                  <a:pt x="89" y="108"/>
                </a:cubicBezTo>
                <a:cubicBezTo>
                  <a:pt x="87" y="113"/>
                  <a:pt x="85" y="120"/>
                  <a:pt x="82" y="120"/>
                </a:cubicBezTo>
                <a:cubicBezTo>
                  <a:pt x="79" y="120"/>
                  <a:pt x="80" y="114"/>
                  <a:pt x="76" y="117"/>
                </a:cubicBezTo>
                <a:cubicBezTo>
                  <a:pt x="71" y="120"/>
                  <a:pt x="69" y="118"/>
                  <a:pt x="69" y="121"/>
                </a:cubicBezTo>
                <a:cubicBezTo>
                  <a:pt x="69" y="125"/>
                  <a:pt x="63" y="122"/>
                  <a:pt x="63" y="12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4" name="Freeform 700"/>
          <p:cNvSpPr>
            <a:spLocks/>
          </p:cNvSpPr>
          <p:nvPr userDrawn="1"/>
        </p:nvSpPr>
        <p:spPr bwMode="auto">
          <a:xfrm>
            <a:off x="6482311" y="5187231"/>
            <a:ext cx="16751" cy="18427"/>
          </a:xfrm>
          <a:custGeom>
            <a:avLst/>
            <a:gdLst>
              <a:gd name="T0" fmla="*/ 2147483646 w 18"/>
              <a:gd name="T1" fmla="*/ 0 h 19"/>
              <a:gd name="T2" fmla="*/ 2147483646 w 18"/>
              <a:gd name="T3" fmla="*/ 2147483646 h 19"/>
              <a:gd name="T4" fmla="*/ 2147483646 w 18"/>
              <a:gd name="T5" fmla="*/ 2147483646 h 19"/>
              <a:gd name="T6" fmla="*/ 2147483646 w 18"/>
              <a:gd name="T7" fmla="*/ 2147483646 h 19"/>
              <a:gd name="T8" fmla="*/ 2147483646 w 18"/>
              <a:gd name="T9" fmla="*/ 2147483646 h 19"/>
              <a:gd name="T10" fmla="*/ 2147483646 w 18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9"/>
              <a:gd name="T20" fmla="*/ 18 w 18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9">
                <a:moveTo>
                  <a:pt x="5" y="0"/>
                </a:moveTo>
                <a:cubicBezTo>
                  <a:pt x="0" y="3"/>
                  <a:pt x="0" y="9"/>
                  <a:pt x="3" y="12"/>
                </a:cubicBezTo>
                <a:cubicBezTo>
                  <a:pt x="5" y="15"/>
                  <a:pt x="8" y="19"/>
                  <a:pt x="11" y="18"/>
                </a:cubicBezTo>
                <a:cubicBezTo>
                  <a:pt x="15" y="18"/>
                  <a:pt x="18" y="12"/>
                  <a:pt x="18" y="10"/>
                </a:cubicBezTo>
                <a:cubicBezTo>
                  <a:pt x="18" y="9"/>
                  <a:pt x="17" y="4"/>
                  <a:pt x="14" y="4"/>
                </a:cubicBezTo>
                <a:cubicBezTo>
                  <a:pt x="11" y="4"/>
                  <a:pt x="5" y="0"/>
                  <a:pt x="5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5" name="Freeform 701"/>
          <p:cNvSpPr>
            <a:spLocks/>
          </p:cNvSpPr>
          <p:nvPr userDrawn="1"/>
        </p:nvSpPr>
        <p:spPr bwMode="auto">
          <a:xfrm>
            <a:off x="6494038" y="5162105"/>
            <a:ext cx="13401" cy="15075"/>
          </a:xfrm>
          <a:custGeom>
            <a:avLst/>
            <a:gdLst>
              <a:gd name="T0" fmla="*/ 2147483646 w 13"/>
              <a:gd name="T1" fmla="*/ 0 h 16"/>
              <a:gd name="T2" fmla="*/ 2147483646 w 13"/>
              <a:gd name="T3" fmla="*/ 2147483646 h 16"/>
              <a:gd name="T4" fmla="*/ 2147483646 w 13"/>
              <a:gd name="T5" fmla="*/ 2147483646 h 16"/>
              <a:gd name="T6" fmla="*/ 2147483646 w 13"/>
              <a:gd name="T7" fmla="*/ 2147483646 h 16"/>
              <a:gd name="T8" fmla="*/ 2147483646 w 13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16"/>
              <a:gd name="T17" fmla="*/ 13 w 13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16">
                <a:moveTo>
                  <a:pt x="8" y="0"/>
                </a:moveTo>
                <a:cubicBezTo>
                  <a:pt x="4" y="1"/>
                  <a:pt x="0" y="8"/>
                  <a:pt x="2" y="12"/>
                </a:cubicBezTo>
                <a:cubicBezTo>
                  <a:pt x="5" y="16"/>
                  <a:pt x="9" y="16"/>
                  <a:pt x="10" y="14"/>
                </a:cubicBezTo>
                <a:cubicBezTo>
                  <a:pt x="10" y="11"/>
                  <a:pt x="13" y="6"/>
                  <a:pt x="12" y="4"/>
                </a:cubicBezTo>
                <a:cubicBezTo>
                  <a:pt x="11" y="3"/>
                  <a:pt x="8" y="0"/>
                  <a:pt x="8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6" name="Freeform 702"/>
          <p:cNvSpPr>
            <a:spLocks/>
          </p:cNvSpPr>
          <p:nvPr userDrawn="1"/>
        </p:nvSpPr>
        <p:spPr bwMode="auto">
          <a:xfrm>
            <a:off x="6849158" y="5592604"/>
            <a:ext cx="13401" cy="18427"/>
          </a:xfrm>
          <a:custGeom>
            <a:avLst/>
            <a:gdLst>
              <a:gd name="T0" fmla="*/ 2147483646 w 15"/>
              <a:gd name="T1" fmla="*/ 2147483646 h 19"/>
              <a:gd name="T2" fmla="*/ 0 w 15"/>
              <a:gd name="T3" fmla="*/ 2147483646 h 19"/>
              <a:gd name="T4" fmla="*/ 2147483646 w 15"/>
              <a:gd name="T5" fmla="*/ 2147483646 h 19"/>
              <a:gd name="T6" fmla="*/ 2147483646 w 15"/>
              <a:gd name="T7" fmla="*/ 2147483646 h 19"/>
              <a:gd name="T8" fmla="*/ 2147483646 w 15"/>
              <a:gd name="T9" fmla="*/ 2147483646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"/>
              <a:gd name="T16" fmla="*/ 0 h 19"/>
              <a:gd name="T17" fmla="*/ 15 w 15"/>
              <a:gd name="T18" fmla="*/ 19 h 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" h="19">
                <a:moveTo>
                  <a:pt x="9" y="1"/>
                </a:moveTo>
                <a:cubicBezTo>
                  <a:pt x="5" y="2"/>
                  <a:pt x="0" y="0"/>
                  <a:pt x="0" y="7"/>
                </a:cubicBezTo>
                <a:cubicBezTo>
                  <a:pt x="0" y="14"/>
                  <a:pt x="3" y="17"/>
                  <a:pt x="5" y="18"/>
                </a:cubicBezTo>
                <a:cubicBezTo>
                  <a:pt x="8" y="19"/>
                  <a:pt x="13" y="16"/>
                  <a:pt x="14" y="13"/>
                </a:cubicBezTo>
                <a:cubicBezTo>
                  <a:pt x="15" y="11"/>
                  <a:pt x="9" y="1"/>
                  <a:pt x="9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7" name="Freeform 703"/>
          <p:cNvSpPr>
            <a:spLocks/>
          </p:cNvSpPr>
          <p:nvPr userDrawn="1"/>
        </p:nvSpPr>
        <p:spPr bwMode="auto">
          <a:xfrm>
            <a:off x="6899409" y="5577529"/>
            <a:ext cx="11725" cy="13401"/>
          </a:xfrm>
          <a:custGeom>
            <a:avLst/>
            <a:gdLst>
              <a:gd name="T0" fmla="*/ 2147483646 w 12"/>
              <a:gd name="T1" fmla="*/ 0 h 13"/>
              <a:gd name="T2" fmla="*/ 0 w 12"/>
              <a:gd name="T3" fmla="*/ 2147483646 h 13"/>
              <a:gd name="T4" fmla="*/ 2147483646 w 12"/>
              <a:gd name="T5" fmla="*/ 2147483646 h 13"/>
              <a:gd name="T6" fmla="*/ 2147483646 w 12"/>
              <a:gd name="T7" fmla="*/ 2147483646 h 13"/>
              <a:gd name="T8" fmla="*/ 2147483646 w 12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"/>
              <a:gd name="T16" fmla="*/ 0 h 13"/>
              <a:gd name="T17" fmla="*/ 12 w 12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" h="13">
                <a:moveTo>
                  <a:pt x="5" y="0"/>
                </a:moveTo>
                <a:cubicBezTo>
                  <a:pt x="2" y="0"/>
                  <a:pt x="0" y="0"/>
                  <a:pt x="0" y="6"/>
                </a:cubicBezTo>
                <a:cubicBezTo>
                  <a:pt x="1" y="11"/>
                  <a:pt x="5" y="13"/>
                  <a:pt x="7" y="13"/>
                </a:cubicBezTo>
                <a:cubicBezTo>
                  <a:pt x="9" y="12"/>
                  <a:pt x="12" y="6"/>
                  <a:pt x="12" y="6"/>
                </a:cubicBezTo>
                <a:lnTo>
                  <a:pt x="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8" name="Freeform 704"/>
          <p:cNvSpPr>
            <a:spLocks/>
          </p:cNvSpPr>
          <p:nvPr userDrawn="1"/>
        </p:nvSpPr>
        <p:spPr bwMode="auto">
          <a:xfrm>
            <a:off x="4874223" y="4545671"/>
            <a:ext cx="15076" cy="11725"/>
          </a:xfrm>
          <a:custGeom>
            <a:avLst/>
            <a:gdLst>
              <a:gd name="T0" fmla="*/ 2147483646 w 17"/>
              <a:gd name="T1" fmla="*/ 0 h 12"/>
              <a:gd name="T2" fmla="*/ 2147483646 w 17"/>
              <a:gd name="T3" fmla="*/ 2147483646 h 12"/>
              <a:gd name="T4" fmla="*/ 2147483646 w 17"/>
              <a:gd name="T5" fmla="*/ 2147483646 h 12"/>
              <a:gd name="T6" fmla="*/ 2147483646 w 17"/>
              <a:gd name="T7" fmla="*/ 0 h 12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2"/>
              <a:gd name="T14" fmla="*/ 17 w 17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2">
                <a:moveTo>
                  <a:pt x="11" y="0"/>
                </a:moveTo>
                <a:cubicBezTo>
                  <a:pt x="7" y="1"/>
                  <a:pt x="0" y="5"/>
                  <a:pt x="6" y="9"/>
                </a:cubicBezTo>
                <a:cubicBezTo>
                  <a:pt x="12" y="12"/>
                  <a:pt x="17" y="6"/>
                  <a:pt x="17" y="6"/>
                </a:cubicBezTo>
                <a:lnTo>
                  <a:pt x="11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9" name="Freeform 705"/>
          <p:cNvSpPr>
            <a:spLocks/>
          </p:cNvSpPr>
          <p:nvPr userDrawn="1"/>
        </p:nvSpPr>
        <p:spPr bwMode="auto">
          <a:xfrm>
            <a:off x="4909400" y="4564097"/>
            <a:ext cx="10051" cy="8376"/>
          </a:xfrm>
          <a:custGeom>
            <a:avLst/>
            <a:gdLst>
              <a:gd name="T0" fmla="*/ 2147483646 w 11"/>
              <a:gd name="T1" fmla="*/ 0 h 8"/>
              <a:gd name="T2" fmla="*/ 2147483646 w 11"/>
              <a:gd name="T3" fmla="*/ 2147483646 h 8"/>
              <a:gd name="T4" fmla="*/ 2147483646 w 11"/>
              <a:gd name="T5" fmla="*/ 2147483646 h 8"/>
              <a:gd name="T6" fmla="*/ 2147483646 w 11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  <a:gd name="T12" fmla="*/ 0 w 11"/>
              <a:gd name="T13" fmla="*/ 0 h 8"/>
              <a:gd name="T14" fmla="*/ 11 w 11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" h="8">
                <a:moveTo>
                  <a:pt x="8" y="0"/>
                </a:moveTo>
                <a:cubicBezTo>
                  <a:pt x="6" y="0"/>
                  <a:pt x="0" y="4"/>
                  <a:pt x="4" y="6"/>
                </a:cubicBezTo>
                <a:cubicBezTo>
                  <a:pt x="8" y="8"/>
                  <a:pt x="11" y="4"/>
                  <a:pt x="11" y="4"/>
                </a:cubicBezTo>
                <a:lnTo>
                  <a:pt x="8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0" name="Freeform 706"/>
          <p:cNvSpPr>
            <a:spLocks/>
          </p:cNvSpPr>
          <p:nvPr userDrawn="1"/>
        </p:nvSpPr>
        <p:spPr bwMode="auto">
          <a:xfrm>
            <a:off x="6142268" y="5778540"/>
            <a:ext cx="63653" cy="56953"/>
          </a:xfrm>
          <a:custGeom>
            <a:avLst/>
            <a:gdLst>
              <a:gd name="T0" fmla="*/ 2147483646 w 69"/>
              <a:gd name="T1" fmla="*/ 2147483646 h 62"/>
              <a:gd name="T2" fmla="*/ 2147483646 w 69"/>
              <a:gd name="T3" fmla="*/ 2147483646 h 62"/>
              <a:gd name="T4" fmla="*/ 2147483646 w 69"/>
              <a:gd name="T5" fmla="*/ 2147483646 h 62"/>
              <a:gd name="T6" fmla="*/ 2147483646 w 69"/>
              <a:gd name="T7" fmla="*/ 2147483646 h 62"/>
              <a:gd name="T8" fmla="*/ 2147483646 w 69"/>
              <a:gd name="T9" fmla="*/ 2147483646 h 62"/>
              <a:gd name="T10" fmla="*/ 2147483646 w 69"/>
              <a:gd name="T11" fmla="*/ 2147483646 h 62"/>
              <a:gd name="T12" fmla="*/ 2147483646 w 69"/>
              <a:gd name="T13" fmla="*/ 2147483646 h 62"/>
              <a:gd name="T14" fmla="*/ 2147483646 w 69"/>
              <a:gd name="T15" fmla="*/ 2147483646 h 62"/>
              <a:gd name="T16" fmla="*/ 2147483646 w 69"/>
              <a:gd name="T17" fmla="*/ 2147483646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9"/>
              <a:gd name="T28" fmla="*/ 0 h 62"/>
              <a:gd name="T29" fmla="*/ 69 w 69"/>
              <a:gd name="T30" fmla="*/ 62 h 6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9" h="62">
                <a:moveTo>
                  <a:pt x="52" y="10"/>
                </a:moveTo>
                <a:cubicBezTo>
                  <a:pt x="48" y="3"/>
                  <a:pt x="48" y="0"/>
                  <a:pt x="36" y="3"/>
                </a:cubicBezTo>
                <a:cubicBezTo>
                  <a:pt x="25" y="6"/>
                  <a:pt x="6" y="16"/>
                  <a:pt x="7" y="20"/>
                </a:cubicBezTo>
                <a:cubicBezTo>
                  <a:pt x="8" y="24"/>
                  <a:pt x="2" y="29"/>
                  <a:pt x="1" y="32"/>
                </a:cubicBezTo>
                <a:cubicBezTo>
                  <a:pt x="0" y="35"/>
                  <a:pt x="3" y="48"/>
                  <a:pt x="8" y="55"/>
                </a:cubicBezTo>
                <a:cubicBezTo>
                  <a:pt x="14" y="61"/>
                  <a:pt x="23" y="62"/>
                  <a:pt x="31" y="53"/>
                </a:cubicBezTo>
                <a:cubicBezTo>
                  <a:pt x="38" y="44"/>
                  <a:pt x="45" y="49"/>
                  <a:pt x="52" y="44"/>
                </a:cubicBezTo>
                <a:cubicBezTo>
                  <a:pt x="59" y="39"/>
                  <a:pt x="69" y="30"/>
                  <a:pt x="66" y="26"/>
                </a:cubicBezTo>
                <a:cubicBezTo>
                  <a:pt x="64" y="22"/>
                  <a:pt x="52" y="10"/>
                  <a:pt x="52" y="1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1" name="Freeform 707"/>
          <p:cNvSpPr>
            <a:spLocks/>
          </p:cNvSpPr>
          <p:nvPr userDrawn="1"/>
        </p:nvSpPr>
        <p:spPr bwMode="auto">
          <a:xfrm>
            <a:off x="6293026" y="4068270"/>
            <a:ext cx="60303" cy="46903"/>
          </a:xfrm>
          <a:custGeom>
            <a:avLst/>
            <a:gdLst>
              <a:gd name="T0" fmla="*/ 2147483646 w 66"/>
              <a:gd name="T1" fmla="*/ 2147483646 h 49"/>
              <a:gd name="T2" fmla="*/ 2147483646 w 66"/>
              <a:gd name="T3" fmla="*/ 2147483646 h 49"/>
              <a:gd name="T4" fmla="*/ 2147483646 w 66"/>
              <a:gd name="T5" fmla="*/ 2147483646 h 49"/>
              <a:gd name="T6" fmla="*/ 2147483646 w 66"/>
              <a:gd name="T7" fmla="*/ 2147483646 h 49"/>
              <a:gd name="T8" fmla="*/ 2147483646 w 66"/>
              <a:gd name="T9" fmla="*/ 2147483646 h 49"/>
              <a:gd name="T10" fmla="*/ 2147483646 w 66"/>
              <a:gd name="T11" fmla="*/ 2147483646 h 49"/>
              <a:gd name="T12" fmla="*/ 2147483646 w 66"/>
              <a:gd name="T13" fmla="*/ 2147483646 h 49"/>
              <a:gd name="T14" fmla="*/ 2147483646 w 66"/>
              <a:gd name="T15" fmla="*/ 2147483646 h 49"/>
              <a:gd name="T16" fmla="*/ 2147483646 w 66"/>
              <a:gd name="T17" fmla="*/ 2147483646 h 49"/>
              <a:gd name="T18" fmla="*/ 2147483646 w 66"/>
              <a:gd name="T19" fmla="*/ 2147483646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6"/>
              <a:gd name="T31" fmla="*/ 0 h 49"/>
              <a:gd name="T32" fmla="*/ 66 w 66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6" h="49">
                <a:moveTo>
                  <a:pt x="25" y="21"/>
                </a:moveTo>
                <a:cubicBezTo>
                  <a:pt x="21" y="21"/>
                  <a:pt x="20" y="24"/>
                  <a:pt x="16" y="24"/>
                </a:cubicBezTo>
                <a:cubicBezTo>
                  <a:pt x="11" y="24"/>
                  <a:pt x="7" y="20"/>
                  <a:pt x="5" y="26"/>
                </a:cubicBezTo>
                <a:cubicBezTo>
                  <a:pt x="3" y="33"/>
                  <a:pt x="0" y="34"/>
                  <a:pt x="5" y="37"/>
                </a:cubicBezTo>
                <a:cubicBezTo>
                  <a:pt x="11" y="40"/>
                  <a:pt x="14" y="49"/>
                  <a:pt x="20" y="44"/>
                </a:cubicBezTo>
                <a:cubicBezTo>
                  <a:pt x="27" y="38"/>
                  <a:pt x="41" y="30"/>
                  <a:pt x="44" y="31"/>
                </a:cubicBezTo>
                <a:cubicBezTo>
                  <a:pt x="53" y="34"/>
                  <a:pt x="48" y="21"/>
                  <a:pt x="48" y="21"/>
                </a:cubicBezTo>
                <a:cubicBezTo>
                  <a:pt x="48" y="21"/>
                  <a:pt x="66" y="10"/>
                  <a:pt x="64" y="5"/>
                </a:cubicBezTo>
                <a:cubicBezTo>
                  <a:pt x="62" y="0"/>
                  <a:pt x="52" y="14"/>
                  <a:pt x="43" y="15"/>
                </a:cubicBezTo>
                <a:cubicBezTo>
                  <a:pt x="35" y="16"/>
                  <a:pt x="25" y="21"/>
                  <a:pt x="25" y="2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2" name="Freeform 708"/>
          <p:cNvSpPr>
            <a:spLocks/>
          </p:cNvSpPr>
          <p:nvPr userDrawn="1"/>
        </p:nvSpPr>
        <p:spPr bwMode="auto">
          <a:xfrm>
            <a:off x="6177444" y="1878924"/>
            <a:ext cx="3913016" cy="2038587"/>
          </a:xfrm>
          <a:custGeom>
            <a:avLst/>
            <a:gdLst>
              <a:gd name="T0" fmla="*/ 2147483646 w 4194"/>
              <a:gd name="T1" fmla="*/ 2147483646 h 2184"/>
              <a:gd name="T2" fmla="*/ 2147483646 w 4194"/>
              <a:gd name="T3" fmla="*/ 2147483646 h 2184"/>
              <a:gd name="T4" fmla="*/ 2147483646 w 4194"/>
              <a:gd name="T5" fmla="*/ 2147483646 h 2184"/>
              <a:gd name="T6" fmla="*/ 2147483646 w 4194"/>
              <a:gd name="T7" fmla="*/ 2147483646 h 2184"/>
              <a:gd name="T8" fmla="*/ 2147483646 w 4194"/>
              <a:gd name="T9" fmla="*/ 2147483646 h 2184"/>
              <a:gd name="T10" fmla="*/ 2147483646 w 4194"/>
              <a:gd name="T11" fmla="*/ 2147483646 h 2184"/>
              <a:gd name="T12" fmla="*/ 2147483646 w 4194"/>
              <a:gd name="T13" fmla="*/ 2147483646 h 2184"/>
              <a:gd name="T14" fmla="*/ 2147483646 w 4194"/>
              <a:gd name="T15" fmla="*/ 2147483646 h 2184"/>
              <a:gd name="T16" fmla="*/ 2147483646 w 4194"/>
              <a:gd name="T17" fmla="*/ 2147483646 h 2184"/>
              <a:gd name="T18" fmla="*/ 2147483646 w 4194"/>
              <a:gd name="T19" fmla="*/ 2147483646 h 2184"/>
              <a:gd name="T20" fmla="*/ 2147483646 w 4194"/>
              <a:gd name="T21" fmla="*/ 2147483646 h 2184"/>
              <a:gd name="T22" fmla="*/ 2147483646 w 4194"/>
              <a:gd name="T23" fmla="*/ 2147483646 h 2184"/>
              <a:gd name="T24" fmla="*/ 2147483646 w 4194"/>
              <a:gd name="T25" fmla="*/ 2147483646 h 2184"/>
              <a:gd name="T26" fmla="*/ 2147483646 w 4194"/>
              <a:gd name="T27" fmla="*/ 2147483646 h 2184"/>
              <a:gd name="T28" fmla="*/ 2147483646 w 4194"/>
              <a:gd name="T29" fmla="*/ 2147483646 h 2184"/>
              <a:gd name="T30" fmla="*/ 2147483646 w 4194"/>
              <a:gd name="T31" fmla="*/ 2147483646 h 2184"/>
              <a:gd name="T32" fmla="*/ 2147483646 w 4194"/>
              <a:gd name="T33" fmla="*/ 2147483646 h 2184"/>
              <a:gd name="T34" fmla="*/ 2147483646 w 4194"/>
              <a:gd name="T35" fmla="*/ 2147483646 h 2184"/>
              <a:gd name="T36" fmla="*/ 2147483646 w 4194"/>
              <a:gd name="T37" fmla="*/ 2147483646 h 2184"/>
              <a:gd name="T38" fmla="*/ 2147483646 w 4194"/>
              <a:gd name="T39" fmla="*/ 2147483646 h 2184"/>
              <a:gd name="T40" fmla="*/ 2147483646 w 4194"/>
              <a:gd name="T41" fmla="*/ 2147483646 h 2184"/>
              <a:gd name="T42" fmla="*/ 2147483646 w 4194"/>
              <a:gd name="T43" fmla="*/ 2147483646 h 2184"/>
              <a:gd name="T44" fmla="*/ 2147483646 w 4194"/>
              <a:gd name="T45" fmla="*/ 2147483646 h 2184"/>
              <a:gd name="T46" fmla="*/ 2147483646 w 4194"/>
              <a:gd name="T47" fmla="*/ 2147483646 h 2184"/>
              <a:gd name="T48" fmla="*/ 2147483646 w 4194"/>
              <a:gd name="T49" fmla="*/ 2147483646 h 2184"/>
              <a:gd name="T50" fmla="*/ 2147483646 w 4194"/>
              <a:gd name="T51" fmla="*/ 2147483646 h 2184"/>
              <a:gd name="T52" fmla="*/ 2147483646 w 4194"/>
              <a:gd name="T53" fmla="*/ 2147483646 h 2184"/>
              <a:gd name="T54" fmla="*/ 2147483646 w 4194"/>
              <a:gd name="T55" fmla="*/ 2147483646 h 2184"/>
              <a:gd name="T56" fmla="*/ 2147483646 w 4194"/>
              <a:gd name="T57" fmla="*/ 2147483646 h 2184"/>
              <a:gd name="T58" fmla="*/ 2147483646 w 4194"/>
              <a:gd name="T59" fmla="*/ 2147483646 h 2184"/>
              <a:gd name="T60" fmla="*/ 2147483646 w 4194"/>
              <a:gd name="T61" fmla="*/ 2147483646 h 2184"/>
              <a:gd name="T62" fmla="*/ 2147483646 w 4194"/>
              <a:gd name="T63" fmla="*/ 2147483646 h 2184"/>
              <a:gd name="T64" fmla="*/ 2147483646 w 4194"/>
              <a:gd name="T65" fmla="*/ 2147483646 h 2184"/>
              <a:gd name="T66" fmla="*/ 2147483646 w 4194"/>
              <a:gd name="T67" fmla="*/ 2147483646 h 2184"/>
              <a:gd name="T68" fmla="*/ 2147483646 w 4194"/>
              <a:gd name="T69" fmla="*/ 2147483646 h 2184"/>
              <a:gd name="T70" fmla="*/ 2147483646 w 4194"/>
              <a:gd name="T71" fmla="*/ 2147483646 h 2184"/>
              <a:gd name="T72" fmla="*/ 2147483646 w 4194"/>
              <a:gd name="T73" fmla="*/ 2147483646 h 2184"/>
              <a:gd name="T74" fmla="*/ 2147483646 w 4194"/>
              <a:gd name="T75" fmla="*/ 2147483646 h 2184"/>
              <a:gd name="T76" fmla="*/ 2147483646 w 4194"/>
              <a:gd name="T77" fmla="*/ 2147483646 h 2184"/>
              <a:gd name="T78" fmla="*/ 2147483646 w 4194"/>
              <a:gd name="T79" fmla="*/ 2147483646 h 2184"/>
              <a:gd name="T80" fmla="*/ 2147483646 w 4194"/>
              <a:gd name="T81" fmla="*/ 2147483646 h 2184"/>
              <a:gd name="T82" fmla="*/ 2147483646 w 4194"/>
              <a:gd name="T83" fmla="*/ 2147483646 h 2184"/>
              <a:gd name="T84" fmla="*/ 2147483646 w 4194"/>
              <a:gd name="T85" fmla="*/ 2147483646 h 2184"/>
              <a:gd name="T86" fmla="*/ 2147483646 w 4194"/>
              <a:gd name="T87" fmla="*/ 2147483646 h 2184"/>
              <a:gd name="T88" fmla="*/ 2147483646 w 4194"/>
              <a:gd name="T89" fmla="*/ 2147483646 h 2184"/>
              <a:gd name="T90" fmla="*/ 2147483646 w 4194"/>
              <a:gd name="T91" fmla="*/ 2147483646 h 2184"/>
              <a:gd name="T92" fmla="*/ 2147483646 w 4194"/>
              <a:gd name="T93" fmla="*/ 2147483646 h 2184"/>
              <a:gd name="T94" fmla="*/ 2147483646 w 4194"/>
              <a:gd name="T95" fmla="*/ 2147483646 h 2184"/>
              <a:gd name="T96" fmla="*/ 2147483646 w 4194"/>
              <a:gd name="T97" fmla="*/ 2147483646 h 2184"/>
              <a:gd name="T98" fmla="*/ 2147483646 w 4194"/>
              <a:gd name="T99" fmla="*/ 2147483646 h 2184"/>
              <a:gd name="T100" fmla="*/ 2147483646 w 4194"/>
              <a:gd name="T101" fmla="*/ 2147483646 h 2184"/>
              <a:gd name="T102" fmla="*/ 2147483646 w 4194"/>
              <a:gd name="T103" fmla="*/ 2147483646 h 2184"/>
              <a:gd name="T104" fmla="*/ 2147483646 w 4194"/>
              <a:gd name="T105" fmla="*/ 2147483646 h 2184"/>
              <a:gd name="T106" fmla="*/ 2147483646 w 4194"/>
              <a:gd name="T107" fmla="*/ 2147483646 h 2184"/>
              <a:gd name="T108" fmla="*/ 2147483646 w 4194"/>
              <a:gd name="T109" fmla="*/ 2147483646 h 2184"/>
              <a:gd name="T110" fmla="*/ 2147483646 w 4194"/>
              <a:gd name="T111" fmla="*/ 2147483646 h 2184"/>
              <a:gd name="T112" fmla="*/ 2147483646 w 4194"/>
              <a:gd name="T113" fmla="*/ 2147483646 h 2184"/>
              <a:gd name="T114" fmla="*/ 2147483646 w 4194"/>
              <a:gd name="T115" fmla="*/ 2147483646 h 2184"/>
              <a:gd name="T116" fmla="*/ 2147483646 w 4194"/>
              <a:gd name="T117" fmla="*/ 2147483646 h 2184"/>
              <a:gd name="T118" fmla="*/ 2147483646 w 4194"/>
              <a:gd name="T119" fmla="*/ 2147483646 h 218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194"/>
              <a:gd name="T181" fmla="*/ 0 h 2184"/>
              <a:gd name="T182" fmla="*/ 4194 w 4194"/>
              <a:gd name="T183" fmla="*/ 2184 h 218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194" h="2184">
                <a:moveTo>
                  <a:pt x="328" y="2092"/>
                </a:moveTo>
                <a:cubicBezTo>
                  <a:pt x="356" y="2083"/>
                  <a:pt x="394" y="2111"/>
                  <a:pt x="405" y="2112"/>
                </a:cubicBezTo>
                <a:cubicBezTo>
                  <a:pt x="417" y="2114"/>
                  <a:pt x="452" y="2122"/>
                  <a:pt x="472" y="2124"/>
                </a:cubicBezTo>
                <a:cubicBezTo>
                  <a:pt x="491" y="2125"/>
                  <a:pt x="482" y="2138"/>
                  <a:pt x="508" y="2161"/>
                </a:cubicBezTo>
                <a:cubicBezTo>
                  <a:pt x="534" y="2184"/>
                  <a:pt x="548" y="2171"/>
                  <a:pt x="540" y="2161"/>
                </a:cubicBezTo>
                <a:cubicBezTo>
                  <a:pt x="532" y="2151"/>
                  <a:pt x="534" y="2124"/>
                  <a:pt x="534" y="2124"/>
                </a:cubicBezTo>
                <a:cubicBezTo>
                  <a:pt x="534" y="2124"/>
                  <a:pt x="539" y="2104"/>
                  <a:pt x="527" y="2093"/>
                </a:cubicBezTo>
                <a:cubicBezTo>
                  <a:pt x="516" y="2081"/>
                  <a:pt x="517" y="2067"/>
                  <a:pt x="508" y="2049"/>
                </a:cubicBezTo>
                <a:cubicBezTo>
                  <a:pt x="498" y="2031"/>
                  <a:pt x="517" y="2013"/>
                  <a:pt x="521" y="1997"/>
                </a:cubicBezTo>
                <a:cubicBezTo>
                  <a:pt x="524" y="1980"/>
                  <a:pt x="532" y="2008"/>
                  <a:pt x="532" y="2008"/>
                </a:cubicBezTo>
                <a:cubicBezTo>
                  <a:pt x="532" y="2008"/>
                  <a:pt x="545" y="2008"/>
                  <a:pt x="552" y="1979"/>
                </a:cubicBezTo>
                <a:cubicBezTo>
                  <a:pt x="558" y="1950"/>
                  <a:pt x="550" y="1956"/>
                  <a:pt x="550" y="1956"/>
                </a:cubicBezTo>
                <a:cubicBezTo>
                  <a:pt x="550" y="1956"/>
                  <a:pt x="542" y="1946"/>
                  <a:pt x="527" y="1933"/>
                </a:cubicBezTo>
                <a:cubicBezTo>
                  <a:pt x="513" y="1920"/>
                  <a:pt x="501" y="1889"/>
                  <a:pt x="501" y="1889"/>
                </a:cubicBezTo>
                <a:cubicBezTo>
                  <a:pt x="501" y="1889"/>
                  <a:pt x="503" y="1871"/>
                  <a:pt x="527" y="1854"/>
                </a:cubicBezTo>
                <a:cubicBezTo>
                  <a:pt x="552" y="1836"/>
                  <a:pt x="558" y="1875"/>
                  <a:pt x="558" y="1875"/>
                </a:cubicBezTo>
                <a:cubicBezTo>
                  <a:pt x="558" y="1875"/>
                  <a:pt x="563" y="1870"/>
                  <a:pt x="555" y="1849"/>
                </a:cubicBezTo>
                <a:cubicBezTo>
                  <a:pt x="547" y="1828"/>
                  <a:pt x="574" y="1824"/>
                  <a:pt x="591" y="1811"/>
                </a:cubicBezTo>
                <a:cubicBezTo>
                  <a:pt x="607" y="1798"/>
                  <a:pt x="628" y="1787"/>
                  <a:pt x="654" y="1787"/>
                </a:cubicBezTo>
                <a:cubicBezTo>
                  <a:pt x="680" y="1787"/>
                  <a:pt x="674" y="1800"/>
                  <a:pt x="692" y="1810"/>
                </a:cubicBezTo>
                <a:cubicBezTo>
                  <a:pt x="709" y="1819"/>
                  <a:pt x="724" y="1829"/>
                  <a:pt x="724" y="1829"/>
                </a:cubicBezTo>
                <a:cubicBezTo>
                  <a:pt x="724" y="1829"/>
                  <a:pt x="742" y="1821"/>
                  <a:pt x="760" y="1800"/>
                </a:cubicBezTo>
                <a:cubicBezTo>
                  <a:pt x="778" y="1779"/>
                  <a:pt x="773" y="1813"/>
                  <a:pt x="779" y="1819"/>
                </a:cubicBezTo>
                <a:cubicBezTo>
                  <a:pt x="786" y="1826"/>
                  <a:pt x="802" y="1823"/>
                  <a:pt x="814" y="1810"/>
                </a:cubicBezTo>
                <a:cubicBezTo>
                  <a:pt x="825" y="1797"/>
                  <a:pt x="835" y="1813"/>
                  <a:pt x="835" y="1813"/>
                </a:cubicBezTo>
                <a:cubicBezTo>
                  <a:pt x="835" y="1813"/>
                  <a:pt x="857" y="1816"/>
                  <a:pt x="869" y="1815"/>
                </a:cubicBezTo>
                <a:cubicBezTo>
                  <a:pt x="880" y="1813"/>
                  <a:pt x="879" y="1808"/>
                  <a:pt x="879" y="1792"/>
                </a:cubicBezTo>
                <a:cubicBezTo>
                  <a:pt x="879" y="1775"/>
                  <a:pt x="857" y="1779"/>
                  <a:pt x="857" y="1779"/>
                </a:cubicBezTo>
                <a:cubicBezTo>
                  <a:pt x="857" y="1779"/>
                  <a:pt x="849" y="1751"/>
                  <a:pt x="853" y="1740"/>
                </a:cubicBezTo>
                <a:cubicBezTo>
                  <a:pt x="856" y="1728"/>
                  <a:pt x="879" y="1735"/>
                  <a:pt x="879" y="1735"/>
                </a:cubicBezTo>
                <a:cubicBezTo>
                  <a:pt x="884" y="1719"/>
                  <a:pt x="884" y="1719"/>
                  <a:pt x="884" y="1719"/>
                </a:cubicBezTo>
                <a:cubicBezTo>
                  <a:pt x="884" y="1719"/>
                  <a:pt x="884" y="1719"/>
                  <a:pt x="875" y="1686"/>
                </a:cubicBezTo>
                <a:cubicBezTo>
                  <a:pt x="867" y="1653"/>
                  <a:pt x="897" y="1679"/>
                  <a:pt x="923" y="1673"/>
                </a:cubicBezTo>
                <a:cubicBezTo>
                  <a:pt x="949" y="1666"/>
                  <a:pt x="963" y="1665"/>
                  <a:pt x="989" y="1662"/>
                </a:cubicBezTo>
                <a:cubicBezTo>
                  <a:pt x="1015" y="1658"/>
                  <a:pt x="1032" y="1657"/>
                  <a:pt x="1045" y="1644"/>
                </a:cubicBezTo>
                <a:cubicBezTo>
                  <a:pt x="1058" y="1631"/>
                  <a:pt x="1067" y="1640"/>
                  <a:pt x="1084" y="1637"/>
                </a:cubicBezTo>
                <a:cubicBezTo>
                  <a:pt x="1100" y="1634"/>
                  <a:pt x="1113" y="1631"/>
                  <a:pt x="1119" y="1652"/>
                </a:cubicBezTo>
                <a:cubicBezTo>
                  <a:pt x="1126" y="1673"/>
                  <a:pt x="1132" y="1666"/>
                  <a:pt x="1146" y="1665"/>
                </a:cubicBezTo>
                <a:cubicBezTo>
                  <a:pt x="1159" y="1663"/>
                  <a:pt x="1175" y="1675"/>
                  <a:pt x="1189" y="1684"/>
                </a:cubicBezTo>
                <a:cubicBezTo>
                  <a:pt x="1204" y="1694"/>
                  <a:pt x="1209" y="1694"/>
                  <a:pt x="1219" y="1694"/>
                </a:cubicBezTo>
                <a:cubicBezTo>
                  <a:pt x="1228" y="1694"/>
                  <a:pt x="1238" y="1679"/>
                  <a:pt x="1255" y="1663"/>
                </a:cubicBezTo>
                <a:cubicBezTo>
                  <a:pt x="1271" y="1647"/>
                  <a:pt x="1269" y="1662"/>
                  <a:pt x="1282" y="1662"/>
                </a:cubicBezTo>
                <a:cubicBezTo>
                  <a:pt x="1295" y="1662"/>
                  <a:pt x="1279" y="1684"/>
                  <a:pt x="1290" y="1704"/>
                </a:cubicBezTo>
                <a:cubicBezTo>
                  <a:pt x="1302" y="1723"/>
                  <a:pt x="1368" y="1826"/>
                  <a:pt x="1385" y="1826"/>
                </a:cubicBezTo>
                <a:cubicBezTo>
                  <a:pt x="1401" y="1826"/>
                  <a:pt x="1435" y="1823"/>
                  <a:pt x="1456" y="1826"/>
                </a:cubicBezTo>
                <a:cubicBezTo>
                  <a:pt x="1477" y="1829"/>
                  <a:pt x="1481" y="1854"/>
                  <a:pt x="1494" y="1860"/>
                </a:cubicBezTo>
                <a:cubicBezTo>
                  <a:pt x="1507" y="1867"/>
                  <a:pt x="1551" y="1871"/>
                  <a:pt x="1551" y="1871"/>
                </a:cubicBezTo>
                <a:cubicBezTo>
                  <a:pt x="1573" y="1852"/>
                  <a:pt x="1573" y="1852"/>
                  <a:pt x="1573" y="1852"/>
                </a:cubicBezTo>
                <a:cubicBezTo>
                  <a:pt x="1573" y="1852"/>
                  <a:pt x="1599" y="1852"/>
                  <a:pt x="1609" y="1842"/>
                </a:cubicBezTo>
                <a:cubicBezTo>
                  <a:pt x="1619" y="1832"/>
                  <a:pt x="1640" y="1811"/>
                  <a:pt x="1640" y="1811"/>
                </a:cubicBezTo>
                <a:cubicBezTo>
                  <a:pt x="1640" y="1811"/>
                  <a:pt x="1653" y="1815"/>
                  <a:pt x="1668" y="1823"/>
                </a:cubicBezTo>
                <a:cubicBezTo>
                  <a:pt x="1682" y="1831"/>
                  <a:pt x="1691" y="1818"/>
                  <a:pt x="1691" y="1818"/>
                </a:cubicBezTo>
                <a:cubicBezTo>
                  <a:pt x="1691" y="1818"/>
                  <a:pt x="1702" y="1821"/>
                  <a:pt x="1708" y="1824"/>
                </a:cubicBezTo>
                <a:cubicBezTo>
                  <a:pt x="1715" y="1828"/>
                  <a:pt x="1718" y="1842"/>
                  <a:pt x="1718" y="1842"/>
                </a:cubicBezTo>
                <a:cubicBezTo>
                  <a:pt x="1718" y="1842"/>
                  <a:pt x="1733" y="1844"/>
                  <a:pt x="1756" y="1850"/>
                </a:cubicBezTo>
                <a:cubicBezTo>
                  <a:pt x="1778" y="1857"/>
                  <a:pt x="1800" y="1858"/>
                  <a:pt x="1800" y="1858"/>
                </a:cubicBezTo>
                <a:cubicBezTo>
                  <a:pt x="1800" y="1858"/>
                  <a:pt x="1826" y="1858"/>
                  <a:pt x="1837" y="1847"/>
                </a:cubicBezTo>
                <a:cubicBezTo>
                  <a:pt x="1848" y="1836"/>
                  <a:pt x="1834" y="1826"/>
                  <a:pt x="1827" y="1816"/>
                </a:cubicBezTo>
                <a:cubicBezTo>
                  <a:pt x="1821" y="1806"/>
                  <a:pt x="1839" y="1764"/>
                  <a:pt x="1839" y="1764"/>
                </a:cubicBezTo>
                <a:cubicBezTo>
                  <a:pt x="1839" y="1764"/>
                  <a:pt x="1850" y="1756"/>
                  <a:pt x="1866" y="1761"/>
                </a:cubicBezTo>
                <a:cubicBezTo>
                  <a:pt x="1883" y="1766"/>
                  <a:pt x="1892" y="1759"/>
                  <a:pt x="1907" y="1774"/>
                </a:cubicBezTo>
                <a:cubicBezTo>
                  <a:pt x="1922" y="1788"/>
                  <a:pt x="1922" y="1813"/>
                  <a:pt x="1922" y="1813"/>
                </a:cubicBezTo>
                <a:cubicBezTo>
                  <a:pt x="1922" y="1813"/>
                  <a:pt x="1938" y="1829"/>
                  <a:pt x="1953" y="1837"/>
                </a:cubicBezTo>
                <a:cubicBezTo>
                  <a:pt x="1967" y="1845"/>
                  <a:pt x="1977" y="1837"/>
                  <a:pt x="2001" y="1824"/>
                </a:cubicBezTo>
                <a:cubicBezTo>
                  <a:pt x="2026" y="1811"/>
                  <a:pt x="2024" y="1824"/>
                  <a:pt x="2036" y="1824"/>
                </a:cubicBezTo>
                <a:cubicBezTo>
                  <a:pt x="2047" y="1824"/>
                  <a:pt x="2053" y="1845"/>
                  <a:pt x="2053" y="1845"/>
                </a:cubicBezTo>
                <a:cubicBezTo>
                  <a:pt x="2053" y="1845"/>
                  <a:pt x="2076" y="1857"/>
                  <a:pt x="2088" y="1865"/>
                </a:cubicBezTo>
                <a:cubicBezTo>
                  <a:pt x="2099" y="1873"/>
                  <a:pt x="2130" y="1868"/>
                  <a:pt x="2145" y="1870"/>
                </a:cubicBezTo>
                <a:cubicBezTo>
                  <a:pt x="2159" y="1871"/>
                  <a:pt x="2174" y="1870"/>
                  <a:pt x="2192" y="1860"/>
                </a:cubicBezTo>
                <a:cubicBezTo>
                  <a:pt x="2210" y="1850"/>
                  <a:pt x="2215" y="1842"/>
                  <a:pt x="2228" y="1847"/>
                </a:cubicBezTo>
                <a:cubicBezTo>
                  <a:pt x="2241" y="1852"/>
                  <a:pt x="2278" y="1850"/>
                  <a:pt x="2278" y="1850"/>
                </a:cubicBezTo>
                <a:cubicBezTo>
                  <a:pt x="2278" y="1850"/>
                  <a:pt x="2289" y="1871"/>
                  <a:pt x="2296" y="1876"/>
                </a:cubicBezTo>
                <a:cubicBezTo>
                  <a:pt x="2302" y="1881"/>
                  <a:pt x="2315" y="1871"/>
                  <a:pt x="2333" y="1870"/>
                </a:cubicBezTo>
                <a:cubicBezTo>
                  <a:pt x="2351" y="1868"/>
                  <a:pt x="2358" y="1831"/>
                  <a:pt x="2358" y="1831"/>
                </a:cubicBezTo>
                <a:cubicBezTo>
                  <a:pt x="2358" y="1831"/>
                  <a:pt x="2359" y="1816"/>
                  <a:pt x="2376" y="1802"/>
                </a:cubicBezTo>
                <a:cubicBezTo>
                  <a:pt x="2392" y="1787"/>
                  <a:pt x="2397" y="1764"/>
                  <a:pt x="2397" y="1764"/>
                </a:cubicBezTo>
                <a:cubicBezTo>
                  <a:pt x="2397" y="1764"/>
                  <a:pt x="2397" y="1745"/>
                  <a:pt x="2392" y="1735"/>
                </a:cubicBezTo>
                <a:cubicBezTo>
                  <a:pt x="2387" y="1725"/>
                  <a:pt x="2410" y="1704"/>
                  <a:pt x="2410" y="1704"/>
                </a:cubicBezTo>
                <a:cubicBezTo>
                  <a:pt x="2410" y="1704"/>
                  <a:pt x="2429" y="1702"/>
                  <a:pt x="2462" y="1692"/>
                </a:cubicBezTo>
                <a:cubicBezTo>
                  <a:pt x="2494" y="1683"/>
                  <a:pt x="2491" y="1704"/>
                  <a:pt x="2525" y="1717"/>
                </a:cubicBezTo>
                <a:cubicBezTo>
                  <a:pt x="2559" y="1730"/>
                  <a:pt x="2548" y="1751"/>
                  <a:pt x="2551" y="1771"/>
                </a:cubicBezTo>
                <a:cubicBezTo>
                  <a:pt x="2555" y="1790"/>
                  <a:pt x="2571" y="1837"/>
                  <a:pt x="2584" y="1854"/>
                </a:cubicBezTo>
                <a:cubicBezTo>
                  <a:pt x="2597" y="1870"/>
                  <a:pt x="2605" y="1865"/>
                  <a:pt x="2610" y="1873"/>
                </a:cubicBezTo>
                <a:cubicBezTo>
                  <a:pt x="2615" y="1881"/>
                  <a:pt x="2628" y="1881"/>
                  <a:pt x="2638" y="1876"/>
                </a:cubicBezTo>
                <a:cubicBezTo>
                  <a:pt x="2647" y="1871"/>
                  <a:pt x="2667" y="1896"/>
                  <a:pt x="2667" y="1896"/>
                </a:cubicBezTo>
                <a:cubicBezTo>
                  <a:pt x="2667" y="1896"/>
                  <a:pt x="2670" y="1924"/>
                  <a:pt x="2678" y="1930"/>
                </a:cubicBezTo>
                <a:cubicBezTo>
                  <a:pt x="2686" y="1937"/>
                  <a:pt x="2701" y="1940"/>
                  <a:pt x="2712" y="1935"/>
                </a:cubicBezTo>
                <a:cubicBezTo>
                  <a:pt x="2724" y="1930"/>
                  <a:pt x="2751" y="1911"/>
                  <a:pt x="2751" y="1911"/>
                </a:cubicBezTo>
                <a:cubicBezTo>
                  <a:pt x="2751" y="1911"/>
                  <a:pt x="2763" y="1920"/>
                  <a:pt x="2766" y="1930"/>
                </a:cubicBezTo>
                <a:cubicBezTo>
                  <a:pt x="2769" y="1940"/>
                  <a:pt x="2773" y="1948"/>
                  <a:pt x="2766" y="1956"/>
                </a:cubicBezTo>
                <a:cubicBezTo>
                  <a:pt x="2760" y="1964"/>
                  <a:pt x="2751" y="1979"/>
                  <a:pt x="2751" y="1979"/>
                </a:cubicBezTo>
                <a:cubicBezTo>
                  <a:pt x="2751" y="1979"/>
                  <a:pt x="2745" y="2007"/>
                  <a:pt x="2734" y="2023"/>
                </a:cubicBezTo>
                <a:cubicBezTo>
                  <a:pt x="2722" y="2039"/>
                  <a:pt x="2711" y="2044"/>
                  <a:pt x="2693" y="2033"/>
                </a:cubicBezTo>
                <a:cubicBezTo>
                  <a:pt x="2675" y="2021"/>
                  <a:pt x="2670" y="2042"/>
                  <a:pt x="2670" y="2059"/>
                </a:cubicBezTo>
                <a:cubicBezTo>
                  <a:pt x="2670" y="2075"/>
                  <a:pt x="2672" y="2101"/>
                  <a:pt x="2662" y="2107"/>
                </a:cubicBezTo>
                <a:cubicBezTo>
                  <a:pt x="2652" y="2114"/>
                  <a:pt x="2660" y="2137"/>
                  <a:pt x="2660" y="2132"/>
                </a:cubicBezTo>
                <a:cubicBezTo>
                  <a:pt x="2660" y="2127"/>
                  <a:pt x="2668" y="2121"/>
                  <a:pt x="2687" y="2117"/>
                </a:cubicBezTo>
                <a:cubicBezTo>
                  <a:pt x="2706" y="2113"/>
                  <a:pt x="2715" y="2128"/>
                  <a:pt x="2739" y="2119"/>
                </a:cubicBezTo>
                <a:cubicBezTo>
                  <a:pt x="2763" y="2109"/>
                  <a:pt x="2805" y="2070"/>
                  <a:pt x="2821" y="2040"/>
                </a:cubicBezTo>
                <a:cubicBezTo>
                  <a:pt x="2838" y="2011"/>
                  <a:pt x="2872" y="1966"/>
                  <a:pt x="2902" y="1930"/>
                </a:cubicBezTo>
                <a:cubicBezTo>
                  <a:pt x="2931" y="1895"/>
                  <a:pt x="2909" y="1878"/>
                  <a:pt x="2909" y="1865"/>
                </a:cubicBezTo>
                <a:cubicBezTo>
                  <a:pt x="2909" y="1852"/>
                  <a:pt x="2916" y="1811"/>
                  <a:pt x="2916" y="1811"/>
                </a:cubicBezTo>
                <a:cubicBezTo>
                  <a:pt x="2920" y="1762"/>
                  <a:pt x="2920" y="1762"/>
                  <a:pt x="2920" y="1762"/>
                </a:cubicBezTo>
                <a:cubicBezTo>
                  <a:pt x="2920" y="1762"/>
                  <a:pt x="2920" y="1749"/>
                  <a:pt x="2926" y="1729"/>
                </a:cubicBezTo>
                <a:cubicBezTo>
                  <a:pt x="2931" y="1708"/>
                  <a:pt x="2928" y="1712"/>
                  <a:pt x="2909" y="1692"/>
                </a:cubicBezTo>
                <a:cubicBezTo>
                  <a:pt x="2890" y="1671"/>
                  <a:pt x="2902" y="1677"/>
                  <a:pt x="2881" y="1662"/>
                </a:cubicBezTo>
                <a:cubicBezTo>
                  <a:pt x="2861" y="1647"/>
                  <a:pt x="2875" y="1669"/>
                  <a:pt x="2862" y="1680"/>
                </a:cubicBezTo>
                <a:cubicBezTo>
                  <a:pt x="2849" y="1692"/>
                  <a:pt x="2853" y="1695"/>
                  <a:pt x="2840" y="1695"/>
                </a:cubicBezTo>
                <a:cubicBezTo>
                  <a:pt x="2827" y="1695"/>
                  <a:pt x="2827" y="1697"/>
                  <a:pt x="2832" y="1677"/>
                </a:cubicBezTo>
                <a:cubicBezTo>
                  <a:pt x="2838" y="1656"/>
                  <a:pt x="2823" y="1637"/>
                  <a:pt x="2812" y="1639"/>
                </a:cubicBezTo>
                <a:cubicBezTo>
                  <a:pt x="2801" y="1641"/>
                  <a:pt x="2805" y="1658"/>
                  <a:pt x="2786" y="1645"/>
                </a:cubicBezTo>
                <a:cubicBezTo>
                  <a:pt x="2767" y="1632"/>
                  <a:pt x="2851" y="1563"/>
                  <a:pt x="2872" y="1524"/>
                </a:cubicBezTo>
                <a:cubicBezTo>
                  <a:pt x="2892" y="1485"/>
                  <a:pt x="2935" y="1462"/>
                  <a:pt x="2952" y="1434"/>
                </a:cubicBezTo>
                <a:cubicBezTo>
                  <a:pt x="2969" y="1406"/>
                  <a:pt x="3013" y="1427"/>
                  <a:pt x="3021" y="1425"/>
                </a:cubicBezTo>
                <a:cubicBezTo>
                  <a:pt x="3028" y="1423"/>
                  <a:pt x="3026" y="1442"/>
                  <a:pt x="3026" y="1442"/>
                </a:cubicBezTo>
                <a:cubicBezTo>
                  <a:pt x="3026" y="1442"/>
                  <a:pt x="3049" y="1451"/>
                  <a:pt x="3056" y="1445"/>
                </a:cubicBezTo>
                <a:cubicBezTo>
                  <a:pt x="3064" y="1440"/>
                  <a:pt x="3079" y="1438"/>
                  <a:pt x="3079" y="1438"/>
                </a:cubicBezTo>
                <a:cubicBezTo>
                  <a:pt x="3088" y="1447"/>
                  <a:pt x="3095" y="1438"/>
                  <a:pt x="3114" y="1432"/>
                </a:cubicBezTo>
                <a:cubicBezTo>
                  <a:pt x="3133" y="1427"/>
                  <a:pt x="3125" y="1425"/>
                  <a:pt x="3127" y="1416"/>
                </a:cubicBezTo>
                <a:cubicBezTo>
                  <a:pt x="3129" y="1406"/>
                  <a:pt x="3161" y="1421"/>
                  <a:pt x="3166" y="1419"/>
                </a:cubicBezTo>
                <a:cubicBezTo>
                  <a:pt x="3172" y="1417"/>
                  <a:pt x="3185" y="1427"/>
                  <a:pt x="3185" y="1427"/>
                </a:cubicBezTo>
                <a:cubicBezTo>
                  <a:pt x="3178" y="1447"/>
                  <a:pt x="3178" y="1447"/>
                  <a:pt x="3178" y="1447"/>
                </a:cubicBezTo>
                <a:cubicBezTo>
                  <a:pt x="3207" y="1438"/>
                  <a:pt x="3207" y="1438"/>
                  <a:pt x="3207" y="1438"/>
                </a:cubicBezTo>
                <a:cubicBezTo>
                  <a:pt x="3207" y="1438"/>
                  <a:pt x="3224" y="1438"/>
                  <a:pt x="3230" y="1438"/>
                </a:cubicBezTo>
                <a:cubicBezTo>
                  <a:pt x="3235" y="1438"/>
                  <a:pt x="3280" y="1440"/>
                  <a:pt x="3280" y="1440"/>
                </a:cubicBezTo>
                <a:cubicBezTo>
                  <a:pt x="3278" y="1419"/>
                  <a:pt x="3278" y="1419"/>
                  <a:pt x="3278" y="1419"/>
                </a:cubicBezTo>
                <a:cubicBezTo>
                  <a:pt x="3278" y="1419"/>
                  <a:pt x="3263" y="1417"/>
                  <a:pt x="3252" y="1408"/>
                </a:cubicBezTo>
                <a:cubicBezTo>
                  <a:pt x="3241" y="1399"/>
                  <a:pt x="3256" y="1391"/>
                  <a:pt x="3273" y="1376"/>
                </a:cubicBezTo>
                <a:cubicBezTo>
                  <a:pt x="3289" y="1361"/>
                  <a:pt x="3293" y="1360"/>
                  <a:pt x="3297" y="1341"/>
                </a:cubicBezTo>
                <a:cubicBezTo>
                  <a:pt x="3301" y="1322"/>
                  <a:pt x="3327" y="1315"/>
                  <a:pt x="3344" y="1296"/>
                </a:cubicBezTo>
                <a:cubicBezTo>
                  <a:pt x="3360" y="1278"/>
                  <a:pt x="3401" y="1287"/>
                  <a:pt x="3422" y="1298"/>
                </a:cubicBezTo>
                <a:cubicBezTo>
                  <a:pt x="3422" y="1298"/>
                  <a:pt x="3420" y="1309"/>
                  <a:pt x="3418" y="1315"/>
                </a:cubicBezTo>
                <a:cubicBezTo>
                  <a:pt x="3416" y="1320"/>
                  <a:pt x="3405" y="1332"/>
                  <a:pt x="3405" y="1332"/>
                </a:cubicBezTo>
                <a:cubicBezTo>
                  <a:pt x="3405" y="1332"/>
                  <a:pt x="3409" y="1343"/>
                  <a:pt x="3414" y="1352"/>
                </a:cubicBezTo>
                <a:cubicBezTo>
                  <a:pt x="3420" y="1361"/>
                  <a:pt x="3426" y="1360"/>
                  <a:pt x="3433" y="1358"/>
                </a:cubicBezTo>
                <a:cubicBezTo>
                  <a:pt x="3441" y="1356"/>
                  <a:pt x="3444" y="1341"/>
                  <a:pt x="3446" y="1335"/>
                </a:cubicBezTo>
                <a:cubicBezTo>
                  <a:pt x="3448" y="1330"/>
                  <a:pt x="3454" y="1313"/>
                  <a:pt x="3454" y="1313"/>
                </a:cubicBezTo>
                <a:cubicBezTo>
                  <a:pt x="3470" y="1315"/>
                  <a:pt x="3470" y="1315"/>
                  <a:pt x="3470" y="1315"/>
                </a:cubicBezTo>
                <a:cubicBezTo>
                  <a:pt x="3470" y="1315"/>
                  <a:pt x="3487" y="1302"/>
                  <a:pt x="3485" y="1294"/>
                </a:cubicBezTo>
                <a:cubicBezTo>
                  <a:pt x="3483" y="1287"/>
                  <a:pt x="3480" y="1279"/>
                  <a:pt x="3476" y="1268"/>
                </a:cubicBezTo>
                <a:cubicBezTo>
                  <a:pt x="3472" y="1257"/>
                  <a:pt x="3489" y="1255"/>
                  <a:pt x="3495" y="1248"/>
                </a:cubicBezTo>
                <a:cubicBezTo>
                  <a:pt x="3500" y="1240"/>
                  <a:pt x="3519" y="1242"/>
                  <a:pt x="3534" y="1242"/>
                </a:cubicBezTo>
                <a:cubicBezTo>
                  <a:pt x="3549" y="1242"/>
                  <a:pt x="3538" y="1259"/>
                  <a:pt x="3524" y="1263"/>
                </a:cubicBezTo>
                <a:cubicBezTo>
                  <a:pt x="3511" y="1266"/>
                  <a:pt x="3508" y="1281"/>
                  <a:pt x="3508" y="1307"/>
                </a:cubicBezTo>
                <a:cubicBezTo>
                  <a:pt x="3508" y="1333"/>
                  <a:pt x="3511" y="1322"/>
                  <a:pt x="3504" y="1328"/>
                </a:cubicBezTo>
                <a:cubicBezTo>
                  <a:pt x="3497" y="1333"/>
                  <a:pt x="3500" y="1335"/>
                  <a:pt x="3467" y="1367"/>
                </a:cubicBezTo>
                <a:cubicBezTo>
                  <a:pt x="3433" y="1399"/>
                  <a:pt x="3444" y="1393"/>
                  <a:pt x="3444" y="1393"/>
                </a:cubicBezTo>
                <a:cubicBezTo>
                  <a:pt x="3444" y="1393"/>
                  <a:pt x="3427" y="1408"/>
                  <a:pt x="3416" y="1421"/>
                </a:cubicBezTo>
                <a:cubicBezTo>
                  <a:pt x="3405" y="1434"/>
                  <a:pt x="3386" y="1449"/>
                  <a:pt x="3386" y="1449"/>
                </a:cubicBezTo>
                <a:cubicBezTo>
                  <a:pt x="3379" y="1466"/>
                  <a:pt x="3379" y="1466"/>
                  <a:pt x="3379" y="1466"/>
                </a:cubicBezTo>
                <a:cubicBezTo>
                  <a:pt x="3379" y="1466"/>
                  <a:pt x="3373" y="1471"/>
                  <a:pt x="3364" y="1470"/>
                </a:cubicBezTo>
                <a:cubicBezTo>
                  <a:pt x="3355" y="1468"/>
                  <a:pt x="3357" y="1483"/>
                  <a:pt x="3357" y="1483"/>
                </a:cubicBezTo>
                <a:cubicBezTo>
                  <a:pt x="3357" y="1483"/>
                  <a:pt x="3355" y="1498"/>
                  <a:pt x="3347" y="1496"/>
                </a:cubicBezTo>
                <a:cubicBezTo>
                  <a:pt x="3340" y="1494"/>
                  <a:pt x="3342" y="1503"/>
                  <a:pt x="3327" y="1516"/>
                </a:cubicBezTo>
                <a:cubicBezTo>
                  <a:pt x="3312" y="1529"/>
                  <a:pt x="3323" y="1529"/>
                  <a:pt x="3312" y="1548"/>
                </a:cubicBezTo>
                <a:cubicBezTo>
                  <a:pt x="3301" y="1567"/>
                  <a:pt x="3308" y="1563"/>
                  <a:pt x="3282" y="1589"/>
                </a:cubicBezTo>
                <a:cubicBezTo>
                  <a:pt x="3256" y="1615"/>
                  <a:pt x="3282" y="1600"/>
                  <a:pt x="3289" y="1613"/>
                </a:cubicBezTo>
                <a:cubicBezTo>
                  <a:pt x="3297" y="1626"/>
                  <a:pt x="3303" y="1671"/>
                  <a:pt x="3303" y="1671"/>
                </a:cubicBezTo>
                <a:cubicBezTo>
                  <a:pt x="3303" y="1671"/>
                  <a:pt x="3299" y="1697"/>
                  <a:pt x="3295" y="1712"/>
                </a:cubicBezTo>
                <a:cubicBezTo>
                  <a:pt x="3291" y="1727"/>
                  <a:pt x="3299" y="1744"/>
                  <a:pt x="3299" y="1744"/>
                </a:cubicBezTo>
                <a:cubicBezTo>
                  <a:pt x="3299" y="1744"/>
                  <a:pt x="3304" y="1762"/>
                  <a:pt x="3304" y="1790"/>
                </a:cubicBezTo>
                <a:cubicBezTo>
                  <a:pt x="3304" y="1818"/>
                  <a:pt x="3316" y="1830"/>
                  <a:pt x="3316" y="1830"/>
                </a:cubicBezTo>
                <a:cubicBezTo>
                  <a:pt x="3329" y="1820"/>
                  <a:pt x="3329" y="1820"/>
                  <a:pt x="3329" y="1820"/>
                </a:cubicBezTo>
                <a:cubicBezTo>
                  <a:pt x="3329" y="1820"/>
                  <a:pt x="3336" y="1817"/>
                  <a:pt x="3340" y="1787"/>
                </a:cubicBezTo>
                <a:cubicBezTo>
                  <a:pt x="3344" y="1757"/>
                  <a:pt x="3347" y="1787"/>
                  <a:pt x="3364" y="1777"/>
                </a:cubicBezTo>
                <a:cubicBezTo>
                  <a:pt x="3381" y="1768"/>
                  <a:pt x="3366" y="1772"/>
                  <a:pt x="3375" y="1748"/>
                </a:cubicBezTo>
                <a:cubicBezTo>
                  <a:pt x="3385" y="1723"/>
                  <a:pt x="3381" y="1721"/>
                  <a:pt x="3381" y="1721"/>
                </a:cubicBezTo>
                <a:cubicBezTo>
                  <a:pt x="3381" y="1721"/>
                  <a:pt x="3388" y="1716"/>
                  <a:pt x="3400" y="1718"/>
                </a:cubicBezTo>
                <a:cubicBezTo>
                  <a:pt x="3411" y="1720"/>
                  <a:pt x="3420" y="1716"/>
                  <a:pt x="3424" y="1703"/>
                </a:cubicBezTo>
                <a:cubicBezTo>
                  <a:pt x="3427" y="1690"/>
                  <a:pt x="3416" y="1692"/>
                  <a:pt x="3416" y="1692"/>
                </a:cubicBezTo>
                <a:cubicBezTo>
                  <a:pt x="3416" y="1692"/>
                  <a:pt x="3416" y="1686"/>
                  <a:pt x="3420" y="1673"/>
                </a:cubicBezTo>
                <a:cubicBezTo>
                  <a:pt x="3424" y="1660"/>
                  <a:pt x="3435" y="1667"/>
                  <a:pt x="3435" y="1667"/>
                </a:cubicBezTo>
                <a:cubicBezTo>
                  <a:pt x="3441" y="1669"/>
                  <a:pt x="3459" y="1665"/>
                  <a:pt x="3459" y="1665"/>
                </a:cubicBezTo>
                <a:cubicBezTo>
                  <a:pt x="3459" y="1665"/>
                  <a:pt x="3470" y="1654"/>
                  <a:pt x="3465" y="1649"/>
                </a:cubicBezTo>
                <a:cubicBezTo>
                  <a:pt x="3459" y="1643"/>
                  <a:pt x="3457" y="1643"/>
                  <a:pt x="3448" y="1639"/>
                </a:cubicBezTo>
                <a:cubicBezTo>
                  <a:pt x="3439" y="1636"/>
                  <a:pt x="3441" y="1630"/>
                  <a:pt x="3442" y="1617"/>
                </a:cubicBezTo>
                <a:cubicBezTo>
                  <a:pt x="3444" y="1604"/>
                  <a:pt x="3450" y="1611"/>
                  <a:pt x="3452" y="1602"/>
                </a:cubicBezTo>
                <a:cubicBezTo>
                  <a:pt x="3454" y="1593"/>
                  <a:pt x="3459" y="1572"/>
                  <a:pt x="3459" y="1572"/>
                </a:cubicBezTo>
                <a:cubicBezTo>
                  <a:pt x="3467" y="1583"/>
                  <a:pt x="3467" y="1583"/>
                  <a:pt x="3467" y="1583"/>
                </a:cubicBezTo>
                <a:cubicBezTo>
                  <a:pt x="3467" y="1583"/>
                  <a:pt x="3482" y="1585"/>
                  <a:pt x="3487" y="1572"/>
                </a:cubicBezTo>
                <a:cubicBezTo>
                  <a:pt x="3493" y="1559"/>
                  <a:pt x="3487" y="1572"/>
                  <a:pt x="3487" y="1561"/>
                </a:cubicBezTo>
                <a:cubicBezTo>
                  <a:pt x="3487" y="1550"/>
                  <a:pt x="3482" y="1552"/>
                  <a:pt x="3472" y="1542"/>
                </a:cubicBezTo>
                <a:cubicBezTo>
                  <a:pt x="3463" y="1533"/>
                  <a:pt x="3474" y="1535"/>
                  <a:pt x="3483" y="1518"/>
                </a:cubicBezTo>
                <a:cubicBezTo>
                  <a:pt x="3493" y="1501"/>
                  <a:pt x="3461" y="1507"/>
                  <a:pt x="3461" y="1507"/>
                </a:cubicBezTo>
                <a:cubicBezTo>
                  <a:pt x="3461" y="1507"/>
                  <a:pt x="3455" y="1505"/>
                  <a:pt x="3469" y="1470"/>
                </a:cubicBezTo>
                <a:cubicBezTo>
                  <a:pt x="3482" y="1434"/>
                  <a:pt x="3487" y="1447"/>
                  <a:pt x="3493" y="1427"/>
                </a:cubicBezTo>
                <a:cubicBezTo>
                  <a:pt x="3498" y="1406"/>
                  <a:pt x="3511" y="1397"/>
                  <a:pt x="3511" y="1397"/>
                </a:cubicBezTo>
                <a:cubicBezTo>
                  <a:pt x="3511" y="1397"/>
                  <a:pt x="3517" y="1401"/>
                  <a:pt x="3524" y="1410"/>
                </a:cubicBezTo>
                <a:cubicBezTo>
                  <a:pt x="3532" y="1419"/>
                  <a:pt x="3545" y="1404"/>
                  <a:pt x="3545" y="1404"/>
                </a:cubicBezTo>
                <a:cubicBezTo>
                  <a:pt x="3549" y="1384"/>
                  <a:pt x="3549" y="1384"/>
                  <a:pt x="3549" y="1384"/>
                </a:cubicBezTo>
                <a:cubicBezTo>
                  <a:pt x="3564" y="1373"/>
                  <a:pt x="3564" y="1373"/>
                  <a:pt x="3564" y="1373"/>
                </a:cubicBezTo>
                <a:cubicBezTo>
                  <a:pt x="3564" y="1373"/>
                  <a:pt x="3562" y="1397"/>
                  <a:pt x="3573" y="1406"/>
                </a:cubicBezTo>
                <a:cubicBezTo>
                  <a:pt x="3584" y="1416"/>
                  <a:pt x="3580" y="1395"/>
                  <a:pt x="3590" y="1376"/>
                </a:cubicBezTo>
                <a:cubicBezTo>
                  <a:pt x="3599" y="1358"/>
                  <a:pt x="3607" y="1367"/>
                  <a:pt x="3631" y="1361"/>
                </a:cubicBezTo>
                <a:cubicBezTo>
                  <a:pt x="3655" y="1356"/>
                  <a:pt x="3661" y="1365"/>
                  <a:pt x="3670" y="1384"/>
                </a:cubicBezTo>
                <a:cubicBezTo>
                  <a:pt x="3679" y="1402"/>
                  <a:pt x="3676" y="1414"/>
                  <a:pt x="3687" y="1376"/>
                </a:cubicBezTo>
                <a:cubicBezTo>
                  <a:pt x="3698" y="1339"/>
                  <a:pt x="3746" y="1322"/>
                  <a:pt x="3763" y="1304"/>
                </a:cubicBezTo>
                <a:cubicBezTo>
                  <a:pt x="3780" y="1285"/>
                  <a:pt x="3791" y="1283"/>
                  <a:pt x="3799" y="1274"/>
                </a:cubicBezTo>
                <a:cubicBezTo>
                  <a:pt x="3806" y="1264"/>
                  <a:pt x="3838" y="1255"/>
                  <a:pt x="3838" y="1255"/>
                </a:cubicBezTo>
                <a:cubicBezTo>
                  <a:pt x="3838" y="1255"/>
                  <a:pt x="3864" y="1259"/>
                  <a:pt x="3877" y="1255"/>
                </a:cubicBezTo>
                <a:cubicBezTo>
                  <a:pt x="3890" y="1251"/>
                  <a:pt x="3916" y="1251"/>
                  <a:pt x="3916" y="1251"/>
                </a:cubicBezTo>
                <a:cubicBezTo>
                  <a:pt x="3916" y="1251"/>
                  <a:pt x="3916" y="1235"/>
                  <a:pt x="3901" y="1223"/>
                </a:cubicBezTo>
                <a:cubicBezTo>
                  <a:pt x="3886" y="1212"/>
                  <a:pt x="3888" y="1223"/>
                  <a:pt x="3870" y="1210"/>
                </a:cubicBezTo>
                <a:cubicBezTo>
                  <a:pt x="3851" y="1197"/>
                  <a:pt x="3881" y="1190"/>
                  <a:pt x="3881" y="1190"/>
                </a:cubicBezTo>
                <a:cubicBezTo>
                  <a:pt x="3881" y="1190"/>
                  <a:pt x="3883" y="1179"/>
                  <a:pt x="3877" y="1169"/>
                </a:cubicBezTo>
                <a:cubicBezTo>
                  <a:pt x="3871" y="1160"/>
                  <a:pt x="3851" y="1147"/>
                  <a:pt x="3851" y="1147"/>
                </a:cubicBezTo>
                <a:cubicBezTo>
                  <a:pt x="3851" y="1147"/>
                  <a:pt x="3838" y="1139"/>
                  <a:pt x="3856" y="1112"/>
                </a:cubicBezTo>
                <a:cubicBezTo>
                  <a:pt x="3875" y="1084"/>
                  <a:pt x="3873" y="1136"/>
                  <a:pt x="3873" y="1136"/>
                </a:cubicBezTo>
                <a:cubicBezTo>
                  <a:pt x="3873" y="1136"/>
                  <a:pt x="3886" y="1134"/>
                  <a:pt x="3901" y="1126"/>
                </a:cubicBezTo>
                <a:cubicBezTo>
                  <a:pt x="3916" y="1119"/>
                  <a:pt x="3937" y="1102"/>
                  <a:pt x="3937" y="1102"/>
                </a:cubicBezTo>
                <a:cubicBezTo>
                  <a:pt x="3937" y="1070"/>
                  <a:pt x="3937" y="1070"/>
                  <a:pt x="3937" y="1070"/>
                </a:cubicBezTo>
                <a:cubicBezTo>
                  <a:pt x="3937" y="1070"/>
                  <a:pt x="3929" y="1054"/>
                  <a:pt x="3929" y="1039"/>
                </a:cubicBezTo>
                <a:cubicBezTo>
                  <a:pt x="3929" y="1024"/>
                  <a:pt x="3963" y="1026"/>
                  <a:pt x="3963" y="1026"/>
                </a:cubicBezTo>
                <a:cubicBezTo>
                  <a:pt x="3963" y="1026"/>
                  <a:pt x="3961" y="1046"/>
                  <a:pt x="3955" y="1065"/>
                </a:cubicBezTo>
                <a:cubicBezTo>
                  <a:pt x="3950" y="1084"/>
                  <a:pt x="3974" y="1080"/>
                  <a:pt x="3974" y="1080"/>
                </a:cubicBezTo>
                <a:cubicBezTo>
                  <a:pt x="4022" y="1069"/>
                  <a:pt x="4022" y="1069"/>
                  <a:pt x="4022" y="1069"/>
                </a:cubicBezTo>
                <a:cubicBezTo>
                  <a:pt x="4022" y="1085"/>
                  <a:pt x="4022" y="1085"/>
                  <a:pt x="4022" y="1085"/>
                </a:cubicBezTo>
                <a:cubicBezTo>
                  <a:pt x="4036" y="1119"/>
                  <a:pt x="4036" y="1119"/>
                  <a:pt x="4036" y="1119"/>
                </a:cubicBezTo>
                <a:cubicBezTo>
                  <a:pt x="4036" y="1119"/>
                  <a:pt x="4050" y="1121"/>
                  <a:pt x="4064" y="1115"/>
                </a:cubicBezTo>
                <a:cubicBezTo>
                  <a:pt x="4077" y="1110"/>
                  <a:pt x="4075" y="1130"/>
                  <a:pt x="4084" y="1143"/>
                </a:cubicBezTo>
                <a:cubicBezTo>
                  <a:pt x="4093" y="1156"/>
                  <a:pt x="4105" y="1151"/>
                  <a:pt x="4114" y="1138"/>
                </a:cubicBezTo>
                <a:cubicBezTo>
                  <a:pt x="4123" y="1125"/>
                  <a:pt x="4105" y="1130"/>
                  <a:pt x="4133" y="1110"/>
                </a:cubicBezTo>
                <a:cubicBezTo>
                  <a:pt x="4160" y="1089"/>
                  <a:pt x="4134" y="1097"/>
                  <a:pt x="4131" y="1069"/>
                </a:cubicBezTo>
                <a:cubicBezTo>
                  <a:pt x="4131" y="1069"/>
                  <a:pt x="4149" y="1082"/>
                  <a:pt x="4162" y="1074"/>
                </a:cubicBezTo>
                <a:cubicBezTo>
                  <a:pt x="4175" y="1067"/>
                  <a:pt x="4179" y="1070"/>
                  <a:pt x="4187" y="1050"/>
                </a:cubicBezTo>
                <a:cubicBezTo>
                  <a:pt x="4194" y="1029"/>
                  <a:pt x="4172" y="1035"/>
                  <a:pt x="4164" y="1020"/>
                </a:cubicBezTo>
                <a:cubicBezTo>
                  <a:pt x="4157" y="1005"/>
                  <a:pt x="4144" y="979"/>
                  <a:pt x="4144" y="979"/>
                </a:cubicBezTo>
                <a:cubicBezTo>
                  <a:pt x="4127" y="973"/>
                  <a:pt x="4127" y="973"/>
                  <a:pt x="4127" y="973"/>
                </a:cubicBezTo>
                <a:cubicBezTo>
                  <a:pt x="4101" y="966"/>
                  <a:pt x="4101" y="966"/>
                  <a:pt x="4101" y="966"/>
                </a:cubicBezTo>
                <a:cubicBezTo>
                  <a:pt x="4101" y="966"/>
                  <a:pt x="4095" y="966"/>
                  <a:pt x="4078" y="973"/>
                </a:cubicBezTo>
                <a:cubicBezTo>
                  <a:pt x="4062" y="981"/>
                  <a:pt x="4078" y="985"/>
                  <a:pt x="4082" y="994"/>
                </a:cubicBezTo>
                <a:cubicBezTo>
                  <a:pt x="4086" y="1003"/>
                  <a:pt x="4073" y="1007"/>
                  <a:pt x="4073" y="1007"/>
                </a:cubicBezTo>
                <a:cubicBezTo>
                  <a:pt x="4073" y="1007"/>
                  <a:pt x="4056" y="1007"/>
                  <a:pt x="4060" y="951"/>
                </a:cubicBezTo>
                <a:cubicBezTo>
                  <a:pt x="4064" y="895"/>
                  <a:pt x="4045" y="936"/>
                  <a:pt x="4045" y="936"/>
                </a:cubicBezTo>
                <a:cubicBezTo>
                  <a:pt x="4045" y="936"/>
                  <a:pt x="4034" y="929"/>
                  <a:pt x="4019" y="906"/>
                </a:cubicBezTo>
                <a:cubicBezTo>
                  <a:pt x="4004" y="884"/>
                  <a:pt x="3981" y="878"/>
                  <a:pt x="3981" y="878"/>
                </a:cubicBezTo>
                <a:cubicBezTo>
                  <a:pt x="3981" y="878"/>
                  <a:pt x="3959" y="871"/>
                  <a:pt x="3950" y="856"/>
                </a:cubicBezTo>
                <a:cubicBezTo>
                  <a:pt x="3940" y="841"/>
                  <a:pt x="3918" y="822"/>
                  <a:pt x="3918" y="822"/>
                </a:cubicBezTo>
                <a:cubicBezTo>
                  <a:pt x="3918" y="822"/>
                  <a:pt x="3899" y="824"/>
                  <a:pt x="3883" y="815"/>
                </a:cubicBezTo>
                <a:cubicBezTo>
                  <a:pt x="3866" y="806"/>
                  <a:pt x="3864" y="811"/>
                  <a:pt x="3843" y="787"/>
                </a:cubicBezTo>
                <a:cubicBezTo>
                  <a:pt x="3823" y="763"/>
                  <a:pt x="3791" y="776"/>
                  <a:pt x="3791" y="776"/>
                </a:cubicBezTo>
                <a:cubicBezTo>
                  <a:pt x="3791" y="776"/>
                  <a:pt x="3767" y="783"/>
                  <a:pt x="3748" y="778"/>
                </a:cubicBezTo>
                <a:cubicBezTo>
                  <a:pt x="3730" y="772"/>
                  <a:pt x="3722" y="780"/>
                  <a:pt x="3722" y="780"/>
                </a:cubicBezTo>
                <a:cubicBezTo>
                  <a:pt x="3722" y="780"/>
                  <a:pt x="3707" y="780"/>
                  <a:pt x="3694" y="766"/>
                </a:cubicBezTo>
                <a:cubicBezTo>
                  <a:pt x="3681" y="753"/>
                  <a:pt x="3681" y="772"/>
                  <a:pt x="3674" y="774"/>
                </a:cubicBezTo>
                <a:cubicBezTo>
                  <a:pt x="3666" y="776"/>
                  <a:pt x="3672" y="794"/>
                  <a:pt x="3672" y="794"/>
                </a:cubicBezTo>
                <a:cubicBezTo>
                  <a:pt x="3687" y="806"/>
                  <a:pt x="3687" y="806"/>
                  <a:pt x="3687" y="806"/>
                </a:cubicBezTo>
                <a:cubicBezTo>
                  <a:pt x="3690" y="837"/>
                  <a:pt x="3690" y="837"/>
                  <a:pt x="3690" y="837"/>
                </a:cubicBezTo>
                <a:cubicBezTo>
                  <a:pt x="3690" y="837"/>
                  <a:pt x="3683" y="850"/>
                  <a:pt x="3674" y="856"/>
                </a:cubicBezTo>
                <a:cubicBezTo>
                  <a:pt x="3664" y="862"/>
                  <a:pt x="3657" y="865"/>
                  <a:pt x="3648" y="856"/>
                </a:cubicBezTo>
                <a:cubicBezTo>
                  <a:pt x="3638" y="847"/>
                  <a:pt x="3636" y="845"/>
                  <a:pt x="3623" y="835"/>
                </a:cubicBezTo>
                <a:cubicBezTo>
                  <a:pt x="3610" y="826"/>
                  <a:pt x="3629" y="811"/>
                  <a:pt x="3629" y="811"/>
                </a:cubicBezTo>
                <a:cubicBezTo>
                  <a:pt x="3629" y="811"/>
                  <a:pt x="3627" y="793"/>
                  <a:pt x="3612" y="785"/>
                </a:cubicBezTo>
                <a:cubicBezTo>
                  <a:pt x="3597" y="778"/>
                  <a:pt x="3605" y="793"/>
                  <a:pt x="3599" y="807"/>
                </a:cubicBezTo>
                <a:cubicBezTo>
                  <a:pt x="3593" y="822"/>
                  <a:pt x="3569" y="796"/>
                  <a:pt x="3539" y="798"/>
                </a:cubicBezTo>
                <a:cubicBezTo>
                  <a:pt x="3510" y="800"/>
                  <a:pt x="3524" y="806"/>
                  <a:pt x="3510" y="791"/>
                </a:cubicBezTo>
                <a:cubicBezTo>
                  <a:pt x="3495" y="776"/>
                  <a:pt x="3502" y="796"/>
                  <a:pt x="3483" y="789"/>
                </a:cubicBezTo>
                <a:cubicBezTo>
                  <a:pt x="3465" y="781"/>
                  <a:pt x="3465" y="783"/>
                  <a:pt x="3465" y="783"/>
                </a:cubicBezTo>
                <a:cubicBezTo>
                  <a:pt x="3465" y="783"/>
                  <a:pt x="3455" y="789"/>
                  <a:pt x="3450" y="804"/>
                </a:cubicBezTo>
                <a:cubicBezTo>
                  <a:pt x="3444" y="819"/>
                  <a:pt x="3459" y="826"/>
                  <a:pt x="3459" y="826"/>
                </a:cubicBezTo>
                <a:cubicBezTo>
                  <a:pt x="3448" y="862"/>
                  <a:pt x="3448" y="862"/>
                  <a:pt x="3448" y="862"/>
                </a:cubicBezTo>
                <a:cubicBezTo>
                  <a:pt x="3448" y="862"/>
                  <a:pt x="3439" y="860"/>
                  <a:pt x="3429" y="824"/>
                </a:cubicBezTo>
                <a:cubicBezTo>
                  <a:pt x="3420" y="789"/>
                  <a:pt x="3422" y="809"/>
                  <a:pt x="3411" y="802"/>
                </a:cubicBezTo>
                <a:cubicBezTo>
                  <a:pt x="3400" y="794"/>
                  <a:pt x="3398" y="776"/>
                  <a:pt x="3407" y="748"/>
                </a:cubicBezTo>
                <a:cubicBezTo>
                  <a:pt x="3416" y="720"/>
                  <a:pt x="3403" y="718"/>
                  <a:pt x="3394" y="705"/>
                </a:cubicBezTo>
                <a:cubicBezTo>
                  <a:pt x="3385" y="692"/>
                  <a:pt x="3377" y="690"/>
                  <a:pt x="3362" y="690"/>
                </a:cubicBezTo>
                <a:cubicBezTo>
                  <a:pt x="3347" y="690"/>
                  <a:pt x="3312" y="692"/>
                  <a:pt x="3312" y="692"/>
                </a:cubicBezTo>
                <a:cubicBezTo>
                  <a:pt x="3312" y="692"/>
                  <a:pt x="3250" y="701"/>
                  <a:pt x="3235" y="699"/>
                </a:cubicBezTo>
                <a:cubicBezTo>
                  <a:pt x="3220" y="697"/>
                  <a:pt x="3204" y="703"/>
                  <a:pt x="3204" y="703"/>
                </a:cubicBezTo>
                <a:cubicBezTo>
                  <a:pt x="3204" y="703"/>
                  <a:pt x="3209" y="677"/>
                  <a:pt x="3204" y="669"/>
                </a:cubicBezTo>
                <a:cubicBezTo>
                  <a:pt x="3198" y="662"/>
                  <a:pt x="3181" y="664"/>
                  <a:pt x="3179" y="653"/>
                </a:cubicBezTo>
                <a:cubicBezTo>
                  <a:pt x="3178" y="641"/>
                  <a:pt x="3163" y="636"/>
                  <a:pt x="3148" y="632"/>
                </a:cubicBezTo>
                <a:cubicBezTo>
                  <a:pt x="3133" y="628"/>
                  <a:pt x="3122" y="617"/>
                  <a:pt x="3120" y="608"/>
                </a:cubicBezTo>
                <a:cubicBezTo>
                  <a:pt x="3118" y="599"/>
                  <a:pt x="3142" y="612"/>
                  <a:pt x="3142" y="612"/>
                </a:cubicBezTo>
                <a:cubicBezTo>
                  <a:pt x="3142" y="612"/>
                  <a:pt x="3144" y="604"/>
                  <a:pt x="3153" y="586"/>
                </a:cubicBezTo>
                <a:cubicBezTo>
                  <a:pt x="3163" y="567"/>
                  <a:pt x="3142" y="578"/>
                  <a:pt x="3118" y="561"/>
                </a:cubicBezTo>
                <a:cubicBezTo>
                  <a:pt x="3094" y="544"/>
                  <a:pt x="3077" y="584"/>
                  <a:pt x="3077" y="584"/>
                </a:cubicBezTo>
                <a:cubicBezTo>
                  <a:pt x="3077" y="584"/>
                  <a:pt x="3073" y="589"/>
                  <a:pt x="3066" y="608"/>
                </a:cubicBezTo>
                <a:cubicBezTo>
                  <a:pt x="3058" y="627"/>
                  <a:pt x="3054" y="617"/>
                  <a:pt x="3034" y="621"/>
                </a:cubicBezTo>
                <a:cubicBezTo>
                  <a:pt x="3013" y="625"/>
                  <a:pt x="3023" y="628"/>
                  <a:pt x="3010" y="617"/>
                </a:cubicBezTo>
                <a:cubicBezTo>
                  <a:pt x="2997" y="606"/>
                  <a:pt x="3021" y="602"/>
                  <a:pt x="3021" y="602"/>
                </a:cubicBezTo>
                <a:cubicBezTo>
                  <a:pt x="3038" y="589"/>
                  <a:pt x="3038" y="589"/>
                  <a:pt x="3038" y="589"/>
                </a:cubicBezTo>
                <a:cubicBezTo>
                  <a:pt x="3038" y="589"/>
                  <a:pt x="3045" y="576"/>
                  <a:pt x="3010" y="580"/>
                </a:cubicBezTo>
                <a:cubicBezTo>
                  <a:pt x="2974" y="584"/>
                  <a:pt x="2997" y="569"/>
                  <a:pt x="2997" y="569"/>
                </a:cubicBezTo>
                <a:cubicBezTo>
                  <a:pt x="2997" y="569"/>
                  <a:pt x="3008" y="559"/>
                  <a:pt x="3008" y="541"/>
                </a:cubicBezTo>
                <a:cubicBezTo>
                  <a:pt x="3008" y="522"/>
                  <a:pt x="2997" y="544"/>
                  <a:pt x="2991" y="531"/>
                </a:cubicBezTo>
                <a:cubicBezTo>
                  <a:pt x="2985" y="518"/>
                  <a:pt x="2972" y="539"/>
                  <a:pt x="2972" y="539"/>
                </a:cubicBezTo>
                <a:cubicBezTo>
                  <a:pt x="2972" y="539"/>
                  <a:pt x="2966" y="544"/>
                  <a:pt x="2954" y="533"/>
                </a:cubicBezTo>
                <a:cubicBezTo>
                  <a:pt x="2942" y="522"/>
                  <a:pt x="2918" y="522"/>
                  <a:pt x="2918" y="522"/>
                </a:cubicBezTo>
                <a:cubicBezTo>
                  <a:pt x="2918" y="522"/>
                  <a:pt x="2918" y="522"/>
                  <a:pt x="2918" y="535"/>
                </a:cubicBezTo>
                <a:cubicBezTo>
                  <a:pt x="2918" y="548"/>
                  <a:pt x="2907" y="559"/>
                  <a:pt x="2907" y="559"/>
                </a:cubicBezTo>
                <a:cubicBezTo>
                  <a:pt x="2907" y="559"/>
                  <a:pt x="2907" y="559"/>
                  <a:pt x="2903" y="543"/>
                </a:cubicBezTo>
                <a:cubicBezTo>
                  <a:pt x="2900" y="526"/>
                  <a:pt x="2881" y="546"/>
                  <a:pt x="2881" y="546"/>
                </a:cubicBezTo>
                <a:cubicBezTo>
                  <a:pt x="2881" y="546"/>
                  <a:pt x="2881" y="561"/>
                  <a:pt x="2896" y="572"/>
                </a:cubicBezTo>
                <a:cubicBezTo>
                  <a:pt x="2910" y="584"/>
                  <a:pt x="2909" y="576"/>
                  <a:pt x="2909" y="576"/>
                </a:cubicBezTo>
                <a:cubicBezTo>
                  <a:pt x="2909" y="576"/>
                  <a:pt x="2907" y="587"/>
                  <a:pt x="2894" y="584"/>
                </a:cubicBezTo>
                <a:cubicBezTo>
                  <a:pt x="2881" y="580"/>
                  <a:pt x="2888" y="604"/>
                  <a:pt x="2888" y="604"/>
                </a:cubicBezTo>
                <a:cubicBezTo>
                  <a:pt x="2888" y="604"/>
                  <a:pt x="2890" y="612"/>
                  <a:pt x="2898" y="619"/>
                </a:cubicBezTo>
                <a:cubicBezTo>
                  <a:pt x="2905" y="627"/>
                  <a:pt x="2894" y="641"/>
                  <a:pt x="2894" y="641"/>
                </a:cubicBezTo>
                <a:cubicBezTo>
                  <a:pt x="2894" y="641"/>
                  <a:pt x="2881" y="645"/>
                  <a:pt x="2875" y="628"/>
                </a:cubicBezTo>
                <a:cubicBezTo>
                  <a:pt x="2869" y="612"/>
                  <a:pt x="2860" y="623"/>
                  <a:pt x="2860" y="623"/>
                </a:cubicBezTo>
                <a:cubicBezTo>
                  <a:pt x="2860" y="623"/>
                  <a:pt x="2851" y="632"/>
                  <a:pt x="2855" y="638"/>
                </a:cubicBezTo>
                <a:cubicBezTo>
                  <a:pt x="2859" y="643"/>
                  <a:pt x="2859" y="653"/>
                  <a:pt x="2860" y="666"/>
                </a:cubicBezTo>
                <a:cubicBezTo>
                  <a:pt x="2862" y="679"/>
                  <a:pt x="2842" y="662"/>
                  <a:pt x="2827" y="638"/>
                </a:cubicBezTo>
                <a:cubicBezTo>
                  <a:pt x="2812" y="614"/>
                  <a:pt x="2803" y="627"/>
                  <a:pt x="2803" y="627"/>
                </a:cubicBezTo>
                <a:cubicBezTo>
                  <a:pt x="2777" y="612"/>
                  <a:pt x="2777" y="612"/>
                  <a:pt x="2777" y="612"/>
                </a:cubicBezTo>
                <a:cubicBezTo>
                  <a:pt x="2777" y="612"/>
                  <a:pt x="2773" y="623"/>
                  <a:pt x="2771" y="628"/>
                </a:cubicBezTo>
                <a:cubicBezTo>
                  <a:pt x="2769" y="634"/>
                  <a:pt x="2752" y="641"/>
                  <a:pt x="2752" y="641"/>
                </a:cubicBezTo>
                <a:cubicBezTo>
                  <a:pt x="2752" y="641"/>
                  <a:pt x="2741" y="649"/>
                  <a:pt x="2728" y="632"/>
                </a:cubicBezTo>
                <a:cubicBezTo>
                  <a:pt x="2715" y="615"/>
                  <a:pt x="2726" y="625"/>
                  <a:pt x="2721" y="614"/>
                </a:cubicBezTo>
                <a:cubicBezTo>
                  <a:pt x="2715" y="602"/>
                  <a:pt x="2717" y="602"/>
                  <a:pt x="2706" y="606"/>
                </a:cubicBezTo>
                <a:cubicBezTo>
                  <a:pt x="2694" y="610"/>
                  <a:pt x="2708" y="614"/>
                  <a:pt x="2704" y="621"/>
                </a:cubicBezTo>
                <a:cubicBezTo>
                  <a:pt x="2700" y="628"/>
                  <a:pt x="2700" y="640"/>
                  <a:pt x="2700" y="649"/>
                </a:cubicBezTo>
                <a:cubicBezTo>
                  <a:pt x="2700" y="658"/>
                  <a:pt x="2696" y="669"/>
                  <a:pt x="2693" y="688"/>
                </a:cubicBezTo>
                <a:cubicBezTo>
                  <a:pt x="2689" y="707"/>
                  <a:pt x="2678" y="716"/>
                  <a:pt x="2678" y="716"/>
                </a:cubicBezTo>
                <a:cubicBezTo>
                  <a:pt x="2681" y="699"/>
                  <a:pt x="2653" y="684"/>
                  <a:pt x="2637" y="668"/>
                </a:cubicBezTo>
                <a:cubicBezTo>
                  <a:pt x="2620" y="651"/>
                  <a:pt x="2629" y="660"/>
                  <a:pt x="2620" y="641"/>
                </a:cubicBezTo>
                <a:cubicBezTo>
                  <a:pt x="2611" y="623"/>
                  <a:pt x="2620" y="625"/>
                  <a:pt x="2611" y="614"/>
                </a:cubicBezTo>
                <a:cubicBezTo>
                  <a:pt x="2601" y="602"/>
                  <a:pt x="2605" y="612"/>
                  <a:pt x="2592" y="604"/>
                </a:cubicBezTo>
                <a:cubicBezTo>
                  <a:pt x="2579" y="597"/>
                  <a:pt x="2597" y="571"/>
                  <a:pt x="2597" y="571"/>
                </a:cubicBezTo>
                <a:cubicBezTo>
                  <a:pt x="2616" y="543"/>
                  <a:pt x="2616" y="543"/>
                  <a:pt x="2616" y="543"/>
                </a:cubicBezTo>
                <a:cubicBezTo>
                  <a:pt x="2616" y="543"/>
                  <a:pt x="2624" y="531"/>
                  <a:pt x="2618" y="507"/>
                </a:cubicBezTo>
                <a:cubicBezTo>
                  <a:pt x="2612" y="483"/>
                  <a:pt x="2603" y="492"/>
                  <a:pt x="2590" y="489"/>
                </a:cubicBezTo>
                <a:cubicBezTo>
                  <a:pt x="2577" y="485"/>
                  <a:pt x="2562" y="492"/>
                  <a:pt x="2534" y="464"/>
                </a:cubicBezTo>
                <a:cubicBezTo>
                  <a:pt x="2506" y="436"/>
                  <a:pt x="2514" y="438"/>
                  <a:pt x="2514" y="438"/>
                </a:cubicBezTo>
                <a:cubicBezTo>
                  <a:pt x="2491" y="431"/>
                  <a:pt x="2491" y="431"/>
                  <a:pt x="2491" y="431"/>
                </a:cubicBezTo>
                <a:cubicBezTo>
                  <a:pt x="2461" y="444"/>
                  <a:pt x="2461" y="444"/>
                  <a:pt x="2461" y="444"/>
                </a:cubicBezTo>
                <a:cubicBezTo>
                  <a:pt x="2461" y="444"/>
                  <a:pt x="2452" y="457"/>
                  <a:pt x="2458" y="472"/>
                </a:cubicBezTo>
                <a:cubicBezTo>
                  <a:pt x="2463" y="487"/>
                  <a:pt x="2458" y="483"/>
                  <a:pt x="2471" y="487"/>
                </a:cubicBezTo>
                <a:cubicBezTo>
                  <a:pt x="2484" y="490"/>
                  <a:pt x="2473" y="503"/>
                  <a:pt x="2473" y="503"/>
                </a:cubicBezTo>
                <a:cubicBezTo>
                  <a:pt x="2473" y="503"/>
                  <a:pt x="2467" y="513"/>
                  <a:pt x="2452" y="511"/>
                </a:cubicBezTo>
                <a:cubicBezTo>
                  <a:pt x="2437" y="509"/>
                  <a:pt x="2452" y="511"/>
                  <a:pt x="2439" y="505"/>
                </a:cubicBezTo>
                <a:cubicBezTo>
                  <a:pt x="2426" y="500"/>
                  <a:pt x="2424" y="515"/>
                  <a:pt x="2396" y="500"/>
                </a:cubicBezTo>
                <a:cubicBezTo>
                  <a:pt x="2368" y="485"/>
                  <a:pt x="2357" y="500"/>
                  <a:pt x="2357" y="500"/>
                </a:cubicBezTo>
                <a:cubicBezTo>
                  <a:pt x="2357" y="500"/>
                  <a:pt x="2338" y="498"/>
                  <a:pt x="2342" y="483"/>
                </a:cubicBezTo>
                <a:cubicBezTo>
                  <a:pt x="2346" y="468"/>
                  <a:pt x="2348" y="459"/>
                  <a:pt x="2348" y="459"/>
                </a:cubicBezTo>
                <a:cubicBezTo>
                  <a:pt x="2348" y="459"/>
                  <a:pt x="2331" y="461"/>
                  <a:pt x="2323" y="459"/>
                </a:cubicBezTo>
                <a:cubicBezTo>
                  <a:pt x="2316" y="457"/>
                  <a:pt x="2299" y="448"/>
                  <a:pt x="2290" y="438"/>
                </a:cubicBezTo>
                <a:cubicBezTo>
                  <a:pt x="2280" y="429"/>
                  <a:pt x="2265" y="440"/>
                  <a:pt x="2265" y="440"/>
                </a:cubicBezTo>
                <a:cubicBezTo>
                  <a:pt x="2243" y="455"/>
                  <a:pt x="2243" y="455"/>
                  <a:pt x="2243" y="455"/>
                </a:cubicBezTo>
                <a:cubicBezTo>
                  <a:pt x="2243" y="455"/>
                  <a:pt x="2232" y="466"/>
                  <a:pt x="2226" y="475"/>
                </a:cubicBezTo>
                <a:cubicBezTo>
                  <a:pt x="2221" y="485"/>
                  <a:pt x="2223" y="490"/>
                  <a:pt x="2223" y="490"/>
                </a:cubicBezTo>
                <a:cubicBezTo>
                  <a:pt x="2224" y="513"/>
                  <a:pt x="2224" y="513"/>
                  <a:pt x="2224" y="513"/>
                </a:cubicBezTo>
                <a:cubicBezTo>
                  <a:pt x="2211" y="515"/>
                  <a:pt x="2211" y="515"/>
                  <a:pt x="2211" y="515"/>
                </a:cubicBezTo>
                <a:cubicBezTo>
                  <a:pt x="2211" y="515"/>
                  <a:pt x="2202" y="505"/>
                  <a:pt x="2206" y="494"/>
                </a:cubicBezTo>
                <a:cubicBezTo>
                  <a:pt x="2210" y="483"/>
                  <a:pt x="2208" y="483"/>
                  <a:pt x="2208" y="474"/>
                </a:cubicBezTo>
                <a:cubicBezTo>
                  <a:pt x="2208" y="464"/>
                  <a:pt x="2196" y="446"/>
                  <a:pt x="2200" y="451"/>
                </a:cubicBezTo>
                <a:cubicBezTo>
                  <a:pt x="2204" y="457"/>
                  <a:pt x="2176" y="453"/>
                  <a:pt x="2167" y="449"/>
                </a:cubicBezTo>
                <a:cubicBezTo>
                  <a:pt x="2157" y="446"/>
                  <a:pt x="2159" y="429"/>
                  <a:pt x="2159" y="429"/>
                </a:cubicBezTo>
                <a:cubicBezTo>
                  <a:pt x="2159" y="429"/>
                  <a:pt x="2150" y="427"/>
                  <a:pt x="2144" y="420"/>
                </a:cubicBezTo>
                <a:cubicBezTo>
                  <a:pt x="2139" y="412"/>
                  <a:pt x="2129" y="423"/>
                  <a:pt x="2129" y="423"/>
                </a:cubicBezTo>
                <a:cubicBezTo>
                  <a:pt x="2129" y="423"/>
                  <a:pt x="2127" y="429"/>
                  <a:pt x="2131" y="446"/>
                </a:cubicBezTo>
                <a:cubicBezTo>
                  <a:pt x="2134" y="457"/>
                  <a:pt x="2146" y="448"/>
                  <a:pt x="2146" y="448"/>
                </a:cubicBezTo>
                <a:cubicBezTo>
                  <a:pt x="2146" y="448"/>
                  <a:pt x="2139" y="453"/>
                  <a:pt x="2131" y="455"/>
                </a:cubicBezTo>
                <a:cubicBezTo>
                  <a:pt x="2124" y="457"/>
                  <a:pt x="2122" y="470"/>
                  <a:pt x="2099" y="474"/>
                </a:cubicBezTo>
                <a:cubicBezTo>
                  <a:pt x="2077" y="477"/>
                  <a:pt x="2090" y="487"/>
                  <a:pt x="2083" y="490"/>
                </a:cubicBezTo>
                <a:cubicBezTo>
                  <a:pt x="2075" y="494"/>
                  <a:pt x="2070" y="500"/>
                  <a:pt x="2068" y="492"/>
                </a:cubicBezTo>
                <a:cubicBezTo>
                  <a:pt x="2066" y="485"/>
                  <a:pt x="2057" y="500"/>
                  <a:pt x="2036" y="509"/>
                </a:cubicBezTo>
                <a:cubicBezTo>
                  <a:pt x="2016" y="518"/>
                  <a:pt x="2027" y="526"/>
                  <a:pt x="2016" y="528"/>
                </a:cubicBezTo>
                <a:cubicBezTo>
                  <a:pt x="2004" y="530"/>
                  <a:pt x="2003" y="535"/>
                  <a:pt x="1997" y="546"/>
                </a:cubicBezTo>
                <a:cubicBezTo>
                  <a:pt x="1991" y="558"/>
                  <a:pt x="1982" y="563"/>
                  <a:pt x="1973" y="571"/>
                </a:cubicBezTo>
                <a:cubicBezTo>
                  <a:pt x="1963" y="578"/>
                  <a:pt x="1947" y="586"/>
                  <a:pt x="1939" y="571"/>
                </a:cubicBezTo>
                <a:cubicBezTo>
                  <a:pt x="1932" y="556"/>
                  <a:pt x="1948" y="559"/>
                  <a:pt x="1948" y="559"/>
                </a:cubicBezTo>
                <a:cubicBezTo>
                  <a:pt x="1948" y="559"/>
                  <a:pt x="1958" y="546"/>
                  <a:pt x="1965" y="543"/>
                </a:cubicBezTo>
                <a:cubicBezTo>
                  <a:pt x="1973" y="539"/>
                  <a:pt x="1976" y="530"/>
                  <a:pt x="1982" y="518"/>
                </a:cubicBezTo>
                <a:cubicBezTo>
                  <a:pt x="1988" y="507"/>
                  <a:pt x="1999" y="507"/>
                  <a:pt x="1999" y="507"/>
                </a:cubicBezTo>
                <a:cubicBezTo>
                  <a:pt x="2010" y="494"/>
                  <a:pt x="2010" y="494"/>
                  <a:pt x="2010" y="494"/>
                </a:cubicBezTo>
                <a:cubicBezTo>
                  <a:pt x="2030" y="481"/>
                  <a:pt x="2030" y="481"/>
                  <a:pt x="2030" y="481"/>
                </a:cubicBezTo>
                <a:cubicBezTo>
                  <a:pt x="2030" y="481"/>
                  <a:pt x="2045" y="474"/>
                  <a:pt x="2053" y="464"/>
                </a:cubicBezTo>
                <a:cubicBezTo>
                  <a:pt x="2060" y="455"/>
                  <a:pt x="2057" y="457"/>
                  <a:pt x="2062" y="453"/>
                </a:cubicBezTo>
                <a:cubicBezTo>
                  <a:pt x="2068" y="449"/>
                  <a:pt x="2077" y="433"/>
                  <a:pt x="2077" y="433"/>
                </a:cubicBezTo>
                <a:cubicBezTo>
                  <a:pt x="2077" y="433"/>
                  <a:pt x="2079" y="420"/>
                  <a:pt x="2088" y="416"/>
                </a:cubicBezTo>
                <a:cubicBezTo>
                  <a:pt x="2098" y="412"/>
                  <a:pt x="2105" y="408"/>
                  <a:pt x="2105" y="399"/>
                </a:cubicBezTo>
                <a:cubicBezTo>
                  <a:pt x="2105" y="390"/>
                  <a:pt x="2124" y="369"/>
                  <a:pt x="2124" y="369"/>
                </a:cubicBezTo>
                <a:cubicBezTo>
                  <a:pt x="2124" y="369"/>
                  <a:pt x="2150" y="356"/>
                  <a:pt x="2170" y="349"/>
                </a:cubicBezTo>
                <a:cubicBezTo>
                  <a:pt x="2191" y="341"/>
                  <a:pt x="2187" y="336"/>
                  <a:pt x="2195" y="317"/>
                </a:cubicBezTo>
                <a:cubicBezTo>
                  <a:pt x="2202" y="298"/>
                  <a:pt x="2208" y="309"/>
                  <a:pt x="2208" y="309"/>
                </a:cubicBezTo>
                <a:cubicBezTo>
                  <a:pt x="2208" y="309"/>
                  <a:pt x="2213" y="293"/>
                  <a:pt x="2215" y="283"/>
                </a:cubicBezTo>
                <a:cubicBezTo>
                  <a:pt x="2217" y="274"/>
                  <a:pt x="2210" y="263"/>
                  <a:pt x="2210" y="263"/>
                </a:cubicBezTo>
                <a:cubicBezTo>
                  <a:pt x="2210" y="263"/>
                  <a:pt x="2204" y="263"/>
                  <a:pt x="2196" y="257"/>
                </a:cubicBezTo>
                <a:cubicBezTo>
                  <a:pt x="2189" y="252"/>
                  <a:pt x="2187" y="240"/>
                  <a:pt x="2193" y="227"/>
                </a:cubicBezTo>
                <a:cubicBezTo>
                  <a:pt x="2198" y="214"/>
                  <a:pt x="2198" y="237"/>
                  <a:pt x="2206" y="242"/>
                </a:cubicBezTo>
                <a:cubicBezTo>
                  <a:pt x="2213" y="248"/>
                  <a:pt x="2210" y="222"/>
                  <a:pt x="2210" y="222"/>
                </a:cubicBezTo>
                <a:cubicBezTo>
                  <a:pt x="2217" y="188"/>
                  <a:pt x="2217" y="188"/>
                  <a:pt x="2217" y="188"/>
                </a:cubicBezTo>
                <a:cubicBezTo>
                  <a:pt x="2217" y="188"/>
                  <a:pt x="2204" y="177"/>
                  <a:pt x="2191" y="168"/>
                </a:cubicBezTo>
                <a:cubicBezTo>
                  <a:pt x="2178" y="158"/>
                  <a:pt x="2187" y="158"/>
                  <a:pt x="2187" y="147"/>
                </a:cubicBezTo>
                <a:cubicBezTo>
                  <a:pt x="2187" y="136"/>
                  <a:pt x="2176" y="121"/>
                  <a:pt x="2157" y="112"/>
                </a:cubicBezTo>
                <a:cubicBezTo>
                  <a:pt x="2139" y="102"/>
                  <a:pt x="2113" y="97"/>
                  <a:pt x="2113" y="97"/>
                </a:cubicBezTo>
                <a:cubicBezTo>
                  <a:pt x="2092" y="106"/>
                  <a:pt x="2092" y="106"/>
                  <a:pt x="2092" y="106"/>
                </a:cubicBezTo>
                <a:cubicBezTo>
                  <a:pt x="2079" y="125"/>
                  <a:pt x="2079" y="125"/>
                  <a:pt x="2079" y="125"/>
                </a:cubicBezTo>
                <a:cubicBezTo>
                  <a:pt x="2079" y="125"/>
                  <a:pt x="2070" y="142"/>
                  <a:pt x="2060" y="143"/>
                </a:cubicBezTo>
                <a:cubicBezTo>
                  <a:pt x="2051" y="145"/>
                  <a:pt x="2038" y="147"/>
                  <a:pt x="2038" y="147"/>
                </a:cubicBezTo>
                <a:cubicBezTo>
                  <a:pt x="2038" y="147"/>
                  <a:pt x="2027" y="155"/>
                  <a:pt x="2047" y="130"/>
                </a:cubicBezTo>
                <a:cubicBezTo>
                  <a:pt x="2068" y="106"/>
                  <a:pt x="2058" y="114"/>
                  <a:pt x="2057" y="102"/>
                </a:cubicBezTo>
                <a:cubicBezTo>
                  <a:pt x="2055" y="91"/>
                  <a:pt x="2010" y="89"/>
                  <a:pt x="2010" y="89"/>
                </a:cubicBezTo>
                <a:cubicBezTo>
                  <a:pt x="1989" y="73"/>
                  <a:pt x="1989" y="73"/>
                  <a:pt x="1989" y="73"/>
                </a:cubicBezTo>
                <a:cubicBezTo>
                  <a:pt x="1989" y="73"/>
                  <a:pt x="1993" y="58"/>
                  <a:pt x="1984" y="52"/>
                </a:cubicBezTo>
                <a:cubicBezTo>
                  <a:pt x="1975" y="46"/>
                  <a:pt x="2003" y="48"/>
                  <a:pt x="2010" y="32"/>
                </a:cubicBezTo>
                <a:cubicBezTo>
                  <a:pt x="2017" y="15"/>
                  <a:pt x="1988" y="24"/>
                  <a:pt x="1988" y="24"/>
                </a:cubicBezTo>
                <a:cubicBezTo>
                  <a:pt x="1988" y="24"/>
                  <a:pt x="1993" y="7"/>
                  <a:pt x="1984" y="4"/>
                </a:cubicBezTo>
                <a:cubicBezTo>
                  <a:pt x="1975" y="0"/>
                  <a:pt x="1967" y="11"/>
                  <a:pt x="1960" y="20"/>
                </a:cubicBezTo>
                <a:cubicBezTo>
                  <a:pt x="1952" y="30"/>
                  <a:pt x="1928" y="46"/>
                  <a:pt x="1915" y="60"/>
                </a:cubicBezTo>
                <a:cubicBezTo>
                  <a:pt x="1902" y="73"/>
                  <a:pt x="1907" y="86"/>
                  <a:pt x="1907" y="86"/>
                </a:cubicBezTo>
                <a:cubicBezTo>
                  <a:pt x="1907" y="86"/>
                  <a:pt x="1902" y="99"/>
                  <a:pt x="1907" y="106"/>
                </a:cubicBezTo>
                <a:cubicBezTo>
                  <a:pt x="1913" y="114"/>
                  <a:pt x="1909" y="138"/>
                  <a:pt x="1909" y="138"/>
                </a:cubicBezTo>
                <a:cubicBezTo>
                  <a:pt x="1909" y="138"/>
                  <a:pt x="1906" y="145"/>
                  <a:pt x="1892" y="138"/>
                </a:cubicBezTo>
                <a:cubicBezTo>
                  <a:pt x="1879" y="130"/>
                  <a:pt x="1883" y="143"/>
                  <a:pt x="1872" y="138"/>
                </a:cubicBezTo>
                <a:cubicBezTo>
                  <a:pt x="1861" y="132"/>
                  <a:pt x="1859" y="134"/>
                  <a:pt x="1850" y="132"/>
                </a:cubicBezTo>
                <a:cubicBezTo>
                  <a:pt x="1840" y="130"/>
                  <a:pt x="1825" y="140"/>
                  <a:pt x="1825" y="140"/>
                </a:cubicBezTo>
                <a:cubicBezTo>
                  <a:pt x="1833" y="155"/>
                  <a:pt x="1833" y="155"/>
                  <a:pt x="1833" y="155"/>
                </a:cubicBezTo>
                <a:cubicBezTo>
                  <a:pt x="1848" y="168"/>
                  <a:pt x="1848" y="168"/>
                  <a:pt x="1848" y="168"/>
                </a:cubicBezTo>
                <a:cubicBezTo>
                  <a:pt x="1848" y="168"/>
                  <a:pt x="1857" y="179"/>
                  <a:pt x="1863" y="183"/>
                </a:cubicBezTo>
                <a:cubicBezTo>
                  <a:pt x="1868" y="186"/>
                  <a:pt x="1872" y="196"/>
                  <a:pt x="1872" y="207"/>
                </a:cubicBezTo>
                <a:cubicBezTo>
                  <a:pt x="1872" y="218"/>
                  <a:pt x="1855" y="233"/>
                  <a:pt x="1848" y="229"/>
                </a:cubicBezTo>
                <a:cubicBezTo>
                  <a:pt x="1840" y="226"/>
                  <a:pt x="1844" y="226"/>
                  <a:pt x="1848" y="216"/>
                </a:cubicBezTo>
                <a:cubicBezTo>
                  <a:pt x="1851" y="207"/>
                  <a:pt x="1848" y="188"/>
                  <a:pt x="1846" y="183"/>
                </a:cubicBezTo>
                <a:cubicBezTo>
                  <a:pt x="1844" y="177"/>
                  <a:pt x="1837" y="177"/>
                  <a:pt x="1822" y="171"/>
                </a:cubicBezTo>
                <a:cubicBezTo>
                  <a:pt x="1807" y="166"/>
                  <a:pt x="1810" y="179"/>
                  <a:pt x="1805" y="188"/>
                </a:cubicBezTo>
                <a:cubicBezTo>
                  <a:pt x="1799" y="198"/>
                  <a:pt x="1799" y="201"/>
                  <a:pt x="1790" y="203"/>
                </a:cubicBezTo>
                <a:cubicBezTo>
                  <a:pt x="1781" y="205"/>
                  <a:pt x="1784" y="214"/>
                  <a:pt x="1766" y="224"/>
                </a:cubicBezTo>
                <a:cubicBezTo>
                  <a:pt x="1747" y="233"/>
                  <a:pt x="1756" y="231"/>
                  <a:pt x="1751" y="216"/>
                </a:cubicBezTo>
                <a:cubicBezTo>
                  <a:pt x="1751" y="216"/>
                  <a:pt x="1775" y="177"/>
                  <a:pt x="1762" y="171"/>
                </a:cubicBezTo>
                <a:cubicBezTo>
                  <a:pt x="1749" y="166"/>
                  <a:pt x="1756" y="177"/>
                  <a:pt x="1740" y="175"/>
                </a:cubicBezTo>
                <a:cubicBezTo>
                  <a:pt x="1723" y="173"/>
                  <a:pt x="1723" y="175"/>
                  <a:pt x="1723" y="175"/>
                </a:cubicBezTo>
                <a:cubicBezTo>
                  <a:pt x="1695" y="188"/>
                  <a:pt x="1695" y="188"/>
                  <a:pt x="1695" y="188"/>
                </a:cubicBezTo>
                <a:cubicBezTo>
                  <a:pt x="1689" y="201"/>
                  <a:pt x="1689" y="201"/>
                  <a:pt x="1689" y="201"/>
                </a:cubicBezTo>
                <a:cubicBezTo>
                  <a:pt x="1702" y="203"/>
                  <a:pt x="1702" y="203"/>
                  <a:pt x="1702" y="203"/>
                </a:cubicBezTo>
                <a:cubicBezTo>
                  <a:pt x="1710" y="214"/>
                  <a:pt x="1710" y="214"/>
                  <a:pt x="1710" y="214"/>
                </a:cubicBezTo>
                <a:cubicBezTo>
                  <a:pt x="1710" y="214"/>
                  <a:pt x="1706" y="224"/>
                  <a:pt x="1697" y="224"/>
                </a:cubicBezTo>
                <a:cubicBezTo>
                  <a:pt x="1687" y="224"/>
                  <a:pt x="1689" y="231"/>
                  <a:pt x="1680" y="229"/>
                </a:cubicBezTo>
                <a:cubicBezTo>
                  <a:pt x="1670" y="227"/>
                  <a:pt x="1665" y="242"/>
                  <a:pt x="1657" y="250"/>
                </a:cubicBezTo>
                <a:cubicBezTo>
                  <a:pt x="1650" y="257"/>
                  <a:pt x="1631" y="274"/>
                  <a:pt x="1631" y="274"/>
                </a:cubicBezTo>
                <a:cubicBezTo>
                  <a:pt x="1631" y="274"/>
                  <a:pt x="1607" y="280"/>
                  <a:pt x="1600" y="289"/>
                </a:cubicBezTo>
                <a:cubicBezTo>
                  <a:pt x="1592" y="298"/>
                  <a:pt x="1588" y="304"/>
                  <a:pt x="1588" y="304"/>
                </a:cubicBezTo>
                <a:cubicBezTo>
                  <a:pt x="1588" y="304"/>
                  <a:pt x="1572" y="313"/>
                  <a:pt x="1564" y="300"/>
                </a:cubicBezTo>
                <a:cubicBezTo>
                  <a:pt x="1557" y="287"/>
                  <a:pt x="1551" y="298"/>
                  <a:pt x="1551" y="298"/>
                </a:cubicBezTo>
                <a:cubicBezTo>
                  <a:pt x="1551" y="298"/>
                  <a:pt x="1546" y="313"/>
                  <a:pt x="1551" y="311"/>
                </a:cubicBezTo>
                <a:cubicBezTo>
                  <a:pt x="1557" y="309"/>
                  <a:pt x="1560" y="319"/>
                  <a:pt x="1562" y="324"/>
                </a:cubicBezTo>
                <a:cubicBezTo>
                  <a:pt x="1564" y="330"/>
                  <a:pt x="1544" y="328"/>
                  <a:pt x="1544" y="328"/>
                </a:cubicBezTo>
                <a:cubicBezTo>
                  <a:pt x="1544" y="328"/>
                  <a:pt x="1544" y="328"/>
                  <a:pt x="1534" y="319"/>
                </a:cubicBezTo>
                <a:cubicBezTo>
                  <a:pt x="1525" y="309"/>
                  <a:pt x="1516" y="324"/>
                  <a:pt x="1516" y="324"/>
                </a:cubicBezTo>
                <a:cubicBezTo>
                  <a:pt x="1516" y="324"/>
                  <a:pt x="1516" y="324"/>
                  <a:pt x="1508" y="332"/>
                </a:cubicBezTo>
                <a:cubicBezTo>
                  <a:pt x="1501" y="339"/>
                  <a:pt x="1518" y="349"/>
                  <a:pt x="1518" y="349"/>
                </a:cubicBezTo>
                <a:cubicBezTo>
                  <a:pt x="1518" y="349"/>
                  <a:pt x="1525" y="347"/>
                  <a:pt x="1531" y="345"/>
                </a:cubicBezTo>
                <a:cubicBezTo>
                  <a:pt x="1536" y="343"/>
                  <a:pt x="1542" y="354"/>
                  <a:pt x="1546" y="362"/>
                </a:cubicBezTo>
                <a:cubicBezTo>
                  <a:pt x="1549" y="369"/>
                  <a:pt x="1544" y="373"/>
                  <a:pt x="1523" y="364"/>
                </a:cubicBezTo>
                <a:cubicBezTo>
                  <a:pt x="1503" y="354"/>
                  <a:pt x="1516" y="377"/>
                  <a:pt x="1519" y="386"/>
                </a:cubicBezTo>
                <a:cubicBezTo>
                  <a:pt x="1523" y="395"/>
                  <a:pt x="1529" y="401"/>
                  <a:pt x="1536" y="405"/>
                </a:cubicBezTo>
                <a:cubicBezTo>
                  <a:pt x="1544" y="408"/>
                  <a:pt x="1551" y="423"/>
                  <a:pt x="1551" y="423"/>
                </a:cubicBezTo>
                <a:cubicBezTo>
                  <a:pt x="1551" y="423"/>
                  <a:pt x="1551" y="438"/>
                  <a:pt x="1549" y="446"/>
                </a:cubicBezTo>
                <a:cubicBezTo>
                  <a:pt x="1547" y="453"/>
                  <a:pt x="1547" y="457"/>
                  <a:pt x="1538" y="461"/>
                </a:cubicBezTo>
                <a:cubicBezTo>
                  <a:pt x="1529" y="464"/>
                  <a:pt x="1519" y="468"/>
                  <a:pt x="1519" y="468"/>
                </a:cubicBezTo>
                <a:cubicBezTo>
                  <a:pt x="1519" y="468"/>
                  <a:pt x="1516" y="462"/>
                  <a:pt x="1523" y="442"/>
                </a:cubicBezTo>
                <a:cubicBezTo>
                  <a:pt x="1531" y="421"/>
                  <a:pt x="1516" y="429"/>
                  <a:pt x="1516" y="429"/>
                </a:cubicBezTo>
                <a:cubicBezTo>
                  <a:pt x="1516" y="429"/>
                  <a:pt x="1505" y="429"/>
                  <a:pt x="1490" y="427"/>
                </a:cubicBezTo>
                <a:cubicBezTo>
                  <a:pt x="1475" y="425"/>
                  <a:pt x="1482" y="436"/>
                  <a:pt x="1462" y="421"/>
                </a:cubicBezTo>
                <a:cubicBezTo>
                  <a:pt x="1441" y="406"/>
                  <a:pt x="1439" y="429"/>
                  <a:pt x="1439" y="429"/>
                </a:cubicBezTo>
                <a:cubicBezTo>
                  <a:pt x="1439" y="429"/>
                  <a:pt x="1430" y="442"/>
                  <a:pt x="1417" y="436"/>
                </a:cubicBezTo>
                <a:cubicBezTo>
                  <a:pt x="1404" y="431"/>
                  <a:pt x="1402" y="433"/>
                  <a:pt x="1402" y="433"/>
                </a:cubicBezTo>
                <a:cubicBezTo>
                  <a:pt x="1402" y="433"/>
                  <a:pt x="1394" y="442"/>
                  <a:pt x="1385" y="444"/>
                </a:cubicBezTo>
                <a:cubicBezTo>
                  <a:pt x="1376" y="446"/>
                  <a:pt x="1376" y="453"/>
                  <a:pt x="1376" y="475"/>
                </a:cubicBezTo>
                <a:cubicBezTo>
                  <a:pt x="1376" y="498"/>
                  <a:pt x="1387" y="492"/>
                  <a:pt x="1387" y="492"/>
                </a:cubicBezTo>
                <a:cubicBezTo>
                  <a:pt x="1387" y="492"/>
                  <a:pt x="1389" y="505"/>
                  <a:pt x="1372" y="511"/>
                </a:cubicBezTo>
                <a:cubicBezTo>
                  <a:pt x="1355" y="517"/>
                  <a:pt x="1376" y="533"/>
                  <a:pt x="1383" y="539"/>
                </a:cubicBezTo>
                <a:cubicBezTo>
                  <a:pt x="1391" y="544"/>
                  <a:pt x="1430" y="572"/>
                  <a:pt x="1430" y="572"/>
                </a:cubicBezTo>
                <a:cubicBezTo>
                  <a:pt x="1456" y="604"/>
                  <a:pt x="1456" y="604"/>
                  <a:pt x="1456" y="604"/>
                </a:cubicBezTo>
                <a:cubicBezTo>
                  <a:pt x="1456" y="604"/>
                  <a:pt x="1462" y="619"/>
                  <a:pt x="1460" y="628"/>
                </a:cubicBezTo>
                <a:cubicBezTo>
                  <a:pt x="1458" y="638"/>
                  <a:pt x="1443" y="651"/>
                  <a:pt x="1443" y="651"/>
                </a:cubicBezTo>
                <a:cubicBezTo>
                  <a:pt x="1441" y="677"/>
                  <a:pt x="1441" y="677"/>
                  <a:pt x="1441" y="677"/>
                </a:cubicBezTo>
                <a:cubicBezTo>
                  <a:pt x="1450" y="703"/>
                  <a:pt x="1450" y="703"/>
                  <a:pt x="1450" y="703"/>
                </a:cubicBezTo>
                <a:cubicBezTo>
                  <a:pt x="1450" y="703"/>
                  <a:pt x="1452" y="720"/>
                  <a:pt x="1449" y="729"/>
                </a:cubicBezTo>
                <a:cubicBezTo>
                  <a:pt x="1445" y="738"/>
                  <a:pt x="1447" y="750"/>
                  <a:pt x="1436" y="752"/>
                </a:cubicBezTo>
                <a:cubicBezTo>
                  <a:pt x="1424" y="753"/>
                  <a:pt x="1415" y="738"/>
                  <a:pt x="1415" y="738"/>
                </a:cubicBezTo>
                <a:cubicBezTo>
                  <a:pt x="1424" y="725"/>
                  <a:pt x="1424" y="725"/>
                  <a:pt x="1424" y="725"/>
                </a:cubicBezTo>
                <a:cubicBezTo>
                  <a:pt x="1424" y="725"/>
                  <a:pt x="1428" y="718"/>
                  <a:pt x="1428" y="699"/>
                </a:cubicBezTo>
                <a:cubicBezTo>
                  <a:pt x="1428" y="681"/>
                  <a:pt x="1428" y="699"/>
                  <a:pt x="1419" y="699"/>
                </a:cubicBezTo>
                <a:cubicBezTo>
                  <a:pt x="1409" y="699"/>
                  <a:pt x="1417" y="707"/>
                  <a:pt x="1415" y="714"/>
                </a:cubicBezTo>
                <a:cubicBezTo>
                  <a:pt x="1413" y="722"/>
                  <a:pt x="1409" y="725"/>
                  <a:pt x="1406" y="709"/>
                </a:cubicBezTo>
                <a:cubicBezTo>
                  <a:pt x="1402" y="692"/>
                  <a:pt x="1413" y="694"/>
                  <a:pt x="1415" y="671"/>
                </a:cubicBezTo>
                <a:cubicBezTo>
                  <a:pt x="1417" y="649"/>
                  <a:pt x="1406" y="643"/>
                  <a:pt x="1406" y="643"/>
                </a:cubicBezTo>
                <a:cubicBezTo>
                  <a:pt x="1426" y="628"/>
                  <a:pt x="1426" y="628"/>
                  <a:pt x="1426" y="628"/>
                </a:cubicBezTo>
                <a:cubicBezTo>
                  <a:pt x="1426" y="628"/>
                  <a:pt x="1432" y="617"/>
                  <a:pt x="1426" y="604"/>
                </a:cubicBezTo>
                <a:cubicBezTo>
                  <a:pt x="1421" y="591"/>
                  <a:pt x="1421" y="602"/>
                  <a:pt x="1413" y="606"/>
                </a:cubicBezTo>
                <a:cubicBezTo>
                  <a:pt x="1406" y="610"/>
                  <a:pt x="1404" y="610"/>
                  <a:pt x="1394" y="610"/>
                </a:cubicBezTo>
                <a:cubicBezTo>
                  <a:pt x="1385" y="610"/>
                  <a:pt x="1385" y="614"/>
                  <a:pt x="1376" y="610"/>
                </a:cubicBezTo>
                <a:cubicBezTo>
                  <a:pt x="1366" y="606"/>
                  <a:pt x="1366" y="599"/>
                  <a:pt x="1365" y="580"/>
                </a:cubicBezTo>
                <a:cubicBezTo>
                  <a:pt x="1363" y="561"/>
                  <a:pt x="1344" y="571"/>
                  <a:pt x="1344" y="571"/>
                </a:cubicBezTo>
                <a:cubicBezTo>
                  <a:pt x="1325" y="541"/>
                  <a:pt x="1325" y="541"/>
                  <a:pt x="1325" y="541"/>
                </a:cubicBezTo>
                <a:cubicBezTo>
                  <a:pt x="1325" y="541"/>
                  <a:pt x="1320" y="544"/>
                  <a:pt x="1309" y="546"/>
                </a:cubicBezTo>
                <a:cubicBezTo>
                  <a:pt x="1297" y="548"/>
                  <a:pt x="1297" y="561"/>
                  <a:pt x="1297" y="561"/>
                </a:cubicBezTo>
                <a:cubicBezTo>
                  <a:pt x="1312" y="574"/>
                  <a:pt x="1312" y="574"/>
                  <a:pt x="1312" y="574"/>
                </a:cubicBezTo>
                <a:cubicBezTo>
                  <a:pt x="1312" y="574"/>
                  <a:pt x="1314" y="584"/>
                  <a:pt x="1307" y="593"/>
                </a:cubicBezTo>
                <a:cubicBezTo>
                  <a:pt x="1299" y="602"/>
                  <a:pt x="1290" y="606"/>
                  <a:pt x="1290" y="606"/>
                </a:cubicBezTo>
                <a:cubicBezTo>
                  <a:pt x="1290" y="606"/>
                  <a:pt x="1290" y="606"/>
                  <a:pt x="1281" y="595"/>
                </a:cubicBezTo>
                <a:cubicBezTo>
                  <a:pt x="1271" y="584"/>
                  <a:pt x="1271" y="597"/>
                  <a:pt x="1262" y="612"/>
                </a:cubicBezTo>
                <a:cubicBezTo>
                  <a:pt x="1253" y="627"/>
                  <a:pt x="1277" y="628"/>
                  <a:pt x="1277" y="628"/>
                </a:cubicBezTo>
                <a:cubicBezTo>
                  <a:pt x="1277" y="628"/>
                  <a:pt x="1292" y="643"/>
                  <a:pt x="1299" y="645"/>
                </a:cubicBezTo>
                <a:cubicBezTo>
                  <a:pt x="1307" y="647"/>
                  <a:pt x="1314" y="658"/>
                  <a:pt x="1320" y="660"/>
                </a:cubicBezTo>
                <a:cubicBezTo>
                  <a:pt x="1325" y="662"/>
                  <a:pt x="1324" y="679"/>
                  <a:pt x="1314" y="679"/>
                </a:cubicBezTo>
                <a:cubicBezTo>
                  <a:pt x="1305" y="679"/>
                  <a:pt x="1292" y="677"/>
                  <a:pt x="1292" y="677"/>
                </a:cubicBezTo>
                <a:cubicBezTo>
                  <a:pt x="1292" y="677"/>
                  <a:pt x="1288" y="668"/>
                  <a:pt x="1273" y="653"/>
                </a:cubicBezTo>
                <a:cubicBezTo>
                  <a:pt x="1258" y="638"/>
                  <a:pt x="1262" y="656"/>
                  <a:pt x="1251" y="649"/>
                </a:cubicBezTo>
                <a:cubicBezTo>
                  <a:pt x="1240" y="641"/>
                  <a:pt x="1242" y="653"/>
                  <a:pt x="1238" y="641"/>
                </a:cubicBezTo>
                <a:cubicBezTo>
                  <a:pt x="1234" y="630"/>
                  <a:pt x="1242" y="619"/>
                  <a:pt x="1243" y="606"/>
                </a:cubicBezTo>
                <a:cubicBezTo>
                  <a:pt x="1245" y="593"/>
                  <a:pt x="1243" y="584"/>
                  <a:pt x="1242" y="567"/>
                </a:cubicBezTo>
                <a:cubicBezTo>
                  <a:pt x="1240" y="550"/>
                  <a:pt x="1243" y="548"/>
                  <a:pt x="1242" y="539"/>
                </a:cubicBezTo>
                <a:cubicBezTo>
                  <a:pt x="1240" y="530"/>
                  <a:pt x="1234" y="528"/>
                  <a:pt x="1234" y="528"/>
                </a:cubicBezTo>
                <a:cubicBezTo>
                  <a:pt x="1234" y="528"/>
                  <a:pt x="1227" y="518"/>
                  <a:pt x="1221" y="515"/>
                </a:cubicBezTo>
                <a:cubicBezTo>
                  <a:pt x="1215" y="511"/>
                  <a:pt x="1217" y="507"/>
                  <a:pt x="1215" y="494"/>
                </a:cubicBezTo>
                <a:cubicBezTo>
                  <a:pt x="1214" y="481"/>
                  <a:pt x="1200" y="500"/>
                  <a:pt x="1200" y="500"/>
                </a:cubicBezTo>
                <a:cubicBezTo>
                  <a:pt x="1214" y="518"/>
                  <a:pt x="1214" y="518"/>
                  <a:pt x="1214" y="518"/>
                </a:cubicBezTo>
                <a:cubicBezTo>
                  <a:pt x="1214" y="518"/>
                  <a:pt x="1227" y="531"/>
                  <a:pt x="1227" y="537"/>
                </a:cubicBezTo>
                <a:cubicBezTo>
                  <a:pt x="1227" y="543"/>
                  <a:pt x="1221" y="563"/>
                  <a:pt x="1219" y="571"/>
                </a:cubicBezTo>
                <a:cubicBezTo>
                  <a:pt x="1217" y="578"/>
                  <a:pt x="1199" y="602"/>
                  <a:pt x="1193" y="608"/>
                </a:cubicBezTo>
                <a:cubicBezTo>
                  <a:pt x="1187" y="614"/>
                  <a:pt x="1182" y="633"/>
                  <a:pt x="1182" y="633"/>
                </a:cubicBezTo>
                <a:cubicBezTo>
                  <a:pt x="1182" y="653"/>
                  <a:pt x="1182" y="653"/>
                  <a:pt x="1182" y="653"/>
                </a:cubicBezTo>
                <a:cubicBezTo>
                  <a:pt x="1182" y="653"/>
                  <a:pt x="1182" y="664"/>
                  <a:pt x="1182" y="669"/>
                </a:cubicBezTo>
                <a:cubicBezTo>
                  <a:pt x="1182" y="674"/>
                  <a:pt x="1195" y="690"/>
                  <a:pt x="1195" y="690"/>
                </a:cubicBezTo>
                <a:cubicBezTo>
                  <a:pt x="1195" y="690"/>
                  <a:pt x="1197" y="702"/>
                  <a:pt x="1201" y="702"/>
                </a:cubicBezTo>
                <a:cubicBezTo>
                  <a:pt x="1206" y="702"/>
                  <a:pt x="1206" y="710"/>
                  <a:pt x="1206" y="715"/>
                </a:cubicBezTo>
                <a:cubicBezTo>
                  <a:pt x="1206" y="720"/>
                  <a:pt x="1193" y="732"/>
                  <a:pt x="1193" y="732"/>
                </a:cubicBezTo>
                <a:cubicBezTo>
                  <a:pt x="1195" y="737"/>
                  <a:pt x="1193" y="742"/>
                  <a:pt x="1189" y="742"/>
                </a:cubicBezTo>
                <a:cubicBezTo>
                  <a:pt x="1184" y="742"/>
                  <a:pt x="1185" y="759"/>
                  <a:pt x="1185" y="759"/>
                </a:cubicBezTo>
                <a:cubicBezTo>
                  <a:pt x="1190" y="773"/>
                  <a:pt x="1190" y="773"/>
                  <a:pt x="1190" y="773"/>
                </a:cubicBezTo>
                <a:cubicBezTo>
                  <a:pt x="1197" y="788"/>
                  <a:pt x="1197" y="788"/>
                  <a:pt x="1197" y="788"/>
                </a:cubicBezTo>
                <a:cubicBezTo>
                  <a:pt x="1197" y="788"/>
                  <a:pt x="1192" y="797"/>
                  <a:pt x="1189" y="807"/>
                </a:cubicBezTo>
                <a:cubicBezTo>
                  <a:pt x="1185" y="816"/>
                  <a:pt x="1193" y="826"/>
                  <a:pt x="1204" y="829"/>
                </a:cubicBezTo>
                <a:cubicBezTo>
                  <a:pt x="1215" y="832"/>
                  <a:pt x="1227" y="827"/>
                  <a:pt x="1238" y="824"/>
                </a:cubicBezTo>
                <a:cubicBezTo>
                  <a:pt x="1249" y="821"/>
                  <a:pt x="1255" y="832"/>
                  <a:pt x="1277" y="837"/>
                </a:cubicBezTo>
                <a:cubicBezTo>
                  <a:pt x="1299" y="841"/>
                  <a:pt x="1296" y="865"/>
                  <a:pt x="1299" y="878"/>
                </a:cubicBezTo>
                <a:cubicBezTo>
                  <a:pt x="1302" y="890"/>
                  <a:pt x="1304" y="892"/>
                  <a:pt x="1299" y="897"/>
                </a:cubicBezTo>
                <a:cubicBezTo>
                  <a:pt x="1294" y="901"/>
                  <a:pt x="1305" y="917"/>
                  <a:pt x="1305" y="917"/>
                </a:cubicBezTo>
                <a:cubicBezTo>
                  <a:pt x="1320" y="919"/>
                  <a:pt x="1320" y="919"/>
                  <a:pt x="1320" y="919"/>
                </a:cubicBezTo>
                <a:cubicBezTo>
                  <a:pt x="1320" y="919"/>
                  <a:pt x="1332" y="920"/>
                  <a:pt x="1337" y="919"/>
                </a:cubicBezTo>
                <a:cubicBezTo>
                  <a:pt x="1342" y="917"/>
                  <a:pt x="1343" y="933"/>
                  <a:pt x="1343" y="933"/>
                </a:cubicBezTo>
                <a:cubicBezTo>
                  <a:pt x="1343" y="933"/>
                  <a:pt x="1337" y="950"/>
                  <a:pt x="1329" y="944"/>
                </a:cubicBezTo>
                <a:cubicBezTo>
                  <a:pt x="1321" y="938"/>
                  <a:pt x="1321" y="934"/>
                  <a:pt x="1316" y="933"/>
                </a:cubicBezTo>
                <a:cubicBezTo>
                  <a:pt x="1312" y="931"/>
                  <a:pt x="1310" y="942"/>
                  <a:pt x="1310" y="942"/>
                </a:cubicBezTo>
                <a:cubicBezTo>
                  <a:pt x="1305" y="966"/>
                  <a:pt x="1305" y="966"/>
                  <a:pt x="1305" y="966"/>
                </a:cubicBezTo>
                <a:cubicBezTo>
                  <a:pt x="1305" y="966"/>
                  <a:pt x="1304" y="969"/>
                  <a:pt x="1298" y="960"/>
                </a:cubicBezTo>
                <a:cubicBezTo>
                  <a:pt x="1291" y="950"/>
                  <a:pt x="1288" y="934"/>
                  <a:pt x="1288" y="934"/>
                </a:cubicBezTo>
                <a:cubicBezTo>
                  <a:pt x="1288" y="934"/>
                  <a:pt x="1288" y="934"/>
                  <a:pt x="1279" y="928"/>
                </a:cubicBezTo>
                <a:cubicBezTo>
                  <a:pt x="1269" y="922"/>
                  <a:pt x="1285" y="906"/>
                  <a:pt x="1285" y="906"/>
                </a:cubicBezTo>
                <a:cubicBezTo>
                  <a:pt x="1285" y="906"/>
                  <a:pt x="1280" y="903"/>
                  <a:pt x="1271" y="892"/>
                </a:cubicBezTo>
                <a:cubicBezTo>
                  <a:pt x="1261" y="881"/>
                  <a:pt x="1269" y="881"/>
                  <a:pt x="1274" y="860"/>
                </a:cubicBezTo>
                <a:cubicBezTo>
                  <a:pt x="1279" y="840"/>
                  <a:pt x="1258" y="846"/>
                  <a:pt x="1258" y="846"/>
                </a:cubicBezTo>
                <a:cubicBezTo>
                  <a:pt x="1258" y="846"/>
                  <a:pt x="1253" y="848"/>
                  <a:pt x="1227" y="857"/>
                </a:cubicBezTo>
                <a:cubicBezTo>
                  <a:pt x="1200" y="867"/>
                  <a:pt x="1230" y="868"/>
                  <a:pt x="1222" y="868"/>
                </a:cubicBezTo>
                <a:cubicBezTo>
                  <a:pt x="1214" y="868"/>
                  <a:pt x="1220" y="890"/>
                  <a:pt x="1220" y="890"/>
                </a:cubicBezTo>
                <a:cubicBezTo>
                  <a:pt x="1220" y="890"/>
                  <a:pt x="1227" y="904"/>
                  <a:pt x="1223" y="917"/>
                </a:cubicBezTo>
                <a:cubicBezTo>
                  <a:pt x="1220" y="930"/>
                  <a:pt x="1220" y="923"/>
                  <a:pt x="1209" y="922"/>
                </a:cubicBezTo>
                <a:cubicBezTo>
                  <a:pt x="1198" y="920"/>
                  <a:pt x="1203" y="931"/>
                  <a:pt x="1204" y="941"/>
                </a:cubicBezTo>
                <a:cubicBezTo>
                  <a:pt x="1206" y="950"/>
                  <a:pt x="1185" y="982"/>
                  <a:pt x="1185" y="982"/>
                </a:cubicBezTo>
                <a:cubicBezTo>
                  <a:pt x="1173" y="988"/>
                  <a:pt x="1173" y="988"/>
                  <a:pt x="1173" y="988"/>
                </a:cubicBezTo>
                <a:cubicBezTo>
                  <a:pt x="1171" y="1013"/>
                  <a:pt x="1171" y="1013"/>
                  <a:pt x="1171" y="1013"/>
                </a:cubicBezTo>
                <a:cubicBezTo>
                  <a:pt x="1171" y="1013"/>
                  <a:pt x="1182" y="1032"/>
                  <a:pt x="1181" y="1039"/>
                </a:cubicBezTo>
                <a:cubicBezTo>
                  <a:pt x="1179" y="1045"/>
                  <a:pt x="1187" y="1056"/>
                  <a:pt x="1187" y="1056"/>
                </a:cubicBezTo>
                <a:cubicBezTo>
                  <a:pt x="1187" y="1056"/>
                  <a:pt x="1185" y="1069"/>
                  <a:pt x="1182" y="1073"/>
                </a:cubicBezTo>
                <a:cubicBezTo>
                  <a:pt x="1179" y="1078"/>
                  <a:pt x="1168" y="1075"/>
                  <a:pt x="1168" y="1059"/>
                </a:cubicBezTo>
                <a:cubicBezTo>
                  <a:pt x="1168" y="1043"/>
                  <a:pt x="1162" y="1054"/>
                  <a:pt x="1151" y="1034"/>
                </a:cubicBezTo>
                <a:cubicBezTo>
                  <a:pt x="1140" y="1013"/>
                  <a:pt x="1143" y="1028"/>
                  <a:pt x="1135" y="1012"/>
                </a:cubicBezTo>
                <a:cubicBezTo>
                  <a:pt x="1127" y="996"/>
                  <a:pt x="1122" y="1023"/>
                  <a:pt x="1122" y="1023"/>
                </a:cubicBezTo>
                <a:cubicBezTo>
                  <a:pt x="1116" y="1010"/>
                  <a:pt x="1116" y="1010"/>
                  <a:pt x="1116" y="1010"/>
                </a:cubicBezTo>
                <a:cubicBezTo>
                  <a:pt x="1116" y="1010"/>
                  <a:pt x="1114" y="1018"/>
                  <a:pt x="1105" y="1021"/>
                </a:cubicBezTo>
                <a:cubicBezTo>
                  <a:pt x="1095" y="1024"/>
                  <a:pt x="1107" y="1015"/>
                  <a:pt x="1107" y="1004"/>
                </a:cubicBezTo>
                <a:cubicBezTo>
                  <a:pt x="1107" y="993"/>
                  <a:pt x="1097" y="1004"/>
                  <a:pt x="1092" y="1004"/>
                </a:cubicBezTo>
                <a:cubicBezTo>
                  <a:pt x="1088" y="1004"/>
                  <a:pt x="1083" y="1007"/>
                  <a:pt x="1081" y="1002"/>
                </a:cubicBezTo>
                <a:cubicBezTo>
                  <a:pt x="1080" y="998"/>
                  <a:pt x="1067" y="980"/>
                  <a:pt x="1067" y="980"/>
                </a:cubicBezTo>
                <a:cubicBezTo>
                  <a:pt x="1078" y="976"/>
                  <a:pt x="1078" y="976"/>
                  <a:pt x="1078" y="976"/>
                </a:cubicBezTo>
                <a:cubicBezTo>
                  <a:pt x="1094" y="979"/>
                  <a:pt x="1094" y="979"/>
                  <a:pt x="1094" y="979"/>
                </a:cubicBezTo>
                <a:cubicBezTo>
                  <a:pt x="1103" y="972"/>
                  <a:pt x="1103" y="972"/>
                  <a:pt x="1103" y="972"/>
                </a:cubicBezTo>
                <a:cubicBezTo>
                  <a:pt x="1113" y="987"/>
                  <a:pt x="1113" y="987"/>
                  <a:pt x="1113" y="987"/>
                </a:cubicBezTo>
                <a:cubicBezTo>
                  <a:pt x="1113" y="987"/>
                  <a:pt x="1124" y="993"/>
                  <a:pt x="1130" y="987"/>
                </a:cubicBezTo>
                <a:cubicBezTo>
                  <a:pt x="1137" y="980"/>
                  <a:pt x="1130" y="974"/>
                  <a:pt x="1137" y="966"/>
                </a:cubicBezTo>
                <a:cubicBezTo>
                  <a:pt x="1143" y="958"/>
                  <a:pt x="1163" y="952"/>
                  <a:pt x="1174" y="923"/>
                </a:cubicBezTo>
                <a:cubicBezTo>
                  <a:pt x="1185" y="895"/>
                  <a:pt x="1178" y="870"/>
                  <a:pt x="1178" y="870"/>
                </a:cubicBezTo>
                <a:cubicBezTo>
                  <a:pt x="1178" y="870"/>
                  <a:pt x="1176" y="860"/>
                  <a:pt x="1168" y="846"/>
                </a:cubicBezTo>
                <a:cubicBezTo>
                  <a:pt x="1160" y="832"/>
                  <a:pt x="1165" y="832"/>
                  <a:pt x="1157" y="799"/>
                </a:cubicBezTo>
                <a:cubicBezTo>
                  <a:pt x="1149" y="766"/>
                  <a:pt x="1160" y="778"/>
                  <a:pt x="1162" y="747"/>
                </a:cubicBezTo>
                <a:cubicBezTo>
                  <a:pt x="1163" y="715"/>
                  <a:pt x="1171" y="724"/>
                  <a:pt x="1170" y="710"/>
                </a:cubicBezTo>
                <a:cubicBezTo>
                  <a:pt x="1168" y="696"/>
                  <a:pt x="1170" y="698"/>
                  <a:pt x="1165" y="679"/>
                </a:cubicBezTo>
                <a:cubicBezTo>
                  <a:pt x="1160" y="660"/>
                  <a:pt x="1152" y="647"/>
                  <a:pt x="1152" y="647"/>
                </a:cubicBezTo>
                <a:cubicBezTo>
                  <a:pt x="1152" y="647"/>
                  <a:pt x="1146" y="636"/>
                  <a:pt x="1138" y="633"/>
                </a:cubicBezTo>
                <a:cubicBezTo>
                  <a:pt x="1130" y="630"/>
                  <a:pt x="1127" y="627"/>
                  <a:pt x="1133" y="616"/>
                </a:cubicBezTo>
                <a:cubicBezTo>
                  <a:pt x="1140" y="605"/>
                  <a:pt x="1146" y="603"/>
                  <a:pt x="1152" y="595"/>
                </a:cubicBezTo>
                <a:cubicBezTo>
                  <a:pt x="1159" y="587"/>
                  <a:pt x="1148" y="562"/>
                  <a:pt x="1148" y="562"/>
                </a:cubicBezTo>
                <a:cubicBezTo>
                  <a:pt x="1148" y="562"/>
                  <a:pt x="1155" y="537"/>
                  <a:pt x="1154" y="519"/>
                </a:cubicBezTo>
                <a:cubicBezTo>
                  <a:pt x="1152" y="502"/>
                  <a:pt x="1148" y="516"/>
                  <a:pt x="1127" y="508"/>
                </a:cubicBezTo>
                <a:cubicBezTo>
                  <a:pt x="1107" y="500"/>
                  <a:pt x="1119" y="507"/>
                  <a:pt x="1107" y="502"/>
                </a:cubicBezTo>
                <a:cubicBezTo>
                  <a:pt x="1094" y="497"/>
                  <a:pt x="1099" y="505"/>
                  <a:pt x="1069" y="538"/>
                </a:cubicBezTo>
                <a:cubicBezTo>
                  <a:pt x="1039" y="571"/>
                  <a:pt x="1072" y="551"/>
                  <a:pt x="1062" y="559"/>
                </a:cubicBezTo>
                <a:cubicBezTo>
                  <a:pt x="1053" y="567"/>
                  <a:pt x="1058" y="565"/>
                  <a:pt x="1064" y="573"/>
                </a:cubicBezTo>
                <a:cubicBezTo>
                  <a:pt x="1070" y="581"/>
                  <a:pt x="1064" y="586"/>
                  <a:pt x="1058" y="597"/>
                </a:cubicBezTo>
                <a:cubicBezTo>
                  <a:pt x="1051" y="608"/>
                  <a:pt x="1051" y="619"/>
                  <a:pt x="1051" y="619"/>
                </a:cubicBezTo>
                <a:cubicBezTo>
                  <a:pt x="1051" y="619"/>
                  <a:pt x="1048" y="633"/>
                  <a:pt x="1029" y="639"/>
                </a:cubicBezTo>
                <a:cubicBezTo>
                  <a:pt x="1010" y="646"/>
                  <a:pt x="1013" y="655"/>
                  <a:pt x="1013" y="655"/>
                </a:cubicBezTo>
                <a:cubicBezTo>
                  <a:pt x="1010" y="687"/>
                  <a:pt x="1010" y="687"/>
                  <a:pt x="1010" y="687"/>
                </a:cubicBezTo>
                <a:cubicBezTo>
                  <a:pt x="1010" y="687"/>
                  <a:pt x="1017" y="690"/>
                  <a:pt x="1018" y="694"/>
                </a:cubicBezTo>
                <a:cubicBezTo>
                  <a:pt x="1020" y="699"/>
                  <a:pt x="1012" y="721"/>
                  <a:pt x="1018" y="723"/>
                </a:cubicBezTo>
                <a:cubicBezTo>
                  <a:pt x="1024" y="724"/>
                  <a:pt x="1020" y="731"/>
                  <a:pt x="1021" y="740"/>
                </a:cubicBezTo>
                <a:cubicBezTo>
                  <a:pt x="1023" y="750"/>
                  <a:pt x="1017" y="754"/>
                  <a:pt x="1017" y="754"/>
                </a:cubicBezTo>
                <a:cubicBezTo>
                  <a:pt x="1015" y="773"/>
                  <a:pt x="1015" y="773"/>
                  <a:pt x="1015" y="773"/>
                </a:cubicBezTo>
                <a:cubicBezTo>
                  <a:pt x="1015" y="789"/>
                  <a:pt x="1015" y="789"/>
                  <a:pt x="1015" y="789"/>
                </a:cubicBezTo>
                <a:cubicBezTo>
                  <a:pt x="1015" y="789"/>
                  <a:pt x="1028" y="796"/>
                  <a:pt x="1043" y="784"/>
                </a:cubicBezTo>
                <a:cubicBezTo>
                  <a:pt x="1059" y="773"/>
                  <a:pt x="1043" y="794"/>
                  <a:pt x="1040" y="807"/>
                </a:cubicBezTo>
                <a:cubicBezTo>
                  <a:pt x="1040" y="807"/>
                  <a:pt x="1043" y="822"/>
                  <a:pt x="1045" y="827"/>
                </a:cubicBezTo>
                <a:cubicBezTo>
                  <a:pt x="1047" y="832"/>
                  <a:pt x="1056" y="843"/>
                  <a:pt x="1061" y="844"/>
                </a:cubicBezTo>
                <a:cubicBezTo>
                  <a:pt x="1065" y="846"/>
                  <a:pt x="1080" y="860"/>
                  <a:pt x="1080" y="860"/>
                </a:cubicBezTo>
                <a:cubicBezTo>
                  <a:pt x="1072" y="851"/>
                  <a:pt x="1065" y="857"/>
                  <a:pt x="1065" y="857"/>
                </a:cubicBezTo>
                <a:cubicBezTo>
                  <a:pt x="1065" y="857"/>
                  <a:pt x="1061" y="865"/>
                  <a:pt x="1056" y="879"/>
                </a:cubicBezTo>
                <a:cubicBezTo>
                  <a:pt x="1051" y="893"/>
                  <a:pt x="1039" y="874"/>
                  <a:pt x="1039" y="874"/>
                </a:cubicBezTo>
                <a:cubicBezTo>
                  <a:pt x="1023" y="854"/>
                  <a:pt x="1023" y="854"/>
                  <a:pt x="1023" y="854"/>
                </a:cubicBezTo>
                <a:cubicBezTo>
                  <a:pt x="1023" y="854"/>
                  <a:pt x="1010" y="848"/>
                  <a:pt x="999" y="843"/>
                </a:cubicBezTo>
                <a:cubicBezTo>
                  <a:pt x="988" y="838"/>
                  <a:pt x="991" y="843"/>
                  <a:pt x="988" y="827"/>
                </a:cubicBezTo>
                <a:cubicBezTo>
                  <a:pt x="985" y="811"/>
                  <a:pt x="982" y="832"/>
                  <a:pt x="975" y="830"/>
                </a:cubicBezTo>
                <a:cubicBezTo>
                  <a:pt x="969" y="829"/>
                  <a:pt x="963" y="835"/>
                  <a:pt x="964" y="824"/>
                </a:cubicBezTo>
                <a:cubicBezTo>
                  <a:pt x="966" y="813"/>
                  <a:pt x="968" y="819"/>
                  <a:pt x="966" y="807"/>
                </a:cubicBezTo>
                <a:cubicBezTo>
                  <a:pt x="964" y="794"/>
                  <a:pt x="952" y="792"/>
                  <a:pt x="933" y="791"/>
                </a:cubicBezTo>
                <a:cubicBezTo>
                  <a:pt x="914" y="789"/>
                  <a:pt x="920" y="786"/>
                  <a:pt x="914" y="770"/>
                </a:cubicBezTo>
                <a:cubicBezTo>
                  <a:pt x="908" y="754"/>
                  <a:pt x="892" y="773"/>
                  <a:pt x="876" y="772"/>
                </a:cubicBezTo>
                <a:cubicBezTo>
                  <a:pt x="860" y="770"/>
                  <a:pt x="867" y="777"/>
                  <a:pt x="852" y="781"/>
                </a:cubicBezTo>
                <a:cubicBezTo>
                  <a:pt x="838" y="786"/>
                  <a:pt x="851" y="789"/>
                  <a:pt x="851" y="819"/>
                </a:cubicBezTo>
                <a:cubicBezTo>
                  <a:pt x="851" y="849"/>
                  <a:pt x="867" y="833"/>
                  <a:pt x="862" y="838"/>
                </a:cubicBezTo>
                <a:cubicBezTo>
                  <a:pt x="857" y="843"/>
                  <a:pt x="857" y="851"/>
                  <a:pt x="835" y="856"/>
                </a:cubicBezTo>
                <a:cubicBezTo>
                  <a:pt x="813" y="860"/>
                  <a:pt x="827" y="874"/>
                  <a:pt x="816" y="878"/>
                </a:cubicBezTo>
                <a:cubicBezTo>
                  <a:pt x="805" y="881"/>
                  <a:pt x="816" y="852"/>
                  <a:pt x="814" y="837"/>
                </a:cubicBezTo>
                <a:cubicBezTo>
                  <a:pt x="813" y="821"/>
                  <a:pt x="803" y="835"/>
                  <a:pt x="794" y="841"/>
                </a:cubicBezTo>
                <a:cubicBezTo>
                  <a:pt x="784" y="848"/>
                  <a:pt x="777" y="851"/>
                  <a:pt x="764" y="860"/>
                </a:cubicBezTo>
                <a:cubicBezTo>
                  <a:pt x="751" y="870"/>
                  <a:pt x="748" y="862"/>
                  <a:pt x="748" y="862"/>
                </a:cubicBezTo>
                <a:cubicBezTo>
                  <a:pt x="721" y="863"/>
                  <a:pt x="721" y="863"/>
                  <a:pt x="721" y="863"/>
                </a:cubicBezTo>
                <a:cubicBezTo>
                  <a:pt x="721" y="863"/>
                  <a:pt x="723" y="873"/>
                  <a:pt x="718" y="881"/>
                </a:cubicBezTo>
                <a:cubicBezTo>
                  <a:pt x="713" y="889"/>
                  <a:pt x="712" y="890"/>
                  <a:pt x="691" y="897"/>
                </a:cubicBezTo>
                <a:cubicBezTo>
                  <a:pt x="671" y="903"/>
                  <a:pt x="680" y="912"/>
                  <a:pt x="668" y="920"/>
                </a:cubicBezTo>
                <a:cubicBezTo>
                  <a:pt x="655" y="928"/>
                  <a:pt x="661" y="920"/>
                  <a:pt x="682" y="893"/>
                </a:cubicBezTo>
                <a:cubicBezTo>
                  <a:pt x="702" y="867"/>
                  <a:pt x="685" y="878"/>
                  <a:pt x="687" y="859"/>
                </a:cubicBezTo>
                <a:cubicBezTo>
                  <a:pt x="688" y="840"/>
                  <a:pt x="690" y="838"/>
                  <a:pt x="679" y="835"/>
                </a:cubicBezTo>
                <a:cubicBezTo>
                  <a:pt x="668" y="832"/>
                  <a:pt x="679" y="835"/>
                  <a:pt x="668" y="835"/>
                </a:cubicBezTo>
                <a:cubicBezTo>
                  <a:pt x="657" y="835"/>
                  <a:pt x="658" y="851"/>
                  <a:pt x="658" y="851"/>
                </a:cubicBezTo>
                <a:cubicBezTo>
                  <a:pt x="658" y="851"/>
                  <a:pt x="657" y="857"/>
                  <a:pt x="641" y="860"/>
                </a:cubicBezTo>
                <a:cubicBezTo>
                  <a:pt x="625" y="863"/>
                  <a:pt x="636" y="871"/>
                  <a:pt x="614" y="863"/>
                </a:cubicBezTo>
                <a:cubicBezTo>
                  <a:pt x="592" y="856"/>
                  <a:pt x="601" y="874"/>
                  <a:pt x="586" y="892"/>
                </a:cubicBezTo>
                <a:cubicBezTo>
                  <a:pt x="570" y="909"/>
                  <a:pt x="559" y="904"/>
                  <a:pt x="559" y="904"/>
                </a:cubicBezTo>
                <a:cubicBezTo>
                  <a:pt x="559" y="904"/>
                  <a:pt x="556" y="909"/>
                  <a:pt x="541" y="909"/>
                </a:cubicBezTo>
                <a:cubicBezTo>
                  <a:pt x="527" y="909"/>
                  <a:pt x="540" y="920"/>
                  <a:pt x="526" y="925"/>
                </a:cubicBezTo>
                <a:cubicBezTo>
                  <a:pt x="511" y="930"/>
                  <a:pt x="527" y="938"/>
                  <a:pt x="524" y="949"/>
                </a:cubicBezTo>
                <a:cubicBezTo>
                  <a:pt x="521" y="960"/>
                  <a:pt x="521" y="972"/>
                  <a:pt x="500" y="972"/>
                </a:cubicBezTo>
                <a:cubicBezTo>
                  <a:pt x="480" y="972"/>
                  <a:pt x="500" y="972"/>
                  <a:pt x="492" y="968"/>
                </a:cubicBezTo>
                <a:cubicBezTo>
                  <a:pt x="484" y="963"/>
                  <a:pt x="481" y="971"/>
                  <a:pt x="481" y="960"/>
                </a:cubicBezTo>
                <a:cubicBezTo>
                  <a:pt x="481" y="949"/>
                  <a:pt x="481" y="952"/>
                  <a:pt x="477" y="944"/>
                </a:cubicBezTo>
                <a:cubicBezTo>
                  <a:pt x="472" y="936"/>
                  <a:pt x="467" y="938"/>
                  <a:pt x="462" y="925"/>
                </a:cubicBezTo>
                <a:cubicBezTo>
                  <a:pt x="458" y="912"/>
                  <a:pt x="469" y="923"/>
                  <a:pt x="478" y="922"/>
                </a:cubicBezTo>
                <a:cubicBezTo>
                  <a:pt x="488" y="920"/>
                  <a:pt x="492" y="920"/>
                  <a:pt x="510" y="911"/>
                </a:cubicBezTo>
                <a:cubicBezTo>
                  <a:pt x="527" y="901"/>
                  <a:pt x="507" y="892"/>
                  <a:pt x="491" y="881"/>
                </a:cubicBezTo>
                <a:cubicBezTo>
                  <a:pt x="475" y="870"/>
                  <a:pt x="491" y="874"/>
                  <a:pt x="478" y="863"/>
                </a:cubicBezTo>
                <a:cubicBezTo>
                  <a:pt x="466" y="852"/>
                  <a:pt x="462" y="862"/>
                  <a:pt x="456" y="865"/>
                </a:cubicBezTo>
                <a:cubicBezTo>
                  <a:pt x="450" y="868"/>
                  <a:pt x="440" y="856"/>
                  <a:pt x="426" y="851"/>
                </a:cubicBezTo>
                <a:cubicBezTo>
                  <a:pt x="412" y="846"/>
                  <a:pt x="409" y="856"/>
                  <a:pt x="420" y="865"/>
                </a:cubicBezTo>
                <a:cubicBezTo>
                  <a:pt x="431" y="874"/>
                  <a:pt x="428" y="871"/>
                  <a:pt x="434" y="893"/>
                </a:cubicBezTo>
                <a:cubicBezTo>
                  <a:pt x="440" y="916"/>
                  <a:pt x="436" y="909"/>
                  <a:pt x="431" y="917"/>
                </a:cubicBezTo>
                <a:cubicBezTo>
                  <a:pt x="426" y="925"/>
                  <a:pt x="429" y="938"/>
                  <a:pt x="448" y="957"/>
                </a:cubicBezTo>
                <a:cubicBezTo>
                  <a:pt x="467" y="976"/>
                  <a:pt x="448" y="966"/>
                  <a:pt x="447" y="985"/>
                </a:cubicBezTo>
                <a:cubicBezTo>
                  <a:pt x="445" y="1004"/>
                  <a:pt x="451" y="999"/>
                  <a:pt x="439" y="1028"/>
                </a:cubicBezTo>
                <a:cubicBezTo>
                  <a:pt x="426" y="1056"/>
                  <a:pt x="439" y="1043"/>
                  <a:pt x="426" y="1050"/>
                </a:cubicBezTo>
                <a:cubicBezTo>
                  <a:pt x="413" y="1056"/>
                  <a:pt x="417" y="1050"/>
                  <a:pt x="415" y="1028"/>
                </a:cubicBezTo>
                <a:cubicBezTo>
                  <a:pt x="413" y="1006"/>
                  <a:pt x="412" y="1018"/>
                  <a:pt x="398" y="1017"/>
                </a:cubicBezTo>
                <a:cubicBezTo>
                  <a:pt x="383" y="1015"/>
                  <a:pt x="398" y="1017"/>
                  <a:pt x="390" y="1006"/>
                </a:cubicBezTo>
                <a:cubicBezTo>
                  <a:pt x="382" y="994"/>
                  <a:pt x="385" y="1015"/>
                  <a:pt x="377" y="1024"/>
                </a:cubicBezTo>
                <a:cubicBezTo>
                  <a:pt x="369" y="1034"/>
                  <a:pt x="353" y="1047"/>
                  <a:pt x="339" y="1051"/>
                </a:cubicBezTo>
                <a:cubicBezTo>
                  <a:pt x="325" y="1056"/>
                  <a:pt x="335" y="1059"/>
                  <a:pt x="328" y="1067"/>
                </a:cubicBezTo>
                <a:cubicBezTo>
                  <a:pt x="322" y="1075"/>
                  <a:pt x="330" y="1078"/>
                  <a:pt x="325" y="1084"/>
                </a:cubicBezTo>
                <a:cubicBezTo>
                  <a:pt x="320" y="1091"/>
                  <a:pt x="331" y="1094"/>
                  <a:pt x="342" y="1100"/>
                </a:cubicBezTo>
                <a:cubicBezTo>
                  <a:pt x="353" y="1107"/>
                  <a:pt x="347" y="1113"/>
                  <a:pt x="333" y="1119"/>
                </a:cubicBezTo>
                <a:cubicBezTo>
                  <a:pt x="319" y="1125"/>
                  <a:pt x="327" y="1129"/>
                  <a:pt x="311" y="1118"/>
                </a:cubicBezTo>
                <a:cubicBezTo>
                  <a:pt x="295" y="1107"/>
                  <a:pt x="303" y="1127"/>
                  <a:pt x="292" y="1125"/>
                </a:cubicBezTo>
                <a:cubicBezTo>
                  <a:pt x="281" y="1124"/>
                  <a:pt x="287" y="1122"/>
                  <a:pt x="281" y="1111"/>
                </a:cubicBezTo>
                <a:cubicBezTo>
                  <a:pt x="275" y="1100"/>
                  <a:pt x="265" y="1114"/>
                  <a:pt x="257" y="1111"/>
                </a:cubicBezTo>
                <a:cubicBezTo>
                  <a:pt x="249" y="1108"/>
                  <a:pt x="251" y="1137"/>
                  <a:pt x="259" y="1132"/>
                </a:cubicBezTo>
                <a:cubicBezTo>
                  <a:pt x="267" y="1127"/>
                  <a:pt x="276" y="1151"/>
                  <a:pt x="276" y="1151"/>
                </a:cubicBezTo>
                <a:cubicBezTo>
                  <a:pt x="276" y="1151"/>
                  <a:pt x="273" y="1159"/>
                  <a:pt x="263" y="1165"/>
                </a:cubicBezTo>
                <a:cubicBezTo>
                  <a:pt x="254" y="1171"/>
                  <a:pt x="245" y="1165"/>
                  <a:pt x="232" y="1148"/>
                </a:cubicBezTo>
                <a:cubicBezTo>
                  <a:pt x="219" y="1130"/>
                  <a:pt x="210" y="1138"/>
                  <a:pt x="200" y="1122"/>
                </a:cubicBezTo>
                <a:cubicBezTo>
                  <a:pt x="191" y="1107"/>
                  <a:pt x="189" y="1116"/>
                  <a:pt x="177" y="1108"/>
                </a:cubicBezTo>
                <a:cubicBezTo>
                  <a:pt x="165" y="1100"/>
                  <a:pt x="185" y="1080"/>
                  <a:pt x="177" y="1070"/>
                </a:cubicBezTo>
                <a:cubicBezTo>
                  <a:pt x="170" y="1061"/>
                  <a:pt x="183" y="1061"/>
                  <a:pt x="183" y="1061"/>
                </a:cubicBezTo>
                <a:cubicBezTo>
                  <a:pt x="183" y="1061"/>
                  <a:pt x="191" y="1059"/>
                  <a:pt x="199" y="1047"/>
                </a:cubicBezTo>
                <a:cubicBezTo>
                  <a:pt x="207" y="1034"/>
                  <a:pt x="196" y="1040"/>
                  <a:pt x="185" y="1037"/>
                </a:cubicBezTo>
                <a:cubicBezTo>
                  <a:pt x="173" y="1034"/>
                  <a:pt x="185" y="1024"/>
                  <a:pt x="172" y="1015"/>
                </a:cubicBezTo>
                <a:cubicBezTo>
                  <a:pt x="159" y="1006"/>
                  <a:pt x="153" y="1012"/>
                  <a:pt x="143" y="998"/>
                </a:cubicBezTo>
                <a:cubicBezTo>
                  <a:pt x="134" y="983"/>
                  <a:pt x="137" y="998"/>
                  <a:pt x="129" y="999"/>
                </a:cubicBezTo>
                <a:cubicBezTo>
                  <a:pt x="121" y="1001"/>
                  <a:pt x="117" y="999"/>
                  <a:pt x="106" y="991"/>
                </a:cubicBezTo>
                <a:cubicBezTo>
                  <a:pt x="95" y="983"/>
                  <a:pt x="110" y="990"/>
                  <a:pt x="118" y="988"/>
                </a:cubicBezTo>
                <a:cubicBezTo>
                  <a:pt x="126" y="987"/>
                  <a:pt x="121" y="982"/>
                  <a:pt x="110" y="977"/>
                </a:cubicBezTo>
                <a:cubicBezTo>
                  <a:pt x="99" y="972"/>
                  <a:pt x="113" y="963"/>
                  <a:pt x="118" y="958"/>
                </a:cubicBezTo>
                <a:cubicBezTo>
                  <a:pt x="123" y="953"/>
                  <a:pt x="129" y="969"/>
                  <a:pt x="139" y="976"/>
                </a:cubicBezTo>
                <a:cubicBezTo>
                  <a:pt x="148" y="982"/>
                  <a:pt x="170" y="991"/>
                  <a:pt x="191" y="994"/>
                </a:cubicBezTo>
                <a:cubicBezTo>
                  <a:pt x="211" y="998"/>
                  <a:pt x="256" y="1024"/>
                  <a:pt x="287" y="1029"/>
                </a:cubicBezTo>
                <a:cubicBezTo>
                  <a:pt x="319" y="1034"/>
                  <a:pt x="335" y="999"/>
                  <a:pt x="352" y="969"/>
                </a:cubicBezTo>
                <a:cubicBezTo>
                  <a:pt x="369" y="939"/>
                  <a:pt x="357" y="933"/>
                  <a:pt x="347" y="922"/>
                </a:cubicBezTo>
                <a:cubicBezTo>
                  <a:pt x="338" y="911"/>
                  <a:pt x="328" y="897"/>
                  <a:pt x="314" y="881"/>
                </a:cubicBezTo>
                <a:cubicBezTo>
                  <a:pt x="300" y="865"/>
                  <a:pt x="292" y="865"/>
                  <a:pt x="279" y="849"/>
                </a:cubicBezTo>
                <a:cubicBezTo>
                  <a:pt x="267" y="833"/>
                  <a:pt x="270" y="846"/>
                  <a:pt x="246" y="846"/>
                </a:cubicBezTo>
                <a:cubicBezTo>
                  <a:pt x="222" y="846"/>
                  <a:pt x="232" y="844"/>
                  <a:pt x="233" y="833"/>
                </a:cubicBezTo>
                <a:cubicBezTo>
                  <a:pt x="235" y="822"/>
                  <a:pt x="230" y="826"/>
                  <a:pt x="221" y="824"/>
                </a:cubicBezTo>
                <a:cubicBezTo>
                  <a:pt x="211" y="822"/>
                  <a:pt x="205" y="810"/>
                  <a:pt x="183" y="811"/>
                </a:cubicBezTo>
                <a:cubicBezTo>
                  <a:pt x="161" y="813"/>
                  <a:pt x="177" y="821"/>
                  <a:pt x="159" y="816"/>
                </a:cubicBezTo>
                <a:cubicBezTo>
                  <a:pt x="141" y="811"/>
                  <a:pt x="156" y="827"/>
                  <a:pt x="147" y="833"/>
                </a:cubicBezTo>
                <a:cubicBezTo>
                  <a:pt x="137" y="840"/>
                  <a:pt x="137" y="833"/>
                  <a:pt x="137" y="824"/>
                </a:cubicBezTo>
                <a:cubicBezTo>
                  <a:pt x="137" y="815"/>
                  <a:pt x="140" y="809"/>
                  <a:pt x="139" y="801"/>
                </a:cubicBezTo>
                <a:cubicBezTo>
                  <a:pt x="139" y="799"/>
                  <a:pt x="139" y="799"/>
                  <a:pt x="139" y="799"/>
                </a:cubicBezTo>
                <a:cubicBezTo>
                  <a:pt x="137" y="789"/>
                  <a:pt x="126" y="797"/>
                  <a:pt x="115" y="797"/>
                </a:cubicBezTo>
                <a:cubicBezTo>
                  <a:pt x="108" y="797"/>
                  <a:pt x="108" y="773"/>
                  <a:pt x="104" y="758"/>
                </a:cubicBezTo>
                <a:cubicBezTo>
                  <a:pt x="103" y="758"/>
                  <a:pt x="103" y="758"/>
                  <a:pt x="103" y="758"/>
                </a:cubicBezTo>
                <a:cubicBezTo>
                  <a:pt x="102" y="762"/>
                  <a:pt x="95" y="767"/>
                  <a:pt x="95" y="765"/>
                </a:cubicBezTo>
                <a:cubicBezTo>
                  <a:pt x="94" y="762"/>
                  <a:pt x="98" y="760"/>
                  <a:pt x="94" y="755"/>
                </a:cubicBezTo>
                <a:cubicBezTo>
                  <a:pt x="90" y="749"/>
                  <a:pt x="90" y="756"/>
                  <a:pt x="88" y="756"/>
                </a:cubicBezTo>
                <a:cubicBezTo>
                  <a:pt x="85" y="756"/>
                  <a:pt x="83" y="756"/>
                  <a:pt x="80" y="754"/>
                </a:cubicBezTo>
                <a:cubicBezTo>
                  <a:pt x="80" y="754"/>
                  <a:pt x="80" y="754"/>
                  <a:pt x="80" y="754"/>
                </a:cubicBezTo>
                <a:cubicBezTo>
                  <a:pt x="77" y="768"/>
                  <a:pt x="77" y="774"/>
                  <a:pt x="64" y="780"/>
                </a:cubicBezTo>
                <a:cubicBezTo>
                  <a:pt x="59" y="783"/>
                  <a:pt x="53" y="784"/>
                  <a:pt x="47" y="787"/>
                </a:cubicBezTo>
                <a:cubicBezTo>
                  <a:pt x="38" y="791"/>
                  <a:pt x="38" y="794"/>
                  <a:pt x="34" y="798"/>
                </a:cubicBezTo>
                <a:cubicBezTo>
                  <a:pt x="31" y="802"/>
                  <a:pt x="29" y="804"/>
                  <a:pt x="25" y="807"/>
                </a:cubicBezTo>
                <a:cubicBezTo>
                  <a:pt x="19" y="812"/>
                  <a:pt x="15" y="815"/>
                  <a:pt x="10" y="822"/>
                </a:cubicBezTo>
                <a:cubicBezTo>
                  <a:pt x="2" y="833"/>
                  <a:pt x="5" y="840"/>
                  <a:pt x="6" y="854"/>
                </a:cubicBezTo>
                <a:cubicBezTo>
                  <a:pt x="18" y="861"/>
                  <a:pt x="42" y="885"/>
                  <a:pt x="49" y="898"/>
                </a:cubicBezTo>
                <a:cubicBezTo>
                  <a:pt x="55" y="908"/>
                  <a:pt x="51" y="909"/>
                  <a:pt x="44" y="921"/>
                </a:cubicBezTo>
                <a:cubicBezTo>
                  <a:pt x="40" y="928"/>
                  <a:pt x="36" y="934"/>
                  <a:pt x="38" y="942"/>
                </a:cubicBezTo>
                <a:cubicBezTo>
                  <a:pt x="9" y="954"/>
                  <a:pt x="50" y="1005"/>
                  <a:pt x="56" y="1022"/>
                </a:cubicBezTo>
                <a:cubicBezTo>
                  <a:pt x="60" y="1035"/>
                  <a:pt x="57" y="1028"/>
                  <a:pt x="53" y="1041"/>
                </a:cubicBezTo>
                <a:cubicBezTo>
                  <a:pt x="51" y="1048"/>
                  <a:pt x="54" y="1050"/>
                  <a:pt x="51" y="1057"/>
                </a:cubicBezTo>
                <a:cubicBezTo>
                  <a:pt x="48" y="1066"/>
                  <a:pt x="45" y="1066"/>
                  <a:pt x="44" y="1075"/>
                </a:cubicBezTo>
                <a:cubicBezTo>
                  <a:pt x="44" y="1084"/>
                  <a:pt x="46" y="1094"/>
                  <a:pt x="46" y="1103"/>
                </a:cubicBezTo>
                <a:cubicBezTo>
                  <a:pt x="50" y="1105"/>
                  <a:pt x="55" y="1106"/>
                  <a:pt x="60" y="1105"/>
                </a:cubicBezTo>
                <a:cubicBezTo>
                  <a:pt x="63" y="1115"/>
                  <a:pt x="61" y="1119"/>
                  <a:pt x="55" y="1126"/>
                </a:cubicBezTo>
                <a:cubicBezTo>
                  <a:pt x="58" y="1126"/>
                  <a:pt x="60" y="1128"/>
                  <a:pt x="64" y="1129"/>
                </a:cubicBezTo>
                <a:cubicBezTo>
                  <a:pt x="64" y="1135"/>
                  <a:pt x="65" y="1136"/>
                  <a:pt x="69" y="1140"/>
                </a:cubicBezTo>
                <a:cubicBezTo>
                  <a:pt x="62" y="1144"/>
                  <a:pt x="58" y="1151"/>
                  <a:pt x="64" y="1157"/>
                </a:cubicBezTo>
                <a:cubicBezTo>
                  <a:pt x="60" y="1159"/>
                  <a:pt x="58" y="1162"/>
                  <a:pt x="55" y="1165"/>
                </a:cubicBezTo>
                <a:cubicBezTo>
                  <a:pt x="58" y="1170"/>
                  <a:pt x="67" y="1171"/>
                  <a:pt x="67" y="1179"/>
                </a:cubicBezTo>
                <a:cubicBezTo>
                  <a:pt x="79" y="1186"/>
                  <a:pt x="89" y="1191"/>
                  <a:pt x="94" y="1205"/>
                </a:cubicBezTo>
                <a:cubicBezTo>
                  <a:pt x="99" y="1221"/>
                  <a:pt x="89" y="1234"/>
                  <a:pt x="80" y="1247"/>
                </a:cubicBezTo>
                <a:cubicBezTo>
                  <a:pt x="72" y="1258"/>
                  <a:pt x="62" y="1271"/>
                  <a:pt x="52" y="1279"/>
                </a:cubicBezTo>
                <a:cubicBezTo>
                  <a:pt x="45" y="1286"/>
                  <a:pt x="23" y="1291"/>
                  <a:pt x="32" y="1304"/>
                </a:cubicBezTo>
                <a:cubicBezTo>
                  <a:pt x="20" y="1309"/>
                  <a:pt x="4" y="1325"/>
                  <a:pt x="0" y="1338"/>
                </a:cubicBezTo>
                <a:cubicBezTo>
                  <a:pt x="0" y="1339"/>
                  <a:pt x="0" y="1339"/>
                  <a:pt x="0" y="1339"/>
                </a:cubicBezTo>
                <a:cubicBezTo>
                  <a:pt x="1" y="1338"/>
                  <a:pt x="2" y="1338"/>
                  <a:pt x="3" y="1337"/>
                </a:cubicBezTo>
                <a:cubicBezTo>
                  <a:pt x="8" y="1335"/>
                  <a:pt x="5" y="1339"/>
                  <a:pt x="7" y="1342"/>
                </a:cubicBezTo>
                <a:cubicBezTo>
                  <a:pt x="10" y="1346"/>
                  <a:pt x="13" y="1343"/>
                  <a:pt x="14" y="1338"/>
                </a:cubicBezTo>
                <a:cubicBezTo>
                  <a:pt x="14" y="1333"/>
                  <a:pt x="16" y="1339"/>
                  <a:pt x="19" y="1336"/>
                </a:cubicBezTo>
                <a:cubicBezTo>
                  <a:pt x="23" y="1333"/>
                  <a:pt x="23" y="1333"/>
                  <a:pt x="27" y="1330"/>
                </a:cubicBezTo>
                <a:cubicBezTo>
                  <a:pt x="31" y="1328"/>
                  <a:pt x="27" y="1334"/>
                  <a:pt x="27" y="1339"/>
                </a:cubicBezTo>
                <a:cubicBezTo>
                  <a:pt x="27" y="1344"/>
                  <a:pt x="29" y="1346"/>
                  <a:pt x="26" y="1344"/>
                </a:cubicBezTo>
                <a:cubicBezTo>
                  <a:pt x="22" y="1341"/>
                  <a:pt x="21" y="1344"/>
                  <a:pt x="20" y="1347"/>
                </a:cubicBezTo>
                <a:cubicBezTo>
                  <a:pt x="19" y="1350"/>
                  <a:pt x="22" y="1350"/>
                  <a:pt x="27" y="1352"/>
                </a:cubicBezTo>
                <a:cubicBezTo>
                  <a:pt x="32" y="1354"/>
                  <a:pt x="31" y="1355"/>
                  <a:pt x="33" y="1360"/>
                </a:cubicBezTo>
                <a:cubicBezTo>
                  <a:pt x="35" y="1364"/>
                  <a:pt x="37" y="1362"/>
                  <a:pt x="44" y="1359"/>
                </a:cubicBezTo>
                <a:cubicBezTo>
                  <a:pt x="51" y="1356"/>
                  <a:pt x="50" y="1360"/>
                  <a:pt x="54" y="1358"/>
                </a:cubicBezTo>
                <a:cubicBezTo>
                  <a:pt x="58" y="1356"/>
                  <a:pt x="60" y="1362"/>
                  <a:pt x="63" y="1362"/>
                </a:cubicBezTo>
                <a:cubicBezTo>
                  <a:pt x="66" y="1361"/>
                  <a:pt x="69" y="1369"/>
                  <a:pt x="69" y="1372"/>
                </a:cubicBezTo>
                <a:cubicBezTo>
                  <a:pt x="68" y="1374"/>
                  <a:pt x="66" y="1372"/>
                  <a:pt x="60" y="1370"/>
                </a:cubicBezTo>
                <a:cubicBezTo>
                  <a:pt x="55" y="1368"/>
                  <a:pt x="58" y="1371"/>
                  <a:pt x="54" y="1372"/>
                </a:cubicBezTo>
                <a:cubicBezTo>
                  <a:pt x="50" y="1373"/>
                  <a:pt x="50" y="1371"/>
                  <a:pt x="43" y="1369"/>
                </a:cubicBezTo>
                <a:cubicBezTo>
                  <a:pt x="36" y="1367"/>
                  <a:pt x="42" y="1373"/>
                  <a:pt x="36" y="1374"/>
                </a:cubicBezTo>
                <a:cubicBezTo>
                  <a:pt x="31" y="1374"/>
                  <a:pt x="33" y="1379"/>
                  <a:pt x="30" y="1377"/>
                </a:cubicBezTo>
                <a:cubicBezTo>
                  <a:pt x="27" y="1374"/>
                  <a:pt x="27" y="1377"/>
                  <a:pt x="21" y="1381"/>
                </a:cubicBezTo>
                <a:cubicBezTo>
                  <a:pt x="15" y="1385"/>
                  <a:pt x="16" y="1384"/>
                  <a:pt x="14" y="1382"/>
                </a:cubicBezTo>
                <a:cubicBezTo>
                  <a:pt x="11" y="1380"/>
                  <a:pt x="13" y="1382"/>
                  <a:pt x="11" y="1383"/>
                </a:cubicBezTo>
                <a:cubicBezTo>
                  <a:pt x="9" y="1384"/>
                  <a:pt x="8" y="1384"/>
                  <a:pt x="10" y="1387"/>
                </a:cubicBezTo>
                <a:cubicBezTo>
                  <a:pt x="11" y="1390"/>
                  <a:pt x="11" y="1391"/>
                  <a:pt x="10" y="1394"/>
                </a:cubicBezTo>
                <a:cubicBezTo>
                  <a:pt x="8" y="1396"/>
                  <a:pt x="8" y="1396"/>
                  <a:pt x="6" y="1397"/>
                </a:cubicBezTo>
                <a:cubicBezTo>
                  <a:pt x="6" y="1398"/>
                  <a:pt x="6" y="1398"/>
                  <a:pt x="6" y="1398"/>
                </a:cubicBezTo>
                <a:cubicBezTo>
                  <a:pt x="10" y="1403"/>
                  <a:pt x="12" y="1407"/>
                  <a:pt x="10" y="1413"/>
                </a:cubicBezTo>
                <a:cubicBezTo>
                  <a:pt x="9" y="1415"/>
                  <a:pt x="8" y="1417"/>
                  <a:pt x="7" y="1419"/>
                </a:cubicBezTo>
                <a:cubicBezTo>
                  <a:pt x="7" y="1420"/>
                  <a:pt x="6" y="1421"/>
                  <a:pt x="6" y="1422"/>
                </a:cubicBezTo>
                <a:cubicBezTo>
                  <a:pt x="6" y="1423"/>
                  <a:pt x="6" y="1423"/>
                  <a:pt x="6" y="1423"/>
                </a:cubicBezTo>
                <a:cubicBezTo>
                  <a:pt x="7" y="1426"/>
                  <a:pt x="7" y="1430"/>
                  <a:pt x="8" y="1433"/>
                </a:cubicBezTo>
                <a:cubicBezTo>
                  <a:pt x="10" y="1438"/>
                  <a:pt x="10" y="1440"/>
                  <a:pt x="8" y="1442"/>
                </a:cubicBezTo>
                <a:cubicBezTo>
                  <a:pt x="6" y="1444"/>
                  <a:pt x="6" y="1448"/>
                  <a:pt x="6" y="1449"/>
                </a:cubicBezTo>
                <a:cubicBezTo>
                  <a:pt x="7" y="1451"/>
                  <a:pt x="9" y="1454"/>
                  <a:pt x="11" y="1454"/>
                </a:cubicBezTo>
                <a:cubicBezTo>
                  <a:pt x="13" y="1455"/>
                  <a:pt x="14" y="1461"/>
                  <a:pt x="15" y="1463"/>
                </a:cubicBezTo>
                <a:cubicBezTo>
                  <a:pt x="16" y="1464"/>
                  <a:pt x="15" y="1467"/>
                  <a:pt x="13" y="1467"/>
                </a:cubicBezTo>
                <a:cubicBezTo>
                  <a:pt x="13" y="1468"/>
                  <a:pt x="13" y="1468"/>
                  <a:pt x="13" y="1468"/>
                </a:cubicBezTo>
                <a:cubicBezTo>
                  <a:pt x="19" y="1473"/>
                  <a:pt x="12" y="1494"/>
                  <a:pt x="15" y="1500"/>
                </a:cubicBezTo>
                <a:cubicBezTo>
                  <a:pt x="17" y="1506"/>
                  <a:pt x="17" y="1516"/>
                  <a:pt x="21" y="1520"/>
                </a:cubicBezTo>
                <a:cubicBezTo>
                  <a:pt x="17" y="1526"/>
                  <a:pt x="10" y="1526"/>
                  <a:pt x="8" y="1534"/>
                </a:cubicBezTo>
                <a:cubicBezTo>
                  <a:pt x="6" y="1543"/>
                  <a:pt x="11" y="1552"/>
                  <a:pt x="16" y="1559"/>
                </a:cubicBezTo>
                <a:cubicBezTo>
                  <a:pt x="14" y="1560"/>
                  <a:pt x="14" y="1560"/>
                  <a:pt x="14" y="1560"/>
                </a:cubicBezTo>
                <a:cubicBezTo>
                  <a:pt x="19" y="1561"/>
                  <a:pt x="21" y="1564"/>
                  <a:pt x="27" y="1568"/>
                </a:cubicBezTo>
                <a:cubicBezTo>
                  <a:pt x="29" y="1564"/>
                  <a:pt x="33" y="1562"/>
                  <a:pt x="37" y="1560"/>
                </a:cubicBezTo>
                <a:cubicBezTo>
                  <a:pt x="47" y="1568"/>
                  <a:pt x="50" y="1569"/>
                  <a:pt x="55" y="1583"/>
                </a:cubicBezTo>
                <a:cubicBezTo>
                  <a:pt x="90" y="1560"/>
                  <a:pt x="84" y="1600"/>
                  <a:pt x="88" y="1625"/>
                </a:cubicBezTo>
                <a:cubicBezTo>
                  <a:pt x="90" y="1635"/>
                  <a:pt x="93" y="1662"/>
                  <a:pt x="102" y="1667"/>
                </a:cubicBezTo>
                <a:cubicBezTo>
                  <a:pt x="107" y="1670"/>
                  <a:pt x="116" y="1666"/>
                  <a:pt x="122" y="1670"/>
                </a:cubicBezTo>
                <a:cubicBezTo>
                  <a:pt x="126" y="1673"/>
                  <a:pt x="121" y="1681"/>
                  <a:pt x="133" y="1680"/>
                </a:cubicBezTo>
                <a:cubicBezTo>
                  <a:pt x="133" y="1681"/>
                  <a:pt x="133" y="1682"/>
                  <a:pt x="134" y="1683"/>
                </a:cubicBezTo>
                <a:cubicBezTo>
                  <a:pt x="126" y="1694"/>
                  <a:pt x="111" y="1703"/>
                  <a:pt x="99" y="1708"/>
                </a:cubicBezTo>
                <a:cubicBezTo>
                  <a:pt x="102" y="1717"/>
                  <a:pt x="98" y="1732"/>
                  <a:pt x="107" y="1736"/>
                </a:cubicBezTo>
                <a:cubicBezTo>
                  <a:pt x="106" y="1739"/>
                  <a:pt x="108" y="1740"/>
                  <a:pt x="108" y="1742"/>
                </a:cubicBezTo>
                <a:cubicBezTo>
                  <a:pt x="108" y="1744"/>
                  <a:pt x="108" y="1744"/>
                  <a:pt x="108" y="1744"/>
                </a:cubicBezTo>
                <a:cubicBezTo>
                  <a:pt x="111" y="1744"/>
                  <a:pt x="114" y="1744"/>
                  <a:pt x="117" y="1743"/>
                </a:cubicBezTo>
                <a:cubicBezTo>
                  <a:pt x="128" y="1741"/>
                  <a:pt x="131" y="1734"/>
                  <a:pt x="141" y="1745"/>
                </a:cubicBezTo>
                <a:cubicBezTo>
                  <a:pt x="145" y="1736"/>
                  <a:pt x="159" y="1734"/>
                  <a:pt x="167" y="1735"/>
                </a:cubicBezTo>
                <a:cubicBezTo>
                  <a:pt x="168" y="1743"/>
                  <a:pt x="163" y="1766"/>
                  <a:pt x="169" y="1772"/>
                </a:cubicBezTo>
                <a:cubicBezTo>
                  <a:pt x="175" y="1778"/>
                  <a:pt x="193" y="1774"/>
                  <a:pt x="201" y="1780"/>
                </a:cubicBezTo>
                <a:cubicBezTo>
                  <a:pt x="197" y="1794"/>
                  <a:pt x="209" y="1804"/>
                  <a:pt x="210" y="1820"/>
                </a:cubicBezTo>
                <a:cubicBezTo>
                  <a:pt x="219" y="1816"/>
                  <a:pt x="224" y="1819"/>
                  <a:pt x="232" y="1818"/>
                </a:cubicBezTo>
                <a:cubicBezTo>
                  <a:pt x="245" y="1817"/>
                  <a:pt x="244" y="1811"/>
                  <a:pt x="253" y="1819"/>
                </a:cubicBezTo>
                <a:cubicBezTo>
                  <a:pt x="255" y="1820"/>
                  <a:pt x="253" y="1827"/>
                  <a:pt x="257" y="1829"/>
                </a:cubicBezTo>
                <a:cubicBezTo>
                  <a:pt x="261" y="1831"/>
                  <a:pt x="265" y="1825"/>
                  <a:pt x="269" y="1825"/>
                </a:cubicBezTo>
                <a:cubicBezTo>
                  <a:pt x="276" y="1826"/>
                  <a:pt x="283" y="1830"/>
                  <a:pt x="289" y="1832"/>
                </a:cubicBezTo>
                <a:cubicBezTo>
                  <a:pt x="289" y="1837"/>
                  <a:pt x="288" y="1842"/>
                  <a:pt x="288" y="1847"/>
                </a:cubicBezTo>
                <a:cubicBezTo>
                  <a:pt x="297" y="1847"/>
                  <a:pt x="315" y="1845"/>
                  <a:pt x="320" y="1856"/>
                </a:cubicBezTo>
                <a:cubicBezTo>
                  <a:pt x="324" y="1863"/>
                  <a:pt x="316" y="1877"/>
                  <a:pt x="315" y="1884"/>
                </a:cubicBezTo>
                <a:cubicBezTo>
                  <a:pt x="316" y="1885"/>
                  <a:pt x="318" y="1885"/>
                  <a:pt x="320" y="1885"/>
                </a:cubicBezTo>
                <a:cubicBezTo>
                  <a:pt x="320" y="1886"/>
                  <a:pt x="321" y="1888"/>
                  <a:pt x="321" y="1889"/>
                </a:cubicBezTo>
                <a:cubicBezTo>
                  <a:pt x="315" y="1896"/>
                  <a:pt x="323" y="1901"/>
                  <a:pt x="320" y="1908"/>
                </a:cubicBezTo>
                <a:cubicBezTo>
                  <a:pt x="317" y="1916"/>
                  <a:pt x="308" y="1917"/>
                  <a:pt x="306" y="1926"/>
                </a:cubicBezTo>
                <a:cubicBezTo>
                  <a:pt x="291" y="1919"/>
                  <a:pt x="284" y="1931"/>
                  <a:pt x="275" y="1941"/>
                </a:cubicBezTo>
                <a:cubicBezTo>
                  <a:pt x="276" y="1942"/>
                  <a:pt x="276" y="1942"/>
                  <a:pt x="276" y="1942"/>
                </a:cubicBezTo>
                <a:cubicBezTo>
                  <a:pt x="277" y="1941"/>
                  <a:pt x="278" y="1940"/>
                  <a:pt x="281" y="1942"/>
                </a:cubicBezTo>
                <a:cubicBezTo>
                  <a:pt x="287" y="1947"/>
                  <a:pt x="286" y="1947"/>
                  <a:pt x="292" y="1945"/>
                </a:cubicBezTo>
                <a:cubicBezTo>
                  <a:pt x="299" y="1944"/>
                  <a:pt x="304" y="1942"/>
                  <a:pt x="305" y="1944"/>
                </a:cubicBezTo>
                <a:cubicBezTo>
                  <a:pt x="307" y="1945"/>
                  <a:pt x="303" y="1949"/>
                  <a:pt x="288" y="1958"/>
                </a:cubicBezTo>
                <a:cubicBezTo>
                  <a:pt x="273" y="1966"/>
                  <a:pt x="274" y="1966"/>
                  <a:pt x="268" y="1966"/>
                </a:cubicBezTo>
                <a:cubicBezTo>
                  <a:pt x="262" y="1966"/>
                  <a:pt x="258" y="1961"/>
                  <a:pt x="262" y="1966"/>
                </a:cubicBezTo>
                <a:cubicBezTo>
                  <a:pt x="266" y="1972"/>
                  <a:pt x="269" y="1975"/>
                  <a:pt x="273" y="1977"/>
                </a:cubicBezTo>
                <a:cubicBezTo>
                  <a:pt x="278" y="1980"/>
                  <a:pt x="269" y="1988"/>
                  <a:pt x="275" y="1988"/>
                </a:cubicBezTo>
                <a:cubicBezTo>
                  <a:pt x="282" y="1988"/>
                  <a:pt x="287" y="1991"/>
                  <a:pt x="287" y="1991"/>
                </a:cubicBezTo>
                <a:cubicBezTo>
                  <a:pt x="287" y="1991"/>
                  <a:pt x="289" y="1992"/>
                  <a:pt x="283" y="1992"/>
                </a:cubicBezTo>
                <a:cubicBezTo>
                  <a:pt x="277" y="1993"/>
                  <a:pt x="269" y="1993"/>
                  <a:pt x="269" y="1993"/>
                </a:cubicBezTo>
                <a:cubicBezTo>
                  <a:pt x="264" y="1995"/>
                  <a:pt x="264" y="1995"/>
                  <a:pt x="264" y="1995"/>
                </a:cubicBezTo>
                <a:cubicBezTo>
                  <a:pt x="264" y="1995"/>
                  <a:pt x="261" y="1988"/>
                  <a:pt x="260" y="1994"/>
                </a:cubicBezTo>
                <a:cubicBezTo>
                  <a:pt x="260" y="2000"/>
                  <a:pt x="254" y="2015"/>
                  <a:pt x="254" y="2015"/>
                </a:cubicBezTo>
                <a:cubicBezTo>
                  <a:pt x="254" y="2015"/>
                  <a:pt x="249" y="2020"/>
                  <a:pt x="248" y="2018"/>
                </a:cubicBezTo>
                <a:cubicBezTo>
                  <a:pt x="247" y="2016"/>
                  <a:pt x="247" y="2017"/>
                  <a:pt x="244" y="2015"/>
                </a:cubicBezTo>
                <a:cubicBezTo>
                  <a:pt x="242" y="2014"/>
                  <a:pt x="245" y="2015"/>
                  <a:pt x="242" y="2014"/>
                </a:cubicBezTo>
                <a:cubicBezTo>
                  <a:pt x="239" y="2014"/>
                  <a:pt x="236" y="2015"/>
                  <a:pt x="239" y="2020"/>
                </a:cubicBezTo>
                <a:cubicBezTo>
                  <a:pt x="243" y="2025"/>
                  <a:pt x="249" y="2026"/>
                  <a:pt x="249" y="2028"/>
                </a:cubicBezTo>
                <a:cubicBezTo>
                  <a:pt x="250" y="2031"/>
                  <a:pt x="246" y="2036"/>
                  <a:pt x="251" y="2038"/>
                </a:cubicBezTo>
                <a:cubicBezTo>
                  <a:pt x="256" y="2041"/>
                  <a:pt x="252" y="2046"/>
                  <a:pt x="259" y="2045"/>
                </a:cubicBezTo>
                <a:cubicBezTo>
                  <a:pt x="265" y="2045"/>
                  <a:pt x="263" y="2035"/>
                  <a:pt x="269" y="2041"/>
                </a:cubicBezTo>
                <a:cubicBezTo>
                  <a:pt x="274" y="2046"/>
                  <a:pt x="274" y="2048"/>
                  <a:pt x="277" y="2051"/>
                </a:cubicBezTo>
                <a:cubicBezTo>
                  <a:pt x="279" y="2054"/>
                  <a:pt x="286" y="2053"/>
                  <a:pt x="288" y="2055"/>
                </a:cubicBezTo>
                <a:cubicBezTo>
                  <a:pt x="291" y="2058"/>
                  <a:pt x="294" y="2059"/>
                  <a:pt x="298" y="2062"/>
                </a:cubicBezTo>
                <a:cubicBezTo>
                  <a:pt x="301" y="2065"/>
                  <a:pt x="312" y="2076"/>
                  <a:pt x="314" y="2080"/>
                </a:cubicBezTo>
                <a:cubicBezTo>
                  <a:pt x="316" y="2083"/>
                  <a:pt x="320" y="2085"/>
                  <a:pt x="322" y="2086"/>
                </a:cubicBezTo>
                <a:cubicBezTo>
                  <a:pt x="323" y="2087"/>
                  <a:pt x="324" y="2089"/>
                  <a:pt x="325" y="2091"/>
                </a:cubicBezTo>
                <a:cubicBezTo>
                  <a:pt x="325" y="2092"/>
                  <a:pt x="325" y="2092"/>
                  <a:pt x="325" y="2092"/>
                </a:cubicBezTo>
                <a:lnTo>
                  <a:pt x="328" y="209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3" name="Freeform 709"/>
          <p:cNvSpPr>
            <a:spLocks/>
          </p:cNvSpPr>
          <p:nvPr userDrawn="1"/>
        </p:nvSpPr>
        <p:spPr bwMode="auto">
          <a:xfrm>
            <a:off x="6137242" y="3868934"/>
            <a:ext cx="465676" cy="206036"/>
          </a:xfrm>
          <a:custGeom>
            <a:avLst/>
            <a:gdLst>
              <a:gd name="T0" fmla="*/ 2147483646 w 498"/>
              <a:gd name="T1" fmla="*/ 2147483646 h 222"/>
              <a:gd name="T2" fmla="*/ 2147483646 w 498"/>
              <a:gd name="T3" fmla="*/ 2147483646 h 222"/>
              <a:gd name="T4" fmla="*/ 2147483646 w 498"/>
              <a:gd name="T5" fmla="*/ 2147483646 h 222"/>
              <a:gd name="T6" fmla="*/ 2147483646 w 498"/>
              <a:gd name="T7" fmla="*/ 2147483646 h 222"/>
              <a:gd name="T8" fmla="*/ 2147483646 w 498"/>
              <a:gd name="T9" fmla="*/ 2147483646 h 222"/>
              <a:gd name="T10" fmla="*/ 2147483646 w 498"/>
              <a:gd name="T11" fmla="*/ 2147483646 h 222"/>
              <a:gd name="T12" fmla="*/ 2147483646 w 498"/>
              <a:gd name="T13" fmla="*/ 2147483646 h 222"/>
              <a:gd name="T14" fmla="*/ 2147483646 w 498"/>
              <a:gd name="T15" fmla="*/ 2147483646 h 222"/>
              <a:gd name="T16" fmla="*/ 2147483646 w 498"/>
              <a:gd name="T17" fmla="*/ 2147483646 h 222"/>
              <a:gd name="T18" fmla="*/ 2147483646 w 498"/>
              <a:gd name="T19" fmla="*/ 2147483646 h 222"/>
              <a:gd name="T20" fmla="*/ 2147483646 w 498"/>
              <a:gd name="T21" fmla="*/ 2147483646 h 222"/>
              <a:gd name="T22" fmla="*/ 2147483646 w 498"/>
              <a:gd name="T23" fmla="*/ 2147483646 h 222"/>
              <a:gd name="T24" fmla="*/ 2147483646 w 498"/>
              <a:gd name="T25" fmla="*/ 2147483646 h 222"/>
              <a:gd name="T26" fmla="*/ 2147483646 w 498"/>
              <a:gd name="T27" fmla="*/ 2147483646 h 222"/>
              <a:gd name="T28" fmla="*/ 2147483646 w 498"/>
              <a:gd name="T29" fmla="*/ 2147483646 h 222"/>
              <a:gd name="T30" fmla="*/ 2147483646 w 498"/>
              <a:gd name="T31" fmla="*/ 2147483646 h 222"/>
              <a:gd name="T32" fmla="*/ 2147483646 w 498"/>
              <a:gd name="T33" fmla="*/ 2147483646 h 222"/>
              <a:gd name="T34" fmla="*/ 2147483646 w 498"/>
              <a:gd name="T35" fmla="*/ 2147483646 h 222"/>
              <a:gd name="T36" fmla="*/ 2147483646 w 498"/>
              <a:gd name="T37" fmla="*/ 2147483646 h 222"/>
              <a:gd name="T38" fmla="*/ 2147483646 w 498"/>
              <a:gd name="T39" fmla="*/ 2147483646 h 222"/>
              <a:gd name="T40" fmla="*/ 2147483646 w 498"/>
              <a:gd name="T41" fmla="*/ 2147483646 h 222"/>
              <a:gd name="T42" fmla="*/ 2147483646 w 498"/>
              <a:gd name="T43" fmla="*/ 2147483646 h 222"/>
              <a:gd name="T44" fmla="*/ 2147483646 w 498"/>
              <a:gd name="T45" fmla="*/ 2147483646 h 222"/>
              <a:gd name="T46" fmla="*/ 2147483646 w 498"/>
              <a:gd name="T47" fmla="*/ 2147483646 h 222"/>
              <a:gd name="T48" fmla="*/ 2147483646 w 498"/>
              <a:gd name="T49" fmla="*/ 2147483646 h 222"/>
              <a:gd name="T50" fmla="*/ 2147483646 w 498"/>
              <a:gd name="T51" fmla="*/ 2147483646 h 222"/>
              <a:gd name="T52" fmla="*/ 2147483646 w 498"/>
              <a:gd name="T53" fmla="*/ 2147483646 h 222"/>
              <a:gd name="T54" fmla="*/ 2147483646 w 498"/>
              <a:gd name="T55" fmla="*/ 2147483646 h 222"/>
              <a:gd name="T56" fmla="*/ 2147483646 w 498"/>
              <a:gd name="T57" fmla="*/ 2147483646 h 222"/>
              <a:gd name="T58" fmla="*/ 2147483646 w 498"/>
              <a:gd name="T59" fmla="*/ 2147483646 h 222"/>
              <a:gd name="T60" fmla="*/ 2147483646 w 498"/>
              <a:gd name="T61" fmla="*/ 2147483646 h 222"/>
              <a:gd name="T62" fmla="*/ 2147483646 w 498"/>
              <a:gd name="T63" fmla="*/ 2147483646 h 222"/>
              <a:gd name="T64" fmla="*/ 2147483646 w 498"/>
              <a:gd name="T65" fmla="*/ 2147483646 h 222"/>
              <a:gd name="T66" fmla="*/ 2147483646 w 498"/>
              <a:gd name="T67" fmla="*/ 2147483646 h 222"/>
              <a:gd name="T68" fmla="*/ 2147483646 w 498"/>
              <a:gd name="T69" fmla="*/ 2147483646 h 222"/>
              <a:gd name="T70" fmla="*/ 2147483646 w 498"/>
              <a:gd name="T71" fmla="*/ 2147483646 h 222"/>
              <a:gd name="T72" fmla="*/ 2147483646 w 498"/>
              <a:gd name="T73" fmla="*/ 2147483646 h 222"/>
              <a:gd name="T74" fmla="*/ 2147483646 w 498"/>
              <a:gd name="T75" fmla="*/ 2147483646 h 222"/>
              <a:gd name="T76" fmla="*/ 2147483646 w 498"/>
              <a:gd name="T77" fmla="*/ 2147483646 h 222"/>
              <a:gd name="T78" fmla="*/ 2147483646 w 498"/>
              <a:gd name="T79" fmla="*/ 2147483646 h 222"/>
              <a:gd name="T80" fmla="*/ 2147483646 w 498"/>
              <a:gd name="T81" fmla="*/ 2147483646 h 222"/>
              <a:gd name="T82" fmla="*/ 2147483646 w 498"/>
              <a:gd name="T83" fmla="*/ 2147483646 h 222"/>
              <a:gd name="T84" fmla="*/ 2147483646 w 498"/>
              <a:gd name="T85" fmla="*/ 2147483646 h 222"/>
              <a:gd name="T86" fmla="*/ 2147483646 w 498"/>
              <a:gd name="T87" fmla="*/ 2147483646 h 222"/>
              <a:gd name="T88" fmla="*/ 2147483646 w 498"/>
              <a:gd name="T89" fmla="*/ 2147483646 h 222"/>
              <a:gd name="T90" fmla="*/ 2147483646 w 498"/>
              <a:gd name="T91" fmla="*/ 2147483646 h 222"/>
              <a:gd name="T92" fmla="*/ 2147483646 w 498"/>
              <a:gd name="T93" fmla="*/ 2147483646 h 222"/>
              <a:gd name="T94" fmla="*/ 2147483646 w 498"/>
              <a:gd name="T95" fmla="*/ 2147483646 h 222"/>
              <a:gd name="T96" fmla="*/ 2147483646 w 498"/>
              <a:gd name="T97" fmla="*/ 2147483646 h 222"/>
              <a:gd name="T98" fmla="*/ 2147483646 w 498"/>
              <a:gd name="T99" fmla="*/ 2147483646 h 222"/>
              <a:gd name="T100" fmla="*/ 2147483646 w 498"/>
              <a:gd name="T101" fmla="*/ 2147483646 h 222"/>
              <a:gd name="T102" fmla="*/ 2147483646 w 498"/>
              <a:gd name="T103" fmla="*/ 2147483646 h 222"/>
              <a:gd name="T104" fmla="*/ 2147483646 w 498"/>
              <a:gd name="T105" fmla="*/ 2147483646 h 22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98"/>
              <a:gd name="T160" fmla="*/ 0 h 222"/>
              <a:gd name="T161" fmla="*/ 498 w 498"/>
              <a:gd name="T162" fmla="*/ 222 h 22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98" h="222">
                <a:moveTo>
                  <a:pt x="398" y="35"/>
                </a:moveTo>
                <a:cubicBezTo>
                  <a:pt x="405" y="46"/>
                  <a:pt x="427" y="50"/>
                  <a:pt x="437" y="49"/>
                </a:cubicBezTo>
                <a:cubicBezTo>
                  <a:pt x="437" y="49"/>
                  <a:pt x="450" y="71"/>
                  <a:pt x="457" y="75"/>
                </a:cubicBezTo>
                <a:cubicBezTo>
                  <a:pt x="463" y="78"/>
                  <a:pt x="468" y="86"/>
                  <a:pt x="468" y="97"/>
                </a:cubicBezTo>
                <a:cubicBezTo>
                  <a:pt x="469" y="107"/>
                  <a:pt x="472" y="114"/>
                  <a:pt x="478" y="114"/>
                </a:cubicBezTo>
                <a:cubicBezTo>
                  <a:pt x="484" y="115"/>
                  <a:pt x="487" y="108"/>
                  <a:pt x="497" y="112"/>
                </a:cubicBezTo>
                <a:cubicBezTo>
                  <a:pt x="497" y="112"/>
                  <a:pt x="485" y="126"/>
                  <a:pt x="480" y="127"/>
                </a:cubicBezTo>
                <a:cubicBezTo>
                  <a:pt x="475" y="128"/>
                  <a:pt x="475" y="136"/>
                  <a:pt x="486" y="150"/>
                </a:cubicBezTo>
                <a:cubicBezTo>
                  <a:pt x="498" y="163"/>
                  <a:pt x="491" y="190"/>
                  <a:pt x="487" y="186"/>
                </a:cubicBezTo>
                <a:cubicBezTo>
                  <a:pt x="483" y="182"/>
                  <a:pt x="460" y="189"/>
                  <a:pt x="453" y="182"/>
                </a:cubicBezTo>
                <a:cubicBezTo>
                  <a:pt x="446" y="175"/>
                  <a:pt x="441" y="182"/>
                  <a:pt x="429" y="183"/>
                </a:cubicBezTo>
                <a:cubicBezTo>
                  <a:pt x="417" y="185"/>
                  <a:pt x="407" y="191"/>
                  <a:pt x="399" y="189"/>
                </a:cubicBezTo>
                <a:cubicBezTo>
                  <a:pt x="390" y="186"/>
                  <a:pt x="361" y="192"/>
                  <a:pt x="344" y="192"/>
                </a:cubicBezTo>
                <a:cubicBezTo>
                  <a:pt x="327" y="192"/>
                  <a:pt x="328" y="204"/>
                  <a:pt x="316" y="195"/>
                </a:cubicBezTo>
                <a:cubicBezTo>
                  <a:pt x="303" y="186"/>
                  <a:pt x="307" y="199"/>
                  <a:pt x="299" y="203"/>
                </a:cubicBezTo>
                <a:cubicBezTo>
                  <a:pt x="291" y="207"/>
                  <a:pt x="284" y="216"/>
                  <a:pt x="277" y="219"/>
                </a:cubicBezTo>
                <a:cubicBezTo>
                  <a:pt x="270" y="222"/>
                  <a:pt x="270" y="211"/>
                  <a:pt x="270" y="204"/>
                </a:cubicBezTo>
                <a:cubicBezTo>
                  <a:pt x="270" y="197"/>
                  <a:pt x="253" y="190"/>
                  <a:pt x="247" y="189"/>
                </a:cubicBezTo>
                <a:cubicBezTo>
                  <a:pt x="243" y="188"/>
                  <a:pt x="245" y="188"/>
                  <a:pt x="244" y="191"/>
                </a:cubicBezTo>
                <a:cubicBezTo>
                  <a:pt x="242" y="193"/>
                  <a:pt x="240" y="191"/>
                  <a:pt x="240" y="191"/>
                </a:cubicBezTo>
                <a:cubicBezTo>
                  <a:pt x="239" y="190"/>
                  <a:pt x="238" y="188"/>
                  <a:pt x="234" y="185"/>
                </a:cubicBezTo>
                <a:cubicBezTo>
                  <a:pt x="226" y="179"/>
                  <a:pt x="231" y="186"/>
                  <a:pt x="226" y="188"/>
                </a:cubicBezTo>
                <a:cubicBezTo>
                  <a:pt x="220" y="191"/>
                  <a:pt x="218" y="198"/>
                  <a:pt x="211" y="202"/>
                </a:cubicBezTo>
                <a:cubicBezTo>
                  <a:pt x="205" y="206"/>
                  <a:pt x="191" y="210"/>
                  <a:pt x="185" y="212"/>
                </a:cubicBezTo>
                <a:cubicBezTo>
                  <a:pt x="179" y="214"/>
                  <a:pt x="175" y="213"/>
                  <a:pt x="176" y="211"/>
                </a:cubicBezTo>
                <a:cubicBezTo>
                  <a:pt x="177" y="209"/>
                  <a:pt x="171" y="203"/>
                  <a:pt x="164" y="199"/>
                </a:cubicBezTo>
                <a:cubicBezTo>
                  <a:pt x="157" y="196"/>
                  <a:pt x="154" y="191"/>
                  <a:pt x="145" y="186"/>
                </a:cubicBezTo>
                <a:cubicBezTo>
                  <a:pt x="137" y="182"/>
                  <a:pt x="138" y="184"/>
                  <a:pt x="133" y="189"/>
                </a:cubicBezTo>
                <a:cubicBezTo>
                  <a:pt x="128" y="194"/>
                  <a:pt x="131" y="198"/>
                  <a:pt x="127" y="199"/>
                </a:cubicBezTo>
                <a:cubicBezTo>
                  <a:pt x="123" y="201"/>
                  <a:pt x="119" y="200"/>
                  <a:pt x="118" y="203"/>
                </a:cubicBezTo>
                <a:cubicBezTo>
                  <a:pt x="117" y="206"/>
                  <a:pt x="101" y="210"/>
                  <a:pt x="97" y="209"/>
                </a:cubicBezTo>
                <a:cubicBezTo>
                  <a:pt x="92" y="208"/>
                  <a:pt x="87" y="200"/>
                  <a:pt x="86" y="195"/>
                </a:cubicBezTo>
                <a:cubicBezTo>
                  <a:pt x="86" y="191"/>
                  <a:pt x="86" y="191"/>
                  <a:pt x="82" y="188"/>
                </a:cubicBezTo>
                <a:cubicBezTo>
                  <a:pt x="79" y="185"/>
                  <a:pt x="82" y="192"/>
                  <a:pt x="81" y="196"/>
                </a:cubicBezTo>
                <a:cubicBezTo>
                  <a:pt x="80" y="200"/>
                  <a:pt x="63" y="193"/>
                  <a:pt x="60" y="188"/>
                </a:cubicBezTo>
                <a:cubicBezTo>
                  <a:pt x="58" y="183"/>
                  <a:pt x="67" y="179"/>
                  <a:pt x="64" y="178"/>
                </a:cubicBezTo>
                <a:cubicBezTo>
                  <a:pt x="62" y="177"/>
                  <a:pt x="59" y="178"/>
                  <a:pt x="54" y="181"/>
                </a:cubicBezTo>
                <a:cubicBezTo>
                  <a:pt x="48" y="185"/>
                  <a:pt x="52" y="186"/>
                  <a:pt x="48" y="186"/>
                </a:cubicBezTo>
                <a:cubicBezTo>
                  <a:pt x="44" y="186"/>
                  <a:pt x="41" y="186"/>
                  <a:pt x="37" y="182"/>
                </a:cubicBezTo>
                <a:cubicBezTo>
                  <a:pt x="37" y="182"/>
                  <a:pt x="39" y="170"/>
                  <a:pt x="38" y="165"/>
                </a:cubicBezTo>
                <a:cubicBezTo>
                  <a:pt x="37" y="161"/>
                  <a:pt x="42" y="161"/>
                  <a:pt x="38" y="160"/>
                </a:cubicBezTo>
                <a:cubicBezTo>
                  <a:pt x="34" y="159"/>
                  <a:pt x="38" y="153"/>
                  <a:pt x="34" y="147"/>
                </a:cubicBezTo>
                <a:cubicBezTo>
                  <a:pt x="30" y="141"/>
                  <a:pt x="30" y="146"/>
                  <a:pt x="26" y="149"/>
                </a:cubicBezTo>
                <a:cubicBezTo>
                  <a:pt x="21" y="152"/>
                  <a:pt x="22" y="146"/>
                  <a:pt x="23" y="141"/>
                </a:cubicBezTo>
                <a:cubicBezTo>
                  <a:pt x="23" y="136"/>
                  <a:pt x="18" y="139"/>
                  <a:pt x="14" y="138"/>
                </a:cubicBezTo>
                <a:cubicBezTo>
                  <a:pt x="10" y="137"/>
                  <a:pt x="16" y="137"/>
                  <a:pt x="12" y="134"/>
                </a:cubicBezTo>
                <a:cubicBezTo>
                  <a:pt x="9" y="131"/>
                  <a:pt x="24" y="133"/>
                  <a:pt x="23" y="133"/>
                </a:cubicBezTo>
                <a:cubicBezTo>
                  <a:pt x="21" y="132"/>
                  <a:pt x="25" y="125"/>
                  <a:pt x="25" y="125"/>
                </a:cubicBezTo>
                <a:cubicBezTo>
                  <a:pt x="25" y="125"/>
                  <a:pt x="34" y="118"/>
                  <a:pt x="32" y="117"/>
                </a:cubicBezTo>
                <a:cubicBezTo>
                  <a:pt x="29" y="116"/>
                  <a:pt x="29" y="119"/>
                  <a:pt x="25" y="118"/>
                </a:cubicBezTo>
                <a:cubicBezTo>
                  <a:pt x="21" y="116"/>
                  <a:pt x="29" y="113"/>
                  <a:pt x="29" y="110"/>
                </a:cubicBezTo>
                <a:cubicBezTo>
                  <a:pt x="28" y="107"/>
                  <a:pt x="25" y="109"/>
                  <a:pt x="21" y="106"/>
                </a:cubicBezTo>
                <a:cubicBezTo>
                  <a:pt x="18" y="102"/>
                  <a:pt x="26" y="105"/>
                  <a:pt x="26" y="105"/>
                </a:cubicBezTo>
                <a:cubicBezTo>
                  <a:pt x="33" y="98"/>
                  <a:pt x="33" y="98"/>
                  <a:pt x="33" y="98"/>
                </a:cubicBezTo>
                <a:cubicBezTo>
                  <a:pt x="33" y="98"/>
                  <a:pt x="28" y="95"/>
                  <a:pt x="25" y="98"/>
                </a:cubicBezTo>
                <a:cubicBezTo>
                  <a:pt x="22" y="100"/>
                  <a:pt x="22" y="98"/>
                  <a:pt x="19" y="97"/>
                </a:cubicBezTo>
                <a:cubicBezTo>
                  <a:pt x="16" y="95"/>
                  <a:pt x="15" y="100"/>
                  <a:pt x="10" y="100"/>
                </a:cubicBezTo>
                <a:cubicBezTo>
                  <a:pt x="5" y="100"/>
                  <a:pt x="9" y="98"/>
                  <a:pt x="6" y="94"/>
                </a:cubicBezTo>
                <a:cubicBezTo>
                  <a:pt x="3" y="89"/>
                  <a:pt x="8" y="88"/>
                  <a:pt x="11" y="87"/>
                </a:cubicBezTo>
                <a:cubicBezTo>
                  <a:pt x="14" y="85"/>
                  <a:pt x="15" y="82"/>
                  <a:pt x="18" y="76"/>
                </a:cubicBezTo>
                <a:cubicBezTo>
                  <a:pt x="21" y="70"/>
                  <a:pt x="25" y="71"/>
                  <a:pt x="25" y="67"/>
                </a:cubicBezTo>
                <a:cubicBezTo>
                  <a:pt x="25" y="62"/>
                  <a:pt x="29" y="67"/>
                  <a:pt x="32" y="66"/>
                </a:cubicBezTo>
                <a:cubicBezTo>
                  <a:pt x="34" y="64"/>
                  <a:pt x="36" y="68"/>
                  <a:pt x="44" y="70"/>
                </a:cubicBezTo>
                <a:cubicBezTo>
                  <a:pt x="53" y="72"/>
                  <a:pt x="46" y="64"/>
                  <a:pt x="42" y="60"/>
                </a:cubicBezTo>
                <a:cubicBezTo>
                  <a:pt x="37" y="56"/>
                  <a:pt x="45" y="59"/>
                  <a:pt x="48" y="60"/>
                </a:cubicBezTo>
                <a:cubicBezTo>
                  <a:pt x="51" y="60"/>
                  <a:pt x="50" y="61"/>
                  <a:pt x="57" y="66"/>
                </a:cubicBezTo>
                <a:cubicBezTo>
                  <a:pt x="64" y="70"/>
                  <a:pt x="67" y="64"/>
                  <a:pt x="69" y="65"/>
                </a:cubicBezTo>
                <a:cubicBezTo>
                  <a:pt x="72" y="66"/>
                  <a:pt x="79" y="66"/>
                  <a:pt x="80" y="66"/>
                </a:cubicBezTo>
                <a:cubicBezTo>
                  <a:pt x="82" y="65"/>
                  <a:pt x="79" y="62"/>
                  <a:pt x="76" y="60"/>
                </a:cubicBezTo>
                <a:cubicBezTo>
                  <a:pt x="72" y="59"/>
                  <a:pt x="75" y="58"/>
                  <a:pt x="84" y="57"/>
                </a:cubicBezTo>
                <a:cubicBezTo>
                  <a:pt x="92" y="57"/>
                  <a:pt x="92" y="54"/>
                  <a:pt x="90" y="53"/>
                </a:cubicBezTo>
                <a:cubicBezTo>
                  <a:pt x="89" y="52"/>
                  <a:pt x="87" y="49"/>
                  <a:pt x="84" y="47"/>
                </a:cubicBezTo>
                <a:cubicBezTo>
                  <a:pt x="81" y="45"/>
                  <a:pt x="79" y="46"/>
                  <a:pt x="73" y="47"/>
                </a:cubicBezTo>
                <a:cubicBezTo>
                  <a:pt x="68" y="47"/>
                  <a:pt x="68" y="45"/>
                  <a:pt x="60" y="41"/>
                </a:cubicBezTo>
                <a:cubicBezTo>
                  <a:pt x="53" y="38"/>
                  <a:pt x="51" y="40"/>
                  <a:pt x="46" y="43"/>
                </a:cubicBezTo>
                <a:cubicBezTo>
                  <a:pt x="41" y="46"/>
                  <a:pt x="45" y="52"/>
                  <a:pt x="40" y="54"/>
                </a:cubicBezTo>
                <a:cubicBezTo>
                  <a:pt x="34" y="56"/>
                  <a:pt x="40" y="54"/>
                  <a:pt x="33" y="53"/>
                </a:cubicBezTo>
                <a:cubicBezTo>
                  <a:pt x="26" y="53"/>
                  <a:pt x="29" y="57"/>
                  <a:pt x="24" y="64"/>
                </a:cubicBezTo>
                <a:cubicBezTo>
                  <a:pt x="20" y="70"/>
                  <a:pt x="17" y="74"/>
                  <a:pt x="8" y="76"/>
                </a:cubicBezTo>
                <a:cubicBezTo>
                  <a:pt x="0" y="78"/>
                  <a:pt x="8" y="74"/>
                  <a:pt x="9" y="70"/>
                </a:cubicBezTo>
                <a:cubicBezTo>
                  <a:pt x="10" y="66"/>
                  <a:pt x="19" y="61"/>
                  <a:pt x="20" y="59"/>
                </a:cubicBezTo>
                <a:cubicBezTo>
                  <a:pt x="21" y="57"/>
                  <a:pt x="15" y="58"/>
                  <a:pt x="8" y="53"/>
                </a:cubicBezTo>
                <a:cubicBezTo>
                  <a:pt x="9" y="52"/>
                  <a:pt x="9" y="52"/>
                  <a:pt x="9" y="52"/>
                </a:cubicBezTo>
                <a:cubicBezTo>
                  <a:pt x="12" y="45"/>
                  <a:pt x="17" y="40"/>
                  <a:pt x="20" y="32"/>
                </a:cubicBezTo>
                <a:cubicBezTo>
                  <a:pt x="21" y="28"/>
                  <a:pt x="22" y="24"/>
                  <a:pt x="21" y="20"/>
                </a:cubicBezTo>
                <a:cubicBezTo>
                  <a:pt x="20" y="17"/>
                  <a:pt x="17" y="12"/>
                  <a:pt x="18" y="9"/>
                </a:cubicBezTo>
                <a:cubicBezTo>
                  <a:pt x="20" y="8"/>
                  <a:pt x="20" y="8"/>
                  <a:pt x="20" y="8"/>
                </a:cubicBezTo>
                <a:cubicBezTo>
                  <a:pt x="29" y="4"/>
                  <a:pt x="42" y="11"/>
                  <a:pt x="52" y="10"/>
                </a:cubicBezTo>
                <a:cubicBezTo>
                  <a:pt x="53" y="9"/>
                  <a:pt x="53" y="9"/>
                  <a:pt x="53" y="9"/>
                </a:cubicBezTo>
                <a:cubicBezTo>
                  <a:pt x="55" y="15"/>
                  <a:pt x="63" y="23"/>
                  <a:pt x="66" y="27"/>
                </a:cubicBezTo>
                <a:cubicBezTo>
                  <a:pt x="68" y="32"/>
                  <a:pt x="78" y="35"/>
                  <a:pt x="90" y="38"/>
                </a:cubicBezTo>
                <a:cubicBezTo>
                  <a:pt x="102" y="42"/>
                  <a:pt x="133" y="43"/>
                  <a:pt x="137" y="39"/>
                </a:cubicBezTo>
                <a:cubicBezTo>
                  <a:pt x="142" y="34"/>
                  <a:pt x="145" y="30"/>
                  <a:pt x="153" y="22"/>
                </a:cubicBezTo>
                <a:cubicBezTo>
                  <a:pt x="160" y="15"/>
                  <a:pt x="165" y="22"/>
                  <a:pt x="170" y="19"/>
                </a:cubicBezTo>
                <a:cubicBezTo>
                  <a:pt x="175" y="15"/>
                  <a:pt x="179" y="13"/>
                  <a:pt x="185" y="9"/>
                </a:cubicBezTo>
                <a:cubicBezTo>
                  <a:pt x="191" y="5"/>
                  <a:pt x="196" y="8"/>
                  <a:pt x="213" y="9"/>
                </a:cubicBezTo>
                <a:cubicBezTo>
                  <a:pt x="231" y="9"/>
                  <a:pt x="231" y="8"/>
                  <a:pt x="236" y="4"/>
                </a:cubicBezTo>
                <a:cubicBezTo>
                  <a:pt x="241" y="0"/>
                  <a:pt x="239" y="6"/>
                  <a:pt x="240" y="10"/>
                </a:cubicBezTo>
                <a:cubicBezTo>
                  <a:pt x="241" y="14"/>
                  <a:pt x="244" y="16"/>
                  <a:pt x="245" y="19"/>
                </a:cubicBezTo>
                <a:cubicBezTo>
                  <a:pt x="246" y="21"/>
                  <a:pt x="254" y="21"/>
                  <a:pt x="258" y="18"/>
                </a:cubicBezTo>
                <a:cubicBezTo>
                  <a:pt x="262" y="14"/>
                  <a:pt x="267" y="26"/>
                  <a:pt x="269" y="30"/>
                </a:cubicBezTo>
                <a:cubicBezTo>
                  <a:pt x="271" y="34"/>
                  <a:pt x="285" y="31"/>
                  <a:pt x="296" y="40"/>
                </a:cubicBezTo>
                <a:cubicBezTo>
                  <a:pt x="306" y="49"/>
                  <a:pt x="322" y="49"/>
                  <a:pt x="340" y="41"/>
                </a:cubicBezTo>
                <a:cubicBezTo>
                  <a:pt x="358" y="33"/>
                  <a:pt x="349" y="41"/>
                  <a:pt x="353" y="40"/>
                </a:cubicBezTo>
                <a:cubicBezTo>
                  <a:pt x="358" y="39"/>
                  <a:pt x="366" y="41"/>
                  <a:pt x="370" y="43"/>
                </a:cubicBezTo>
                <a:cubicBezTo>
                  <a:pt x="374" y="45"/>
                  <a:pt x="377" y="41"/>
                  <a:pt x="384" y="35"/>
                </a:cubicBezTo>
                <a:cubicBezTo>
                  <a:pt x="391" y="28"/>
                  <a:pt x="398" y="35"/>
                  <a:pt x="398" y="3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4" name="Freeform 710"/>
          <p:cNvSpPr>
            <a:spLocks/>
          </p:cNvSpPr>
          <p:nvPr userDrawn="1"/>
        </p:nvSpPr>
        <p:spPr bwMode="auto">
          <a:xfrm>
            <a:off x="6214297" y="3902437"/>
            <a:ext cx="3351" cy="8375"/>
          </a:xfrm>
          <a:custGeom>
            <a:avLst/>
            <a:gdLst>
              <a:gd name="T0" fmla="*/ 0 w 2"/>
              <a:gd name="T1" fmla="*/ 2147483646 h 5"/>
              <a:gd name="T2" fmla="*/ 2147483646 w 2"/>
              <a:gd name="T3" fmla="*/ 0 h 5"/>
              <a:gd name="T4" fmla="*/ 0 w 2"/>
              <a:gd name="T5" fmla="*/ 2147483646 h 5"/>
              <a:gd name="T6" fmla="*/ 0 60000 65536"/>
              <a:gd name="T7" fmla="*/ 0 60000 65536"/>
              <a:gd name="T8" fmla="*/ 0 60000 65536"/>
              <a:gd name="T9" fmla="*/ 0 w 2"/>
              <a:gd name="T10" fmla="*/ 0 h 5"/>
              <a:gd name="T11" fmla="*/ 2 w 2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5">
                <a:moveTo>
                  <a:pt x="0" y="5"/>
                </a:moveTo>
                <a:lnTo>
                  <a:pt x="2" y="0"/>
                </a:lnTo>
                <a:lnTo>
                  <a:pt x="0" y="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5" name="Line 711"/>
          <p:cNvSpPr>
            <a:spLocks noChangeShapeType="1"/>
          </p:cNvSpPr>
          <p:nvPr userDrawn="1"/>
        </p:nvSpPr>
        <p:spPr bwMode="auto">
          <a:xfrm flipV="1">
            <a:off x="6214297" y="3902437"/>
            <a:ext cx="3351" cy="8375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6" name="Freeform 712"/>
          <p:cNvSpPr>
            <a:spLocks/>
          </p:cNvSpPr>
          <p:nvPr userDrawn="1"/>
        </p:nvSpPr>
        <p:spPr bwMode="auto">
          <a:xfrm>
            <a:off x="5736896" y="2034707"/>
            <a:ext cx="204361" cy="227812"/>
          </a:xfrm>
          <a:custGeom>
            <a:avLst/>
            <a:gdLst>
              <a:gd name="T0" fmla="*/ 2147483646 w 218"/>
              <a:gd name="T1" fmla="*/ 2147483646 h 244"/>
              <a:gd name="T2" fmla="*/ 2147483646 w 218"/>
              <a:gd name="T3" fmla="*/ 2147483646 h 244"/>
              <a:gd name="T4" fmla="*/ 2147483646 w 218"/>
              <a:gd name="T5" fmla="*/ 2147483646 h 244"/>
              <a:gd name="T6" fmla="*/ 0 w 218"/>
              <a:gd name="T7" fmla="*/ 2147483646 h 244"/>
              <a:gd name="T8" fmla="*/ 2147483646 w 218"/>
              <a:gd name="T9" fmla="*/ 2147483646 h 244"/>
              <a:gd name="T10" fmla="*/ 2147483646 w 218"/>
              <a:gd name="T11" fmla="*/ 2147483646 h 244"/>
              <a:gd name="T12" fmla="*/ 2147483646 w 218"/>
              <a:gd name="T13" fmla="*/ 2147483646 h 244"/>
              <a:gd name="T14" fmla="*/ 2147483646 w 218"/>
              <a:gd name="T15" fmla="*/ 2147483646 h 244"/>
              <a:gd name="T16" fmla="*/ 2147483646 w 218"/>
              <a:gd name="T17" fmla="*/ 2147483646 h 244"/>
              <a:gd name="T18" fmla="*/ 2147483646 w 218"/>
              <a:gd name="T19" fmla="*/ 2147483646 h 244"/>
              <a:gd name="T20" fmla="*/ 2147483646 w 218"/>
              <a:gd name="T21" fmla="*/ 2147483646 h 244"/>
              <a:gd name="T22" fmla="*/ 2147483646 w 218"/>
              <a:gd name="T23" fmla="*/ 2147483646 h 244"/>
              <a:gd name="T24" fmla="*/ 2147483646 w 218"/>
              <a:gd name="T25" fmla="*/ 2147483646 h 244"/>
              <a:gd name="T26" fmla="*/ 2147483646 w 218"/>
              <a:gd name="T27" fmla="*/ 2147483646 h 244"/>
              <a:gd name="T28" fmla="*/ 2147483646 w 218"/>
              <a:gd name="T29" fmla="*/ 2147483646 h 244"/>
              <a:gd name="T30" fmla="*/ 2147483646 w 218"/>
              <a:gd name="T31" fmla="*/ 2147483646 h 244"/>
              <a:gd name="T32" fmla="*/ 2147483646 w 218"/>
              <a:gd name="T33" fmla="*/ 2147483646 h 244"/>
              <a:gd name="T34" fmla="*/ 2147483646 w 218"/>
              <a:gd name="T35" fmla="*/ 2147483646 h 244"/>
              <a:gd name="T36" fmla="*/ 2147483646 w 218"/>
              <a:gd name="T37" fmla="*/ 2147483646 h 244"/>
              <a:gd name="T38" fmla="*/ 2147483646 w 218"/>
              <a:gd name="T39" fmla="*/ 2147483646 h 24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18"/>
              <a:gd name="T61" fmla="*/ 0 h 244"/>
              <a:gd name="T62" fmla="*/ 218 w 218"/>
              <a:gd name="T63" fmla="*/ 244 h 24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18" h="244">
                <a:moveTo>
                  <a:pt x="122" y="32"/>
                </a:moveTo>
                <a:cubicBezTo>
                  <a:pt x="125" y="48"/>
                  <a:pt x="74" y="85"/>
                  <a:pt x="74" y="85"/>
                </a:cubicBezTo>
                <a:cubicBezTo>
                  <a:pt x="74" y="85"/>
                  <a:pt x="42" y="111"/>
                  <a:pt x="37" y="95"/>
                </a:cubicBezTo>
                <a:cubicBezTo>
                  <a:pt x="32" y="79"/>
                  <a:pt x="0" y="64"/>
                  <a:pt x="0" y="95"/>
                </a:cubicBezTo>
                <a:cubicBezTo>
                  <a:pt x="0" y="127"/>
                  <a:pt x="26" y="138"/>
                  <a:pt x="26" y="138"/>
                </a:cubicBezTo>
                <a:cubicBezTo>
                  <a:pt x="42" y="175"/>
                  <a:pt x="11" y="170"/>
                  <a:pt x="42" y="175"/>
                </a:cubicBezTo>
                <a:cubicBezTo>
                  <a:pt x="74" y="180"/>
                  <a:pt x="85" y="122"/>
                  <a:pt x="85" y="154"/>
                </a:cubicBezTo>
                <a:cubicBezTo>
                  <a:pt x="85" y="186"/>
                  <a:pt x="26" y="212"/>
                  <a:pt x="26" y="212"/>
                </a:cubicBezTo>
                <a:cubicBezTo>
                  <a:pt x="74" y="228"/>
                  <a:pt x="74" y="228"/>
                  <a:pt x="74" y="228"/>
                </a:cubicBezTo>
                <a:cubicBezTo>
                  <a:pt x="111" y="233"/>
                  <a:pt x="127" y="196"/>
                  <a:pt x="127" y="196"/>
                </a:cubicBezTo>
                <a:cubicBezTo>
                  <a:pt x="127" y="196"/>
                  <a:pt x="149" y="143"/>
                  <a:pt x="149" y="191"/>
                </a:cubicBezTo>
                <a:cubicBezTo>
                  <a:pt x="149" y="239"/>
                  <a:pt x="154" y="244"/>
                  <a:pt x="170" y="233"/>
                </a:cubicBezTo>
                <a:cubicBezTo>
                  <a:pt x="186" y="223"/>
                  <a:pt x="191" y="186"/>
                  <a:pt x="191" y="186"/>
                </a:cubicBezTo>
                <a:cubicBezTo>
                  <a:pt x="186" y="148"/>
                  <a:pt x="186" y="148"/>
                  <a:pt x="186" y="148"/>
                </a:cubicBezTo>
                <a:cubicBezTo>
                  <a:pt x="170" y="111"/>
                  <a:pt x="170" y="111"/>
                  <a:pt x="170" y="111"/>
                </a:cubicBezTo>
                <a:cubicBezTo>
                  <a:pt x="170" y="111"/>
                  <a:pt x="207" y="69"/>
                  <a:pt x="186" y="74"/>
                </a:cubicBezTo>
                <a:cubicBezTo>
                  <a:pt x="164" y="79"/>
                  <a:pt x="133" y="74"/>
                  <a:pt x="149" y="69"/>
                </a:cubicBezTo>
                <a:cubicBezTo>
                  <a:pt x="164" y="64"/>
                  <a:pt x="207" y="48"/>
                  <a:pt x="207" y="48"/>
                </a:cubicBezTo>
                <a:cubicBezTo>
                  <a:pt x="207" y="48"/>
                  <a:pt x="218" y="0"/>
                  <a:pt x="202" y="5"/>
                </a:cubicBezTo>
                <a:cubicBezTo>
                  <a:pt x="186" y="10"/>
                  <a:pt x="117" y="0"/>
                  <a:pt x="122" y="3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7" name="Freeform 713"/>
          <p:cNvSpPr>
            <a:spLocks/>
          </p:cNvSpPr>
          <p:nvPr userDrawn="1"/>
        </p:nvSpPr>
        <p:spPr bwMode="auto">
          <a:xfrm>
            <a:off x="5959684" y="1979429"/>
            <a:ext cx="204361" cy="222787"/>
          </a:xfrm>
          <a:custGeom>
            <a:avLst/>
            <a:gdLst>
              <a:gd name="T0" fmla="*/ 2147483646 w 218"/>
              <a:gd name="T1" fmla="*/ 2147483646 h 239"/>
              <a:gd name="T2" fmla="*/ 2147483646 w 218"/>
              <a:gd name="T3" fmla="*/ 2147483646 h 239"/>
              <a:gd name="T4" fmla="*/ 2147483646 w 218"/>
              <a:gd name="T5" fmla="*/ 2147483646 h 239"/>
              <a:gd name="T6" fmla="*/ 2147483646 w 218"/>
              <a:gd name="T7" fmla="*/ 2147483646 h 239"/>
              <a:gd name="T8" fmla="*/ 2147483646 w 218"/>
              <a:gd name="T9" fmla="*/ 2147483646 h 239"/>
              <a:gd name="T10" fmla="*/ 2147483646 w 218"/>
              <a:gd name="T11" fmla="*/ 2147483646 h 239"/>
              <a:gd name="T12" fmla="*/ 2147483646 w 218"/>
              <a:gd name="T13" fmla="*/ 2147483646 h 239"/>
              <a:gd name="T14" fmla="*/ 2147483646 w 218"/>
              <a:gd name="T15" fmla="*/ 2147483646 h 239"/>
              <a:gd name="T16" fmla="*/ 2147483646 w 218"/>
              <a:gd name="T17" fmla="*/ 2147483646 h 239"/>
              <a:gd name="T18" fmla="*/ 2147483646 w 218"/>
              <a:gd name="T19" fmla="*/ 2147483646 h 239"/>
              <a:gd name="T20" fmla="*/ 2147483646 w 218"/>
              <a:gd name="T21" fmla="*/ 2147483646 h 239"/>
              <a:gd name="T22" fmla="*/ 2147483646 w 218"/>
              <a:gd name="T23" fmla="*/ 2147483646 h 239"/>
              <a:gd name="T24" fmla="*/ 2147483646 w 218"/>
              <a:gd name="T25" fmla="*/ 2147483646 h 239"/>
              <a:gd name="T26" fmla="*/ 2147483646 w 218"/>
              <a:gd name="T27" fmla="*/ 2147483646 h 239"/>
              <a:gd name="T28" fmla="*/ 2147483646 w 218"/>
              <a:gd name="T29" fmla="*/ 2147483646 h 23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18"/>
              <a:gd name="T46" fmla="*/ 0 h 239"/>
              <a:gd name="T47" fmla="*/ 218 w 218"/>
              <a:gd name="T48" fmla="*/ 239 h 23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18" h="239">
                <a:moveTo>
                  <a:pt x="42" y="64"/>
                </a:moveTo>
                <a:cubicBezTo>
                  <a:pt x="26" y="75"/>
                  <a:pt x="7" y="95"/>
                  <a:pt x="5" y="112"/>
                </a:cubicBezTo>
                <a:cubicBezTo>
                  <a:pt x="0" y="154"/>
                  <a:pt x="48" y="138"/>
                  <a:pt x="48" y="138"/>
                </a:cubicBezTo>
                <a:cubicBezTo>
                  <a:pt x="10" y="192"/>
                  <a:pt x="10" y="192"/>
                  <a:pt x="10" y="192"/>
                </a:cubicBezTo>
                <a:cubicBezTo>
                  <a:pt x="64" y="229"/>
                  <a:pt x="64" y="229"/>
                  <a:pt x="64" y="229"/>
                </a:cubicBezTo>
                <a:cubicBezTo>
                  <a:pt x="64" y="229"/>
                  <a:pt x="58" y="186"/>
                  <a:pt x="106" y="213"/>
                </a:cubicBezTo>
                <a:cubicBezTo>
                  <a:pt x="154" y="239"/>
                  <a:pt x="175" y="197"/>
                  <a:pt x="175" y="197"/>
                </a:cubicBezTo>
                <a:cubicBezTo>
                  <a:pt x="175" y="197"/>
                  <a:pt x="95" y="149"/>
                  <a:pt x="133" y="149"/>
                </a:cubicBezTo>
                <a:cubicBezTo>
                  <a:pt x="170" y="149"/>
                  <a:pt x="191" y="138"/>
                  <a:pt x="191" y="138"/>
                </a:cubicBezTo>
                <a:cubicBezTo>
                  <a:pt x="191" y="138"/>
                  <a:pt x="218" y="85"/>
                  <a:pt x="191" y="96"/>
                </a:cubicBezTo>
                <a:cubicBezTo>
                  <a:pt x="164" y="107"/>
                  <a:pt x="196" y="101"/>
                  <a:pt x="164" y="107"/>
                </a:cubicBezTo>
                <a:cubicBezTo>
                  <a:pt x="133" y="112"/>
                  <a:pt x="101" y="96"/>
                  <a:pt x="122" y="75"/>
                </a:cubicBezTo>
                <a:cubicBezTo>
                  <a:pt x="143" y="54"/>
                  <a:pt x="180" y="0"/>
                  <a:pt x="143" y="22"/>
                </a:cubicBezTo>
                <a:cubicBezTo>
                  <a:pt x="106" y="43"/>
                  <a:pt x="127" y="32"/>
                  <a:pt x="106" y="43"/>
                </a:cubicBezTo>
                <a:cubicBezTo>
                  <a:pt x="85" y="54"/>
                  <a:pt x="42" y="64"/>
                  <a:pt x="42" y="6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8" name="Freeform 714"/>
          <p:cNvSpPr>
            <a:spLocks/>
          </p:cNvSpPr>
          <p:nvPr userDrawn="1"/>
        </p:nvSpPr>
        <p:spPr bwMode="auto">
          <a:xfrm>
            <a:off x="5944607" y="2187141"/>
            <a:ext cx="80404" cy="95480"/>
          </a:xfrm>
          <a:custGeom>
            <a:avLst/>
            <a:gdLst>
              <a:gd name="T0" fmla="*/ 0 w 85"/>
              <a:gd name="T1" fmla="*/ 2147483646 h 101"/>
              <a:gd name="T2" fmla="*/ 2147483646 w 85"/>
              <a:gd name="T3" fmla="*/ 2147483646 h 101"/>
              <a:gd name="T4" fmla="*/ 2147483646 w 85"/>
              <a:gd name="T5" fmla="*/ 2147483646 h 101"/>
              <a:gd name="T6" fmla="*/ 2147483646 w 85"/>
              <a:gd name="T7" fmla="*/ 2147483646 h 101"/>
              <a:gd name="T8" fmla="*/ 2147483646 w 85"/>
              <a:gd name="T9" fmla="*/ 2147483646 h 101"/>
              <a:gd name="T10" fmla="*/ 2147483646 w 85"/>
              <a:gd name="T11" fmla="*/ 2147483646 h 101"/>
              <a:gd name="T12" fmla="*/ 0 w 85"/>
              <a:gd name="T13" fmla="*/ 2147483646 h 1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"/>
              <a:gd name="T22" fmla="*/ 0 h 101"/>
              <a:gd name="T23" fmla="*/ 85 w 85"/>
              <a:gd name="T24" fmla="*/ 101 h 10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5" h="101">
                <a:moveTo>
                  <a:pt x="0" y="32"/>
                </a:moveTo>
                <a:cubicBezTo>
                  <a:pt x="5" y="96"/>
                  <a:pt x="5" y="96"/>
                  <a:pt x="5" y="96"/>
                </a:cubicBezTo>
                <a:cubicBezTo>
                  <a:pt x="42" y="101"/>
                  <a:pt x="42" y="101"/>
                  <a:pt x="42" y="101"/>
                </a:cubicBezTo>
                <a:cubicBezTo>
                  <a:pt x="74" y="80"/>
                  <a:pt x="85" y="64"/>
                  <a:pt x="85" y="64"/>
                </a:cubicBezTo>
                <a:cubicBezTo>
                  <a:pt x="85" y="64"/>
                  <a:pt x="63" y="58"/>
                  <a:pt x="53" y="38"/>
                </a:cubicBezTo>
                <a:cubicBezTo>
                  <a:pt x="37" y="6"/>
                  <a:pt x="74" y="11"/>
                  <a:pt x="37" y="6"/>
                </a:cubicBezTo>
                <a:cubicBezTo>
                  <a:pt x="0" y="0"/>
                  <a:pt x="0" y="32"/>
                  <a:pt x="0" y="3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9" name="Freeform 715"/>
          <p:cNvSpPr>
            <a:spLocks/>
          </p:cNvSpPr>
          <p:nvPr userDrawn="1"/>
        </p:nvSpPr>
        <p:spPr bwMode="auto">
          <a:xfrm>
            <a:off x="3882569" y="2135214"/>
            <a:ext cx="1093836" cy="938052"/>
          </a:xfrm>
          <a:custGeom>
            <a:avLst/>
            <a:gdLst>
              <a:gd name="T0" fmla="*/ 2147483646 w 1173"/>
              <a:gd name="T1" fmla="*/ 2147483646 h 1005"/>
              <a:gd name="T2" fmla="*/ 2147483646 w 1173"/>
              <a:gd name="T3" fmla="*/ 2147483646 h 1005"/>
              <a:gd name="T4" fmla="*/ 2147483646 w 1173"/>
              <a:gd name="T5" fmla="*/ 2147483646 h 1005"/>
              <a:gd name="T6" fmla="*/ 2147483646 w 1173"/>
              <a:gd name="T7" fmla="*/ 2147483646 h 1005"/>
              <a:gd name="T8" fmla="*/ 2147483646 w 1173"/>
              <a:gd name="T9" fmla="*/ 2147483646 h 1005"/>
              <a:gd name="T10" fmla="*/ 2147483646 w 1173"/>
              <a:gd name="T11" fmla="*/ 2147483646 h 1005"/>
              <a:gd name="T12" fmla="*/ 2147483646 w 1173"/>
              <a:gd name="T13" fmla="*/ 2147483646 h 1005"/>
              <a:gd name="T14" fmla="*/ 2147483646 w 1173"/>
              <a:gd name="T15" fmla="*/ 2147483646 h 1005"/>
              <a:gd name="T16" fmla="*/ 2147483646 w 1173"/>
              <a:gd name="T17" fmla="*/ 2147483646 h 1005"/>
              <a:gd name="T18" fmla="*/ 2147483646 w 1173"/>
              <a:gd name="T19" fmla="*/ 2147483646 h 1005"/>
              <a:gd name="T20" fmla="*/ 2147483646 w 1173"/>
              <a:gd name="T21" fmla="*/ 2147483646 h 1005"/>
              <a:gd name="T22" fmla="*/ 2147483646 w 1173"/>
              <a:gd name="T23" fmla="*/ 2147483646 h 1005"/>
              <a:gd name="T24" fmla="*/ 2147483646 w 1173"/>
              <a:gd name="T25" fmla="*/ 2147483646 h 1005"/>
              <a:gd name="T26" fmla="*/ 2147483646 w 1173"/>
              <a:gd name="T27" fmla="*/ 2147483646 h 1005"/>
              <a:gd name="T28" fmla="*/ 2147483646 w 1173"/>
              <a:gd name="T29" fmla="*/ 2147483646 h 1005"/>
              <a:gd name="T30" fmla="*/ 2147483646 w 1173"/>
              <a:gd name="T31" fmla="*/ 2147483646 h 1005"/>
              <a:gd name="T32" fmla="*/ 2147483646 w 1173"/>
              <a:gd name="T33" fmla="*/ 2147483646 h 1005"/>
              <a:gd name="T34" fmla="*/ 2147483646 w 1173"/>
              <a:gd name="T35" fmla="*/ 2147483646 h 1005"/>
              <a:gd name="T36" fmla="*/ 2147483646 w 1173"/>
              <a:gd name="T37" fmla="*/ 2147483646 h 1005"/>
              <a:gd name="T38" fmla="*/ 2147483646 w 1173"/>
              <a:gd name="T39" fmla="*/ 2147483646 h 1005"/>
              <a:gd name="T40" fmla="*/ 2147483646 w 1173"/>
              <a:gd name="T41" fmla="*/ 2147483646 h 1005"/>
              <a:gd name="T42" fmla="*/ 2147483646 w 1173"/>
              <a:gd name="T43" fmla="*/ 2147483646 h 1005"/>
              <a:gd name="T44" fmla="*/ 2147483646 w 1173"/>
              <a:gd name="T45" fmla="*/ 2147483646 h 1005"/>
              <a:gd name="T46" fmla="*/ 2147483646 w 1173"/>
              <a:gd name="T47" fmla="*/ 2147483646 h 1005"/>
              <a:gd name="T48" fmla="*/ 2147483646 w 1173"/>
              <a:gd name="T49" fmla="*/ 2147483646 h 1005"/>
              <a:gd name="T50" fmla="*/ 2147483646 w 1173"/>
              <a:gd name="T51" fmla="*/ 2147483646 h 1005"/>
              <a:gd name="T52" fmla="*/ 2147483646 w 1173"/>
              <a:gd name="T53" fmla="*/ 2147483646 h 1005"/>
              <a:gd name="T54" fmla="*/ 2147483646 w 1173"/>
              <a:gd name="T55" fmla="*/ 2147483646 h 1005"/>
              <a:gd name="T56" fmla="*/ 2147483646 w 1173"/>
              <a:gd name="T57" fmla="*/ 2147483646 h 1005"/>
              <a:gd name="T58" fmla="*/ 2147483646 w 1173"/>
              <a:gd name="T59" fmla="*/ 2147483646 h 1005"/>
              <a:gd name="T60" fmla="*/ 2147483646 w 1173"/>
              <a:gd name="T61" fmla="*/ 2147483646 h 1005"/>
              <a:gd name="T62" fmla="*/ 2147483646 w 1173"/>
              <a:gd name="T63" fmla="*/ 2147483646 h 1005"/>
              <a:gd name="T64" fmla="*/ 2147483646 w 1173"/>
              <a:gd name="T65" fmla="*/ 2147483646 h 1005"/>
              <a:gd name="T66" fmla="*/ 2147483646 w 1173"/>
              <a:gd name="T67" fmla="*/ 2147483646 h 1005"/>
              <a:gd name="T68" fmla="*/ 2147483646 w 1173"/>
              <a:gd name="T69" fmla="*/ 2147483646 h 1005"/>
              <a:gd name="T70" fmla="*/ 2147483646 w 1173"/>
              <a:gd name="T71" fmla="*/ 2147483646 h 1005"/>
              <a:gd name="T72" fmla="*/ 2147483646 w 1173"/>
              <a:gd name="T73" fmla="*/ 2147483646 h 1005"/>
              <a:gd name="T74" fmla="*/ 2147483646 w 1173"/>
              <a:gd name="T75" fmla="*/ 2147483646 h 1005"/>
              <a:gd name="T76" fmla="*/ 2147483646 w 1173"/>
              <a:gd name="T77" fmla="*/ 2147483646 h 1005"/>
              <a:gd name="T78" fmla="*/ 2147483646 w 1173"/>
              <a:gd name="T79" fmla="*/ 2147483646 h 1005"/>
              <a:gd name="T80" fmla="*/ 2147483646 w 1173"/>
              <a:gd name="T81" fmla="*/ 2147483646 h 1005"/>
              <a:gd name="T82" fmla="*/ 2147483646 w 1173"/>
              <a:gd name="T83" fmla="*/ 2147483646 h 1005"/>
              <a:gd name="T84" fmla="*/ 2147483646 w 1173"/>
              <a:gd name="T85" fmla="*/ 2147483646 h 1005"/>
              <a:gd name="T86" fmla="*/ 2147483646 w 1173"/>
              <a:gd name="T87" fmla="*/ 2147483646 h 1005"/>
              <a:gd name="T88" fmla="*/ 2147483646 w 1173"/>
              <a:gd name="T89" fmla="*/ 2147483646 h 1005"/>
              <a:gd name="T90" fmla="*/ 2147483646 w 1173"/>
              <a:gd name="T91" fmla="*/ 2147483646 h 1005"/>
              <a:gd name="T92" fmla="*/ 2147483646 w 1173"/>
              <a:gd name="T93" fmla="*/ 2147483646 h 1005"/>
              <a:gd name="T94" fmla="*/ 2147483646 w 1173"/>
              <a:gd name="T95" fmla="*/ 2147483646 h 1005"/>
              <a:gd name="T96" fmla="*/ 2147483646 w 1173"/>
              <a:gd name="T97" fmla="*/ 2147483646 h 1005"/>
              <a:gd name="T98" fmla="*/ 2147483646 w 1173"/>
              <a:gd name="T99" fmla="*/ 2147483646 h 1005"/>
              <a:gd name="T100" fmla="*/ 2147483646 w 1173"/>
              <a:gd name="T101" fmla="*/ 2147483646 h 1005"/>
              <a:gd name="T102" fmla="*/ 2147483646 w 1173"/>
              <a:gd name="T103" fmla="*/ 2147483646 h 1005"/>
              <a:gd name="T104" fmla="*/ 2147483646 w 1173"/>
              <a:gd name="T105" fmla="*/ 2147483646 h 1005"/>
              <a:gd name="T106" fmla="*/ 2147483646 w 1173"/>
              <a:gd name="T107" fmla="*/ 2147483646 h 1005"/>
              <a:gd name="T108" fmla="*/ 2147483646 w 1173"/>
              <a:gd name="T109" fmla="*/ 2147483646 h 1005"/>
              <a:gd name="T110" fmla="*/ 2147483646 w 1173"/>
              <a:gd name="T111" fmla="*/ 2147483646 h 1005"/>
              <a:gd name="T112" fmla="*/ 2147483646 w 1173"/>
              <a:gd name="T113" fmla="*/ 2147483646 h 1005"/>
              <a:gd name="T114" fmla="*/ 2147483646 w 1173"/>
              <a:gd name="T115" fmla="*/ 2147483646 h 1005"/>
              <a:gd name="T116" fmla="*/ 2147483646 w 1173"/>
              <a:gd name="T117" fmla="*/ 2147483646 h 1005"/>
              <a:gd name="T118" fmla="*/ 2147483646 w 1173"/>
              <a:gd name="T119" fmla="*/ 2147483646 h 100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173"/>
              <a:gd name="T181" fmla="*/ 0 h 1005"/>
              <a:gd name="T182" fmla="*/ 1173 w 1173"/>
              <a:gd name="T183" fmla="*/ 1005 h 1005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173" h="1005">
                <a:moveTo>
                  <a:pt x="488" y="61"/>
                </a:moveTo>
                <a:cubicBezTo>
                  <a:pt x="481" y="57"/>
                  <a:pt x="490" y="36"/>
                  <a:pt x="490" y="36"/>
                </a:cubicBezTo>
                <a:cubicBezTo>
                  <a:pt x="490" y="36"/>
                  <a:pt x="495" y="15"/>
                  <a:pt x="488" y="16"/>
                </a:cubicBezTo>
                <a:cubicBezTo>
                  <a:pt x="474" y="18"/>
                  <a:pt x="472" y="3"/>
                  <a:pt x="468" y="11"/>
                </a:cubicBezTo>
                <a:cubicBezTo>
                  <a:pt x="461" y="25"/>
                  <a:pt x="449" y="27"/>
                  <a:pt x="449" y="27"/>
                </a:cubicBezTo>
                <a:cubicBezTo>
                  <a:pt x="434" y="25"/>
                  <a:pt x="434" y="11"/>
                  <a:pt x="427" y="16"/>
                </a:cubicBezTo>
                <a:cubicBezTo>
                  <a:pt x="420" y="20"/>
                  <a:pt x="407" y="6"/>
                  <a:pt x="404" y="16"/>
                </a:cubicBezTo>
                <a:cubicBezTo>
                  <a:pt x="400" y="32"/>
                  <a:pt x="379" y="23"/>
                  <a:pt x="379" y="23"/>
                </a:cubicBezTo>
                <a:cubicBezTo>
                  <a:pt x="379" y="23"/>
                  <a:pt x="361" y="45"/>
                  <a:pt x="354" y="41"/>
                </a:cubicBezTo>
                <a:cubicBezTo>
                  <a:pt x="347" y="36"/>
                  <a:pt x="350" y="16"/>
                  <a:pt x="343" y="25"/>
                </a:cubicBezTo>
                <a:cubicBezTo>
                  <a:pt x="336" y="34"/>
                  <a:pt x="329" y="45"/>
                  <a:pt x="329" y="45"/>
                </a:cubicBezTo>
                <a:cubicBezTo>
                  <a:pt x="329" y="45"/>
                  <a:pt x="338" y="59"/>
                  <a:pt x="331" y="61"/>
                </a:cubicBezTo>
                <a:cubicBezTo>
                  <a:pt x="318" y="68"/>
                  <a:pt x="318" y="68"/>
                  <a:pt x="318" y="68"/>
                </a:cubicBezTo>
                <a:cubicBezTo>
                  <a:pt x="318" y="68"/>
                  <a:pt x="317" y="53"/>
                  <a:pt x="311" y="50"/>
                </a:cubicBezTo>
                <a:cubicBezTo>
                  <a:pt x="295" y="41"/>
                  <a:pt x="300" y="23"/>
                  <a:pt x="293" y="34"/>
                </a:cubicBezTo>
                <a:cubicBezTo>
                  <a:pt x="286" y="45"/>
                  <a:pt x="293" y="43"/>
                  <a:pt x="293" y="52"/>
                </a:cubicBezTo>
                <a:cubicBezTo>
                  <a:pt x="293" y="61"/>
                  <a:pt x="279" y="63"/>
                  <a:pt x="279" y="63"/>
                </a:cubicBezTo>
                <a:cubicBezTo>
                  <a:pt x="279" y="63"/>
                  <a:pt x="263" y="82"/>
                  <a:pt x="252" y="77"/>
                </a:cubicBezTo>
                <a:cubicBezTo>
                  <a:pt x="241" y="73"/>
                  <a:pt x="241" y="61"/>
                  <a:pt x="234" y="75"/>
                </a:cubicBezTo>
                <a:cubicBezTo>
                  <a:pt x="227" y="88"/>
                  <a:pt x="213" y="88"/>
                  <a:pt x="204" y="86"/>
                </a:cubicBezTo>
                <a:cubicBezTo>
                  <a:pt x="195" y="84"/>
                  <a:pt x="191" y="77"/>
                  <a:pt x="186" y="88"/>
                </a:cubicBezTo>
                <a:cubicBezTo>
                  <a:pt x="182" y="100"/>
                  <a:pt x="170" y="77"/>
                  <a:pt x="168" y="84"/>
                </a:cubicBezTo>
                <a:cubicBezTo>
                  <a:pt x="166" y="91"/>
                  <a:pt x="168" y="101"/>
                  <a:pt x="159" y="104"/>
                </a:cubicBezTo>
                <a:cubicBezTo>
                  <a:pt x="143" y="111"/>
                  <a:pt x="136" y="107"/>
                  <a:pt x="139" y="118"/>
                </a:cubicBezTo>
                <a:cubicBezTo>
                  <a:pt x="141" y="129"/>
                  <a:pt x="145" y="111"/>
                  <a:pt x="152" y="122"/>
                </a:cubicBezTo>
                <a:cubicBezTo>
                  <a:pt x="159" y="134"/>
                  <a:pt x="157" y="132"/>
                  <a:pt x="166" y="127"/>
                </a:cubicBezTo>
                <a:cubicBezTo>
                  <a:pt x="175" y="122"/>
                  <a:pt x="184" y="109"/>
                  <a:pt x="186" y="122"/>
                </a:cubicBezTo>
                <a:cubicBezTo>
                  <a:pt x="189" y="136"/>
                  <a:pt x="193" y="118"/>
                  <a:pt x="202" y="127"/>
                </a:cubicBezTo>
                <a:cubicBezTo>
                  <a:pt x="211" y="136"/>
                  <a:pt x="225" y="127"/>
                  <a:pt x="220" y="141"/>
                </a:cubicBezTo>
                <a:cubicBezTo>
                  <a:pt x="216" y="154"/>
                  <a:pt x="227" y="147"/>
                  <a:pt x="213" y="168"/>
                </a:cubicBezTo>
                <a:cubicBezTo>
                  <a:pt x="200" y="188"/>
                  <a:pt x="193" y="154"/>
                  <a:pt x="182" y="181"/>
                </a:cubicBezTo>
                <a:cubicBezTo>
                  <a:pt x="170" y="209"/>
                  <a:pt x="186" y="227"/>
                  <a:pt x="157" y="202"/>
                </a:cubicBezTo>
                <a:cubicBezTo>
                  <a:pt x="127" y="177"/>
                  <a:pt x="98" y="184"/>
                  <a:pt x="84" y="195"/>
                </a:cubicBezTo>
                <a:cubicBezTo>
                  <a:pt x="71" y="206"/>
                  <a:pt x="71" y="218"/>
                  <a:pt x="59" y="218"/>
                </a:cubicBezTo>
                <a:cubicBezTo>
                  <a:pt x="48" y="218"/>
                  <a:pt x="57" y="188"/>
                  <a:pt x="43" y="204"/>
                </a:cubicBezTo>
                <a:cubicBezTo>
                  <a:pt x="30" y="220"/>
                  <a:pt x="30" y="216"/>
                  <a:pt x="16" y="216"/>
                </a:cubicBezTo>
                <a:cubicBezTo>
                  <a:pt x="2" y="216"/>
                  <a:pt x="5" y="193"/>
                  <a:pt x="2" y="216"/>
                </a:cubicBezTo>
                <a:cubicBezTo>
                  <a:pt x="0" y="238"/>
                  <a:pt x="12" y="240"/>
                  <a:pt x="23" y="243"/>
                </a:cubicBezTo>
                <a:cubicBezTo>
                  <a:pt x="34" y="245"/>
                  <a:pt x="55" y="225"/>
                  <a:pt x="46" y="247"/>
                </a:cubicBezTo>
                <a:cubicBezTo>
                  <a:pt x="36" y="270"/>
                  <a:pt x="89" y="229"/>
                  <a:pt x="91" y="240"/>
                </a:cubicBezTo>
                <a:cubicBezTo>
                  <a:pt x="93" y="252"/>
                  <a:pt x="100" y="234"/>
                  <a:pt x="105" y="250"/>
                </a:cubicBezTo>
                <a:cubicBezTo>
                  <a:pt x="109" y="265"/>
                  <a:pt x="105" y="254"/>
                  <a:pt x="130" y="261"/>
                </a:cubicBezTo>
                <a:cubicBezTo>
                  <a:pt x="154" y="268"/>
                  <a:pt x="164" y="279"/>
                  <a:pt x="164" y="279"/>
                </a:cubicBezTo>
                <a:cubicBezTo>
                  <a:pt x="164" y="279"/>
                  <a:pt x="154" y="288"/>
                  <a:pt x="132" y="290"/>
                </a:cubicBezTo>
                <a:cubicBezTo>
                  <a:pt x="109" y="293"/>
                  <a:pt x="100" y="281"/>
                  <a:pt x="86" y="288"/>
                </a:cubicBezTo>
                <a:cubicBezTo>
                  <a:pt x="73" y="295"/>
                  <a:pt x="59" y="304"/>
                  <a:pt x="50" y="306"/>
                </a:cubicBezTo>
                <a:cubicBezTo>
                  <a:pt x="41" y="309"/>
                  <a:pt x="43" y="279"/>
                  <a:pt x="32" y="293"/>
                </a:cubicBezTo>
                <a:cubicBezTo>
                  <a:pt x="21" y="306"/>
                  <a:pt x="21" y="315"/>
                  <a:pt x="34" y="318"/>
                </a:cubicBezTo>
                <a:cubicBezTo>
                  <a:pt x="48" y="320"/>
                  <a:pt x="48" y="302"/>
                  <a:pt x="55" y="320"/>
                </a:cubicBezTo>
                <a:cubicBezTo>
                  <a:pt x="61" y="338"/>
                  <a:pt x="64" y="327"/>
                  <a:pt x="80" y="322"/>
                </a:cubicBezTo>
                <a:cubicBezTo>
                  <a:pt x="95" y="318"/>
                  <a:pt x="95" y="288"/>
                  <a:pt x="116" y="306"/>
                </a:cubicBezTo>
                <a:cubicBezTo>
                  <a:pt x="136" y="324"/>
                  <a:pt x="127" y="318"/>
                  <a:pt x="132" y="331"/>
                </a:cubicBezTo>
                <a:cubicBezTo>
                  <a:pt x="136" y="345"/>
                  <a:pt x="132" y="331"/>
                  <a:pt x="161" y="331"/>
                </a:cubicBezTo>
                <a:cubicBezTo>
                  <a:pt x="191" y="331"/>
                  <a:pt x="193" y="318"/>
                  <a:pt x="200" y="324"/>
                </a:cubicBezTo>
                <a:cubicBezTo>
                  <a:pt x="207" y="331"/>
                  <a:pt x="200" y="306"/>
                  <a:pt x="220" y="318"/>
                </a:cubicBezTo>
                <a:cubicBezTo>
                  <a:pt x="241" y="329"/>
                  <a:pt x="277" y="331"/>
                  <a:pt x="277" y="331"/>
                </a:cubicBezTo>
                <a:cubicBezTo>
                  <a:pt x="277" y="331"/>
                  <a:pt x="279" y="343"/>
                  <a:pt x="288" y="334"/>
                </a:cubicBezTo>
                <a:cubicBezTo>
                  <a:pt x="297" y="324"/>
                  <a:pt x="318" y="329"/>
                  <a:pt x="316" y="338"/>
                </a:cubicBezTo>
                <a:cubicBezTo>
                  <a:pt x="313" y="347"/>
                  <a:pt x="329" y="340"/>
                  <a:pt x="329" y="340"/>
                </a:cubicBezTo>
                <a:cubicBezTo>
                  <a:pt x="329" y="340"/>
                  <a:pt x="347" y="343"/>
                  <a:pt x="352" y="354"/>
                </a:cubicBezTo>
                <a:cubicBezTo>
                  <a:pt x="356" y="365"/>
                  <a:pt x="377" y="349"/>
                  <a:pt x="375" y="368"/>
                </a:cubicBezTo>
                <a:cubicBezTo>
                  <a:pt x="372" y="386"/>
                  <a:pt x="388" y="372"/>
                  <a:pt x="395" y="383"/>
                </a:cubicBezTo>
                <a:cubicBezTo>
                  <a:pt x="402" y="395"/>
                  <a:pt x="422" y="386"/>
                  <a:pt x="420" y="406"/>
                </a:cubicBezTo>
                <a:cubicBezTo>
                  <a:pt x="418" y="427"/>
                  <a:pt x="434" y="431"/>
                  <a:pt x="434" y="447"/>
                </a:cubicBezTo>
                <a:cubicBezTo>
                  <a:pt x="434" y="463"/>
                  <a:pt x="470" y="431"/>
                  <a:pt x="479" y="449"/>
                </a:cubicBezTo>
                <a:cubicBezTo>
                  <a:pt x="488" y="467"/>
                  <a:pt x="495" y="479"/>
                  <a:pt x="477" y="488"/>
                </a:cubicBezTo>
                <a:cubicBezTo>
                  <a:pt x="459" y="497"/>
                  <a:pt x="443" y="483"/>
                  <a:pt x="447" y="499"/>
                </a:cubicBezTo>
                <a:cubicBezTo>
                  <a:pt x="452" y="515"/>
                  <a:pt x="470" y="495"/>
                  <a:pt x="472" y="511"/>
                </a:cubicBezTo>
                <a:cubicBezTo>
                  <a:pt x="474" y="526"/>
                  <a:pt x="454" y="538"/>
                  <a:pt x="459" y="545"/>
                </a:cubicBezTo>
                <a:cubicBezTo>
                  <a:pt x="463" y="551"/>
                  <a:pt x="452" y="540"/>
                  <a:pt x="472" y="549"/>
                </a:cubicBezTo>
                <a:cubicBezTo>
                  <a:pt x="493" y="558"/>
                  <a:pt x="529" y="535"/>
                  <a:pt x="520" y="565"/>
                </a:cubicBezTo>
                <a:cubicBezTo>
                  <a:pt x="511" y="594"/>
                  <a:pt x="518" y="583"/>
                  <a:pt x="540" y="590"/>
                </a:cubicBezTo>
                <a:cubicBezTo>
                  <a:pt x="563" y="597"/>
                  <a:pt x="577" y="590"/>
                  <a:pt x="574" y="610"/>
                </a:cubicBezTo>
                <a:cubicBezTo>
                  <a:pt x="572" y="631"/>
                  <a:pt x="579" y="665"/>
                  <a:pt x="579" y="665"/>
                </a:cubicBezTo>
                <a:cubicBezTo>
                  <a:pt x="579" y="665"/>
                  <a:pt x="554" y="647"/>
                  <a:pt x="543" y="642"/>
                </a:cubicBezTo>
                <a:cubicBezTo>
                  <a:pt x="531" y="638"/>
                  <a:pt x="522" y="619"/>
                  <a:pt x="511" y="629"/>
                </a:cubicBezTo>
                <a:cubicBezTo>
                  <a:pt x="499" y="638"/>
                  <a:pt x="470" y="638"/>
                  <a:pt x="470" y="638"/>
                </a:cubicBezTo>
                <a:cubicBezTo>
                  <a:pt x="470" y="638"/>
                  <a:pt x="447" y="651"/>
                  <a:pt x="461" y="656"/>
                </a:cubicBezTo>
                <a:cubicBezTo>
                  <a:pt x="474" y="660"/>
                  <a:pt x="488" y="642"/>
                  <a:pt x="497" y="663"/>
                </a:cubicBezTo>
                <a:cubicBezTo>
                  <a:pt x="506" y="683"/>
                  <a:pt x="520" y="649"/>
                  <a:pt x="531" y="665"/>
                </a:cubicBezTo>
                <a:cubicBezTo>
                  <a:pt x="543" y="681"/>
                  <a:pt x="545" y="678"/>
                  <a:pt x="556" y="681"/>
                </a:cubicBezTo>
                <a:cubicBezTo>
                  <a:pt x="567" y="683"/>
                  <a:pt x="567" y="665"/>
                  <a:pt x="574" y="683"/>
                </a:cubicBezTo>
                <a:cubicBezTo>
                  <a:pt x="581" y="701"/>
                  <a:pt x="586" y="681"/>
                  <a:pt x="581" y="701"/>
                </a:cubicBezTo>
                <a:cubicBezTo>
                  <a:pt x="577" y="722"/>
                  <a:pt x="590" y="742"/>
                  <a:pt x="583" y="751"/>
                </a:cubicBezTo>
                <a:cubicBezTo>
                  <a:pt x="577" y="760"/>
                  <a:pt x="579" y="762"/>
                  <a:pt x="565" y="765"/>
                </a:cubicBezTo>
                <a:cubicBezTo>
                  <a:pt x="552" y="767"/>
                  <a:pt x="561" y="747"/>
                  <a:pt x="552" y="767"/>
                </a:cubicBezTo>
                <a:cubicBezTo>
                  <a:pt x="543" y="787"/>
                  <a:pt x="536" y="781"/>
                  <a:pt x="524" y="783"/>
                </a:cubicBezTo>
                <a:cubicBezTo>
                  <a:pt x="513" y="785"/>
                  <a:pt x="499" y="790"/>
                  <a:pt x="508" y="799"/>
                </a:cubicBezTo>
                <a:cubicBezTo>
                  <a:pt x="518" y="808"/>
                  <a:pt x="533" y="792"/>
                  <a:pt x="529" y="806"/>
                </a:cubicBezTo>
                <a:cubicBezTo>
                  <a:pt x="524" y="819"/>
                  <a:pt x="490" y="821"/>
                  <a:pt x="508" y="826"/>
                </a:cubicBezTo>
                <a:cubicBezTo>
                  <a:pt x="527" y="830"/>
                  <a:pt x="538" y="812"/>
                  <a:pt x="545" y="821"/>
                </a:cubicBezTo>
                <a:cubicBezTo>
                  <a:pt x="552" y="830"/>
                  <a:pt x="524" y="851"/>
                  <a:pt x="524" y="851"/>
                </a:cubicBezTo>
                <a:cubicBezTo>
                  <a:pt x="518" y="871"/>
                  <a:pt x="527" y="855"/>
                  <a:pt x="529" y="871"/>
                </a:cubicBezTo>
                <a:cubicBezTo>
                  <a:pt x="531" y="887"/>
                  <a:pt x="511" y="894"/>
                  <a:pt x="522" y="905"/>
                </a:cubicBezTo>
                <a:cubicBezTo>
                  <a:pt x="533" y="917"/>
                  <a:pt x="533" y="880"/>
                  <a:pt x="549" y="896"/>
                </a:cubicBezTo>
                <a:cubicBezTo>
                  <a:pt x="565" y="912"/>
                  <a:pt x="561" y="939"/>
                  <a:pt x="561" y="939"/>
                </a:cubicBezTo>
                <a:cubicBezTo>
                  <a:pt x="561" y="939"/>
                  <a:pt x="590" y="917"/>
                  <a:pt x="586" y="942"/>
                </a:cubicBezTo>
                <a:cubicBezTo>
                  <a:pt x="581" y="967"/>
                  <a:pt x="561" y="976"/>
                  <a:pt x="554" y="971"/>
                </a:cubicBezTo>
                <a:cubicBezTo>
                  <a:pt x="547" y="967"/>
                  <a:pt x="563" y="1005"/>
                  <a:pt x="572" y="1001"/>
                </a:cubicBezTo>
                <a:cubicBezTo>
                  <a:pt x="581" y="996"/>
                  <a:pt x="613" y="976"/>
                  <a:pt x="615" y="985"/>
                </a:cubicBezTo>
                <a:cubicBezTo>
                  <a:pt x="617" y="994"/>
                  <a:pt x="629" y="992"/>
                  <a:pt x="645" y="987"/>
                </a:cubicBezTo>
                <a:cubicBezTo>
                  <a:pt x="661" y="983"/>
                  <a:pt x="670" y="958"/>
                  <a:pt x="697" y="953"/>
                </a:cubicBezTo>
                <a:cubicBezTo>
                  <a:pt x="724" y="948"/>
                  <a:pt x="767" y="926"/>
                  <a:pt x="765" y="912"/>
                </a:cubicBezTo>
                <a:cubicBezTo>
                  <a:pt x="763" y="899"/>
                  <a:pt x="729" y="876"/>
                  <a:pt x="779" y="878"/>
                </a:cubicBezTo>
                <a:cubicBezTo>
                  <a:pt x="828" y="880"/>
                  <a:pt x="860" y="860"/>
                  <a:pt x="862" y="849"/>
                </a:cubicBezTo>
                <a:cubicBezTo>
                  <a:pt x="865" y="837"/>
                  <a:pt x="856" y="830"/>
                  <a:pt x="858" y="817"/>
                </a:cubicBezTo>
                <a:cubicBezTo>
                  <a:pt x="860" y="803"/>
                  <a:pt x="892" y="810"/>
                  <a:pt x="892" y="810"/>
                </a:cubicBezTo>
                <a:cubicBezTo>
                  <a:pt x="892" y="810"/>
                  <a:pt x="908" y="762"/>
                  <a:pt x="917" y="776"/>
                </a:cubicBezTo>
                <a:cubicBezTo>
                  <a:pt x="926" y="790"/>
                  <a:pt x="951" y="769"/>
                  <a:pt x="942" y="765"/>
                </a:cubicBezTo>
                <a:cubicBezTo>
                  <a:pt x="933" y="760"/>
                  <a:pt x="924" y="742"/>
                  <a:pt x="951" y="749"/>
                </a:cubicBezTo>
                <a:cubicBezTo>
                  <a:pt x="978" y="756"/>
                  <a:pt x="1015" y="731"/>
                  <a:pt x="1015" y="731"/>
                </a:cubicBezTo>
                <a:cubicBezTo>
                  <a:pt x="1015" y="731"/>
                  <a:pt x="958" y="703"/>
                  <a:pt x="1012" y="706"/>
                </a:cubicBezTo>
                <a:cubicBezTo>
                  <a:pt x="1067" y="708"/>
                  <a:pt x="1069" y="697"/>
                  <a:pt x="1078" y="699"/>
                </a:cubicBezTo>
                <a:cubicBezTo>
                  <a:pt x="1087" y="701"/>
                  <a:pt x="1087" y="676"/>
                  <a:pt x="1053" y="667"/>
                </a:cubicBezTo>
                <a:cubicBezTo>
                  <a:pt x="1019" y="658"/>
                  <a:pt x="1015" y="660"/>
                  <a:pt x="992" y="660"/>
                </a:cubicBezTo>
                <a:cubicBezTo>
                  <a:pt x="969" y="660"/>
                  <a:pt x="949" y="644"/>
                  <a:pt x="956" y="633"/>
                </a:cubicBezTo>
                <a:cubicBezTo>
                  <a:pt x="962" y="622"/>
                  <a:pt x="1028" y="601"/>
                  <a:pt x="1005" y="592"/>
                </a:cubicBezTo>
                <a:cubicBezTo>
                  <a:pt x="983" y="583"/>
                  <a:pt x="965" y="560"/>
                  <a:pt x="985" y="563"/>
                </a:cubicBezTo>
                <a:cubicBezTo>
                  <a:pt x="1005" y="565"/>
                  <a:pt x="1044" y="565"/>
                  <a:pt x="1028" y="558"/>
                </a:cubicBezTo>
                <a:cubicBezTo>
                  <a:pt x="1012" y="551"/>
                  <a:pt x="994" y="545"/>
                  <a:pt x="1001" y="545"/>
                </a:cubicBezTo>
                <a:cubicBezTo>
                  <a:pt x="1008" y="545"/>
                  <a:pt x="1044" y="547"/>
                  <a:pt x="1024" y="538"/>
                </a:cubicBezTo>
                <a:cubicBezTo>
                  <a:pt x="1003" y="529"/>
                  <a:pt x="1005" y="524"/>
                  <a:pt x="994" y="531"/>
                </a:cubicBezTo>
                <a:cubicBezTo>
                  <a:pt x="983" y="538"/>
                  <a:pt x="980" y="524"/>
                  <a:pt x="974" y="520"/>
                </a:cubicBezTo>
                <a:cubicBezTo>
                  <a:pt x="967" y="515"/>
                  <a:pt x="974" y="508"/>
                  <a:pt x="983" y="506"/>
                </a:cubicBezTo>
                <a:cubicBezTo>
                  <a:pt x="992" y="504"/>
                  <a:pt x="1019" y="488"/>
                  <a:pt x="1030" y="506"/>
                </a:cubicBezTo>
                <a:cubicBezTo>
                  <a:pt x="1042" y="524"/>
                  <a:pt x="1055" y="513"/>
                  <a:pt x="1062" y="531"/>
                </a:cubicBezTo>
                <a:cubicBezTo>
                  <a:pt x="1069" y="549"/>
                  <a:pt x="1071" y="570"/>
                  <a:pt x="1071" y="570"/>
                </a:cubicBezTo>
                <a:cubicBezTo>
                  <a:pt x="1071" y="570"/>
                  <a:pt x="1092" y="592"/>
                  <a:pt x="1094" y="574"/>
                </a:cubicBezTo>
                <a:cubicBezTo>
                  <a:pt x="1096" y="556"/>
                  <a:pt x="1103" y="556"/>
                  <a:pt x="1094" y="545"/>
                </a:cubicBezTo>
                <a:cubicBezTo>
                  <a:pt x="1085" y="533"/>
                  <a:pt x="1080" y="515"/>
                  <a:pt x="1080" y="515"/>
                </a:cubicBezTo>
                <a:cubicBezTo>
                  <a:pt x="1080" y="515"/>
                  <a:pt x="1080" y="499"/>
                  <a:pt x="1064" y="499"/>
                </a:cubicBezTo>
                <a:cubicBezTo>
                  <a:pt x="1049" y="499"/>
                  <a:pt x="1067" y="481"/>
                  <a:pt x="1046" y="479"/>
                </a:cubicBezTo>
                <a:cubicBezTo>
                  <a:pt x="1026" y="476"/>
                  <a:pt x="1037" y="465"/>
                  <a:pt x="1021" y="470"/>
                </a:cubicBezTo>
                <a:cubicBezTo>
                  <a:pt x="1005" y="474"/>
                  <a:pt x="1069" y="447"/>
                  <a:pt x="1058" y="431"/>
                </a:cubicBezTo>
                <a:cubicBezTo>
                  <a:pt x="1046" y="415"/>
                  <a:pt x="1026" y="408"/>
                  <a:pt x="1051" y="402"/>
                </a:cubicBezTo>
                <a:cubicBezTo>
                  <a:pt x="1076" y="395"/>
                  <a:pt x="1092" y="402"/>
                  <a:pt x="1089" y="395"/>
                </a:cubicBezTo>
                <a:cubicBezTo>
                  <a:pt x="1087" y="388"/>
                  <a:pt x="1076" y="374"/>
                  <a:pt x="1076" y="374"/>
                </a:cubicBezTo>
                <a:cubicBezTo>
                  <a:pt x="1062" y="368"/>
                  <a:pt x="1026" y="370"/>
                  <a:pt x="1026" y="363"/>
                </a:cubicBezTo>
                <a:cubicBezTo>
                  <a:pt x="1026" y="356"/>
                  <a:pt x="1024" y="347"/>
                  <a:pt x="1046" y="338"/>
                </a:cubicBezTo>
                <a:cubicBezTo>
                  <a:pt x="1069" y="329"/>
                  <a:pt x="1058" y="320"/>
                  <a:pt x="1083" y="320"/>
                </a:cubicBezTo>
                <a:cubicBezTo>
                  <a:pt x="1108" y="320"/>
                  <a:pt x="1155" y="290"/>
                  <a:pt x="1133" y="286"/>
                </a:cubicBezTo>
                <a:cubicBezTo>
                  <a:pt x="1110" y="281"/>
                  <a:pt x="1108" y="256"/>
                  <a:pt x="1128" y="261"/>
                </a:cubicBezTo>
                <a:cubicBezTo>
                  <a:pt x="1148" y="265"/>
                  <a:pt x="1173" y="238"/>
                  <a:pt x="1157" y="236"/>
                </a:cubicBezTo>
                <a:cubicBezTo>
                  <a:pt x="1142" y="234"/>
                  <a:pt x="1130" y="222"/>
                  <a:pt x="1117" y="234"/>
                </a:cubicBezTo>
                <a:cubicBezTo>
                  <a:pt x="1103" y="245"/>
                  <a:pt x="1108" y="252"/>
                  <a:pt x="1094" y="256"/>
                </a:cubicBezTo>
                <a:cubicBezTo>
                  <a:pt x="1080" y="261"/>
                  <a:pt x="1087" y="240"/>
                  <a:pt x="1078" y="254"/>
                </a:cubicBezTo>
                <a:cubicBezTo>
                  <a:pt x="1069" y="268"/>
                  <a:pt x="1071" y="275"/>
                  <a:pt x="1053" y="277"/>
                </a:cubicBezTo>
                <a:cubicBezTo>
                  <a:pt x="1035" y="279"/>
                  <a:pt x="1035" y="256"/>
                  <a:pt x="1028" y="263"/>
                </a:cubicBezTo>
                <a:cubicBezTo>
                  <a:pt x="1021" y="270"/>
                  <a:pt x="1012" y="247"/>
                  <a:pt x="1035" y="240"/>
                </a:cubicBezTo>
                <a:cubicBezTo>
                  <a:pt x="1058" y="234"/>
                  <a:pt x="1085" y="206"/>
                  <a:pt x="1098" y="213"/>
                </a:cubicBezTo>
                <a:cubicBezTo>
                  <a:pt x="1112" y="220"/>
                  <a:pt x="1114" y="204"/>
                  <a:pt x="1128" y="206"/>
                </a:cubicBezTo>
                <a:cubicBezTo>
                  <a:pt x="1142" y="209"/>
                  <a:pt x="1162" y="206"/>
                  <a:pt x="1162" y="206"/>
                </a:cubicBezTo>
                <a:cubicBezTo>
                  <a:pt x="1139" y="191"/>
                  <a:pt x="1148" y="172"/>
                  <a:pt x="1130" y="177"/>
                </a:cubicBezTo>
                <a:cubicBezTo>
                  <a:pt x="1112" y="181"/>
                  <a:pt x="1110" y="170"/>
                  <a:pt x="1094" y="181"/>
                </a:cubicBezTo>
                <a:cubicBezTo>
                  <a:pt x="1078" y="193"/>
                  <a:pt x="1067" y="193"/>
                  <a:pt x="1042" y="186"/>
                </a:cubicBezTo>
                <a:cubicBezTo>
                  <a:pt x="1017" y="179"/>
                  <a:pt x="1044" y="161"/>
                  <a:pt x="1017" y="179"/>
                </a:cubicBezTo>
                <a:cubicBezTo>
                  <a:pt x="990" y="197"/>
                  <a:pt x="971" y="193"/>
                  <a:pt x="965" y="179"/>
                </a:cubicBezTo>
                <a:cubicBezTo>
                  <a:pt x="958" y="166"/>
                  <a:pt x="933" y="141"/>
                  <a:pt x="933" y="141"/>
                </a:cubicBezTo>
                <a:cubicBezTo>
                  <a:pt x="933" y="141"/>
                  <a:pt x="962" y="122"/>
                  <a:pt x="978" y="125"/>
                </a:cubicBezTo>
                <a:cubicBezTo>
                  <a:pt x="994" y="127"/>
                  <a:pt x="1001" y="111"/>
                  <a:pt x="1021" y="111"/>
                </a:cubicBezTo>
                <a:cubicBezTo>
                  <a:pt x="1042" y="111"/>
                  <a:pt x="1069" y="107"/>
                  <a:pt x="1074" y="98"/>
                </a:cubicBezTo>
                <a:cubicBezTo>
                  <a:pt x="1078" y="88"/>
                  <a:pt x="1083" y="68"/>
                  <a:pt x="1062" y="75"/>
                </a:cubicBezTo>
                <a:cubicBezTo>
                  <a:pt x="1042" y="82"/>
                  <a:pt x="1024" y="77"/>
                  <a:pt x="1005" y="86"/>
                </a:cubicBezTo>
                <a:cubicBezTo>
                  <a:pt x="987" y="95"/>
                  <a:pt x="980" y="57"/>
                  <a:pt x="971" y="79"/>
                </a:cubicBezTo>
                <a:cubicBezTo>
                  <a:pt x="962" y="102"/>
                  <a:pt x="935" y="109"/>
                  <a:pt x="931" y="98"/>
                </a:cubicBezTo>
                <a:cubicBezTo>
                  <a:pt x="926" y="86"/>
                  <a:pt x="917" y="93"/>
                  <a:pt x="908" y="95"/>
                </a:cubicBezTo>
                <a:cubicBezTo>
                  <a:pt x="899" y="98"/>
                  <a:pt x="883" y="75"/>
                  <a:pt x="883" y="75"/>
                </a:cubicBezTo>
                <a:cubicBezTo>
                  <a:pt x="883" y="75"/>
                  <a:pt x="838" y="68"/>
                  <a:pt x="822" y="77"/>
                </a:cubicBezTo>
                <a:cubicBezTo>
                  <a:pt x="806" y="86"/>
                  <a:pt x="794" y="73"/>
                  <a:pt x="788" y="59"/>
                </a:cubicBezTo>
                <a:cubicBezTo>
                  <a:pt x="781" y="45"/>
                  <a:pt x="788" y="2"/>
                  <a:pt x="774" y="32"/>
                </a:cubicBezTo>
                <a:cubicBezTo>
                  <a:pt x="760" y="61"/>
                  <a:pt x="783" y="68"/>
                  <a:pt x="765" y="73"/>
                </a:cubicBezTo>
                <a:cubicBezTo>
                  <a:pt x="747" y="77"/>
                  <a:pt x="733" y="57"/>
                  <a:pt x="722" y="59"/>
                </a:cubicBezTo>
                <a:cubicBezTo>
                  <a:pt x="710" y="61"/>
                  <a:pt x="697" y="50"/>
                  <a:pt x="688" y="52"/>
                </a:cubicBezTo>
                <a:cubicBezTo>
                  <a:pt x="679" y="54"/>
                  <a:pt x="674" y="39"/>
                  <a:pt x="674" y="39"/>
                </a:cubicBezTo>
                <a:cubicBezTo>
                  <a:pt x="674" y="39"/>
                  <a:pt x="645" y="18"/>
                  <a:pt x="633" y="18"/>
                </a:cubicBezTo>
                <a:cubicBezTo>
                  <a:pt x="622" y="18"/>
                  <a:pt x="606" y="0"/>
                  <a:pt x="613" y="18"/>
                </a:cubicBezTo>
                <a:cubicBezTo>
                  <a:pt x="620" y="36"/>
                  <a:pt x="647" y="43"/>
                  <a:pt x="629" y="57"/>
                </a:cubicBezTo>
                <a:cubicBezTo>
                  <a:pt x="611" y="70"/>
                  <a:pt x="588" y="45"/>
                  <a:pt x="579" y="54"/>
                </a:cubicBezTo>
                <a:cubicBezTo>
                  <a:pt x="570" y="63"/>
                  <a:pt x="549" y="66"/>
                  <a:pt x="545" y="57"/>
                </a:cubicBezTo>
                <a:cubicBezTo>
                  <a:pt x="540" y="48"/>
                  <a:pt x="565" y="27"/>
                  <a:pt x="549" y="23"/>
                </a:cubicBezTo>
                <a:cubicBezTo>
                  <a:pt x="533" y="18"/>
                  <a:pt x="520" y="18"/>
                  <a:pt x="518" y="29"/>
                </a:cubicBezTo>
                <a:cubicBezTo>
                  <a:pt x="515" y="41"/>
                  <a:pt x="488" y="61"/>
                  <a:pt x="488" y="6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0" name="Freeform 729"/>
          <p:cNvSpPr>
            <a:spLocks/>
          </p:cNvSpPr>
          <p:nvPr userDrawn="1"/>
        </p:nvSpPr>
        <p:spPr bwMode="auto">
          <a:xfrm>
            <a:off x="9641536" y="6234165"/>
            <a:ext cx="5025" cy="5025"/>
          </a:xfrm>
          <a:custGeom>
            <a:avLst/>
            <a:gdLst>
              <a:gd name="T0" fmla="*/ 2147483646 w 5"/>
              <a:gd name="T1" fmla="*/ 2147483646 h 7"/>
              <a:gd name="T2" fmla="*/ 2147483646 w 5"/>
              <a:gd name="T3" fmla="*/ 2147483646 h 7"/>
              <a:gd name="T4" fmla="*/ 0 w 5"/>
              <a:gd name="T5" fmla="*/ 2147483646 h 7"/>
              <a:gd name="T6" fmla="*/ 2147483646 w 5"/>
              <a:gd name="T7" fmla="*/ 2147483646 h 7"/>
              <a:gd name="T8" fmla="*/ 2147483646 w 5"/>
              <a:gd name="T9" fmla="*/ 2147483646 h 7"/>
              <a:gd name="T10" fmla="*/ 2147483646 w 5"/>
              <a:gd name="T11" fmla="*/ 2147483646 h 7"/>
              <a:gd name="T12" fmla="*/ 2147483646 w 5"/>
              <a:gd name="T13" fmla="*/ 2147483646 h 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7"/>
              <a:gd name="T23" fmla="*/ 5 w 5"/>
              <a:gd name="T24" fmla="*/ 7 h 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7">
                <a:moveTo>
                  <a:pt x="5" y="1"/>
                </a:moveTo>
                <a:cubicBezTo>
                  <a:pt x="4" y="0"/>
                  <a:pt x="3" y="1"/>
                  <a:pt x="2" y="1"/>
                </a:cubicBezTo>
                <a:cubicBezTo>
                  <a:pt x="1" y="2"/>
                  <a:pt x="0" y="0"/>
                  <a:pt x="0" y="3"/>
                </a:cubicBezTo>
                <a:cubicBezTo>
                  <a:pt x="0" y="7"/>
                  <a:pt x="0" y="7"/>
                  <a:pt x="2" y="7"/>
                </a:cubicBezTo>
                <a:cubicBezTo>
                  <a:pt x="3" y="7"/>
                  <a:pt x="4" y="4"/>
                  <a:pt x="4" y="4"/>
                </a:cubicBezTo>
                <a:cubicBezTo>
                  <a:pt x="4" y="4"/>
                  <a:pt x="5" y="3"/>
                  <a:pt x="5" y="2"/>
                </a:cubicBezTo>
                <a:cubicBezTo>
                  <a:pt x="5" y="2"/>
                  <a:pt x="5" y="1"/>
                  <a:pt x="5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1" name="Freeform 730"/>
          <p:cNvSpPr>
            <a:spLocks/>
          </p:cNvSpPr>
          <p:nvPr userDrawn="1"/>
        </p:nvSpPr>
        <p:spPr bwMode="auto">
          <a:xfrm>
            <a:off x="9646562" y="6244215"/>
            <a:ext cx="8375" cy="6700"/>
          </a:xfrm>
          <a:custGeom>
            <a:avLst/>
            <a:gdLst>
              <a:gd name="T0" fmla="*/ 2147483646 w 9"/>
              <a:gd name="T1" fmla="*/ 2147483646 h 7"/>
              <a:gd name="T2" fmla="*/ 2147483646 w 9"/>
              <a:gd name="T3" fmla="*/ 2147483646 h 7"/>
              <a:gd name="T4" fmla="*/ 2147483646 w 9"/>
              <a:gd name="T5" fmla="*/ 2147483646 h 7"/>
              <a:gd name="T6" fmla="*/ 2147483646 w 9"/>
              <a:gd name="T7" fmla="*/ 2147483646 h 7"/>
              <a:gd name="T8" fmla="*/ 2147483646 w 9"/>
              <a:gd name="T9" fmla="*/ 2147483646 h 7"/>
              <a:gd name="T10" fmla="*/ 2147483646 w 9"/>
              <a:gd name="T11" fmla="*/ 2147483646 h 7"/>
              <a:gd name="T12" fmla="*/ 2147483646 w 9"/>
              <a:gd name="T13" fmla="*/ 2147483646 h 7"/>
              <a:gd name="T14" fmla="*/ 2147483646 w 9"/>
              <a:gd name="T15" fmla="*/ 0 h 7"/>
              <a:gd name="T16" fmla="*/ 2147483646 w 9"/>
              <a:gd name="T17" fmla="*/ 2147483646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7"/>
              <a:gd name="T29" fmla="*/ 9 w 9"/>
              <a:gd name="T30" fmla="*/ 7 h 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7">
                <a:moveTo>
                  <a:pt x="4" y="1"/>
                </a:moveTo>
                <a:cubicBezTo>
                  <a:pt x="3" y="0"/>
                  <a:pt x="0" y="0"/>
                  <a:pt x="1" y="1"/>
                </a:cubicBezTo>
                <a:cubicBezTo>
                  <a:pt x="2" y="3"/>
                  <a:pt x="2" y="4"/>
                  <a:pt x="3" y="4"/>
                </a:cubicBezTo>
                <a:cubicBezTo>
                  <a:pt x="4" y="5"/>
                  <a:pt x="5" y="4"/>
                  <a:pt x="5" y="5"/>
                </a:cubicBezTo>
                <a:cubicBezTo>
                  <a:pt x="5" y="6"/>
                  <a:pt x="4" y="7"/>
                  <a:pt x="5" y="7"/>
                </a:cubicBezTo>
                <a:cubicBezTo>
                  <a:pt x="6" y="7"/>
                  <a:pt x="7" y="6"/>
                  <a:pt x="7" y="5"/>
                </a:cubicBezTo>
                <a:cubicBezTo>
                  <a:pt x="8" y="5"/>
                  <a:pt x="9" y="1"/>
                  <a:pt x="9" y="1"/>
                </a:cubicBezTo>
                <a:cubicBezTo>
                  <a:pt x="9" y="1"/>
                  <a:pt x="8" y="0"/>
                  <a:pt x="8" y="0"/>
                </a:cubicBezTo>
                <a:cubicBezTo>
                  <a:pt x="7" y="0"/>
                  <a:pt x="4" y="1"/>
                  <a:pt x="4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2" name="Freeform 731"/>
          <p:cNvSpPr>
            <a:spLocks/>
          </p:cNvSpPr>
          <p:nvPr userDrawn="1"/>
        </p:nvSpPr>
        <p:spPr bwMode="auto">
          <a:xfrm>
            <a:off x="9693465" y="6059955"/>
            <a:ext cx="8375" cy="10051"/>
          </a:xfrm>
          <a:custGeom>
            <a:avLst/>
            <a:gdLst>
              <a:gd name="T0" fmla="*/ 2147483646 w 9"/>
              <a:gd name="T1" fmla="*/ 0 h 11"/>
              <a:gd name="T2" fmla="*/ 2147483646 w 9"/>
              <a:gd name="T3" fmla="*/ 2147483646 h 11"/>
              <a:gd name="T4" fmla="*/ 2147483646 w 9"/>
              <a:gd name="T5" fmla="*/ 2147483646 h 11"/>
              <a:gd name="T6" fmla="*/ 2147483646 w 9"/>
              <a:gd name="T7" fmla="*/ 2147483646 h 11"/>
              <a:gd name="T8" fmla="*/ 2147483646 w 9"/>
              <a:gd name="T9" fmla="*/ 2147483646 h 11"/>
              <a:gd name="T10" fmla="*/ 2147483646 w 9"/>
              <a:gd name="T11" fmla="*/ 2147483646 h 11"/>
              <a:gd name="T12" fmla="*/ 2147483646 w 9"/>
              <a:gd name="T13" fmla="*/ 2147483646 h 11"/>
              <a:gd name="T14" fmla="*/ 2147483646 w 9"/>
              <a:gd name="T15" fmla="*/ 2147483646 h 11"/>
              <a:gd name="T16" fmla="*/ 2147483646 w 9"/>
              <a:gd name="T17" fmla="*/ 0 h 1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11"/>
              <a:gd name="T29" fmla="*/ 9 w 9"/>
              <a:gd name="T30" fmla="*/ 11 h 1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11">
                <a:moveTo>
                  <a:pt x="4" y="0"/>
                </a:moveTo>
                <a:cubicBezTo>
                  <a:pt x="3" y="0"/>
                  <a:pt x="3" y="2"/>
                  <a:pt x="3" y="3"/>
                </a:cubicBezTo>
                <a:cubicBezTo>
                  <a:pt x="3" y="4"/>
                  <a:pt x="0" y="3"/>
                  <a:pt x="1" y="5"/>
                </a:cubicBezTo>
                <a:cubicBezTo>
                  <a:pt x="2" y="7"/>
                  <a:pt x="5" y="8"/>
                  <a:pt x="6" y="9"/>
                </a:cubicBezTo>
                <a:cubicBezTo>
                  <a:pt x="7" y="10"/>
                  <a:pt x="6" y="11"/>
                  <a:pt x="8" y="11"/>
                </a:cubicBezTo>
                <a:cubicBezTo>
                  <a:pt x="9" y="11"/>
                  <a:pt x="8" y="9"/>
                  <a:pt x="8" y="7"/>
                </a:cubicBezTo>
                <a:cubicBezTo>
                  <a:pt x="8" y="5"/>
                  <a:pt x="8" y="4"/>
                  <a:pt x="8" y="3"/>
                </a:cubicBezTo>
                <a:cubicBezTo>
                  <a:pt x="8" y="3"/>
                  <a:pt x="5" y="0"/>
                  <a:pt x="5" y="1"/>
                </a:cubicBezTo>
                <a:cubicBezTo>
                  <a:pt x="5" y="1"/>
                  <a:pt x="4" y="0"/>
                  <a:pt x="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3" name="Freeform 732"/>
          <p:cNvSpPr>
            <a:spLocks/>
          </p:cNvSpPr>
          <p:nvPr userDrawn="1"/>
        </p:nvSpPr>
        <p:spPr bwMode="auto">
          <a:xfrm>
            <a:off x="9683414" y="6085082"/>
            <a:ext cx="8375" cy="3351"/>
          </a:xfrm>
          <a:custGeom>
            <a:avLst/>
            <a:gdLst>
              <a:gd name="T0" fmla="*/ 2147483646 w 9"/>
              <a:gd name="T1" fmla="*/ 2147483646 h 4"/>
              <a:gd name="T2" fmla="*/ 2147483646 w 9"/>
              <a:gd name="T3" fmla="*/ 2147483646 h 4"/>
              <a:gd name="T4" fmla="*/ 2147483646 w 9"/>
              <a:gd name="T5" fmla="*/ 2147483646 h 4"/>
              <a:gd name="T6" fmla="*/ 2147483646 w 9"/>
              <a:gd name="T7" fmla="*/ 0 h 4"/>
              <a:gd name="T8" fmla="*/ 2147483646 w 9"/>
              <a:gd name="T9" fmla="*/ 2147483646 h 4"/>
              <a:gd name="T10" fmla="*/ 2147483646 w 9"/>
              <a:gd name="T11" fmla="*/ 2147483646 h 4"/>
              <a:gd name="T12" fmla="*/ 2147483646 w 9"/>
              <a:gd name="T13" fmla="*/ 2147483646 h 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4"/>
              <a:gd name="T23" fmla="*/ 9 w 9"/>
              <a:gd name="T24" fmla="*/ 4 h 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4">
                <a:moveTo>
                  <a:pt x="1" y="1"/>
                </a:moveTo>
                <a:cubicBezTo>
                  <a:pt x="0" y="2"/>
                  <a:pt x="1" y="3"/>
                  <a:pt x="3" y="4"/>
                </a:cubicBezTo>
                <a:cubicBezTo>
                  <a:pt x="4" y="4"/>
                  <a:pt x="5" y="4"/>
                  <a:pt x="6" y="3"/>
                </a:cubicBezTo>
                <a:cubicBezTo>
                  <a:pt x="7" y="2"/>
                  <a:pt x="9" y="1"/>
                  <a:pt x="8" y="0"/>
                </a:cubicBezTo>
                <a:cubicBezTo>
                  <a:pt x="8" y="0"/>
                  <a:pt x="6" y="1"/>
                  <a:pt x="5" y="1"/>
                </a:cubicBezTo>
                <a:cubicBezTo>
                  <a:pt x="4" y="1"/>
                  <a:pt x="3" y="3"/>
                  <a:pt x="3" y="2"/>
                </a:cubicBezTo>
                <a:cubicBezTo>
                  <a:pt x="3" y="1"/>
                  <a:pt x="2" y="1"/>
                  <a:pt x="1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4" name="Freeform 733"/>
          <p:cNvSpPr>
            <a:spLocks noEditPoints="1"/>
          </p:cNvSpPr>
          <p:nvPr userDrawn="1"/>
        </p:nvSpPr>
        <p:spPr bwMode="auto">
          <a:xfrm>
            <a:off x="9442201" y="6224114"/>
            <a:ext cx="214412" cy="232837"/>
          </a:xfrm>
          <a:custGeom>
            <a:avLst/>
            <a:gdLst>
              <a:gd name="T0" fmla="*/ 2147483646 w 230"/>
              <a:gd name="T1" fmla="*/ 2147483646 h 250"/>
              <a:gd name="T2" fmla="*/ 2147483646 w 230"/>
              <a:gd name="T3" fmla="*/ 2147483646 h 250"/>
              <a:gd name="T4" fmla="*/ 2147483646 w 230"/>
              <a:gd name="T5" fmla="*/ 2147483646 h 250"/>
              <a:gd name="T6" fmla="*/ 2147483646 w 230"/>
              <a:gd name="T7" fmla="*/ 2147483646 h 250"/>
              <a:gd name="T8" fmla="*/ 2147483646 w 230"/>
              <a:gd name="T9" fmla="*/ 2147483646 h 250"/>
              <a:gd name="T10" fmla="*/ 2147483646 w 230"/>
              <a:gd name="T11" fmla="*/ 2147483646 h 250"/>
              <a:gd name="T12" fmla="*/ 2147483646 w 230"/>
              <a:gd name="T13" fmla="*/ 2147483646 h 250"/>
              <a:gd name="T14" fmla="*/ 2147483646 w 230"/>
              <a:gd name="T15" fmla="*/ 2147483646 h 250"/>
              <a:gd name="T16" fmla="*/ 2147483646 w 230"/>
              <a:gd name="T17" fmla="*/ 2147483646 h 250"/>
              <a:gd name="T18" fmla="*/ 2147483646 w 230"/>
              <a:gd name="T19" fmla="*/ 2147483646 h 250"/>
              <a:gd name="T20" fmla="*/ 2147483646 w 230"/>
              <a:gd name="T21" fmla="*/ 2147483646 h 250"/>
              <a:gd name="T22" fmla="*/ 2147483646 w 230"/>
              <a:gd name="T23" fmla="*/ 2147483646 h 250"/>
              <a:gd name="T24" fmla="*/ 2147483646 w 230"/>
              <a:gd name="T25" fmla="*/ 2147483646 h 250"/>
              <a:gd name="T26" fmla="*/ 2147483646 w 230"/>
              <a:gd name="T27" fmla="*/ 2147483646 h 250"/>
              <a:gd name="T28" fmla="*/ 2147483646 w 230"/>
              <a:gd name="T29" fmla="*/ 2147483646 h 250"/>
              <a:gd name="T30" fmla="*/ 2147483646 w 230"/>
              <a:gd name="T31" fmla="*/ 2147483646 h 250"/>
              <a:gd name="T32" fmla="*/ 2147483646 w 230"/>
              <a:gd name="T33" fmla="*/ 2147483646 h 250"/>
              <a:gd name="T34" fmla="*/ 2147483646 w 230"/>
              <a:gd name="T35" fmla="*/ 2147483646 h 250"/>
              <a:gd name="T36" fmla="*/ 2147483646 w 230"/>
              <a:gd name="T37" fmla="*/ 2147483646 h 250"/>
              <a:gd name="T38" fmla="*/ 2147483646 w 230"/>
              <a:gd name="T39" fmla="*/ 2147483646 h 250"/>
              <a:gd name="T40" fmla="*/ 2147483646 w 230"/>
              <a:gd name="T41" fmla="*/ 2147483646 h 250"/>
              <a:gd name="T42" fmla="*/ 2147483646 w 230"/>
              <a:gd name="T43" fmla="*/ 2147483646 h 250"/>
              <a:gd name="T44" fmla="*/ 2147483646 w 230"/>
              <a:gd name="T45" fmla="*/ 2147483646 h 250"/>
              <a:gd name="T46" fmla="*/ 2147483646 w 230"/>
              <a:gd name="T47" fmla="*/ 2147483646 h 250"/>
              <a:gd name="T48" fmla="*/ 2147483646 w 230"/>
              <a:gd name="T49" fmla="*/ 2147483646 h 250"/>
              <a:gd name="T50" fmla="*/ 2147483646 w 230"/>
              <a:gd name="T51" fmla="*/ 2147483646 h 250"/>
              <a:gd name="T52" fmla="*/ 2147483646 w 230"/>
              <a:gd name="T53" fmla="*/ 2147483646 h 250"/>
              <a:gd name="T54" fmla="*/ 2147483646 w 230"/>
              <a:gd name="T55" fmla="*/ 2147483646 h 250"/>
              <a:gd name="T56" fmla="*/ 2147483646 w 230"/>
              <a:gd name="T57" fmla="*/ 2147483646 h 250"/>
              <a:gd name="T58" fmla="*/ 2147483646 w 230"/>
              <a:gd name="T59" fmla="*/ 2147483646 h 250"/>
              <a:gd name="T60" fmla="*/ 2147483646 w 230"/>
              <a:gd name="T61" fmla="*/ 2147483646 h 250"/>
              <a:gd name="T62" fmla="*/ 2147483646 w 230"/>
              <a:gd name="T63" fmla="*/ 2147483646 h 250"/>
              <a:gd name="T64" fmla="*/ 2147483646 w 230"/>
              <a:gd name="T65" fmla="*/ 2147483646 h 250"/>
              <a:gd name="T66" fmla="*/ 2147483646 w 230"/>
              <a:gd name="T67" fmla="*/ 2147483646 h 250"/>
              <a:gd name="T68" fmla="*/ 2147483646 w 230"/>
              <a:gd name="T69" fmla="*/ 2147483646 h 250"/>
              <a:gd name="T70" fmla="*/ 2147483646 w 230"/>
              <a:gd name="T71" fmla="*/ 2147483646 h 250"/>
              <a:gd name="T72" fmla="*/ 2147483646 w 230"/>
              <a:gd name="T73" fmla="*/ 2147483646 h 250"/>
              <a:gd name="T74" fmla="*/ 2147483646 w 230"/>
              <a:gd name="T75" fmla="*/ 2147483646 h 250"/>
              <a:gd name="T76" fmla="*/ 2147483646 w 230"/>
              <a:gd name="T77" fmla="*/ 2147483646 h 250"/>
              <a:gd name="T78" fmla="*/ 2147483646 w 230"/>
              <a:gd name="T79" fmla="*/ 2147483646 h 250"/>
              <a:gd name="T80" fmla="*/ 2147483646 w 230"/>
              <a:gd name="T81" fmla="*/ 2147483646 h 250"/>
              <a:gd name="T82" fmla="*/ 2147483646 w 230"/>
              <a:gd name="T83" fmla="*/ 2147483646 h 250"/>
              <a:gd name="T84" fmla="*/ 2147483646 w 230"/>
              <a:gd name="T85" fmla="*/ 2147483646 h 250"/>
              <a:gd name="T86" fmla="*/ 2147483646 w 230"/>
              <a:gd name="T87" fmla="*/ 2147483646 h 250"/>
              <a:gd name="T88" fmla="*/ 2147483646 w 230"/>
              <a:gd name="T89" fmla="*/ 2147483646 h 250"/>
              <a:gd name="T90" fmla="*/ 2147483646 w 230"/>
              <a:gd name="T91" fmla="*/ 2147483646 h 250"/>
              <a:gd name="T92" fmla="*/ 2147483646 w 230"/>
              <a:gd name="T93" fmla="*/ 2147483646 h 250"/>
              <a:gd name="T94" fmla="*/ 2147483646 w 230"/>
              <a:gd name="T95" fmla="*/ 2147483646 h 250"/>
              <a:gd name="T96" fmla="*/ 2147483646 w 230"/>
              <a:gd name="T97" fmla="*/ 2147483646 h 250"/>
              <a:gd name="T98" fmla="*/ 2147483646 w 230"/>
              <a:gd name="T99" fmla="*/ 2147483646 h 250"/>
              <a:gd name="T100" fmla="*/ 2147483646 w 230"/>
              <a:gd name="T101" fmla="*/ 2147483646 h 250"/>
              <a:gd name="T102" fmla="*/ 2147483646 w 230"/>
              <a:gd name="T103" fmla="*/ 2147483646 h 250"/>
              <a:gd name="T104" fmla="*/ 2147483646 w 230"/>
              <a:gd name="T105" fmla="*/ 2147483646 h 250"/>
              <a:gd name="T106" fmla="*/ 2147483646 w 230"/>
              <a:gd name="T107" fmla="*/ 2147483646 h 250"/>
              <a:gd name="T108" fmla="*/ 2147483646 w 230"/>
              <a:gd name="T109" fmla="*/ 2147483646 h 250"/>
              <a:gd name="T110" fmla="*/ 2147483646 w 230"/>
              <a:gd name="T111" fmla="*/ 2147483646 h 250"/>
              <a:gd name="T112" fmla="*/ 2147483646 w 230"/>
              <a:gd name="T113" fmla="*/ 2147483646 h 250"/>
              <a:gd name="T114" fmla="*/ 2147483646 w 230"/>
              <a:gd name="T115" fmla="*/ 2147483646 h 25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30"/>
              <a:gd name="T175" fmla="*/ 0 h 250"/>
              <a:gd name="T176" fmla="*/ 230 w 230"/>
              <a:gd name="T177" fmla="*/ 250 h 25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30" h="250">
                <a:moveTo>
                  <a:pt x="227" y="31"/>
                </a:moveTo>
                <a:cubicBezTo>
                  <a:pt x="226" y="30"/>
                  <a:pt x="225" y="32"/>
                  <a:pt x="223" y="31"/>
                </a:cubicBezTo>
                <a:cubicBezTo>
                  <a:pt x="222" y="31"/>
                  <a:pt x="221" y="32"/>
                  <a:pt x="220" y="31"/>
                </a:cubicBezTo>
                <a:cubicBezTo>
                  <a:pt x="219" y="31"/>
                  <a:pt x="222" y="29"/>
                  <a:pt x="222" y="28"/>
                </a:cubicBezTo>
                <a:cubicBezTo>
                  <a:pt x="223" y="27"/>
                  <a:pt x="220" y="28"/>
                  <a:pt x="219" y="29"/>
                </a:cubicBezTo>
                <a:cubicBezTo>
                  <a:pt x="217" y="29"/>
                  <a:pt x="218" y="30"/>
                  <a:pt x="216" y="31"/>
                </a:cubicBezTo>
                <a:cubicBezTo>
                  <a:pt x="215" y="32"/>
                  <a:pt x="214" y="32"/>
                  <a:pt x="213" y="32"/>
                </a:cubicBezTo>
                <a:cubicBezTo>
                  <a:pt x="211" y="31"/>
                  <a:pt x="213" y="31"/>
                  <a:pt x="214" y="29"/>
                </a:cubicBezTo>
                <a:cubicBezTo>
                  <a:pt x="216" y="28"/>
                  <a:pt x="215" y="29"/>
                  <a:pt x="215" y="27"/>
                </a:cubicBezTo>
                <a:cubicBezTo>
                  <a:pt x="215" y="26"/>
                  <a:pt x="216" y="26"/>
                  <a:pt x="215" y="24"/>
                </a:cubicBezTo>
                <a:cubicBezTo>
                  <a:pt x="215" y="23"/>
                  <a:pt x="214" y="26"/>
                  <a:pt x="212" y="25"/>
                </a:cubicBezTo>
                <a:cubicBezTo>
                  <a:pt x="210" y="24"/>
                  <a:pt x="212" y="23"/>
                  <a:pt x="215" y="22"/>
                </a:cubicBezTo>
                <a:cubicBezTo>
                  <a:pt x="216" y="21"/>
                  <a:pt x="215" y="18"/>
                  <a:pt x="213" y="20"/>
                </a:cubicBezTo>
                <a:cubicBezTo>
                  <a:pt x="211" y="21"/>
                  <a:pt x="212" y="20"/>
                  <a:pt x="211" y="21"/>
                </a:cubicBezTo>
                <a:cubicBezTo>
                  <a:pt x="209" y="22"/>
                  <a:pt x="210" y="23"/>
                  <a:pt x="209" y="24"/>
                </a:cubicBezTo>
                <a:cubicBezTo>
                  <a:pt x="208" y="26"/>
                  <a:pt x="208" y="23"/>
                  <a:pt x="207" y="23"/>
                </a:cubicBezTo>
                <a:cubicBezTo>
                  <a:pt x="206" y="24"/>
                  <a:pt x="204" y="24"/>
                  <a:pt x="204" y="27"/>
                </a:cubicBezTo>
                <a:cubicBezTo>
                  <a:pt x="204" y="29"/>
                  <a:pt x="204" y="29"/>
                  <a:pt x="202" y="27"/>
                </a:cubicBezTo>
                <a:cubicBezTo>
                  <a:pt x="199" y="26"/>
                  <a:pt x="200" y="27"/>
                  <a:pt x="198" y="29"/>
                </a:cubicBezTo>
                <a:cubicBezTo>
                  <a:pt x="197" y="31"/>
                  <a:pt x="197" y="30"/>
                  <a:pt x="195" y="32"/>
                </a:cubicBezTo>
                <a:cubicBezTo>
                  <a:pt x="194" y="34"/>
                  <a:pt x="194" y="33"/>
                  <a:pt x="194" y="31"/>
                </a:cubicBezTo>
                <a:cubicBezTo>
                  <a:pt x="194" y="29"/>
                  <a:pt x="191" y="28"/>
                  <a:pt x="189" y="27"/>
                </a:cubicBezTo>
                <a:cubicBezTo>
                  <a:pt x="187" y="25"/>
                  <a:pt x="189" y="22"/>
                  <a:pt x="191" y="19"/>
                </a:cubicBezTo>
                <a:cubicBezTo>
                  <a:pt x="193" y="17"/>
                  <a:pt x="191" y="16"/>
                  <a:pt x="190" y="15"/>
                </a:cubicBezTo>
                <a:cubicBezTo>
                  <a:pt x="189" y="15"/>
                  <a:pt x="190" y="12"/>
                  <a:pt x="189" y="12"/>
                </a:cubicBezTo>
                <a:cubicBezTo>
                  <a:pt x="188" y="11"/>
                  <a:pt x="187" y="12"/>
                  <a:pt x="186" y="13"/>
                </a:cubicBezTo>
                <a:cubicBezTo>
                  <a:pt x="184" y="14"/>
                  <a:pt x="182" y="11"/>
                  <a:pt x="180" y="9"/>
                </a:cubicBezTo>
                <a:cubicBezTo>
                  <a:pt x="178" y="8"/>
                  <a:pt x="179" y="6"/>
                  <a:pt x="180" y="4"/>
                </a:cubicBezTo>
                <a:cubicBezTo>
                  <a:pt x="180" y="2"/>
                  <a:pt x="180" y="2"/>
                  <a:pt x="184" y="1"/>
                </a:cubicBezTo>
                <a:cubicBezTo>
                  <a:pt x="187" y="1"/>
                  <a:pt x="188" y="2"/>
                  <a:pt x="187" y="1"/>
                </a:cubicBezTo>
                <a:cubicBezTo>
                  <a:pt x="186" y="0"/>
                  <a:pt x="183" y="0"/>
                  <a:pt x="180" y="0"/>
                </a:cubicBezTo>
                <a:cubicBezTo>
                  <a:pt x="177" y="0"/>
                  <a:pt x="177" y="0"/>
                  <a:pt x="177" y="2"/>
                </a:cubicBezTo>
                <a:cubicBezTo>
                  <a:pt x="177" y="4"/>
                  <a:pt x="177" y="5"/>
                  <a:pt x="175" y="4"/>
                </a:cubicBezTo>
                <a:cubicBezTo>
                  <a:pt x="172" y="3"/>
                  <a:pt x="172" y="6"/>
                  <a:pt x="168" y="9"/>
                </a:cubicBezTo>
                <a:cubicBezTo>
                  <a:pt x="164" y="12"/>
                  <a:pt x="164" y="13"/>
                  <a:pt x="162" y="15"/>
                </a:cubicBezTo>
                <a:cubicBezTo>
                  <a:pt x="160" y="17"/>
                  <a:pt x="161" y="18"/>
                  <a:pt x="162" y="20"/>
                </a:cubicBezTo>
                <a:cubicBezTo>
                  <a:pt x="162" y="20"/>
                  <a:pt x="162" y="23"/>
                  <a:pt x="162" y="24"/>
                </a:cubicBezTo>
                <a:cubicBezTo>
                  <a:pt x="161" y="26"/>
                  <a:pt x="161" y="27"/>
                  <a:pt x="162" y="29"/>
                </a:cubicBezTo>
                <a:cubicBezTo>
                  <a:pt x="163" y="31"/>
                  <a:pt x="162" y="33"/>
                  <a:pt x="161" y="35"/>
                </a:cubicBezTo>
                <a:cubicBezTo>
                  <a:pt x="160" y="37"/>
                  <a:pt x="158" y="37"/>
                  <a:pt x="156" y="41"/>
                </a:cubicBezTo>
                <a:cubicBezTo>
                  <a:pt x="155" y="44"/>
                  <a:pt x="153" y="46"/>
                  <a:pt x="150" y="49"/>
                </a:cubicBezTo>
                <a:cubicBezTo>
                  <a:pt x="146" y="51"/>
                  <a:pt x="144" y="48"/>
                  <a:pt x="143" y="49"/>
                </a:cubicBezTo>
                <a:cubicBezTo>
                  <a:pt x="141" y="49"/>
                  <a:pt x="142" y="50"/>
                  <a:pt x="142" y="51"/>
                </a:cubicBezTo>
                <a:cubicBezTo>
                  <a:pt x="143" y="53"/>
                  <a:pt x="142" y="54"/>
                  <a:pt x="140" y="55"/>
                </a:cubicBezTo>
                <a:cubicBezTo>
                  <a:pt x="139" y="55"/>
                  <a:pt x="140" y="58"/>
                  <a:pt x="139" y="63"/>
                </a:cubicBezTo>
                <a:cubicBezTo>
                  <a:pt x="137" y="67"/>
                  <a:pt x="138" y="67"/>
                  <a:pt x="138" y="70"/>
                </a:cubicBezTo>
                <a:cubicBezTo>
                  <a:pt x="138" y="74"/>
                  <a:pt x="133" y="80"/>
                  <a:pt x="132" y="83"/>
                </a:cubicBezTo>
                <a:cubicBezTo>
                  <a:pt x="130" y="85"/>
                  <a:pt x="130" y="86"/>
                  <a:pt x="126" y="91"/>
                </a:cubicBezTo>
                <a:cubicBezTo>
                  <a:pt x="122" y="96"/>
                  <a:pt x="121" y="96"/>
                  <a:pt x="118" y="98"/>
                </a:cubicBezTo>
                <a:cubicBezTo>
                  <a:pt x="114" y="100"/>
                  <a:pt x="113" y="101"/>
                  <a:pt x="111" y="102"/>
                </a:cubicBezTo>
                <a:cubicBezTo>
                  <a:pt x="109" y="104"/>
                  <a:pt x="109" y="105"/>
                  <a:pt x="106" y="104"/>
                </a:cubicBezTo>
                <a:cubicBezTo>
                  <a:pt x="104" y="104"/>
                  <a:pt x="106" y="106"/>
                  <a:pt x="105" y="108"/>
                </a:cubicBezTo>
                <a:cubicBezTo>
                  <a:pt x="105" y="109"/>
                  <a:pt x="103" y="110"/>
                  <a:pt x="101" y="112"/>
                </a:cubicBezTo>
                <a:cubicBezTo>
                  <a:pt x="99" y="114"/>
                  <a:pt x="99" y="115"/>
                  <a:pt x="96" y="116"/>
                </a:cubicBezTo>
                <a:cubicBezTo>
                  <a:pt x="93" y="116"/>
                  <a:pt x="93" y="116"/>
                  <a:pt x="92" y="120"/>
                </a:cubicBezTo>
                <a:cubicBezTo>
                  <a:pt x="90" y="123"/>
                  <a:pt x="84" y="127"/>
                  <a:pt x="81" y="127"/>
                </a:cubicBezTo>
                <a:cubicBezTo>
                  <a:pt x="78" y="127"/>
                  <a:pt x="72" y="135"/>
                  <a:pt x="72" y="135"/>
                </a:cubicBezTo>
                <a:cubicBezTo>
                  <a:pt x="72" y="135"/>
                  <a:pt x="70" y="137"/>
                  <a:pt x="69" y="137"/>
                </a:cubicBezTo>
                <a:cubicBezTo>
                  <a:pt x="69" y="138"/>
                  <a:pt x="67" y="139"/>
                  <a:pt x="66" y="140"/>
                </a:cubicBezTo>
                <a:cubicBezTo>
                  <a:pt x="64" y="141"/>
                  <a:pt x="64" y="141"/>
                  <a:pt x="61" y="141"/>
                </a:cubicBezTo>
                <a:cubicBezTo>
                  <a:pt x="59" y="141"/>
                  <a:pt x="60" y="140"/>
                  <a:pt x="59" y="139"/>
                </a:cubicBezTo>
                <a:cubicBezTo>
                  <a:pt x="58" y="138"/>
                  <a:pt x="58" y="140"/>
                  <a:pt x="57" y="140"/>
                </a:cubicBezTo>
                <a:cubicBezTo>
                  <a:pt x="56" y="140"/>
                  <a:pt x="54" y="140"/>
                  <a:pt x="54" y="140"/>
                </a:cubicBezTo>
                <a:cubicBezTo>
                  <a:pt x="54" y="140"/>
                  <a:pt x="53" y="140"/>
                  <a:pt x="52" y="142"/>
                </a:cubicBezTo>
                <a:cubicBezTo>
                  <a:pt x="51" y="145"/>
                  <a:pt x="51" y="144"/>
                  <a:pt x="51" y="146"/>
                </a:cubicBezTo>
                <a:cubicBezTo>
                  <a:pt x="50" y="147"/>
                  <a:pt x="50" y="148"/>
                  <a:pt x="48" y="148"/>
                </a:cubicBezTo>
                <a:cubicBezTo>
                  <a:pt x="47" y="149"/>
                  <a:pt x="45" y="150"/>
                  <a:pt x="46" y="151"/>
                </a:cubicBezTo>
                <a:cubicBezTo>
                  <a:pt x="46" y="152"/>
                  <a:pt x="46" y="153"/>
                  <a:pt x="46" y="153"/>
                </a:cubicBezTo>
                <a:cubicBezTo>
                  <a:pt x="45" y="153"/>
                  <a:pt x="45" y="155"/>
                  <a:pt x="44" y="156"/>
                </a:cubicBezTo>
                <a:cubicBezTo>
                  <a:pt x="43" y="157"/>
                  <a:pt x="42" y="156"/>
                  <a:pt x="41" y="157"/>
                </a:cubicBezTo>
                <a:cubicBezTo>
                  <a:pt x="40" y="158"/>
                  <a:pt x="39" y="159"/>
                  <a:pt x="38" y="161"/>
                </a:cubicBezTo>
                <a:cubicBezTo>
                  <a:pt x="37" y="163"/>
                  <a:pt x="37" y="165"/>
                  <a:pt x="39" y="166"/>
                </a:cubicBezTo>
                <a:cubicBezTo>
                  <a:pt x="42" y="168"/>
                  <a:pt x="41" y="169"/>
                  <a:pt x="41" y="169"/>
                </a:cubicBezTo>
                <a:cubicBezTo>
                  <a:pt x="41" y="169"/>
                  <a:pt x="38" y="168"/>
                  <a:pt x="38" y="167"/>
                </a:cubicBezTo>
                <a:cubicBezTo>
                  <a:pt x="37" y="166"/>
                  <a:pt x="37" y="165"/>
                  <a:pt x="36" y="165"/>
                </a:cubicBezTo>
                <a:cubicBezTo>
                  <a:pt x="34" y="165"/>
                  <a:pt x="35" y="167"/>
                  <a:pt x="33" y="166"/>
                </a:cubicBezTo>
                <a:cubicBezTo>
                  <a:pt x="31" y="165"/>
                  <a:pt x="31" y="168"/>
                  <a:pt x="31" y="169"/>
                </a:cubicBezTo>
                <a:cubicBezTo>
                  <a:pt x="31" y="171"/>
                  <a:pt x="29" y="172"/>
                  <a:pt x="29" y="172"/>
                </a:cubicBezTo>
                <a:cubicBezTo>
                  <a:pt x="29" y="172"/>
                  <a:pt x="28" y="174"/>
                  <a:pt x="27" y="175"/>
                </a:cubicBezTo>
                <a:cubicBezTo>
                  <a:pt x="27" y="175"/>
                  <a:pt x="26" y="177"/>
                  <a:pt x="24" y="177"/>
                </a:cubicBezTo>
                <a:cubicBezTo>
                  <a:pt x="23" y="178"/>
                  <a:pt x="21" y="181"/>
                  <a:pt x="21" y="181"/>
                </a:cubicBezTo>
                <a:cubicBezTo>
                  <a:pt x="21" y="181"/>
                  <a:pt x="19" y="185"/>
                  <a:pt x="19" y="186"/>
                </a:cubicBezTo>
                <a:cubicBezTo>
                  <a:pt x="19" y="187"/>
                  <a:pt x="19" y="188"/>
                  <a:pt x="18" y="187"/>
                </a:cubicBezTo>
                <a:cubicBezTo>
                  <a:pt x="17" y="186"/>
                  <a:pt x="17" y="187"/>
                  <a:pt x="16" y="186"/>
                </a:cubicBezTo>
                <a:cubicBezTo>
                  <a:pt x="16" y="185"/>
                  <a:pt x="15" y="187"/>
                  <a:pt x="14" y="188"/>
                </a:cubicBezTo>
                <a:cubicBezTo>
                  <a:pt x="14" y="189"/>
                  <a:pt x="15" y="192"/>
                  <a:pt x="15" y="193"/>
                </a:cubicBezTo>
                <a:cubicBezTo>
                  <a:pt x="16" y="193"/>
                  <a:pt x="17" y="194"/>
                  <a:pt x="18" y="193"/>
                </a:cubicBezTo>
                <a:cubicBezTo>
                  <a:pt x="19" y="193"/>
                  <a:pt x="19" y="194"/>
                  <a:pt x="20" y="193"/>
                </a:cubicBezTo>
                <a:cubicBezTo>
                  <a:pt x="21" y="193"/>
                  <a:pt x="22" y="195"/>
                  <a:pt x="22" y="195"/>
                </a:cubicBezTo>
                <a:cubicBezTo>
                  <a:pt x="22" y="195"/>
                  <a:pt x="21" y="198"/>
                  <a:pt x="20" y="197"/>
                </a:cubicBezTo>
                <a:cubicBezTo>
                  <a:pt x="19" y="197"/>
                  <a:pt x="19" y="196"/>
                  <a:pt x="17" y="195"/>
                </a:cubicBezTo>
                <a:cubicBezTo>
                  <a:pt x="16" y="194"/>
                  <a:pt x="17" y="196"/>
                  <a:pt x="18" y="196"/>
                </a:cubicBezTo>
                <a:cubicBezTo>
                  <a:pt x="19" y="197"/>
                  <a:pt x="18" y="200"/>
                  <a:pt x="18" y="200"/>
                </a:cubicBezTo>
                <a:cubicBezTo>
                  <a:pt x="18" y="200"/>
                  <a:pt x="18" y="200"/>
                  <a:pt x="17" y="199"/>
                </a:cubicBezTo>
                <a:cubicBezTo>
                  <a:pt x="16" y="197"/>
                  <a:pt x="15" y="197"/>
                  <a:pt x="15" y="197"/>
                </a:cubicBezTo>
                <a:cubicBezTo>
                  <a:pt x="15" y="196"/>
                  <a:pt x="14" y="195"/>
                  <a:pt x="12" y="195"/>
                </a:cubicBezTo>
                <a:cubicBezTo>
                  <a:pt x="11" y="194"/>
                  <a:pt x="11" y="195"/>
                  <a:pt x="11" y="196"/>
                </a:cubicBezTo>
                <a:cubicBezTo>
                  <a:pt x="10" y="197"/>
                  <a:pt x="9" y="198"/>
                  <a:pt x="9" y="199"/>
                </a:cubicBezTo>
                <a:cubicBezTo>
                  <a:pt x="8" y="200"/>
                  <a:pt x="9" y="200"/>
                  <a:pt x="9" y="200"/>
                </a:cubicBezTo>
                <a:cubicBezTo>
                  <a:pt x="9" y="200"/>
                  <a:pt x="8" y="201"/>
                  <a:pt x="7" y="202"/>
                </a:cubicBezTo>
                <a:cubicBezTo>
                  <a:pt x="6" y="203"/>
                  <a:pt x="7" y="204"/>
                  <a:pt x="7" y="204"/>
                </a:cubicBezTo>
                <a:cubicBezTo>
                  <a:pt x="8" y="203"/>
                  <a:pt x="9" y="204"/>
                  <a:pt x="8" y="205"/>
                </a:cubicBezTo>
                <a:cubicBezTo>
                  <a:pt x="8" y="205"/>
                  <a:pt x="9" y="207"/>
                  <a:pt x="11" y="206"/>
                </a:cubicBezTo>
                <a:cubicBezTo>
                  <a:pt x="12" y="205"/>
                  <a:pt x="12" y="207"/>
                  <a:pt x="12" y="207"/>
                </a:cubicBezTo>
                <a:cubicBezTo>
                  <a:pt x="12" y="207"/>
                  <a:pt x="11" y="209"/>
                  <a:pt x="10" y="208"/>
                </a:cubicBezTo>
                <a:cubicBezTo>
                  <a:pt x="9" y="207"/>
                  <a:pt x="8" y="210"/>
                  <a:pt x="8" y="211"/>
                </a:cubicBezTo>
                <a:cubicBezTo>
                  <a:pt x="8" y="212"/>
                  <a:pt x="9" y="212"/>
                  <a:pt x="10" y="211"/>
                </a:cubicBezTo>
                <a:cubicBezTo>
                  <a:pt x="11" y="211"/>
                  <a:pt x="11" y="211"/>
                  <a:pt x="12" y="211"/>
                </a:cubicBezTo>
                <a:cubicBezTo>
                  <a:pt x="12" y="211"/>
                  <a:pt x="12" y="213"/>
                  <a:pt x="10" y="213"/>
                </a:cubicBezTo>
                <a:cubicBezTo>
                  <a:pt x="8" y="214"/>
                  <a:pt x="9" y="215"/>
                  <a:pt x="7" y="214"/>
                </a:cubicBezTo>
                <a:cubicBezTo>
                  <a:pt x="4" y="213"/>
                  <a:pt x="5" y="216"/>
                  <a:pt x="2" y="215"/>
                </a:cubicBezTo>
                <a:cubicBezTo>
                  <a:pt x="0" y="215"/>
                  <a:pt x="0" y="216"/>
                  <a:pt x="0" y="217"/>
                </a:cubicBezTo>
                <a:cubicBezTo>
                  <a:pt x="0" y="218"/>
                  <a:pt x="0" y="219"/>
                  <a:pt x="1" y="221"/>
                </a:cubicBezTo>
                <a:cubicBezTo>
                  <a:pt x="1" y="223"/>
                  <a:pt x="1" y="223"/>
                  <a:pt x="2" y="224"/>
                </a:cubicBezTo>
                <a:cubicBezTo>
                  <a:pt x="3" y="224"/>
                  <a:pt x="4" y="223"/>
                  <a:pt x="4" y="221"/>
                </a:cubicBezTo>
                <a:cubicBezTo>
                  <a:pt x="4" y="219"/>
                  <a:pt x="5" y="220"/>
                  <a:pt x="6" y="219"/>
                </a:cubicBezTo>
                <a:cubicBezTo>
                  <a:pt x="8" y="218"/>
                  <a:pt x="8" y="220"/>
                  <a:pt x="8" y="220"/>
                </a:cubicBezTo>
                <a:cubicBezTo>
                  <a:pt x="8" y="221"/>
                  <a:pt x="8" y="222"/>
                  <a:pt x="7" y="223"/>
                </a:cubicBezTo>
                <a:cubicBezTo>
                  <a:pt x="6" y="223"/>
                  <a:pt x="5" y="224"/>
                  <a:pt x="5" y="226"/>
                </a:cubicBezTo>
                <a:cubicBezTo>
                  <a:pt x="5" y="227"/>
                  <a:pt x="6" y="227"/>
                  <a:pt x="7" y="227"/>
                </a:cubicBezTo>
                <a:cubicBezTo>
                  <a:pt x="8" y="227"/>
                  <a:pt x="8" y="225"/>
                  <a:pt x="9" y="223"/>
                </a:cubicBezTo>
                <a:cubicBezTo>
                  <a:pt x="11" y="221"/>
                  <a:pt x="10" y="225"/>
                  <a:pt x="9" y="226"/>
                </a:cubicBezTo>
                <a:cubicBezTo>
                  <a:pt x="9" y="227"/>
                  <a:pt x="7" y="229"/>
                  <a:pt x="7" y="231"/>
                </a:cubicBezTo>
                <a:cubicBezTo>
                  <a:pt x="6" y="233"/>
                  <a:pt x="8" y="234"/>
                  <a:pt x="11" y="232"/>
                </a:cubicBezTo>
                <a:cubicBezTo>
                  <a:pt x="13" y="231"/>
                  <a:pt x="20" y="231"/>
                  <a:pt x="23" y="232"/>
                </a:cubicBezTo>
                <a:cubicBezTo>
                  <a:pt x="26" y="232"/>
                  <a:pt x="26" y="233"/>
                  <a:pt x="26" y="231"/>
                </a:cubicBezTo>
                <a:cubicBezTo>
                  <a:pt x="26" y="230"/>
                  <a:pt x="26" y="230"/>
                  <a:pt x="26" y="229"/>
                </a:cubicBezTo>
                <a:cubicBezTo>
                  <a:pt x="27" y="228"/>
                  <a:pt x="24" y="229"/>
                  <a:pt x="30" y="228"/>
                </a:cubicBezTo>
                <a:cubicBezTo>
                  <a:pt x="37" y="228"/>
                  <a:pt x="33" y="230"/>
                  <a:pt x="36" y="233"/>
                </a:cubicBezTo>
                <a:cubicBezTo>
                  <a:pt x="38" y="235"/>
                  <a:pt x="36" y="234"/>
                  <a:pt x="37" y="236"/>
                </a:cubicBezTo>
                <a:cubicBezTo>
                  <a:pt x="38" y="238"/>
                  <a:pt x="40" y="239"/>
                  <a:pt x="42" y="238"/>
                </a:cubicBezTo>
                <a:cubicBezTo>
                  <a:pt x="43" y="237"/>
                  <a:pt x="43" y="236"/>
                  <a:pt x="44" y="237"/>
                </a:cubicBezTo>
                <a:cubicBezTo>
                  <a:pt x="46" y="237"/>
                  <a:pt x="45" y="236"/>
                  <a:pt x="48" y="236"/>
                </a:cubicBezTo>
                <a:cubicBezTo>
                  <a:pt x="50" y="236"/>
                  <a:pt x="50" y="236"/>
                  <a:pt x="50" y="238"/>
                </a:cubicBezTo>
                <a:cubicBezTo>
                  <a:pt x="51" y="240"/>
                  <a:pt x="52" y="239"/>
                  <a:pt x="55" y="241"/>
                </a:cubicBezTo>
                <a:cubicBezTo>
                  <a:pt x="57" y="243"/>
                  <a:pt x="53" y="242"/>
                  <a:pt x="51" y="244"/>
                </a:cubicBezTo>
                <a:cubicBezTo>
                  <a:pt x="50" y="246"/>
                  <a:pt x="54" y="246"/>
                  <a:pt x="55" y="245"/>
                </a:cubicBezTo>
                <a:cubicBezTo>
                  <a:pt x="56" y="244"/>
                  <a:pt x="56" y="244"/>
                  <a:pt x="57" y="244"/>
                </a:cubicBezTo>
                <a:cubicBezTo>
                  <a:pt x="57" y="244"/>
                  <a:pt x="56" y="247"/>
                  <a:pt x="57" y="247"/>
                </a:cubicBezTo>
                <a:cubicBezTo>
                  <a:pt x="58" y="248"/>
                  <a:pt x="59" y="248"/>
                  <a:pt x="59" y="246"/>
                </a:cubicBezTo>
                <a:cubicBezTo>
                  <a:pt x="60" y="244"/>
                  <a:pt x="60" y="247"/>
                  <a:pt x="62" y="245"/>
                </a:cubicBezTo>
                <a:cubicBezTo>
                  <a:pt x="64" y="244"/>
                  <a:pt x="64" y="246"/>
                  <a:pt x="65" y="245"/>
                </a:cubicBezTo>
                <a:cubicBezTo>
                  <a:pt x="67" y="244"/>
                  <a:pt x="67" y="246"/>
                  <a:pt x="67" y="246"/>
                </a:cubicBezTo>
                <a:cubicBezTo>
                  <a:pt x="67" y="246"/>
                  <a:pt x="67" y="247"/>
                  <a:pt x="67" y="248"/>
                </a:cubicBezTo>
                <a:cubicBezTo>
                  <a:pt x="67" y="250"/>
                  <a:pt x="69" y="250"/>
                  <a:pt x="70" y="250"/>
                </a:cubicBezTo>
                <a:cubicBezTo>
                  <a:pt x="71" y="249"/>
                  <a:pt x="73" y="250"/>
                  <a:pt x="74" y="248"/>
                </a:cubicBezTo>
                <a:cubicBezTo>
                  <a:pt x="75" y="246"/>
                  <a:pt x="75" y="249"/>
                  <a:pt x="77" y="248"/>
                </a:cubicBezTo>
                <a:cubicBezTo>
                  <a:pt x="78" y="246"/>
                  <a:pt x="78" y="247"/>
                  <a:pt x="79" y="246"/>
                </a:cubicBezTo>
                <a:cubicBezTo>
                  <a:pt x="80" y="246"/>
                  <a:pt x="80" y="248"/>
                  <a:pt x="81" y="248"/>
                </a:cubicBezTo>
                <a:cubicBezTo>
                  <a:pt x="82" y="248"/>
                  <a:pt x="83" y="247"/>
                  <a:pt x="85" y="246"/>
                </a:cubicBezTo>
                <a:cubicBezTo>
                  <a:pt x="87" y="246"/>
                  <a:pt x="87" y="244"/>
                  <a:pt x="90" y="244"/>
                </a:cubicBezTo>
                <a:cubicBezTo>
                  <a:pt x="93" y="243"/>
                  <a:pt x="93" y="242"/>
                  <a:pt x="94" y="241"/>
                </a:cubicBezTo>
                <a:cubicBezTo>
                  <a:pt x="95" y="239"/>
                  <a:pt x="94" y="238"/>
                  <a:pt x="94" y="236"/>
                </a:cubicBezTo>
                <a:cubicBezTo>
                  <a:pt x="95" y="234"/>
                  <a:pt x="96" y="234"/>
                  <a:pt x="99" y="232"/>
                </a:cubicBezTo>
                <a:cubicBezTo>
                  <a:pt x="102" y="230"/>
                  <a:pt x="104" y="230"/>
                  <a:pt x="105" y="230"/>
                </a:cubicBezTo>
                <a:cubicBezTo>
                  <a:pt x="105" y="229"/>
                  <a:pt x="106" y="228"/>
                  <a:pt x="106" y="226"/>
                </a:cubicBezTo>
                <a:cubicBezTo>
                  <a:pt x="107" y="224"/>
                  <a:pt x="107" y="224"/>
                  <a:pt x="108" y="222"/>
                </a:cubicBezTo>
                <a:cubicBezTo>
                  <a:pt x="109" y="220"/>
                  <a:pt x="109" y="220"/>
                  <a:pt x="111" y="218"/>
                </a:cubicBezTo>
                <a:cubicBezTo>
                  <a:pt x="113" y="217"/>
                  <a:pt x="114" y="217"/>
                  <a:pt x="117" y="215"/>
                </a:cubicBezTo>
                <a:cubicBezTo>
                  <a:pt x="119" y="214"/>
                  <a:pt x="119" y="213"/>
                  <a:pt x="118" y="212"/>
                </a:cubicBezTo>
                <a:cubicBezTo>
                  <a:pt x="117" y="211"/>
                  <a:pt x="116" y="212"/>
                  <a:pt x="116" y="209"/>
                </a:cubicBezTo>
                <a:cubicBezTo>
                  <a:pt x="115" y="205"/>
                  <a:pt x="117" y="206"/>
                  <a:pt x="119" y="204"/>
                </a:cubicBezTo>
                <a:cubicBezTo>
                  <a:pt x="121" y="203"/>
                  <a:pt x="121" y="203"/>
                  <a:pt x="122" y="201"/>
                </a:cubicBezTo>
                <a:cubicBezTo>
                  <a:pt x="123" y="199"/>
                  <a:pt x="122" y="199"/>
                  <a:pt x="124" y="198"/>
                </a:cubicBezTo>
                <a:cubicBezTo>
                  <a:pt x="127" y="197"/>
                  <a:pt x="124" y="195"/>
                  <a:pt x="124" y="191"/>
                </a:cubicBezTo>
                <a:cubicBezTo>
                  <a:pt x="124" y="187"/>
                  <a:pt x="125" y="189"/>
                  <a:pt x="127" y="187"/>
                </a:cubicBezTo>
                <a:cubicBezTo>
                  <a:pt x="129" y="185"/>
                  <a:pt x="129" y="186"/>
                  <a:pt x="131" y="183"/>
                </a:cubicBezTo>
                <a:cubicBezTo>
                  <a:pt x="133" y="180"/>
                  <a:pt x="132" y="179"/>
                  <a:pt x="133" y="176"/>
                </a:cubicBezTo>
                <a:cubicBezTo>
                  <a:pt x="134" y="172"/>
                  <a:pt x="133" y="170"/>
                  <a:pt x="132" y="168"/>
                </a:cubicBezTo>
                <a:cubicBezTo>
                  <a:pt x="132" y="166"/>
                  <a:pt x="131" y="166"/>
                  <a:pt x="132" y="164"/>
                </a:cubicBezTo>
                <a:cubicBezTo>
                  <a:pt x="134" y="162"/>
                  <a:pt x="135" y="162"/>
                  <a:pt x="136" y="159"/>
                </a:cubicBezTo>
                <a:cubicBezTo>
                  <a:pt x="138" y="156"/>
                  <a:pt x="136" y="157"/>
                  <a:pt x="137" y="153"/>
                </a:cubicBezTo>
                <a:cubicBezTo>
                  <a:pt x="138" y="149"/>
                  <a:pt x="141" y="151"/>
                  <a:pt x="144" y="148"/>
                </a:cubicBezTo>
                <a:cubicBezTo>
                  <a:pt x="147" y="146"/>
                  <a:pt x="149" y="145"/>
                  <a:pt x="152" y="143"/>
                </a:cubicBezTo>
                <a:cubicBezTo>
                  <a:pt x="155" y="141"/>
                  <a:pt x="158" y="140"/>
                  <a:pt x="159" y="139"/>
                </a:cubicBezTo>
                <a:cubicBezTo>
                  <a:pt x="160" y="139"/>
                  <a:pt x="165" y="138"/>
                  <a:pt x="167" y="136"/>
                </a:cubicBezTo>
                <a:cubicBezTo>
                  <a:pt x="169" y="134"/>
                  <a:pt x="167" y="135"/>
                  <a:pt x="167" y="133"/>
                </a:cubicBezTo>
                <a:cubicBezTo>
                  <a:pt x="167" y="130"/>
                  <a:pt x="169" y="131"/>
                  <a:pt x="170" y="131"/>
                </a:cubicBezTo>
                <a:cubicBezTo>
                  <a:pt x="171" y="130"/>
                  <a:pt x="172" y="132"/>
                  <a:pt x="173" y="131"/>
                </a:cubicBezTo>
                <a:cubicBezTo>
                  <a:pt x="173" y="130"/>
                  <a:pt x="174" y="133"/>
                  <a:pt x="174" y="134"/>
                </a:cubicBezTo>
                <a:cubicBezTo>
                  <a:pt x="174" y="134"/>
                  <a:pt x="171" y="134"/>
                  <a:pt x="170" y="134"/>
                </a:cubicBezTo>
                <a:cubicBezTo>
                  <a:pt x="168" y="134"/>
                  <a:pt x="171" y="135"/>
                  <a:pt x="171" y="135"/>
                </a:cubicBezTo>
                <a:cubicBezTo>
                  <a:pt x="172" y="135"/>
                  <a:pt x="173" y="135"/>
                  <a:pt x="175" y="135"/>
                </a:cubicBezTo>
                <a:cubicBezTo>
                  <a:pt x="177" y="134"/>
                  <a:pt x="177" y="134"/>
                  <a:pt x="178" y="134"/>
                </a:cubicBezTo>
                <a:cubicBezTo>
                  <a:pt x="179" y="134"/>
                  <a:pt x="179" y="136"/>
                  <a:pt x="180" y="137"/>
                </a:cubicBezTo>
                <a:cubicBezTo>
                  <a:pt x="181" y="137"/>
                  <a:pt x="182" y="140"/>
                  <a:pt x="183" y="139"/>
                </a:cubicBezTo>
                <a:cubicBezTo>
                  <a:pt x="185" y="139"/>
                  <a:pt x="183" y="138"/>
                  <a:pt x="183" y="136"/>
                </a:cubicBezTo>
                <a:cubicBezTo>
                  <a:pt x="183" y="134"/>
                  <a:pt x="183" y="134"/>
                  <a:pt x="184" y="132"/>
                </a:cubicBezTo>
                <a:cubicBezTo>
                  <a:pt x="185" y="130"/>
                  <a:pt x="185" y="135"/>
                  <a:pt x="185" y="135"/>
                </a:cubicBezTo>
                <a:cubicBezTo>
                  <a:pt x="185" y="135"/>
                  <a:pt x="185" y="137"/>
                  <a:pt x="186" y="137"/>
                </a:cubicBezTo>
                <a:cubicBezTo>
                  <a:pt x="187" y="138"/>
                  <a:pt x="188" y="137"/>
                  <a:pt x="189" y="136"/>
                </a:cubicBezTo>
                <a:cubicBezTo>
                  <a:pt x="190" y="135"/>
                  <a:pt x="190" y="133"/>
                  <a:pt x="190" y="131"/>
                </a:cubicBezTo>
                <a:cubicBezTo>
                  <a:pt x="189" y="129"/>
                  <a:pt x="189" y="130"/>
                  <a:pt x="187" y="129"/>
                </a:cubicBezTo>
                <a:cubicBezTo>
                  <a:pt x="185" y="129"/>
                  <a:pt x="185" y="128"/>
                  <a:pt x="184" y="127"/>
                </a:cubicBezTo>
                <a:cubicBezTo>
                  <a:pt x="183" y="126"/>
                  <a:pt x="183" y="127"/>
                  <a:pt x="182" y="127"/>
                </a:cubicBezTo>
                <a:cubicBezTo>
                  <a:pt x="181" y="126"/>
                  <a:pt x="179" y="127"/>
                  <a:pt x="177" y="126"/>
                </a:cubicBezTo>
                <a:cubicBezTo>
                  <a:pt x="175" y="126"/>
                  <a:pt x="178" y="126"/>
                  <a:pt x="179" y="125"/>
                </a:cubicBezTo>
                <a:cubicBezTo>
                  <a:pt x="181" y="125"/>
                  <a:pt x="181" y="123"/>
                  <a:pt x="180" y="123"/>
                </a:cubicBezTo>
                <a:cubicBezTo>
                  <a:pt x="179" y="122"/>
                  <a:pt x="179" y="121"/>
                  <a:pt x="177" y="119"/>
                </a:cubicBezTo>
                <a:cubicBezTo>
                  <a:pt x="176" y="117"/>
                  <a:pt x="177" y="117"/>
                  <a:pt x="178" y="115"/>
                </a:cubicBezTo>
                <a:cubicBezTo>
                  <a:pt x="179" y="114"/>
                  <a:pt x="180" y="113"/>
                  <a:pt x="179" y="111"/>
                </a:cubicBezTo>
                <a:cubicBezTo>
                  <a:pt x="179" y="109"/>
                  <a:pt x="180" y="111"/>
                  <a:pt x="181" y="109"/>
                </a:cubicBezTo>
                <a:cubicBezTo>
                  <a:pt x="183" y="108"/>
                  <a:pt x="184" y="109"/>
                  <a:pt x="185" y="107"/>
                </a:cubicBezTo>
                <a:cubicBezTo>
                  <a:pt x="186" y="105"/>
                  <a:pt x="187" y="106"/>
                  <a:pt x="188" y="104"/>
                </a:cubicBezTo>
                <a:cubicBezTo>
                  <a:pt x="189" y="103"/>
                  <a:pt x="190" y="103"/>
                  <a:pt x="191" y="101"/>
                </a:cubicBezTo>
                <a:cubicBezTo>
                  <a:pt x="193" y="98"/>
                  <a:pt x="193" y="100"/>
                  <a:pt x="195" y="99"/>
                </a:cubicBezTo>
                <a:cubicBezTo>
                  <a:pt x="197" y="98"/>
                  <a:pt x="196" y="98"/>
                  <a:pt x="197" y="96"/>
                </a:cubicBezTo>
                <a:cubicBezTo>
                  <a:pt x="197" y="94"/>
                  <a:pt x="198" y="92"/>
                  <a:pt x="199" y="91"/>
                </a:cubicBezTo>
                <a:cubicBezTo>
                  <a:pt x="200" y="89"/>
                  <a:pt x="202" y="86"/>
                  <a:pt x="202" y="84"/>
                </a:cubicBezTo>
                <a:cubicBezTo>
                  <a:pt x="203" y="82"/>
                  <a:pt x="203" y="82"/>
                  <a:pt x="204" y="80"/>
                </a:cubicBezTo>
                <a:cubicBezTo>
                  <a:pt x="205" y="79"/>
                  <a:pt x="205" y="79"/>
                  <a:pt x="208" y="79"/>
                </a:cubicBezTo>
                <a:cubicBezTo>
                  <a:pt x="210" y="79"/>
                  <a:pt x="209" y="79"/>
                  <a:pt x="209" y="77"/>
                </a:cubicBezTo>
                <a:cubicBezTo>
                  <a:pt x="210" y="76"/>
                  <a:pt x="210" y="76"/>
                  <a:pt x="210" y="74"/>
                </a:cubicBezTo>
                <a:cubicBezTo>
                  <a:pt x="210" y="72"/>
                  <a:pt x="211" y="73"/>
                  <a:pt x="212" y="72"/>
                </a:cubicBezTo>
                <a:cubicBezTo>
                  <a:pt x="214" y="71"/>
                  <a:pt x="215" y="71"/>
                  <a:pt x="216" y="70"/>
                </a:cubicBezTo>
                <a:cubicBezTo>
                  <a:pt x="217" y="69"/>
                  <a:pt x="216" y="69"/>
                  <a:pt x="216" y="66"/>
                </a:cubicBezTo>
                <a:cubicBezTo>
                  <a:pt x="215" y="64"/>
                  <a:pt x="218" y="63"/>
                  <a:pt x="221" y="59"/>
                </a:cubicBezTo>
                <a:cubicBezTo>
                  <a:pt x="224" y="55"/>
                  <a:pt x="224" y="56"/>
                  <a:pt x="226" y="52"/>
                </a:cubicBezTo>
                <a:cubicBezTo>
                  <a:pt x="226" y="52"/>
                  <a:pt x="225" y="50"/>
                  <a:pt x="224" y="48"/>
                </a:cubicBezTo>
                <a:cubicBezTo>
                  <a:pt x="223" y="47"/>
                  <a:pt x="223" y="46"/>
                  <a:pt x="223" y="44"/>
                </a:cubicBezTo>
                <a:cubicBezTo>
                  <a:pt x="222" y="42"/>
                  <a:pt x="221" y="42"/>
                  <a:pt x="220" y="39"/>
                </a:cubicBezTo>
                <a:cubicBezTo>
                  <a:pt x="219" y="37"/>
                  <a:pt x="221" y="38"/>
                  <a:pt x="221" y="36"/>
                </a:cubicBezTo>
                <a:cubicBezTo>
                  <a:pt x="221" y="33"/>
                  <a:pt x="222" y="36"/>
                  <a:pt x="223" y="35"/>
                </a:cubicBezTo>
                <a:cubicBezTo>
                  <a:pt x="224" y="35"/>
                  <a:pt x="227" y="34"/>
                  <a:pt x="229" y="33"/>
                </a:cubicBezTo>
                <a:cubicBezTo>
                  <a:pt x="230" y="31"/>
                  <a:pt x="228" y="32"/>
                  <a:pt x="227" y="31"/>
                </a:cubicBezTo>
                <a:close/>
                <a:moveTo>
                  <a:pt x="35" y="205"/>
                </a:moveTo>
                <a:cubicBezTo>
                  <a:pt x="34" y="206"/>
                  <a:pt x="33" y="206"/>
                  <a:pt x="32" y="205"/>
                </a:cubicBezTo>
                <a:cubicBezTo>
                  <a:pt x="31" y="203"/>
                  <a:pt x="31" y="205"/>
                  <a:pt x="29" y="205"/>
                </a:cubicBezTo>
                <a:cubicBezTo>
                  <a:pt x="28" y="206"/>
                  <a:pt x="26" y="205"/>
                  <a:pt x="24" y="202"/>
                </a:cubicBezTo>
                <a:cubicBezTo>
                  <a:pt x="22" y="200"/>
                  <a:pt x="25" y="201"/>
                  <a:pt x="26" y="201"/>
                </a:cubicBezTo>
                <a:cubicBezTo>
                  <a:pt x="26" y="201"/>
                  <a:pt x="27" y="202"/>
                  <a:pt x="28" y="202"/>
                </a:cubicBezTo>
                <a:cubicBezTo>
                  <a:pt x="30" y="201"/>
                  <a:pt x="30" y="201"/>
                  <a:pt x="32" y="201"/>
                </a:cubicBezTo>
                <a:cubicBezTo>
                  <a:pt x="32" y="201"/>
                  <a:pt x="34" y="202"/>
                  <a:pt x="35" y="202"/>
                </a:cubicBezTo>
                <a:cubicBezTo>
                  <a:pt x="36" y="203"/>
                  <a:pt x="35" y="204"/>
                  <a:pt x="35" y="205"/>
                </a:cubicBezTo>
                <a:close/>
                <a:moveTo>
                  <a:pt x="40" y="182"/>
                </a:moveTo>
                <a:cubicBezTo>
                  <a:pt x="40" y="183"/>
                  <a:pt x="40" y="184"/>
                  <a:pt x="39" y="186"/>
                </a:cubicBezTo>
                <a:cubicBezTo>
                  <a:pt x="39" y="187"/>
                  <a:pt x="39" y="188"/>
                  <a:pt x="38" y="189"/>
                </a:cubicBezTo>
                <a:cubicBezTo>
                  <a:pt x="38" y="190"/>
                  <a:pt x="39" y="191"/>
                  <a:pt x="39" y="192"/>
                </a:cubicBezTo>
                <a:cubicBezTo>
                  <a:pt x="39" y="194"/>
                  <a:pt x="39" y="196"/>
                  <a:pt x="38" y="197"/>
                </a:cubicBezTo>
                <a:cubicBezTo>
                  <a:pt x="37" y="198"/>
                  <a:pt x="37" y="198"/>
                  <a:pt x="34" y="197"/>
                </a:cubicBezTo>
                <a:cubicBezTo>
                  <a:pt x="32" y="197"/>
                  <a:pt x="31" y="197"/>
                  <a:pt x="29" y="195"/>
                </a:cubicBezTo>
                <a:cubicBezTo>
                  <a:pt x="27" y="194"/>
                  <a:pt x="30" y="194"/>
                  <a:pt x="31" y="194"/>
                </a:cubicBezTo>
                <a:cubicBezTo>
                  <a:pt x="32" y="194"/>
                  <a:pt x="32" y="195"/>
                  <a:pt x="34" y="196"/>
                </a:cubicBezTo>
                <a:cubicBezTo>
                  <a:pt x="35" y="197"/>
                  <a:pt x="34" y="196"/>
                  <a:pt x="36" y="195"/>
                </a:cubicBezTo>
                <a:cubicBezTo>
                  <a:pt x="37" y="194"/>
                  <a:pt x="36" y="193"/>
                  <a:pt x="35" y="191"/>
                </a:cubicBezTo>
                <a:cubicBezTo>
                  <a:pt x="34" y="190"/>
                  <a:pt x="34" y="191"/>
                  <a:pt x="32" y="190"/>
                </a:cubicBezTo>
                <a:cubicBezTo>
                  <a:pt x="31" y="189"/>
                  <a:pt x="30" y="189"/>
                  <a:pt x="31" y="186"/>
                </a:cubicBezTo>
                <a:cubicBezTo>
                  <a:pt x="31" y="183"/>
                  <a:pt x="31" y="186"/>
                  <a:pt x="32" y="187"/>
                </a:cubicBezTo>
                <a:cubicBezTo>
                  <a:pt x="33" y="187"/>
                  <a:pt x="33" y="188"/>
                  <a:pt x="34" y="188"/>
                </a:cubicBezTo>
                <a:cubicBezTo>
                  <a:pt x="35" y="188"/>
                  <a:pt x="36" y="188"/>
                  <a:pt x="35" y="186"/>
                </a:cubicBezTo>
                <a:cubicBezTo>
                  <a:pt x="34" y="185"/>
                  <a:pt x="35" y="184"/>
                  <a:pt x="37" y="185"/>
                </a:cubicBezTo>
                <a:cubicBezTo>
                  <a:pt x="37" y="185"/>
                  <a:pt x="37" y="183"/>
                  <a:pt x="37" y="182"/>
                </a:cubicBezTo>
                <a:cubicBezTo>
                  <a:pt x="37" y="180"/>
                  <a:pt x="38" y="180"/>
                  <a:pt x="40" y="179"/>
                </a:cubicBezTo>
                <a:cubicBezTo>
                  <a:pt x="42" y="178"/>
                  <a:pt x="41" y="180"/>
                  <a:pt x="40" y="182"/>
                </a:cubicBezTo>
                <a:close/>
                <a:moveTo>
                  <a:pt x="65" y="192"/>
                </a:moveTo>
                <a:cubicBezTo>
                  <a:pt x="63" y="192"/>
                  <a:pt x="64" y="190"/>
                  <a:pt x="64" y="188"/>
                </a:cubicBezTo>
                <a:cubicBezTo>
                  <a:pt x="64" y="186"/>
                  <a:pt x="64" y="186"/>
                  <a:pt x="62" y="185"/>
                </a:cubicBezTo>
                <a:cubicBezTo>
                  <a:pt x="60" y="184"/>
                  <a:pt x="60" y="185"/>
                  <a:pt x="57" y="185"/>
                </a:cubicBezTo>
                <a:cubicBezTo>
                  <a:pt x="54" y="185"/>
                  <a:pt x="55" y="183"/>
                  <a:pt x="54" y="181"/>
                </a:cubicBezTo>
                <a:cubicBezTo>
                  <a:pt x="52" y="179"/>
                  <a:pt x="51" y="178"/>
                  <a:pt x="53" y="176"/>
                </a:cubicBezTo>
                <a:cubicBezTo>
                  <a:pt x="55" y="174"/>
                  <a:pt x="55" y="178"/>
                  <a:pt x="55" y="179"/>
                </a:cubicBezTo>
                <a:cubicBezTo>
                  <a:pt x="55" y="180"/>
                  <a:pt x="57" y="181"/>
                  <a:pt x="58" y="181"/>
                </a:cubicBezTo>
                <a:cubicBezTo>
                  <a:pt x="58" y="182"/>
                  <a:pt x="59" y="182"/>
                  <a:pt x="61" y="181"/>
                </a:cubicBezTo>
                <a:cubicBezTo>
                  <a:pt x="63" y="181"/>
                  <a:pt x="63" y="182"/>
                  <a:pt x="64" y="182"/>
                </a:cubicBezTo>
                <a:cubicBezTo>
                  <a:pt x="65" y="183"/>
                  <a:pt x="65" y="184"/>
                  <a:pt x="66" y="185"/>
                </a:cubicBezTo>
                <a:cubicBezTo>
                  <a:pt x="66" y="185"/>
                  <a:pt x="67" y="188"/>
                  <a:pt x="67" y="190"/>
                </a:cubicBezTo>
                <a:cubicBezTo>
                  <a:pt x="67" y="191"/>
                  <a:pt x="67" y="192"/>
                  <a:pt x="65" y="192"/>
                </a:cubicBezTo>
                <a:close/>
                <a:moveTo>
                  <a:pt x="76" y="168"/>
                </a:moveTo>
                <a:cubicBezTo>
                  <a:pt x="75" y="169"/>
                  <a:pt x="73" y="168"/>
                  <a:pt x="71" y="166"/>
                </a:cubicBezTo>
                <a:cubicBezTo>
                  <a:pt x="70" y="164"/>
                  <a:pt x="72" y="164"/>
                  <a:pt x="73" y="162"/>
                </a:cubicBezTo>
                <a:cubicBezTo>
                  <a:pt x="74" y="160"/>
                  <a:pt x="73" y="161"/>
                  <a:pt x="73" y="158"/>
                </a:cubicBezTo>
                <a:cubicBezTo>
                  <a:pt x="73" y="155"/>
                  <a:pt x="74" y="154"/>
                  <a:pt x="75" y="154"/>
                </a:cubicBezTo>
                <a:cubicBezTo>
                  <a:pt x="76" y="154"/>
                  <a:pt x="76" y="155"/>
                  <a:pt x="76" y="155"/>
                </a:cubicBezTo>
                <a:cubicBezTo>
                  <a:pt x="76" y="155"/>
                  <a:pt x="75" y="156"/>
                  <a:pt x="76" y="158"/>
                </a:cubicBezTo>
                <a:cubicBezTo>
                  <a:pt x="76" y="159"/>
                  <a:pt x="76" y="160"/>
                  <a:pt x="75" y="161"/>
                </a:cubicBezTo>
                <a:cubicBezTo>
                  <a:pt x="75" y="162"/>
                  <a:pt x="74" y="164"/>
                  <a:pt x="74" y="165"/>
                </a:cubicBezTo>
                <a:cubicBezTo>
                  <a:pt x="74" y="166"/>
                  <a:pt x="75" y="165"/>
                  <a:pt x="76" y="165"/>
                </a:cubicBezTo>
                <a:cubicBezTo>
                  <a:pt x="77" y="164"/>
                  <a:pt x="76" y="167"/>
                  <a:pt x="76" y="168"/>
                </a:cubicBezTo>
                <a:close/>
                <a:moveTo>
                  <a:pt x="83" y="158"/>
                </a:moveTo>
                <a:cubicBezTo>
                  <a:pt x="82" y="159"/>
                  <a:pt x="81" y="160"/>
                  <a:pt x="80" y="162"/>
                </a:cubicBezTo>
                <a:cubicBezTo>
                  <a:pt x="80" y="164"/>
                  <a:pt x="80" y="164"/>
                  <a:pt x="79" y="165"/>
                </a:cubicBezTo>
                <a:cubicBezTo>
                  <a:pt x="78" y="167"/>
                  <a:pt x="78" y="161"/>
                  <a:pt x="78" y="160"/>
                </a:cubicBezTo>
                <a:cubicBezTo>
                  <a:pt x="78" y="160"/>
                  <a:pt x="79" y="158"/>
                  <a:pt x="80" y="157"/>
                </a:cubicBezTo>
                <a:cubicBezTo>
                  <a:pt x="81" y="156"/>
                  <a:pt x="81" y="154"/>
                  <a:pt x="83" y="154"/>
                </a:cubicBezTo>
                <a:cubicBezTo>
                  <a:pt x="83" y="154"/>
                  <a:pt x="83" y="157"/>
                  <a:pt x="83" y="158"/>
                </a:cubicBezTo>
                <a:close/>
                <a:moveTo>
                  <a:pt x="106" y="142"/>
                </a:moveTo>
                <a:cubicBezTo>
                  <a:pt x="106" y="144"/>
                  <a:pt x="106" y="145"/>
                  <a:pt x="106" y="147"/>
                </a:cubicBezTo>
                <a:cubicBezTo>
                  <a:pt x="106" y="148"/>
                  <a:pt x="106" y="150"/>
                  <a:pt x="106" y="151"/>
                </a:cubicBezTo>
                <a:cubicBezTo>
                  <a:pt x="105" y="151"/>
                  <a:pt x="104" y="150"/>
                  <a:pt x="104" y="149"/>
                </a:cubicBezTo>
                <a:cubicBezTo>
                  <a:pt x="103" y="148"/>
                  <a:pt x="103" y="147"/>
                  <a:pt x="104" y="146"/>
                </a:cubicBezTo>
                <a:cubicBezTo>
                  <a:pt x="104" y="145"/>
                  <a:pt x="104" y="144"/>
                  <a:pt x="103" y="142"/>
                </a:cubicBezTo>
                <a:cubicBezTo>
                  <a:pt x="103" y="140"/>
                  <a:pt x="102" y="137"/>
                  <a:pt x="103" y="137"/>
                </a:cubicBezTo>
                <a:cubicBezTo>
                  <a:pt x="103" y="137"/>
                  <a:pt x="105" y="135"/>
                  <a:pt x="106" y="137"/>
                </a:cubicBezTo>
                <a:cubicBezTo>
                  <a:pt x="106" y="138"/>
                  <a:pt x="107" y="141"/>
                  <a:pt x="106" y="14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5" name="Freeform 734"/>
          <p:cNvSpPr>
            <a:spLocks/>
          </p:cNvSpPr>
          <p:nvPr userDrawn="1"/>
        </p:nvSpPr>
        <p:spPr bwMode="auto">
          <a:xfrm>
            <a:off x="9442201" y="6416750"/>
            <a:ext cx="6700" cy="5025"/>
          </a:xfrm>
          <a:custGeom>
            <a:avLst/>
            <a:gdLst>
              <a:gd name="T0" fmla="*/ 2147483646 w 7"/>
              <a:gd name="T1" fmla="*/ 2147483646 h 6"/>
              <a:gd name="T2" fmla="*/ 2147483646 w 7"/>
              <a:gd name="T3" fmla="*/ 2147483646 h 6"/>
              <a:gd name="T4" fmla="*/ 2147483646 w 7"/>
              <a:gd name="T5" fmla="*/ 2147483646 h 6"/>
              <a:gd name="T6" fmla="*/ 2147483646 w 7"/>
              <a:gd name="T7" fmla="*/ 2147483646 h 6"/>
              <a:gd name="T8" fmla="*/ 2147483646 w 7"/>
              <a:gd name="T9" fmla="*/ 2147483646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6"/>
              <a:gd name="T17" fmla="*/ 7 w 7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6">
                <a:moveTo>
                  <a:pt x="4" y="1"/>
                </a:moveTo>
                <a:cubicBezTo>
                  <a:pt x="2" y="2"/>
                  <a:pt x="0" y="1"/>
                  <a:pt x="1" y="3"/>
                </a:cubicBezTo>
                <a:cubicBezTo>
                  <a:pt x="2" y="6"/>
                  <a:pt x="3" y="6"/>
                  <a:pt x="5" y="6"/>
                </a:cubicBezTo>
                <a:cubicBezTo>
                  <a:pt x="6" y="6"/>
                  <a:pt x="7" y="4"/>
                  <a:pt x="7" y="3"/>
                </a:cubicBezTo>
                <a:cubicBezTo>
                  <a:pt x="7" y="2"/>
                  <a:pt x="5" y="0"/>
                  <a:pt x="4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6" name="Freeform 735"/>
          <p:cNvSpPr>
            <a:spLocks/>
          </p:cNvSpPr>
          <p:nvPr userDrawn="1"/>
        </p:nvSpPr>
        <p:spPr bwMode="auto">
          <a:xfrm>
            <a:off x="9469001" y="6455276"/>
            <a:ext cx="21776" cy="25125"/>
          </a:xfrm>
          <a:custGeom>
            <a:avLst/>
            <a:gdLst>
              <a:gd name="T0" fmla="*/ 2147483646 w 23"/>
              <a:gd name="T1" fmla="*/ 2147483646 h 26"/>
              <a:gd name="T2" fmla="*/ 2147483646 w 23"/>
              <a:gd name="T3" fmla="*/ 2147483646 h 26"/>
              <a:gd name="T4" fmla="*/ 2147483646 w 23"/>
              <a:gd name="T5" fmla="*/ 2147483646 h 26"/>
              <a:gd name="T6" fmla="*/ 2147483646 w 23"/>
              <a:gd name="T7" fmla="*/ 2147483646 h 26"/>
              <a:gd name="T8" fmla="*/ 2147483646 w 23"/>
              <a:gd name="T9" fmla="*/ 2147483646 h 26"/>
              <a:gd name="T10" fmla="*/ 2147483646 w 23"/>
              <a:gd name="T11" fmla="*/ 2147483646 h 26"/>
              <a:gd name="T12" fmla="*/ 2147483646 w 23"/>
              <a:gd name="T13" fmla="*/ 2147483646 h 26"/>
              <a:gd name="T14" fmla="*/ 2147483646 w 23"/>
              <a:gd name="T15" fmla="*/ 2147483646 h 26"/>
              <a:gd name="T16" fmla="*/ 2147483646 w 23"/>
              <a:gd name="T17" fmla="*/ 2147483646 h 26"/>
              <a:gd name="T18" fmla="*/ 2147483646 w 23"/>
              <a:gd name="T19" fmla="*/ 2147483646 h 26"/>
              <a:gd name="T20" fmla="*/ 2147483646 w 23"/>
              <a:gd name="T21" fmla="*/ 2147483646 h 26"/>
              <a:gd name="T22" fmla="*/ 2147483646 w 23"/>
              <a:gd name="T23" fmla="*/ 2147483646 h 26"/>
              <a:gd name="T24" fmla="*/ 2147483646 w 23"/>
              <a:gd name="T25" fmla="*/ 2147483646 h 26"/>
              <a:gd name="T26" fmla="*/ 2147483646 w 23"/>
              <a:gd name="T27" fmla="*/ 2147483646 h 26"/>
              <a:gd name="T28" fmla="*/ 2147483646 w 23"/>
              <a:gd name="T29" fmla="*/ 2147483646 h 26"/>
              <a:gd name="T30" fmla="*/ 2147483646 w 23"/>
              <a:gd name="T31" fmla="*/ 2147483646 h 26"/>
              <a:gd name="T32" fmla="*/ 2147483646 w 23"/>
              <a:gd name="T33" fmla="*/ 2147483646 h 26"/>
              <a:gd name="T34" fmla="*/ 2147483646 w 23"/>
              <a:gd name="T35" fmla="*/ 2147483646 h 26"/>
              <a:gd name="T36" fmla="*/ 2147483646 w 23"/>
              <a:gd name="T37" fmla="*/ 2147483646 h 26"/>
              <a:gd name="T38" fmla="*/ 2147483646 w 23"/>
              <a:gd name="T39" fmla="*/ 2147483646 h 26"/>
              <a:gd name="T40" fmla="*/ 2147483646 w 23"/>
              <a:gd name="T41" fmla="*/ 2147483646 h 26"/>
              <a:gd name="T42" fmla="*/ 2147483646 w 23"/>
              <a:gd name="T43" fmla="*/ 2147483646 h 26"/>
              <a:gd name="T44" fmla="*/ 2147483646 w 23"/>
              <a:gd name="T45" fmla="*/ 2147483646 h 26"/>
              <a:gd name="T46" fmla="*/ 2147483646 w 23"/>
              <a:gd name="T47" fmla="*/ 2147483646 h 26"/>
              <a:gd name="T48" fmla="*/ 2147483646 w 23"/>
              <a:gd name="T49" fmla="*/ 2147483646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3"/>
              <a:gd name="T76" fmla="*/ 0 h 26"/>
              <a:gd name="T77" fmla="*/ 23 w 23"/>
              <a:gd name="T78" fmla="*/ 26 h 2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3" h="26">
                <a:moveTo>
                  <a:pt x="12" y="2"/>
                </a:moveTo>
                <a:cubicBezTo>
                  <a:pt x="10" y="2"/>
                  <a:pt x="9" y="1"/>
                  <a:pt x="8" y="2"/>
                </a:cubicBezTo>
                <a:cubicBezTo>
                  <a:pt x="7" y="3"/>
                  <a:pt x="6" y="3"/>
                  <a:pt x="7" y="5"/>
                </a:cubicBezTo>
                <a:cubicBezTo>
                  <a:pt x="9" y="8"/>
                  <a:pt x="9" y="8"/>
                  <a:pt x="10" y="10"/>
                </a:cubicBezTo>
                <a:cubicBezTo>
                  <a:pt x="10" y="13"/>
                  <a:pt x="11" y="13"/>
                  <a:pt x="9" y="14"/>
                </a:cubicBezTo>
                <a:cubicBezTo>
                  <a:pt x="8" y="14"/>
                  <a:pt x="6" y="12"/>
                  <a:pt x="7" y="14"/>
                </a:cubicBezTo>
                <a:cubicBezTo>
                  <a:pt x="8" y="16"/>
                  <a:pt x="9" y="15"/>
                  <a:pt x="7" y="16"/>
                </a:cubicBezTo>
                <a:cubicBezTo>
                  <a:pt x="6" y="17"/>
                  <a:pt x="5" y="17"/>
                  <a:pt x="4" y="17"/>
                </a:cubicBezTo>
                <a:cubicBezTo>
                  <a:pt x="4" y="17"/>
                  <a:pt x="1" y="18"/>
                  <a:pt x="3" y="20"/>
                </a:cubicBezTo>
                <a:cubicBezTo>
                  <a:pt x="4" y="22"/>
                  <a:pt x="5" y="23"/>
                  <a:pt x="4" y="24"/>
                </a:cubicBezTo>
                <a:cubicBezTo>
                  <a:pt x="2" y="26"/>
                  <a:pt x="0" y="26"/>
                  <a:pt x="3" y="26"/>
                </a:cubicBezTo>
                <a:cubicBezTo>
                  <a:pt x="5" y="26"/>
                  <a:pt x="7" y="26"/>
                  <a:pt x="7" y="25"/>
                </a:cubicBezTo>
                <a:cubicBezTo>
                  <a:pt x="7" y="25"/>
                  <a:pt x="6" y="22"/>
                  <a:pt x="7" y="22"/>
                </a:cubicBezTo>
                <a:cubicBezTo>
                  <a:pt x="9" y="21"/>
                  <a:pt x="8" y="19"/>
                  <a:pt x="11" y="20"/>
                </a:cubicBezTo>
                <a:cubicBezTo>
                  <a:pt x="13" y="22"/>
                  <a:pt x="12" y="22"/>
                  <a:pt x="16" y="20"/>
                </a:cubicBezTo>
                <a:cubicBezTo>
                  <a:pt x="20" y="19"/>
                  <a:pt x="23" y="18"/>
                  <a:pt x="22" y="16"/>
                </a:cubicBezTo>
                <a:cubicBezTo>
                  <a:pt x="22" y="14"/>
                  <a:pt x="22" y="12"/>
                  <a:pt x="21" y="12"/>
                </a:cubicBezTo>
                <a:cubicBezTo>
                  <a:pt x="20" y="12"/>
                  <a:pt x="21" y="10"/>
                  <a:pt x="19" y="12"/>
                </a:cubicBezTo>
                <a:cubicBezTo>
                  <a:pt x="18" y="14"/>
                  <a:pt x="17" y="13"/>
                  <a:pt x="16" y="12"/>
                </a:cubicBezTo>
                <a:cubicBezTo>
                  <a:pt x="15" y="12"/>
                  <a:pt x="14" y="8"/>
                  <a:pt x="16" y="9"/>
                </a:cubicBezTo>
                <a:cubicBezTo>
                  <a:pt x="18" y="10"/>
                  <a:pt x="20" y="10"/>
                  <a:pt x="21" y="10"/>
                </a:cubicBezTo>
                <a:cubicBezTo>
                  <a:pt x="21" y="9"/>
                  <a:pt x="21" y="8"/>
                  <a:pt x="19" y="7"/>
                </a:cubicBezTo>
                <a:cubicBezTo>
                  <a:pt x="17" y="6"/>
                  <a:pt x="16" y="5"/>
                  <a:pt x="15" y="3"/>
                </a:cubicBezTo>
                <a:cubicBezTo>
                  <a:pt x="14" y="2"/>
                  <a:pt x="14" y="0"/>
                  <a:pt x="13" y="1"/>
                </a:cubicBezTo>
                <a:cubicBezTo>
                  <a:pt x="12" y="2"/>
                  <a:pt x="12" y="2"/>
                  <a:pt x="12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7" name="Freeform 736"/>
          <p:cNvSpPr>
            <a:spLocks noEditPoints="1"/>
          </p:cNvSpPr>
          <p:nvPr userDrawn="1"/>
        </p:nvSpPr>
        <p:spPr bwMode="auto">
          <a:xfrm>
            <a:off x="9614734" y="5992951"/>
            <a:ext cx="174209" cy="279740"/>
          </a:xfrm>
          <a:custGeom>
            <a:avLst/>
            <a:gdLst>
              <a:gd name="T0" fmla="*/ 2147483646 w 186"/>
              <a:gd name="T1" fmla="*/ 2147483646 h 300"/>
              <a:gd name="T2" fmla="*/ 2147483646 w 186"/>
              <a:gd name="T3" fmla="*/ 2147483646 h 300"/>
              <a:gd name="T4" fmla="*/ 2147483646 w 186"/>
              <a:gd name="T5" fmla="*/ 2147483646 h 300"/>
              <a:gd name="T6" fmla="*/ 2147483646 w 186"/>
              <a:gd name="T7" fmla="*/ 2147483646 h 300"/>
              <a:gd name="T8" fmla="*/ 2147483646 w 186"/>
              <a:gd name="T9" fmla="*/ 2147483646 h 300"/>
              <a:gd name="T10" fmla="*/ 2147483646 w 186"/>
              <a:gd name="T11" fmla="*/ 2147483646 h 300"/>
              <a:gd name="T12" fmla="*/ 2147483646 w 186"/>
              <a:gd name="T13" fmla="*/ 2147483646 h 300"/>
              <a:gd name="T14" fmla="*/ 2147483646 w 186"/>
              <a:gd name="T15" fmla="*/ 2147483646 h 300"/>
              <a:gd name="T16" fmla="*/ 2147483646 w 186"/>
              <a:gd name="T17" fmla="*/ 2147483646 h 300"/>
              <a:gd name="T18" fmla="*/ 2147483646 w 186"/>
              <a:gd name="T19" fmla="*/ 2147483646 h 300"/>
              <a:gd name="T20" fmla="*/ 2147483646 w 186"/>
              <a:gd name="T21" fmla="*/ 2147483646 h 300"/>
              <a:gd name="T22" fmla="*/ 2147483646 w 186"/>
              <a:gd name="T23" fmla="*/ 2147483646 h 300"/>
              <a:gd name="T24" fmla="*/ 2147483646 w 186"/>
              <a:gd name="T25" fmla="*/ 2147483646 h 300"/>
              <a:gd name="T26" fmla="*/ 2147483646 w 186"/>
              <a:gd name="T27" fmla="*/ 2147483646 h 300"/>
              <a:gd name="T28" fmla="*/ 2147483646 w 186"/>
              <a:gd name="T29" fmla="*/ 2147483646 h 300"/>
              <a:gd name="T30" fmla="*/ 2147483646 w 186"/>
              <a:gd name="T31" fmla="*/ 2147483646 h 300"/>
              <a:gd name="T32" fmla="*/ 2147483646 w 186"/>
              <a:gd name="T33" fmla="*/ 2147483646 h 300"/>
              <a:gd name="T34" fmla="*/ 2147483646 w 186"/>
              <a:gd name="T35" fmla="*/ 2147483646 h 300"/>
              <a:gd name="T36" fmla="*/ 2147483646 w 186"/>
              <a:gd name="T37" fmla="*/ 2147483646 h 300"/>
              <a:gd name="T38" fmla="*/ 2147483646 w 186"/>
              <a:gd name="T39" fmla="*/ 2147483646 h 300"/>
              <a:gd name="T40" fmla="*/ 2147483646 w 186"/>
              <a:gd name="T41" fmla="*/ 2147483646 h 300"/>
              <a:gd name="T42" fmla="*/ 2147483646 w 186"/>
              <a:gd name="T43" fmla="*/ 2147483646 h 300"/>
              <a:gd name="T44" fmla="*/ 2147483646 w 186"/>
              <a:gd name="T45" fmla="*/ 2147483646 h 300"/>
              <a:gd name="T46" fmla="*/ 2147483646 w 186"/>
              <a:gd name="T47" fmla="*/ 2147483646 h 300"/>
              <a:gd name="T48" fmla="*/ 2147483646 w 186"/>
              <a:gd name="T49" fmla="*/ 2147483646 h 300"/>
              <a:gd name="T50" fmla="*/ 2147483646 w 186"/>
              <a:gd name="T51" fmla="*/ 2147483646 h 300"/>
              <a:gd name="T52" fmla="*/ 2147483646 w 186"/>
              <a:gd name="T53" fmla="*/ 2147483646 h 300"/>
              <a:gd name="T54" fmla="*/ 2147483646 w 186"/>
              <a:gd name="T55" fmla="*/ 2147483646 h 300"/>
              <a:gd name="T56" fmla="*/ 2147483646 w 186"/>
              <a:gd name="T57" fmla="*/ 2147483646 h 300"/>
              <a:gd name="T58" fmla="*/ 2147483646 w 186"/>
              <a:gd name="T59" fmla="*/ 2147483646 h 300"/>
              <a:gd name="T60" fmla="*/ 2147483646 w 186"/>
              <a:gd name="T61" fmla="*/ 2147483646 h 300"/>
              <a:gd name="T62" fmla="*/ 2147483646 w 186"/>
              <a:gd name="T63" fmla="*/ 2147483646 h 300"/>
              <a:gd name="T64" fmla="*/ 2147483646 w 186"/>
              <a:gd name="T65" fmla="*/ 2147483646 h 300"/>
              <a:gd name="T66" fmla="*/ 2147483646 w 186"/>
              <a:gd name="T67" fmla="*/ 2147483646 h 300"/>
              <a:gd name="T68" fmla="*/ 2147483646 w 186"/>
              <a:gd name="T69" fmla="*/ 2147483646 h 300"/>
              <a:gd name="T70" fmla="*/ 2147483646 w 186"/>
              <a:gd name="T71" fmla="*/ 2147483646 h 300"/>
              <a:gd name="T72" fmla="*/ 2147483646 w 186"/>
              <a:gd name="T73" fmla="*/ 2147483646 h 300"/>
              <a:gd name="T74" fmla="*/ 2147483646 w 186"/>
              <a:gd name="T75" fmla="*/ 2147483646 h 300"/>
              <a:gd name="T76" fmla="*/ 2147483646 w 186"/>
              <a:gd name="T77" fmla="*/ 2147483646 h 300"/>
              <a:gd name="T78" fmla="*/ 2147483646 w 186"/>
              <a:gd name="T79" fmla="*/ 2147483646 h 300"/>
              <a:gd name="T80" fmla="*/ 2147483646 w 186"/>
              <a:gd name="T81" fmla="*/ 2147483646 h 300"/>
              <a:gd name="T82" fmla="*/ 2147483646 w 186"/>
              <a:gd name="T83" fmla="*/ 2147483646 h 300"/>
              <a:gd name="T84" fmla="*/ 2147483646 w 186"/>
              <a:gd name="T85" fmla="*/ 2147483646 h 300"/>
              <a:gd name="T86" fmla="*/ 2147483646 w 186"/>
              <a:gd name="T87" fmla="*/ 2147483646 h 300"/>
              <a:gd name="T88" fmla="*/ 2147483646 w 186"/>
              <a:gd name="T89" fmla="*/ 2147483646 h 300"/>
              <a:gd name="T90" fmla="*/ 2147483646 w 186"/>
              <a:gd name="T91" fmla="*/ 2147483646 h 300"/>
              <a:gd name="T92" fmla="*/ 2147483646 w 186"/>
              <a:gd name="T93" fmla="*/ 2147483646 h 300"/>
              <a:gd name="T94" fmla="*/ 2147483646 w 186"/>
              <a:gd name="T95" fmla="*/ 2147483646 h 300"/>
              <a:gd name="T96" fmla="*/ 2147483646 w 186"/>
              <a:gd name="T97" fmla="*/ 2147483646 h 300"/>
              <a:gd name="T98" fmla="*/ 2147483646 w 186"/>
              <a:gd name="T99" fmla="*/ 2147483646 h 300"/>
              <a:gd name="T100" fmla="*/ 2147483646 w 186"/>
              <a:gd name="T101" fmla="*/ 2147483646 h 300"/>
              <a:gd name="T102" fmla="*/ 2147483646 w 186"/>
              <a:gd name="T103" fmla="*/ 2147483646 h 300"/>
              <a:gd name="T104" fmla="*/ 2147483646 w 186"/>
              <a:gd name="T105" fmla="*/ 2147483646 h 300"/>
              <a:gd name="T106" fmla="*/ 2147483646 w 186"/>
              <a:gd name="T107" fmla="*/ 2147483646 h 300"/>
              <a:gd name="T108" fmla="*/ 2147483646 w 186"/>
              <a:gd name="T109" fmla="*/ 2147483646 h 300"/>
              <a:gd name="T110" fmla="*/ 2147483646 w 186"/>
              <a:gd name="T111" fmla="*/ 2147483646 h 30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86"/>
              <a:gd name="T169" fmla="*/ 0 h 300"/>
              <a:gd name="T170" fmla="*/ 186 w 186"/>
              <a:gd name="T171" fmla="*/ 300 h 30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86" h="300">
                <a:moveTo>
                  <a:pt x="184" y="145"/>
                </a:moveTo>
                <a:cubicBezTo>
                  <a:pt x="183" y="143"/>
                  <a:pt x="179" y="144"/>
                  <a:pt x="179" y="142"/>
                </a:cubicBezTo>
                <a:cubicBezTo>
                  <a:pt x="179" y="140"/>
                  <a:pt x="176" y="137"/>
                  <a:pt x="174" y="138"/>
                </a:cubicBezTo>
                <a:cubicBezTo>
                  <a:pt x="172" y="139"/>
                  <a:pt x="170" y="136"/>
                  <a:pt x="168" y="138"/>
                </a:cubicBezTo>
                <a:cubicBezTo>
                  <a:pt x="166" y="141"/>
                  <a:pt x="163" y="144"/>
                  <a:pt x="162" y="143"/>
                </a:cubicBezTo>
                <a:cubicBezTo>
                  <a:pt x="161" y="142"/>
                  <a:pt x="160" y="143"/>
                  <a:pt x="158" y="145"/>
                </a:cubicBezTo>
                <a:cubicBezTo>
                  <a:pt x="157" y="147"/>
                  <a:pt x="144" y="157"/>
                  <a:pt x="142" y="155"/>
                </a:cubicBezTo>
                <a:cubicBezTo>
                  <a:pt x="140" y="154"/>
                  <a:pt x="139" y="156"/>
                  <a:pt x="139" y="156"/>
                </a:cubicBezTo>
                <a:cubicBezTo>
                  <a:pt x="139" y="156"/>
                  <a:pt x="139" y="153"/>
                  <a:pt x="135" y="152"/>
                </a:cubicBezTo>
                <a:cubicBezTo>
                  <a:pt x="131" y="151"/>
                  <a:pt x="125" y="151"/>
                  <a:pt x="123" y="148"/>
                </a:cubicBezTo>
                <a:cubicBezTo>
                  <a:pt x="121" y="144"/>
                  <a:pt x="117" y="142"/>
                  <a:pt x="115" y="141"/>
                </a:cubicBezTo>
                <a:cubicBezTo>
                  <a:pt x="113" y="139"/>
                  <a:pt x="109" y="138"/>
                  <a:pt x="109" y="140"/>
                </a:cubicBezTo>
                <a:cubicBezTo>
                  <a:pt x="110" y="141"/>
                  <a:pt x="104" y="138"/>
                  <a:pt x="103" y="136"/>
                </a:cubicBezTo>
                <a:cubicBezTo>
                  <a:pt x="102" y="133"/>
                  <a:pt x="103" y="132"/>
                  <a:pt x="102" y="131"/>
                </a:cubicBezTo>
                <a:cubicBezTo>
                  <a:pt x="101" y="130"/>
                  <a:pt x="105" y="130"/>
                  <a:pt x="104" y="128"/>
                </a:cubicBezTo>
                <a:cubicBezTo>
                  <a:pt x="103" y="125"/>
                  <a:pt x="101" y="125"/>
                  <a:pt x="101" y="119"/>
                </a:cubicBezTo>
                <a:cubicBezTo>
                  <a:pt x="101" y="113"/>
                  <a:pt x="103" y="112"/>
                  <a:pt x="101" y="110"/>
                </a:cubicBezTo>
                <a:cubicBezTo>
                  <a:pt x="99" y="109"/>
                  <a:pt x="99" y="105"/>
                  <a:pt x="98" y="104"/>
                </a:cubicBezTo>
                <a:cubicBezTo>
                  <a:pt x="96" y="103"/>
                  <a:pt x="99" y="102"/>
                  <a:pt x="99" y="101"/>
                </a:cubicBezTo>
                <a:cubicBezTo>
                  <a:pt x="100" y="101"/>
                  <a:pt x="101" y="100"/>
                  <a:pt x="100" y="99"/>
                </a:cubicBezTo>
                <a:cubicBezTo>
                  <a:pt x="99" y="98"/>
                  <a:pt x="97" y="102"/>
                  <a:pt x="95" y="101"/>
                </a:cubicBezTo>
                <a:cubicBezTo>
                  <a:pt x="94" y="99"/>
                  <a:pt x="93" y="98"/>
                  <a:pt x="92" y="97"/>
                </a:cubicBezTo>
                <a:cubicBezTo>
                  <a:pt x="91" y="97"/>
                  <a:pt x="94" y="94"/>
                  <a:pt x="92" y="93"/>
                </a:cubicBezTo>
                <a:cubicBezTo>
                  <a:pt x="91" y="93"/>
                  <a:pt x="91" y="91"/>
                  <a:pt x="89" y="90"/>
                </a:cubicBezTo>
                <a:cubicBezTo>
                  <a:pt x="88" y="90"/>
                  <a:pt x="86" y="88"/>
                  <a:pt x="84" y="89"/>
                </a:cubicBezTo>
                <a:cubicBezTo>
                  <a:pt x="83" y="90"/>
                  <a:pt x="86" y="94"/>
                  <a:pt x="87" y="94"/>
                </a:cubicBezTo>
                <a:cubicBezTo>
                  <a:pt x="89" y="95"/>
                  <a:pt x="90" y="98"/>
                  <a:pt x="89" y="98"/>
                </a:cubicBezTo>
                <a:cubicBezTo>
                  <a:pt x="88" y="99"/>
                  <a:pt x="89" y="100"/>
                  <a:pt x="89" y="101"/>
                </a:cubicBezTo>
                <a:cubicBezTo>
                  <a:pt x="90" y="101"/>
                  <a:pt x="89" y="101"/>
                  <a:pt x="88" y="102"/>
                </a:cubicBezTo>
                <a:cubicBezTo>
                  <a:pt x="87" y="102"/>
                  <a:pt x="86" y="103"/>
                  <a:pt x="87" y="105"/>
                </a:cubicBezTo>
                <a:cubicBezTo>
                  <a:pt x="89" y="107"/>
                  <a:pt x="91" y="109"/>
                  <a:pt x="90" y="110"/>
                </a:cubicBezTo>
                <a:cubicBezTo>
                  <a:pt x="90" y="112"/>
                  <a:pt x="91" y="113"/>
                  <a:pt x="90" y="115"/>
                </a:cubicBezTo>
                <a:cubicBezTo>
                  <a:pt x="89" y="117"/>
                  <a:pt x="88" y="120"/>
                  <a:pt x="86" y="119"/>
                </a:cubicBezTo>
                <a:cubicBezTo>
                  <a:pt x="83" y="117"/>
                  <a:pt x="81" y="116"/>
                  <a:pt x="81" y="113"/>
                </a:cubicBezTo>
                <a:cubicBezTo>
                  <a:pt x="81" y="110"/>
                  <a:pt x="83" y="108"/>
                  <a:pt x="81" y="108"/>
                </a:cubicBezTo>
                <a:cubicBezTo>
                  <a:pt x="78" y="108"/>
                  <a:pt x="75" y="108"/>
                  <a:pt x="75" y="106"/>
                </a:cubicBezTo>
                <a:cubicBezTo>
                  <a:pt x="75" y="105"/>
                  <a:pt x="75" y="105"/>
                  <a:pt x="73" y="105"/>
                </a:cubicBezTo>
                <a:cubicBezTo>
                  <a:pt x="71" y="106"/>
                  <a:pt x="70" y="104"/>
                  <a:pt x="69" y="103"/>
                </a:cubicBezTo>
                <a:cubicBezTo>
                  <a:pt x="67" y="101"/>
                  <a:pt x="65" y="101"/>
                  <a:pt x="65" y="103"/>
                </a:cubicBezTo>
                <a:cubicBezTo>
                  <a:pt x="64" y="105"/>
                  <a:pt x="62" y="104"/>
                  <a:pt x="62" y="102"/>
                </a:cubicBezTo>
                <a:cubicBezTo>
                  <a:pt x="63" y="100"/>
                  <a:pt x="65" y="101"/>
                  <a:pt x="66" y="100"/>
                </a:cubicBezTo>
                <a:cubicBezTo>
                  <a:pt x="67" y="98"/>
                  <a:pt x="65" y="96"/>
                  <a:pt x="66" y="95"/>
                </a:cubicBezTo>
                <a:cubicBezTo>
                  <a:pt x="67" y="95"/>
                  <a:pt x="68" y="95"/>
                  <a:pt x="68" y="94"/>
                </a:cubicBezTo>
                <a:cubicBezTo>
                  <a:pt x="68" y="93"/>
                  <a:pt x="64" y="96"/>
                  <a:pt x="65" y="93"/>
                </a:cubicBezTo>
                <a:cubicBezTo>
                  <a:pt x="65" y="91"/>
                  <a:pt x="64" y="89"/>
                  <a:pt x="65" y="89"/>
                </a:cubicBezTo>
                <a:cubicBezTo>
                  <a:pt x="67" y="88"/>
                  <a:pt x="65" y="86"/>
                  <a:pt x="65" y="85"/>
                </a:cubicBezTo>
                <a:cubicBezTo>
                  <a:pt x="66" y="84"/>
                  <a:pt x="69" y="85"/>
                  <a:pt x="69" y="84"/>
                </a:cubicBezTo>
                <a:cubicBezTo>
                  <a:pt x="69" y="83"/>
                  <a:pt x="67" y="82"/>
                  <a:pt x="67" y="82"/>
                </a:cubicBezTo>
                <a:cubicBezTo>
                  <a:pt x="67" y="81"/>
                  <a:pt x="69" y="81"/>
                  <a:pt x="69" y="80"/>
                </a:cubicBezTo>
                <a:cubicBezTo>
                  <a:pt x="69" y="79"/>
                  <a:pt x="64" y="79"/>
                  <a:pt x="64" y="76"/>
                </a:cubicBezTo>
                <a:cubicBezTo>
                  <a:pt x="63" y="72"/>
                  <a:pt x="64" y="70"/>
                  <a:pt x="61" y="69"/>
                </a:cubicBezTo>
                <a:cubicBezTo>
                  <a:pt x="58" y="69"/>
                  <a:pt x="57" y="67"/>
                  <a:pt x="57" y="65"/>
                </a:cubicBezTo>
                <a:cubicBezTo>
                  <a:pt x="58" y="63"/>
                  <a:pt x="59" y="62"/>
                  <a:pt x="57" y="61"/>
                </a:cubicBezTo>
                <a:cubicBezTo>
                  <a:pt x="55" y="60"/>
                  <a:pt x="53" y="60"/>
                  <a:pt x="53" y="59"/>
                </a:cubicBezTo>
                <a:cubicBezTo>
                  <a:pt x="54" y="58"/>
                  <a:pt x="55" y="57"/>
                  <a:pt x="57" y="58"/>
                </a:cubicBezTo>
                <a:cubicBezTo>
                  <a:pt x="58" y="59"/>
                  <a:pt x="60" y="58"/>
                  <a:pt x="60" y="60"/>
                </a:cubicBezTo>
                <a:cubicBezTo>
                  <a:pt x="60" y="61"/>
                  <a:pt x="61" y="63"/>
                  <a:pt x="61" y="62"/>
                </a:cubicBezTo>
                <a:cubicBezTo>
                  <a:pt x="62" y="61"/>
                  <a:pt x="62" y="60"/>
                  <a:pt x="62" y="58"/>
                </a:cubicBezTo>
                <a:cubicBezTo>
                  <a:pt x="62" y="57"/>
                  <a:pt x="63" y="56"/>
                  <a:pt x="61" y="55"/>
                </a:cubicBezTo>
                <a:cubicBezTo>
                  <a:pt x="60" y="53"/>
                  <a:pt x="61" y="52"/>
                  <a:pt x="60" y="51"/>
                </a:cubicBezTo>
                <a:cubicBezTo>
                  <a:pt x="60" y="49"/>
                  <a:pt x="61" y="51"/>
                  <a:pt x="59" y="49"/>
                </a:cubicBezTo>
                <a:cubicBezTo>
                  <a:pt x="58" y="47"/>
                  <a:pt x="59" y="47"/>
                  <a:pt x="58" y="46"/>
                </a:cubicBezTo>
                <a:cubicBezTo>
                  <a:pt x="56" y="45"/>
                  <a:pt x="55" y="46"/>
                  <a:pt x="55" y="44"/>
                </a:cubicBezTo>
                <a:cubicBezTo>
                  <a:pt x="55" y="43"/>
                  <a:pt x="55" y="42"/>
                  <a:pt x="55" y="42"/>
                </a:cubicBezTo>
                <a:cubicBezTo>
                  <a:pt x="55" y="42"/>
                  <a:pt x="57" y="42"/>
                  <a:pt x="56" y="41"/>
                </a:cubicBezTo>
                <a:cubicBezTo>
                  <a:pt x="54" y="40"/>
                  <a:pt x="54" y="41"/>
                  <a:pt x="54" y="40"/>
                </a:cubicBezTo>
                <a:cubicBezTo>
                  <a:pt x="54" y="38"/>
                  <a:pt x="57" y="36"/>
                  <a:pt x="54" y="37"/>
                </a:cubicBezTo>
                <a:cubicBezTo>
                  <a:pt x="51" y="37"/>
                  <a:pt x="51" y="38"/>
                  <a:pt x="50" y="38"/>
                </a:cubicBezTo>
                <a:cubicBezTo>
                  <a:pt x="49" y="38"/>
                  <a:pt x="49" y="38"/>
                  <a:pt x="49" y="38"/>
                </a:cubicBezTo>
                <a:cubicBezTo>
                  <a:pt x="49" y="38"/>
                  <a:pt x="48" y="37"/>
                  <a:pt x="49" y="39"/>
                </a:cubicBezTo>
                <a:cubicBezTo>
                  <a:pt x="49" y="40"/>
                  <a:pt x="48" y="42"/>
                  <a:pt x="47" y="40"/>
                </a:cubicBezTo>
                <a:cubicBezTo>
                  <a:pt x="46" y="38"/>
                  <a:pt x="48" y="36"/>
                  <a:pt x="46" y="36"/>
                </a:cubicBezTo>
                <a:cubicBezTo>
                  <a:pt x="44" y="35"/>
                  <a:pt x="42" y="33"/>
                  <a:pt x="44" y="33"/>
                </a:cubicBezTo>
                <a:cubicBezTo>
                  <a:pt x="46" y="33"/>
                  <a:pt x="47" y="35"/>
                  <a:pt x="47" y="34"/>
                </a:cubicBezTo>
                <a:cubicBezTo>
                  <a:pt x="48" y="33"/>
                  <a:pt x="47" y="31"/>
                  <a:pt x="46" y="31"/>
                </a:cubicBezTo>
                <a:cubicBezTo>
                  <a:pt x="44" y="31"/>
                  <a:pt x="41" y="33"/>
                  <a:pt x="42" y="31"/>
                </a:cubicBezTo>
                <a:cubicBezTo>
                  <a:pt x="42" y="29"/>
                  <a:pt x="43" y="26"/>
                  <a:pt x="40" y="26"/>
                </a:cubicBezTo>
                <a:cubicBezTo>
                  <a:pt x="38" y="26"/>
                  <a:pt x="35" y="27"/>
                  <a:pt x="35" y="28"/>
                </a:cubicBezTo>
                <a:cubicBezTo>
                  <a:pt x="34" y="29"/>
                  <a:pt x="35" y="26"/>
                  <a:pt x="33" y="25"/>
                </a:cubicBezTo>
                <a:cubicBezTo>
                  <a:pt x="32" y="24"/>
                  <a:pt x="31" y="23"/>
                  <a:pt x="30" y="24"/>
                </a:cubicBezTo>
                <a:cubicBezTo>
                  <a:pt x="29" y="24"/>
                  <a:pt x="30" y="26"/>
                  <a:pt x="28" y="25"/>
                </a:cubicBezTo>
                <a:cubicBezTo>
                  <a:pt x="26" y="25"/>
                  <a:pt x="24" y="24"/>
                  <a:pt x="24" y="22"/>
                </a:cubicBezTo>
                <a:cubicBezTo>
                  <a:pt x="25" y="20"/>
                  <a:pt x="26" y="19"/>
                  <a:pt x="25" y="18"/>
                </a:cubicBezTo>
                <a:cubicBezTo>
                  <a:pt x="24" y="17"/>
                  <a:pt x="23" y="18"/>
                  <a:pt x="22" y="19"/>
                </a:cubicBezTo>
                <a:cubicBezTo>
                  <a:pt x="21" y="20"/>
                  <a:pt x="21" y="22"/>
                  <a:pt x="22" y="22"/>
                </a:cubicBezTo>
                <a:cubicBezTo>
                  <a:pt x="23" y="23"/>
                  <a:pt x="23" y="27"/>
                  <a:pt x="21" y="26"/>
                </a:cubicBezTo>
                <a:cubicBezTo>
                  <a:pt x="19" y="24"/>
                  <a:pt x="21" y="23"/>
                  <a:pt x="20" y="22"/>
                </a:cubicBezTo>
                <a:cubicBezTo>
                  <a:pt x="19" y="20"/>
                  <a:pt x="16" y="20"/>
                  <a:pt x="17" y="18"/>
                </a:cubicBezTo>
                <a:cubicBezTo>
                  <a:pt x="17" y="17"/>
                  <a:pt x="17" y="17"/>
                  <a:pt x="15" y="15"/>
                </a:cubicBezTo>
                <a:cubicBezTo>
                  <a:pt x="13" y="13"/>
                  <a:pt x="12" y="11"/>
                  <a:pt x="12" y="10"/>
                </a:cubicBezTo>
                <a:cubicBezTo>
                  <a:pt x="12" y="8"/>
                  <a:pt x="12" y="7"/>
                  <a:pt x="11" y="7"/>
                </a:cubicBezTo>
                <a:cubicBezTo>
                  <a:pt x="10" y="8"/>
                  <a:pt x="9" y="8"/>
                  <a:pt x="9" y="6"/>
                </a:cubicBezTo>
                <a:cubicBezTo>
                  <a:pt x="10" y="5"/>
                  <a:pt x="12" y="7"/>
                  <a:pt x="12" y="5"/>
                </a:cubicBezTo>
                <a:cubicBezTo>
                  <a:pt x="12" y="4"/>
                  <a:pt x="12" y="4"/>
                  <a:pt x="12" y="3"/>
                </a:cubicBezTo>
                <a:cubicBezTo>
                  <a:pt x="13" y="2"/>
                  <a:pt x="14" y="0"/>
                  <a:pt x="12" y="1"/>
                </a:cubicBezTo>
                <a:cubicBezTo>
                  <a:pt x="12" y="1"/>
                  <a:pt x="10" y="2"/>
                  <a:pt x="8" y="1"/>
                </a:cubicBezTo>
                <a:cubicBezTo>
                  <a:pt x="7" y="0"/>
                  <a:pt x="7" y="2"/>
                  <a:pt x="6" y="2"/>
                </a:cubicBezTo>
                <a:cubicBezTo>
                  <a:pt x="5" y="2"/>
                  <a:pt x="2" y="0"/>
                  <a:pt x="1" y="1"/>
                </a:cubicBezTo>
                <a:cubicBezTo>
                  <a:pt x="0" y="3"/>
                  <a:pt x="0" y="4"/>
                  <a:pt x="1" y="5"/>
                </a:cubicBezTo>
                <a:cubicBezTo>
                  <a:pt x="3" y="6"/>
                  <a:pt x="16" y="21"/>
                  <a:pt x="16" y="25"/>
                </a:cubicBezTo>
                <a:cubicBezTo>
                  <a:pt x="16" y="28"/>
                  <a:pt x="17" y="31"/>
                  <a:pt x="15" y="31"/>
                </a:cubicBezTo>
                <a:cubicBezTo>
                  <a:pt x="14" y="31"/>
                  <a:pt x="12" y="32"/>
                  <a:pt x="14" y="34"/>
                </a:cubicBezTo>
                <a:cubicBezTo>
                  <a:pt x="15" y="35"/>
                  <a:pt x="16" y="36"/>
                  <a:pt x="16" y="37"/>
                </a:cubicBezTo>
                <a:cubicBezTo>
                  <a:pt x="15" y="38"/>
                  <a:pt x="22" y="47"/>
                  <a:pt x="23" y="45"/>
                </a:cubicBezTo>
                <a:cubicBezTo>
                  <a:pt x="23" y="43"/>
                  <a:pt x="24" y="41"/>
                  <a:pt x="26" y="41"/>
                </a:cubicBezTo>
                <a:cubicBezTo>
                  <a:pt x="27" y="41"/>
                  <a:pt x="29" y="40"/>
                  <a:pt x="29" y="39"/>
                </a:cubicBezTo>
                <a:cubicBezTo>
                  <a:pt x="29" y="38"/>
                  <a:pt x="30" y="39"/>
                  <a:pt x="31" y="40"/>
                </a:cubicBezTo>
                <a:cubicBezTo>
                  <a:pt x="31" y="41"/>
                  <a:pt x="31" y="42"/>
                  <a:pt x="29" y="42"/>
                </a:cubicBezTo>
                <a:cubicBezTo>
                  <a:pt x="28" y="42"/>
                  <a:pt x="25" y="42"/>
                  <a:pt x="24" y="44"/>
                </a:cubicBezTo>
                <a:cubicBezTo>
                  <a:pt x="24" y="46"/>
                  <a:pt x="21" y="48"/>
                  <a:pt x="23" y="49"/>
                </a:cubicBezTo>
                <a:cubicBezTo>
                  <a:pt x="25" y="50"/>
                  <a:pt x="38" y="67"/>
                  <a:pt x="41" y="78"/>
                </a:cubicBezTo>
                <a:cubicBezTo>
                  <a:pt x="43" y="84"/>
                  <a:pt x="43" y="83"/>
                  <a:pt x="45" y="83"/>
                </a:cubicBezTo>
                <a:cubicBezTo>
                  <a:pt x="47" y="83"/>
                  <a:pt x="49" y="80"/>
                  <a:pt x="47" y="79"/>
                </a:cubicBezTo>
                <a:cubicBezTo>
                  <a:pt x="45" y="77"/>
                  <a:pt x="41" y="73"/>
                  <a:pt x="44" y="73"/>
                </a:cubicBezTo>
                <a:cubicBezTo>
                  <a:pt x="47" y="74"/>
                  <a:pt x="48" y="74"/>
                  <a:pt x="48" y="75"/>
                </a:cubicBezTo>
                <a:cubicBezTo>
                  <a:pt x="48" y="77"/>
                  <a:pt x="49" y="78"/>
                  <a:pt x="50" y="77"/>
                </a:cubicBezTo>
                <a:cubicBezTo>
                  <a:pt x="51" y="76"/>
                  <a:pt x="49" y="72"/>
                  <a:pt x="50" y="72"/>
                </a:cubicBezTo>
                <a:cubicBezTo>
                  <a:pt x="51" y="73"/>
                  <a:pt x="51" y="76"/>
                  <a:pt x="53" y="75"/>
                </a:cubicBezTo>
                <a:cubicBezTo>
                  <a:pt x="54" y="75"/>
                  <a:pt x="56" y="74"/>
                  <a:pt x="55" y="76"/>
                </a:cubicBezTo>
                <a:cubicBezTo>
                  <a:pt x="53" y="77"/>
                  <a:pt x="52" y="77"/>
                  <a:pt x="53" y="78"/>
                </a:cubicBezTo>
                <a:cubicBezTo>
                  <a:pt x="53" y="79"/>
                  <a:pt x="55" y="78"/>
                  <a:pt x="55" y="79"/>
                </a:cubicBezTo>
                <a:cubicBezTo>
                  <a:pt x="55" y="81"/>
                  <a:pt x="53" y="81"/>
                  <a:pt x="52" y="81"/>
                </a:cubicBezTo>
                <a:cubicBezTo>
                  <a:pt x="52" y="80"/>
                  <a:pt x="50" y="80"/>
                  <a:pt x="50" y="82"/>
                </a:cubicBezTo>
                <a:cubicBezTo>
                  <a:pt x="50" y="83"/>
                  <a:pt x="52" y="85"/>
                  <a:pt x="53" y="84"/>
                </a:cubicBezTo>
                <a:cubicBezTo>
                  <a:pt x="54" y="83"/>
                  <a:pt x="56" y="82"/>
                  <a:pt x="56" y="83"/>
                </a:cubicBezTo>
                <a:cubicBezTo>
                  <a:pt x="56" y="85"/>
                  <a:pt x="54" y="85"/>
                  <a:pt x="55" y="87"/>
                </a:cubicBezTo>
                <a:cubicBezTo>
                  <a:pt x="56" y="89"/>
                  <a:pt x="56" y="91"/>
                  <a:pt x="56" y="92"/>
                </a:cubicBezTo>
                <a:cubicBezTo>
                  <a:pt x="55" y="93"/>
                  <a:pt x="54" y="94"/>
                  <a:pt x="53" y="93"/>
                </a:cubicBezTo>
                <a:cubicBezTo>
                  <a:pt x="52" y="93"/>
                  <a:pt x="55" y="90"/>
                  <a:pt x="53" y="90"/>
                </a:cubicBezTo>
                <a:cubicBezTo>
                  <a:pt x="52" y="90"/>
                  <a:pt x="51" y="89"/>
                  <a:pt x="51" y="87"/>
                </a:cubicBezTo>
                <a:cubicBezTo>
                  <a:pt x="50" y="86"/>
                  <a:pt x="50" y="86"/>
                  <a:pt x="49" y="86"/>
                </a:cubicBezTo>
                <a:cubicBezTo>
                  <a:pt x="48" y="86"/>
                  <a:pt x="46" y="86"/>
                  <a:pt x="47" y="87"/>
                </a:cubicBezTo>
                <a:cubicBezTo>
                  <a:pt x="48" y="88"/>
                  <a:pt x="51" y="91"/>
                  <a:pt x="51" y="93"/>
                </a:cubicBezTo>
                <a:cubicBezTo>
                  <a:pt x="52" y="95"/>
                  <a:pt x="57" y="106"/>
                  <a:pt x="57" y="108"/>
                </a:cubicBezTo>
                <a:cubicBezTo>
                  <a:pt x="57" y="110"/>
                  <a:pt x="59" y="111"/>
                  <a:pt x="60" y="109"/>
                </a:cubicBezTo>
                <a:cubicBezTo>
                  <a:pt x="62" y="108"/>
                  <a:pt x="63" y="105"/>
                  <a:pt x="64" y="106"/>
                </a:cubicBezTo>
                <a:cubicBezTo>
                  <a:pt x="65" y="108"/>
                  <a:pt x="66" y="108"/>
                  <a:pt x="67" y="109"/>
                </a:cubicBezTo>
                <a:cubicBezTo>
                  <a:pt x="69" y="110"/>
                  <a:pt x="70" y="111"/>
                  <a:pt x="68" y="112"/>
                </a:cubicBezTo>
                <a:cubicBezTo>
                  <a:pt x="67" y="112"/>
                  <a:pt x="64" y="113"/>
                  <a:pt x="63" y="112"/>
                </a:cubicBezTo>
                <a:cubicBezTo>
                  <a:pt x="63" y="112"/>
                  <a:pt x="62" y="111"/>
                  <a:pt x="61" y="111"/>
                </a:cubicBezTo>
                <a:cubicBezTo>
                  <a:pt x="59" y="111"/>
                  <a:pt x="57" y="111"/>
                  <a:pt x="58" y="113"/>
                </a:cubicBezTo>
                <a:cubicBezTo>
                  <a:pt x="60" y="115"/>
                  <a:pt x="61" y="118"/>
                  <a:pt x="62" y="121"/>
                </a:cubicBezTo>
                <a:cubicBezTo>
                  <a:pt x="63" y="125"/>
                  <a:pt x="62" y="127"/>
                  <a:pt x="63" y="130"/>
                </a:cubicBezTo>
                <a:cubicBezTo>
                  <a:pt x="64" y="133"/>
                  <a:pt x="65" y="135"/>
                  <a:pt x="65" y="137"/>
                </a:cubicBezTo>
                <a:cubicBezTo>
                  <a:pt x="66" y="139"/>
                  <a:pt x="67" y="141"/>
                  <a:pt x="68" y="140"/>
                </a:cubicBezTo>
                <a:cubicBezTo>
                  <a:pt x="69" y="140"/>
                  <a:pt x="71" y="141"/>
                  <a:pt x="69" y="142"/>
                </a:cubicBezTo>
                <a:cubicBezTo>
                  <a:pt x="67" y="142"/>
                  <a:pt x="63" y="141"/>
                  <a:pt x="63" y="144"/>
                </a:cubicBezTo>
                <a:cubicBezTo>
                  <a:pt x="64" y="147"/>
                  <a:pt x="63" y="149"/>
                  <a:pt x="65" y="149"/>
                </a:cubicBezTo>
                <a:cubicBezTo>
                  <a:pt x="66" y="148"/>
                  <a:pt x="68" y="149"/>
                  <a:pt x="66" y="150"/>
                </a:cubicBezTo>
                <a:cubicBezTo>
                  <a:pt x="64" y="151"/>
                  <a:pt x="64" y="151"/>
                  <a:pt x="64" y="152"/>
                </a:cubicBezTo>
                <a:cubicBezTo>
                  <a:pt x="65" y="153"/>
                  <a:pt x="67" y="152"/>
                  <a:pt x="68" y="153"/>
                </a:cubicBezTo>
                <a:cubicBezTo>
                  <a:pt x="68" y="154"/>
                  <a:pt x="67" y="154"/>
                  <a:pt x="65" y="155"/>
                </a:cubicBezTo>
                <a:cubicBezTo>
                  <a:pt x="64" y="155"/>
                  <a:pt x="61" y="153"/>
                  <a:pt x="61" y="155"/>
                </a:cubicBezTo>
                <a:cubicBezTo>
                  <a:pt x="61" y="157"/>
                  <a:pt x="62" y="161"/>
                  <a:pt x="60" y="163"/>
                </a:cubicBezTo>
                <a:cubicBezTo>
                  <a:pt x="59" y="164"/>
                  <a:pt x="58" y="164"/>
                  <a:pt x="58" y="166"/>
                </a:cubicBezTo>
                <a:cubicBezTo>
                  <a:pt x="58" y="169"/>
                  <a:pt x="58" y="180"/>
                  <a:pt x="56" y="182"/>
                </a:cubicBezTo>
                <a:cubicBezTo>
                  <a:pt x="55" y="184"/>
                  <a:pt x="53" y="188"/>
                  <a:pt x="52" y="188"/>
                </a:cubicBezTo>
                <a:cubicBezTo>
                  <a:pt x="51" y="189"/>
                  <a:pt x="48" y="190"/>
                  <a:pt x="48" y="189"/>
                </a:cubicBezTo>
                <a:cubicBezTo>
                  <a:pt x="48" y="188"/>
                  <a:pt x="47" y="188"/>
                  <a:pt x="46" y="189"/>
                </a:cubicBezTo>
                <a:cubicBezTo>
                  <a:pt x="45" y="189"/>
                  <a:pt x="43" y="188"/>
                  <a:pt x="43" y="189"/>
                </a:cubicBezTo>
                <a:cubicBezTo>
                  <a:pt x="42" y="191"/>
                  <a:pt x="41" y="191"/>
                  <a:pt x="40" y="191"/>
                </a:cubicBezTo>
                <a:cubicBezTo>
                  <a:pt x="39" y="191"/>
                  <a:pt x="39" y="191"/>
                  <a:pt x="37" y="192"/>
                </a:cubicBezTo>
                <a:cubicBezTo>
                  <a:pt x="36" y="193"/>
                  <a:pt x="32" y="194"/>
                  <a:pt x="31" y="196"/>
                </a:cubicBezTo>
                <a:cubicBezTo>
                  <a:pt x="30" y="198"/>
                  <a:pt x="28" y="202"/>
                  <a:pt x="31" y="205"/>
                </a:cubicBezTo>
                <a:cubicBezTo>
                  <a:pt x="35" y="208"/>
                  <a:pt x="40" y="211"/>
                  <a:pt x="43" y="213"/>
                </a:cubicBezTo>
                <a:cubicBezTo>
                  <a:pt x="46" y="215"/>
                  <a:pt x="48" y="218"/>
                  <a:pt x="49" y="219"/>
                </a:cubicBezTo>
                <a:cubicBezTo>
                  <a:pt x="51" y="221"/>
                  <a:pt x="56" y="224"/>
                  <a:pt x="62" y="226"/>
                </a:cubicBezTo>
                <a:cubicBezTo>
                  <a:pt x="68" y="227"/>
                  <a:pt x="72" y="229"/>
                  <a:pt x="72" y="238"/>
                </a:cubicBezTo>
                <a:cubicBezTo>
                  <a:pt x="73" y="246"/>
                  <a:pt x="74" y="246"/>
                  <a:pt x="73" y="249"/>
                </a:cubicBezTo>
                <a:cubicBezTo>
                  <a:pt x="71" y="251"/>
                  <a:pt x="70" y="251"/>
                  <a:pt x="71" y="254"/>
                </a:cubicBezTo>
                <a:cubicBezTo>
                  <a:pt x="71" y="257"/>
                  <a:pt x="72" y="258"/>
                  <a:pt x="69" y="262"/>
                </a:cubicBezTo>
                <a:cubicBezTo>
                  <a:pt x="67" y="265"/>
                  <a:pt x="65" y="266"/>
                  <a:pt x="64" y="269"/>
                </a:cubicBezTo>
                <a:cubicBezTo>
                  <a:pt x="64" y="272"/>
                  <a:pt x="65" y="270"/>
                  <a:pt x="62" y="272"/>
                </a:cubicBezTo>
                <a:cubicBezTo>
                  <a:pt x="60" y="274"/>
                  <a:pt x="58" y="278"/>
                  <a:pt x="56" y="279"/>
                </a:cubicBezTo>
                <a:cubicBezTo>
                  <a:pt x="53" y="280"/>
                  <a:pt x="51" y="280"/>
                  <a:pt x="53" y="282"/>
                </a:cubicBezTo>
                <a:cubicBezTo>
                  <a:pt x="54" y="285"/>
                  <a:pt x="56" y="287"/>
                  <a:pt x="58" y="286"/>
                </a:cubicBezTo>
                <a:cubicBezTo>
                  <a:pt x="61" y="285"/>
                  <a:pt x="60" y="290"/>
                  <a:pt x="62" y="288"/>
                </a:cubicBezTo>
                <a:cubicBezTo>
                  <a:pt x="65" y="286"/>
                  <a:pt x="68" y="287"/>
                  <a:pt x="69" y="289"/>
                </a:cubicBezTo>
                <a:cubicBezTo>
                  <a:pt x="69" y="290"/>
                  <a:pt x="68" y="294"/>
                  <a:pt x="70" y="294"/>
                </a:cubicBezTo>
                <a:cubicBezTo>
                  <a:pt x="72" y="294"/>
                  <a:pt x="71" y="300"/>
                  <a:pt x="74" y="297"/>
                </a:cubicBezTo>
                <a:cubicBezTo>
                  <a:pt x="77" y="294"/>
                  <a:pt x="83" y="294"/>
                  <a:pt x="86" y="290"/>
                </a:cubicBezTo>
                <a:cubicBezTo>
                  <a:pt x="89" y="286"/>
                  <a:pt x="92" y="285"/>
                  <a:pt x="94" y="284"/>
                </a:cubicBezTo>
                <a:cubicBezTo>
                  <a:pt x="96" y="283"/>
                  <a:pt x="94" y="279"/>
                  <a:pt x="97" y="278"/>
                </a:cubicBezTo>
                <a:cubicBezTo>
                  <a:pt x="100" y="278"/>
                  <a:pt x="98" y="273"/>
                  <a:pt x="100" y="272"/>
                </a:cubicBezTo>
                <a:cubicBezTo>
                  <a:pt x="103" y="271"/>
                  <a:pt x="102" y="269"/>
                  <a:pt x="105" y="265"/>
                </a:cubicBezTo>
                <a:cubicBezTo>
                  <a:pt x="107" y="261"/>
                  <a:pt x="108" y="263"/>
                  <a:pt x="110" y="261"/>
                </a:cubicBezTo>
                <a:cubicBezTo>
                  <a:pt x="111" y="260"/>
                  <a:pt x="109" y="258"/>
                  <a:pt x="111" y="257"/>
                </a:cubicBezTo>
                <a:cubicBezTo>
                  <a:pt x="113" y="256"/>
                  <a:pt x="115" y="256"/>
                  <a:pt x="116" y="254"/>
                </a:cubicBezTo>
                <a:cubicBezTo>
                  <a:pt x="117" y="253"/>
                  <a:pt x="115" y="251"/>
                  <a:pt x="117" y="250"/>
                </a:cubicBezTo>
                <a:cubicBezTo>
                  <a:pt x="119" y="249"/>
                  <a:pt x="117" y="247"/>
                  <a:pt x="119" y="246"/>
                </a:cubicBezTo>
                <a:cubicBezTo>
                  <a:pt x="120" y="245"/>
                  <a:pt x="122" y="245"/>
                  <a:pt x="123" y="241"/>
                </a:cubicBezTo>
                <a:cubicBezTo>
                  <a:pt x="125" y="237"/>
                  <a:pt x="128" y="233"/>
                  <a:pt x="130" y="229"/>
                </a:cubicBezTo>
                <a:cubicBezTo>
                  <a:pt x="133" y="225"/>
                  <a:pt x="130" y="224"/>
                  <a:pt x="132" y="224"/>
                </a:cubicBezTo>
                <a:cubicBezTo>
                  <a:pt x="134" y="224"/>
                  <a:pt x="133" y="222"/>
                  <a:pt x="131" y="222"/>
                </a:cubicBezTo>
                <a:cubicBezTo>
                  <a:pt x="130" y="222"/>
                  <a:pt x="128" y="221"/>
                  <a:pt x="128" y="218"/>
                </a:cubicBezTo>
                <a:cubicBezTo>
                  <a:pt x="129" y="216"/>
                  <a:pt x="128" y="215"/>
                  <a:pt x="128" y="213"/>
                </a:cubicBezTo>
                <a:cubicBezTo>
                  <a:pt x="127" y="212"/>
                  <a:pt x="127" y="211"/>
                  <a:pt x="128" y="210"/>
                </a:cubicBezTo>
                <a:cubicBezTo>
                  <a:pt x="129" y="209"/>
                  <a:pt x="130" y="205"/>
                  <a:pt x="132" y="204"/>
                </a:cubicBezTo>
                <a:cubicBezTo>
                  <a:pt x="135" y="202"/>
                  <a:pt x="137" y="200"/>
                  <a:pt x="141" y="200"/>
                </a:cubicBezTo>
                <a:cubicBezTo>
                  <a:pt x="145" y="199"/>
                  <a:pt x="154" y="199"/>
                  <a:pt x="155" y="199"/>
                </a:cubicBezTo>
                <a:cubicBezTo>
                  <a:pt x="156" y="199"/>
                  <a:pt x="158" y="202"/>
                  <a:pt x="159" y="201"/>
                </a:cubicBezTo>
                <a:cubicBezTo>
                  <a:pt x="160" y="200"/>
                  <a:pt x="160" y="198"/>
                  <a:pt x="160" y="196"/>
                </a:cubicBezTo>
                <a:cubicBezTo>
                  <a:pt x="160" y="194"/>
                  <a:pt x="159" y="191"/>
                  <a:pt x="161" y="190"/>
                </a:cubicBezTo>
                <a:cubicBezTo>
                  <a:pt x="164" y="189"/>
                  <a:pt x="160" y="185"/>
                  <a:pt x="162" y="184"/>
                </a:cubicBezTo>
                <a:cubicBezTo>
                  <a:pt x="164" y="183"/>
                  <a:pt x="165" y="187"/>
                  <a:pt x="167" y="185"/>
                </a:cubicBezTo>
                <a:cubicBezTo>
                  <a:pt x="169" y="184"/>
                  <a:pt x="169" y="184"/>
                  <a:pt x="171" y="182"/>
                </a:cubicBezTo>
                <a:cubicBezTo>
                  <a:pt x="173" y="179"/>
                  <a:pt x="175" y="180"/>
                  <a:pt x="174" y="178"/>
                </a:cubicBezTo>
                <a:cubicBezTo>
                  <a:pt x="174" y="175"/>
                  <a:pt x="175" y="176"/>
                  <a:pt x="176" y="175"/>
                </a:cubicBezTo>
                <a:cubicBezTo>
                  <a:pt x="176" y="174"/>
                  <a:pt x="176" y="172"/>
                  <a:pt x="176" y="170"/>
                </a:cubicBezTo>
                <a:cubicBezTo>
                  <a:pt x="177" y="169"/>
                  <a:pt x="176" y="168"/>
                  <a:pt x="176" y="167"/>
                </a:cubicBezTo>
                <a:cubicBezTo>
                  <a:pt x="176" y="166"/>
                  <a:pt x="176" y="163"/>
                  <a:pt x="177" y="163"/>
                </a:cubicBezTo>
                <a:cubicBezTo>
                  <a:pt x="178" y="164"/>
                  <a:pt x="177" y="159"/>
                  <a:pt x="178" y="159"/>
                </a:cubicBezTo>
                <a:cubicBezTo>
                  <a:pt x="179" y="160"/>
                  <a:pt x="179" y="157"/>
                  <a:pt x="180" y="156"/>
                </a:cubicBezTo>
                <a:cubicBezTo>
                  <a:pt x="181" y="155"/>
                  <a:pt x="180" y="152"/>
                  <a:pt x="182" y="151"/>
                </a:cubicBezTo>
                <a:cubicBezTo>
                  <a:pt x="184" y="150"/>
                  <a:pt x="186" y="147"/>
                  <a:pt x="184" y="145"/>
                </a:cubicBezTo>
                <a:close/>
                <a:moveTo>
                  <a:pt x="102" y="186"/>
                </a:moveTo>
                <a:cubicBezTo>
                  <a:pt x="100" y="186"/>
                  <a:pt x="100" y="190"/>
                  <a:pt x="99" y="191"/>
                </a:cubicBezTo>
                <a:cubicBezTo>
                  <a:pt x="98" y="191"/>
                  <a:pt x="93" y="190"/>
                  <a:pt x="93" y="188"/>
                </a:cubicBezTo>
                <a:cubicBezTo>
                  <a:pt x="94" y="185"/>
                  <a:pt x="95" y="185"/>
                  <a:pt x="95" y="184"/>
                </a:cubicBezTo>
                <a:cubicBezTo>
                  <a:pt x="94" y="183"/>
                  <a:pt x="92" y="184"/>
                  <a:pt x="91" y="182"/>
                </a:cubicBezTo>
                <a:cubicBezTo>
                  <a:pt x="90" y="181"/>
                  <a:pt x="94" y="180"/>
                  <a:pt x="95" y="178"/>
                </a:cubicBezTo>
                <a:cubicBezTo>
                  <a:pt x="96" y="177"/>
                  <a:pt x="98" y="179"/>
                  <a:pt x="99" y="180"/>
                </a:cubicBezTo>
                <a:cubicBezTo>
                  <a:pt x="100" y="181"/>
                  <a:pt x="102" y="180"/>
                  <a:pt x="103" y="179"/>
                </a:cubicBezTo>
                <a:cubicBezTo>
                  <a:pt x="103" y="179"/>
                  <a:pt x="105" y="181"/>
                  <a:pt x="105" y="183"/>
                </a:cubicBezTo>
                <a:cubicBezTo>
                  <a:pt x="105" y="184"/>
                  <a:pt x="104" y="185"/>
                  <a:pt x="102" y="18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3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88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9" name="Rectangle 388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90" name="Rectangle 389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91" name="Rectangle 390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92" name="Rectangle 391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94" name="Rectangle 393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95" name="ZoneTexte 394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125227-88BC-A944-8C46-050305ADF61E}" type="slidenum">
              <a:rPr kumimoji="0" lang="fr-FR" sz="1333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Roboto" pitchFamily="2" charset="0"/>
                <a:cs typeface="Arial" pitchFamily="34" charset="0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3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397" name="Rectangle 396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98" name="Rectangle 397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2197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>
            <a:normAutofit/>
          </a:bodyPr>
          <a:lstStyle>
            <a:lvl1pPr algn="l">
              <a:defRPr sz="4800" b="1" cap="none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5" name="ZoneTexte 24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13766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475085"/>
            <a:ext cx="5384800" cy="3394075"/>
          </a:xfrm>
        </p:spPr>
        <p:txBody>
          <a:bodyPr>
            <a:normAutofit/>
          </a:bodyPr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  <a:lvl2pPr>
              <a:defRPr sz="2667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133">
                <a:latin typeface="Arial" pitchFamily="34" charset="0"/>
                <a:cs typeface="Arial" pitchFamily="34" charset="0"/>
              </a:defRPr>
            </a:lvl4pPr>
            <a:lvl5pPr>
              <a:defRPr sz="2133"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475085"/>
            <a:ext cx="5384800" cy="3394075"/>
          </a:xfrm>
        </p:spPr>
        <p:txBody>
          <a:bodyPr>
            <a:normAutofit/>
          </a:bodyPr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  <a:lvl2pPr>
              <a:defRPr sz="2667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133">
                <a:latin typeface="Arial" pitchFamily="34" charset="0"/>
                <a:cs typeface="Arial" pitchFamily="34" charset="0"/>
              </a:defRPr>
            </a:lvl4pPr>
            <a:lvl5pPr>
              <a:defRPr sz="2133"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6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1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58" y="217875"/>
            <a:ext cx="5145692" cy="3499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8" name="ZoneTexte 27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4409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58" y="217875"/>
            <a:ext cx="5145692" cy="3499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31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11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5" name="ZoneTexte 24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5149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1" y="2180861"/>
            <a:ext cx="12191999" cy="2016224"/>
          </a:xfrm>
          <a:prstGeom prst="rect">
            <a:avLst/>
          </a:prstGeom>
          <a:solidFill>
            <a:schemeClr val="accent1">
              <a:lumMod val="75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8" name="Picture 2" descr="D:\LOGO SERVIER blanc [Converti].emf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6893" y="6318487"/>
            <a:ext cx="967424" cy="319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1007435" y="2599481"/>
            <a:ext cx="10177131" cy="1178984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4267" b="0" dirty="0" smtClean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15" name="Rectangle 14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4" name="ZoneTexte 23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87480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1"/>
            <a:ext cx="12191999" cy="6858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1608668" y="-16930"/>
            <a:ext cx="3584219" cy="6874932"/>
          </a:xfrm>
          <a:prstGeom prst="rect">
            <a:avLst/>
          </a:prstGeom>
          <a:solidFill>
            <a:schemeClr val="accent1">
              <a:lumMod val="75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4" name="ZoneTexte 23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1871531" y="931333"/>
            <a:ext cx="3072341" cy="2689688"/>
          </a:xfrm>
        </p:spPr>
        <p:txBody>
          <a:bodyPr>
            <a:noAutofit/>
          </a:bodyPr>
          <a:lstStyle>
            <a:lvl1pPr marL="0" indent="0">
              <a:buNone/>
              <a:defRPr sz="3733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fr-FR" sz="800" dirty="0">
              <a:solidFill>
                <a:srgbClr val="0071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464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>
            <a:normAutofit/>
          </a:bodyPr>
          <a:lstStyle>
            <a:lvl1pPr algn="l">
              <a:defRPr sz="4800" b="1" cap="none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0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 algn="ctr"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endParaRPr lang="fr-FR" dirty="0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ZoneTexte 24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25712764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12192000" cy="6885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 descr="D:\LOGO SERVIER blanc [Converti].emf"/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6893" y="6318487"/>
            <a:ext cx="967424" cy="319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 userDrawn="1"/>
        </p:nvSpPr>
        <p:spPr>
          <a:xfrm>
            <a:off x="7056107" y="10455"/>
            <a:ext cx="3584219" cy="6874932"/>
          </a:xfrm>
          <a:prstGeom prst="rect">
            <a:avLst/>
          </a:prstGeom>
          <a:solidFill>
            <a:schemeClr val="accent1">
              <a:lumMod val="75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4" name="ZoneTexte 23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7248129" y="924917"/>
            <a:ext cx="3168352" cy="3080147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3733" smtClean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25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9202A321-4829-4635-8E67-A1C47C788623}" type="datetime1">
              <a:rPr lang="fr-FR" sz="800" smtClean="0">
                <a:solidFill>
                  <a:srgbClr val="0071BA">
                    <a:lumMod val="75000"/>
                  </a:srgbClr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20/12/2020</a:t>
            </a:fld>
            <a:endParaRPr lang="fr-FR" sz="800">
              <a:solidFill>
                <a:srgbClr val="0071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2109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260648"/>
            <a:ext cx="7056107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2054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7784" y="1057"/>
            <a:ext cx="4104217" cy="6877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Espace réservé du contenu 18"/>
          <p:cNvSpPr>
            <a:spLocks noGrp="1"/>
          </p:cNvSpPr>
          <p:nvPr>
            <p:ph sz="quarter" idx="15" hasCustomPrompt="1"/>
          </p:nvPr>
        </p:nvSpPr>
        <p:spPr>
          <a:xfrm>
            <a:off x="1007435" y="1796819"/>
            <a:ext cx="6240693" cy="467208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FontTx/>
              <a:buNone/>
              <a:defRPr sz="2667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  <a:lvl2pPr marL="0">
              <a:defRPr sz="2133" baseline="0">
                <a:solidFill>
                  <a:srgbClr val="033878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2pPr>
          </a:lstStyle>
          <a:p>
            <a:pPr lvl="0"/>
            <a:r>
              <a:rPr lang="fr-FR"/>
              <a:t>Cliquez pour modifier les textes</a:t>
            </a:r>
          </a:p>
          <a:p>
            <a:pPr lvl="1"/>
            <a:r>
              <a:rPr lang="fr-FR"/>
              <a:t>Ou pour ajouter une images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007435" y="525842"/>
            <a:ext cx="5760640" cy="896267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buFontTx/>
              <a:buNone/>
              <a:defRPr sz="3200" b="1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/>
            <a:r>
              <a:rPr lang="fr-FR"/>
              <a:t>Cliquez pour modifier le titre</a:t>
            </a:r>
          </a:p>
        </p:txBody>
      </p:sp>
      <p:sp>
        <p:nvSpPr>
          <p:cNvPr id="15" name="Rectangle 14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3" name="ZoneTexte 22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4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9202A321-4829-4635-8E67-A1C47C788623}" type="datetime1">
              <a:rPr lang="fr-FR" sz="800" smtClean="0">
                <a:solidFill>
                  <a:srgbClr val="0071BA">
                    <a:lumMod val="75000"/>
                  </a:srgbClr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20/12/2020</a:t>
            </a:fld>
            <a:endParaRPr lang="fr-FR" sz="800">
              <a:solidFill>
                <a:srgbClr val="0071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943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260648"/>
            <a:ext cx="7056107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2" name="Espace réservé du contenu 18"/>
          <p:cNvSpPr>
            <a:spLocks noGrp="1"/>
          </p:cNvSpPr>
          <p:nvPr>
            <p:ph sz="quarter" idx="15" hasCustomPrompt="1"/>
          </p:nvPr>
        </p:nvSpPr>
        <p:spPr>
          <a:xfrm>
            <a:off x="4847861" y="1824740"/>
            <a:ext cx="6755584" cy="4288041"/>
          </a:xfrm>
          <a:prstGeom prst="rect">
            <a:avLst/>
          </a:prstGeom>
        </p:spPr>
        <p:txBody>
          <a:bodyPr vert="horz">
            <a:normAutofit/>
          </a:bodyPr>
          <a:lstStyle>
            <a:lvl1pPr marL="457189" indent="-457189"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  <a:lvl2pPr marL="0">
              <a:defRPr sz="2133" baseline="0">
                <a:solidFill>
                  <a:srgbClr val="033878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2pPr>
          </a:lstStyle>
          <a:p>
            <a:pPr lvl="0"/>
            <a:r>
              <a:rPr lang="fr-FR"/>
              <a:t>Cliquez pour modifier les textes</a:t>
            </a:r>
          </a:p>
          <a:p>
            <a:pPr lvl="1"/>
            <a:r>
              <a:rPr lang="fr-FR"/>
              <a:t>Ou pour ajouter une images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007435" y="525842"/>
            <a:ext cx="5760640" cy="896267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buFontTx/>
              <a:buNone/>
              <a:defRPr sz="3200" b="1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/>
            <a:r>
              <a:rPr lang="fr-FR"/>
              <a:t>Cliquez pour modifier le titre</a:t>
            </a: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4" name="ZoneTexte 23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5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9202A321-4829-4635-8E67-A1C47C788623}" type="datetime1">
              <a:rPr lang="fr-FR" sz="800" smtClean="0">
                <a:solidFill>
                  <a:srgbClr val="0071BA">
                    <a:lumMod val="75000"/>
                  </a:srgbClr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20/12/2020</a:t>
            </a:fld>
            <a:endParaRPr lang="fr-FR" sz="800">
              <a:solidFill>
                <a:srgbClr val="0071BA">
                  <a:lumMod val="75000"/>
                </a:srgbClr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BA634F-15E0-E54D-9DBC-C0ACD824E3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93184" y="1811225"/>
            <a:ext cx="4222749" cy="4302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03214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8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58" y="217875"/>
            <a:ext cx="5145692" cy="3499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Freeform 141"/>
          <p:cNvSpPr>
            <a:spLocks/>
          </p:cNvSpPr>
          <p:nvPr userDrawn="1"/>
        </p:nvSpPr>
        <p:spPr bwMode="auto">
          <a:xfrm>
            <a:off x="5964708" y="3729902"/>
            <a:ext cx="115581" cy="139033"/>
          </a:xfrm>
          <a:custGeom>
            <a:avLst/>
            <a:gdLst>
              <a:gd name="T0" fmla="*/ 2147483646 w 37"/>
              <a:gd name="T1" fmla="*/ 2147483646 h 51"/>
              <a:gd name="T2" fmla="*/ 2147483646 w 37"/>
              <a:gd name="T3" fmla="*/ 2147483646 h 51"/>
              <a:gd name="T4" fmla="*/ 2147483646 w 37"/>
              <a:gd name="T5" fmla="*/ 2147483646 h 51"/>
              <a:gd name="T6" fmla="*/ 2147483646 w 37"/>
              <a:gd name="T7" fmla="*/ 2147483646 h 51"/>
              <a:gd name="T8" fmla="*/ 2147483646 w 37"/>
              <a:gd name="T9" fmla="*/ 2147483646 h 51"/>
              <a:gd name="T10" fmla="*/ 2147483646 w 37"/>
              <a:gd name="T11" fmla="*/ 2147483646 h 51"/>
              <a:gd name="T12" fmla="*/ 2147483646 w 37"/>
              <a:gd name="T13" fmla="*/ 2147483646 h 51"/>
              <a:gd name="T14" fmla="*/ 2147483646 w 37"/>
              <a:gd name="T15" fmla="*/ 2147483646 h 51"/>
              <a:gd name="T16" fmla="*/ 2147483646 w 37"/>
              <a:gd name="T17" fmla="*/ 2147483646 h 51"/>
              <a:gd name="T18" fmla="*/ 2147483646 w 37"/>
              <a:gd name="T19" fmla="*/ 2147483646 h 51"/>
              <a:gd name="T20" fmla="*/ 2147483646 w 37"/>
              <a:gd name="T21" fmla="*/ 2147483646 h 51"/>
              <a:gd name="T22" fmla="*/ 2147483646 w 37"/>
              <a:gd name="T23" fmla="*/ 2147483646 h 51"/>
              <a:gd name="T24" fmla="*/ 2147483646 w 37"/>
              <a:gd name="T25" fmla="*/ 2147483646 h 51"/>
              <a:gd name="T26" fmla="*/ 0 w 37"/>
              <a:gd name="T27" fmla="*/ 2147483646 h 51"/>
              <a:gd name="T28" fmla="*/ 2147483646 w 37"/>
              <a:gd name="T29" fmla="*/ 2147483646 h 51"/>
              <a:gd name="T30" fmla="*/ 0 w 37"/>
              <a:gd name="T31" fmla="*/ 2147483646 h 51"/>
              <a:gd name="T32" fmla="*/ 2147483646 w 37"/>
              <a:gd name="T33" fmla="*/ 2147483646 h 51"/>
              <a:gd name="T34" fmla="*/ 2147483646 w 37"/>
              <a:gd name="T35" fmla="*/ 2147483646 h 51"/>
              <a:gd name="T36" fmla="*/ 2147483646 w 37"/>
              <a:gd name="T37" fmla="*/ 2147483646 h 51"/>
              <a:gd name="T38" fmla="*/ 2147483646 w 37"/>
              <a:gd name="T39" fmla="*/ 2147483646 h 51"/>
              <a:gd name="T40" fmla="*/ 2147483646 w 37"/>
              <a:gd name="T41" fmla="*/ 2147483646 h 51"/>
              <a:gd name="T42" fmla="*/ 2147483646 w 37"/>
              <a:gd name="T43" fmla="*/ 2147483646 h 51"/>
              <a:gd name="T44" fmla="*/ 2147483646 w 37"/>
              <a:gd name="T45" fmla="*/ 2147483646 h 51"/>
              <a:gd name="T46" fmla="*/ 2147483646 w 37"/>
              <a:gd name="T47" fmla="*/ 2147483646 h 51"/>
              <a:gd name="T48" fmla="*/ 2147483646 w 37"/>
              <a:gd name="T49" fmla="*/ 2147483646 h 51"/>
              <a:gd name="T50" fmla="*/ 2147483646 w 37"/>
              <a:gd name="T51" fmla="*/ 2147483646 h 51"/>
              <a:gd name="T52" fmla="*/ 2147483646 w 37"/>
              <a:gd name="T53" fmla="*/ 2147483646 h 51"/>
              <a:gd name="T54" fmla="*/ 2147483646 w 37"/>
              <a:gd name="T55" fmla="*/ 2147483646 h 51"/>
              <a:gd name="T56" fmla="*/ 2147483646 w 37"/>
              <a:gd name="T57" fmla="*/ 2147483646 h 51"/>
              <a:gd name="T58" fmla="*/ 2147483646 w 37"/>
              <a:gd name="T59" fmla="*/ 2147483646 h 51"/>
              <a:gd name="T60" fmla="*/ 2147483646 w 37"/>
              <a:gd name="T61" fmla="*/ 2147483646 h 51"/>
              <a:gd name="T62" fmla="*/ 2147483646 w 37"/>
              <a:gd name="T63" fmla="*/ 2147483646 h 51"/>
              <a:gd name="T64" fmla="*/ 2147483646 w 37"/>
              <a:gd name="T65" fmla="*/ 2147483646 h 51"/>
              <a:gd name="T66" fmla="*/ 2147483646 w 37"/>
              <a:gd name="T67" fmla="*/ 2147483646 h 51"/>
              <a:gd name="T68" fmla="*/ 2147483646 w 37"/>
              <a:gd name="T69" fmla="*/ 2147483646 h 51"/>
              <a:gd name="T70" fmla="*/ 2147483646 w 37"/>
              <a:gd name="T71" fmla="*/ 2147483646 h 51"/>
              <a:gd name="T72" fmla="*/ 2147483646 w 37"/>
              <a:gd name="T73" fmla="*/ 2147483646 h 51"/>
              <a:gd name="T74" fmla="*/ 2147483646 w 37"/>
              <a:gd name="T75" fmla="*/ 2147483646 h 51"/>
              <a:gd name="T76" fmla="*/ 2147483646 w 37"/>
              <a:gd name="T77" fmla="*/ 2147483646 h 51"/>
              <a:gd name="T78" fmla="*/ 2147483646 w 37"/>
              <a:gd name="T79" fmla="*/ 2147483646 h 5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7"/>
              <a:gd name="T121" fmla="*/ 0 h 51"/>
              <a:gd name="T122" fmla="*/ 37 w 37"/>
              <a:gd name="T123" fmla="*/ 51 h 5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7" h="51">
                <a:moveTo>
                  <a:pt x="36" y="37"/>
                </a:moveTo>
                <a:cubicBezTo>
                  <a:pt x="35" y="34"/>
                  <a:pt x="34" y="31"/>
                  <a:pt x="33" y="29"/>
                </a:cubicBezTo>
                <a:cubicBezTo>
                  <a:pt x="34" y="28"/>
                  <a:pt x="35" y="27"/>
                  <a:pt x="35" y="26"/>
                </a:cubicBezTo>
                <a:cubicBezTo>
                  <a:pt x="35" y="25"/>
                  <a:pt x="34" y="24"/>
                  <a:pt x="33" y="23"/>
                </a:cubicBezTo>
                <a:cubicBezTo>
                  <a:pt x="32" y="22"/>
                  <a:pt x="30" y="22"/>
                  <a:pt x="29" y="21"/>
                </a:cubicBezTo>
                <a:cubicBezTo>
                  <a:pt x="27" y="20"/>
                  <a:pt x="25" y="19"/>
                  <a:pt x="23" y="18"/>
                </a:cubicBezTo>
                <a:cubicBezTo>
                  <a:pt x="23" y="17"/>
                  <a:pt x="24" y="16"/>
                  <a:pt x="24" y="14"/>
                </a:cubicBezTo>
                <a:cubicBezTo>
                  <a:pt x="22" y="14"/>
                  <a:pt x="20" y="13"/>
                  <a:pt x="18" y="13"/>
                </a:cubicBezTo>
                <a:cubicBezTo>
                  <a:pt x="17" y="11"/>
                  <a:pt x="16" y="10"/>
                  <a:pt x="15" y="8"/>
                </a:cubicBezTo>
                <a:cubicBezTo>
                  <a:pt x="14" y="6"/>
                  <a:pt x="13" y="3"/>
                  <a:pt x="12" y="1"/>
                </a:cubicBezTo>
                <a:cubicBezTo>
                  <a:pt x="11" y="0"/>
                  <a:pt x="11" y="1"/>
                  <a:pt x="9" y="1"/>
                </a:cubicBezTo>
                <a:cubicBezTo>
                  <a:pt x="8" y="1"/>
                  <a:pt x="6" y="0"/>
                  <a:pt x="5" y="1"/>
                </a:cubicBezTo>
                <a:cubicBezTo>
                  <a:pt x="3" y="2"/>
                  <a:pt x="3" y="3"/>
                  <a:pt x="1" y="3"/>
                </a:cubicBezTo>
                <a:cubicBezTo>
                  <a:pt x="0" y="4"/>
                  <a:pt x="0" y="4"/>
                  <a:pt x="0" y="4"/>
                </a:cubicBezTo>
                <a:cubicBezTo>
                  <a:pt x="0" y="4"/>
                  <a:pt x="1" y="6"/>
                  <a:pt x="1" y="7"/>
                </a:cubicBezTo>
                <a:cubicBezTo>
                  <a:pt x="1" y="7"/>
                  <a:pt x="0" y="8"/>
                  <a:pt x="0" y="9"/>
                </a:cubicBezTo>
                <a:cubicBezTo>
                  <a:pt x="1" y="9"/>
                  <a:pt x="1" y="12"/>
                  <a:pt x="1" y="13"/>
                </a:cubicBezTo>
                <a:cubicBezTo>
                  <a:pt x="2" y="13"/>
                  <a:pt x="3" y="13"/>
                  <a:pt x="3" y="13"/>
                </a:cubicBezTo>
                <a:cubicBezTo>
                  <a:pt x="3" y="14"/>
                  <a:pt x="3" y="16"/>
                  <a:pt x="2" y="17"/>
                </a:cubicBezTo>
                <a:cubicBezTo>
                  <a:pt x="2" y="18"/>
                  <a:pt x="2" y="18"/>
                  <a:pt x="2" y="18"/>
                </a:cubicBezTo>
                <a:cubicBezTo>
                  <a:pt x="4" y="18"/>
                  <a:pt x="5" y="19"/>
                  <a:pt x="4" y="21"/>
                </a:cubicBezTo>
                <a:cubicBezTo>
                  <a:pt x="4" y="22"/>
                  <a:pt x="3" y="23"/>
                  <a:pt x="4" y="24"/>
                </a:cubicBezTo>
                <a:cubicBezTo>
                  <a:pt x="4" y="26"/>
                  <a:pt x="6" y="26"/>
                  <a:pt x="8" y="27"/>
                </a:cubicBezTo>
                <a:cubicBezTo>
                  <a:pt x="7" y="28"/>
                  <a:pt x="4" y="28"/>
                  <a:pt x="3" y="30"/>
                </a:cubicBezTo>
                <a:cubicBezTo>
                  <a:pt x="3" y="31"/>
                  <a:pt x="6" y="32"/>
                  <a:pt x="6" y="34"/>
                </a:cubicBezTo>
                <a:cubicBezTo>
                  <a:pt x="5" y="34"/>
                  <a:pt x="4" y="35"/>
                  <a:pt x="4" y="35"/>
                </a:cubicBezTo>
                <a:cubicBezTo>
                  <a:pt x="5" y="37"/>
                  <a:pt x="5" y="37"/>
                  <a:pt x="5" y="37"/>
                </a:cubicBezTo>
                <a:cubicBezTo>
                  <a:pt x="7" y="39"/>
                  <a:pt x="7" y="39"/>
                  <a:pt x="7" y="39"/>
                </a:cubicBezTo>
                <a:cubicBezTo>
                  <a:pt x="7" y="40"/>
                  <a:pt x="7" y="40"/>
                  <a:pt x="7" y="40"/>
                </a:cubicBezTo>
                <a:cubicBezTo>
                  <a:pt x="10" y="41"/>
                  <a:pt x="10" y="41"/>
                  <a:pt x="10" y="41"/>
                </a:cubicBezTo>
                <a:cubicBezTo>
                  <a:pt x="11" y="42"/>
                  <a:pt x="11" y="42"/>
                  <a:pt x="11" y="42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3"/>
                  <a:pt x="13" y="43"/>
                  <a:pt x="13" y="44"/>
                </a:cubicBezTo>
                <a:cubicBezTo>
                  <a:pt x="13" y="43"/>
                  <a:pt x="13" y="42"/>
                  <a:pt x="14" y="42"/>
                </a:cubicBezTo>
                <a:cubicBezTo>
                  <a:pt x="15" y="40"/>
                  <a:pt x="17" y="40"/>
                  <a:pt x="18" y="41"/>
                </a:cubicBezTo>
                <a:cubicBezTo>
                  <a:pt x="21" y="43"/>
                  <a:pt x="23" y="48"/>
                  <a:pt x="26" y="50"/>
                </a:cubicBezTo>
                <a:cubicBezTo>
                  <a:pt x="28" y="51"/>
                  <a:pt x="30" y="49"/>
                  <a:pt x="32" y="48"/>
                </a:cubicBezTo>
                <a:cubicBezTo>
                  <a:pt x="33" y="47"/>
                  <a:pt x="33" y="47"/>
                  <a:pt x="33" y="47"/>
                </a:cubicBezTo>
                <a:cubicBezTo>
                  <a:pt x="33" y="45"/>
                  <a:pt x="36" y="43"/>
                  <a:pt x="37" y="41"/>
                </a:cubicBezTo>
                <a:cubicBezTo>
                  <a:pt x="37" y="40"/>
                  <a:pt x="36" y="38"/>
                  <a:pt x="36" y="3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6" name="Freeform 142"/>
          <p:cNvSpPr>
            <a:spLocks/>
          </p:cNvSpPr>
          <p:nvPr userDrawn="1"/>
        </p:nvSpPr>
        <p:spPr bwMode="auto">
          <a:xfrm>
            <a:off x="5951307" y="3825382"/>
            <a:ext cx="53603" cy="56953"/>
          </a:xfrm>
          <a:custGeom>
            <a:avLst/>
            <a:gdLst>
              <a:gd name="T0" fmla="*/ 2147483646 w 17"/>
              <a:gd name="T1" fmla="*/ 2147483646 h 21"/>
              <a:gd name="T2" fmla="*/ 2147483646 w 17"/>
              <a:gd name="T3" fmla="*/ 2147483646 h 21"/>
              <a:gd name="T4" fmla="*/ 2147483646 w 17"/>
              <a:gd name="T5" fmla="*/ 2147483646 h 21"/>
              <a:gd name="T6" fmla="*/ 2147483646 w 17"/>
              <a:gd name="T7" fmla="*/ 2147483646 h 21"/>
              <a:gd name="T8" fmla="*/ 2147483646 w 17"/>
              <a:gd name="T9" fmla="*/ 0 h 21"/>
              <a:gd name="T10" fmla="*/ 2147483646 w 17"/>
              <a:gd name="T11" fmla="*/ 0 h 21"/>
              <a:gd name="T12" fmla="*/ 2147483646 w 17"/>
              <a:gd name="T13" fmla="*/ 2147483646 h 21"/>
              <a:gd name="T14" fmla="*/ 2147483646 w 17"/>
              <a:gd name="T15" fmla="*/ 2147483646 h 21"/>
              <a:gd name="T16" fmla="*/ 2147483646 w 17"/>
              <a:gd name="T17" fmla="*/ 2147483646 h 21"/>
              <a:gd name="T18" fmla="*/ 2147483646 w 17"/>
              <a:gd name="T19" fmla="*/ 2147483646 h 21"/>
              <a:gd name="T20" fmla="*/ 2147483646 w 17"/>
              <a:gd name="T21" fmla="*/ 2147483646 h 21"/>
              <a:gd name="T22" fmla="*/ 2147483646 w 17"/>
              <a:gd name="T23" fmla="*/ 2147483646 h 21"/>
              <a:gd name="T24" fmla="*/ 2147483646 w 17"/>
              <a:gd name="T25" fmla="*/ 2147483646 h 21"/>
              <a:gd name="T26" fmla="*/ 2147483646 w 17"/>
              <a:gd name="T27" fmla="*/ 2147483646 h 21"/>
              <a:gd name="T28" fmla="*/ 2147483646 w 17"/>
              <a:gd name="T29" fmla="*/ 2147483646 h 21"/>
              <a:gd name="T30" fmla="*/ 2147483646 w 17"/>
              <a:gd name="T31" fmla="*/ 2147483646 h 21"/>
              <a:gd name="T32" fmla="*/ 2147483646 w 17"/>
              <a:gd name="T33" fmla="*/ 2147483646 h 21"/>
              <a:gd name="T34" fmla="*/ 2147483646 w 17"/>
              <a:gd name="T35" fmla="*/ 2147483646 h 21"/>
              <a:gd name="T36" fmla="*/ 2147483646 w 17"/>
              <a:gd name="T37" fmla="*/ 2147483646 h 21"/>
              <a:gd name="T38" fmla="*/ 2147483646 w 17"/>
              <a:gd name="T39" fmla="*/ 2147483646 h 21"/>
              <a:gd name="T40" fmla="*/ 2147483646 w 17"/>
              <a:gd name="T41" fmla="*/ 2147483646 h 21"/>
              <a:gd name="T42" fmla="*/ 0 w 17"/>
              <a:gd name="T43" fmla="*/ 2147483646 h 21"/>
              <a:gd name="T44" fmla="*/ 2147483646 w 17"/>
              <a:gd name="T45" fmla="*/ 2147483646 h 2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7"/>
              <a:gd name="T70" fmla="*/ 0 h 21"/>
              <a:gd name="T71" fmla="*/ 17 w 17"/>
              <a:gd name="T72" fmla="*/ 21 h 2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7" h="21">
                <a:moveTo>
                  <a:pt x="1" y="12"/>
                </a:moveTo>
                <a:cubicBezTo>
                  <a:pt x="1" y="9"/>
                  <a:pt x="3" y="6"/>
                  <a:pt x="3" y="3"/>
                </a:cubicBezTo>
                <a:cubicBezTo>
                  <a:pt x="4" y="3"/>
                  <a:pt x="5" y="3"/>
                  <a:pt x="5" y="3"/>
                </a:cubicBezTo>
                <a:cubicBezTo>
                  <a:pt x="6" y="2"/>
                  <a:pt x="5" y="2"/>
                  <a:pt x="6" y="1"/>
                </a:cubicBezTo>
                <a:cubicBezTo>
                  <a:pt x="6" y="1"/>
                  <a:pt x="6" y="1"/>
                  <a:pt x="7" y="0"/>
                </a:cubicBezTo>
                <a:cubicBezTo>
                  <a:pt x="7" y="0"/>
                  <a:pt x="7" y="0"/>
                  <a:pt x="8" y="0"/>
                </a:cubicBezTo>
                <a:cubicBezTo>
                  <a:pt x="9" y="2"/>
                  <a:pt x="9" y="2"/>
                  <a:pt x="9" y="2"/>
                </a:cubicBezTo>
                <a:cubicBezTo>
                  <a:pt x="11" y="4"/>
                  <a:pt x="11" y="4"/>
                  <a:pt x="11" y="4"/>
                </a:cubicBezTo>
                <a:cubicBezTo>
                  <a:pt x="11" y="5"/>
                  <a:pt x="11" y="5"/>
                  <a:pt x="11" y="5"/>
                </a:cubicBezTo>
                <a:cubicBezTo>
                  <a:pt x="14" y="6"/>
                  <a:pt x="14" y="6"/>
                  <a:pt x="14" y="6"/>
                </a:cubicBezTo>
                <a:cubicBezTo>
                  <a:pt x="15" y="7"/>
                  <a:pt x="15" y="7"/>
                  <a:pt x="15" y="7"/>
                </a:cubicBezTo>
                <a:cubicBezTo>
                  <a:pt x="17" y="8"/>
                  <a:pt x="17" y="8"/>
                  <a:pt x="17" y="8"/>
                </a:cubicBezTo>
                <a:cubicBezTo>
                  <a:pt x="17" y="9"/>
                  <a:pt x="17" y="10"/>
                  <a:pt x="16" y="11"/>
                </a:cubicBezTo>
                <a:cubicBezTo>
                  <a:pt x="16" y="12"/>
                  <a:pt x="16" y="12"/>
                  <a:pt x="16" y="12"/>
                </a:cubicBezTo>
                <a:cubicBezTo>
                  <a:pt x="15" y="11"/>
                  <a:pt x="14" y="11"/>
                  <a:pt x="12" y="11"/>
                </a:cubicBezTo>
                <a:cubicBezTo>
                  <a:pt x="9" y="12"/>
                  <a:pt x="9" y="12"/>
                  <a:pt x="9" y="15"/>
                </a:cubicBezTo>
                <a:cubicBezTo>
                  <a:pt x="9" y="17"/>
                  <a:pt x="8" y="19"/>
                  <a:pt x="8" y="21"/>
                </a:cubicBezTo>
                <a:cubicBezTo>
                  <a:pt x="8" y="21"/>
                  <a:pt x="8" y="21"/>
                  <a:pt x="8" y="21"/>
                </a:cubicBezTo>
                <a:cubicBezTo>
                  <a:pt x="7" y="21"/>
                  <a:pt x="7" y="20"/>
                  <a:pt x="6" y="18"/>
                </a:cubicBezTo>
                <a:cubicBezTo>
                  <a:pt x="4" y="16"/>
                  <a:pt x="4" y="17"/>
                  <a:pt x="2" y="17"/>
                </a:cubicBezTo>
                <a:cubicBezTo>
                  <a:pt x="1" y="16"/>
                  <a:pt x="1" y="16"/>
                  <a:pt x="1" y="16"/>
                </a:cubicBezTo>
                <a:cubicBezTo>
                  <a:pt x="0" y="14"/>
                  <a:pt x="0" y="14"/>
                  <a:pt x="0" y="14"/>
                </a:cubicBezTo>
                <a:lnTo>
                  <a:pt x="1" y="1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0" name="Freeform 137"/>
          <p:cNvSpPr>
            <a:spLocks/>
          </p:cNvSpPr>
          <p:nvPr userDrawn="1"/>
        </p:nvSpPr>
        <p:spPr bwMode="auto">
          <a:xfrm>
            <a:off x="5259493" y="3371431"/>
            <a:ext cx="112232" cy="167509"/>
          </a:xfrm>
          <a:custGeom>
            <a:avLst/>
            <a:gdLst>
              <a:gd name="T0" fmla="*/ 2147483646 w 42"/>
              <a:gd name="T1" fmla="*/ 2147483646 h 61"/>
              <a:gd name="T2" fmla="*/ 2147483646 w 42"/>
              <a:gd name="T3" fmla="*/ 2147483646 h 61"/>
              <a:gd name="T4" fmla="*/ 2147483646 w 42"/>
              <a:gd name="T5" fmla="*/ 2147483646 h 61"/>
              <a:gd name="T6" fmla="*/ 2147483646 w 42"/>
              <a:gd name="T7" fmla="*/ 2147483646 h 61"/>
              <a:gd name="T8" fmla="*/ 2147483646 w 42"/>
              <a:gd name="T9" fmla="*/ 2147483646 h 61"/>
              <a:gd name="T10" fmla="*/ 2147483646 w 42"/>
              <a:gd name="T11" fmla="*/ 2147483646 h 61"/>
              <a:gd name="T12" fmla="*/ 2147483646 w 42"/>
              <a:gd name="T13" fmla="*/ 2147483646 h 61"/>
              <a:gd name="T14" fmla="*/ 2147483646 w 42"/>
              <a:gd name="T15" fmla="*/ 2147483646 h 61"/>
              <a:gd name="T16" fmla="*/ 2147483646 w 42"/>
              <a:gd name="T17" fmla="*/ 2147483646 h 61"/>
              <a:gd name="T18" fmla="*/ 2147483646 w 42"/>
              <a:gd name="T19" fmla="*/ 2147483646 h 61"/>
              <a:gd name="T20" fmla="*/ 2147483646 w 42"/>
              <a:gd name="T21" fmla="*/ 2147483646 h 61"/>
              <a:gd name="T22" fmla="*/ 2147483646 w 42"/>
              <a:gd name="T23" fmla="*/ 2147483646 h 61"/>
              <a:gd name="T24" fmla="*/ 2147483646 w 42"/>
              <a:gd name="T25" fmla="*/ 2147483646 h 61"/>
              <a:gd name="T26" fmla="*/ 2147483646 w 42"/>
              <a:gd name="T27" fmla="*/ 2147483646 h 61"/>
              <a:gd name="T28" fmla="*/ 2147483646 w 42"/>
              <a:gd name="T29" fmla="*/ 2147483646 h 61"/>
              <a:gd name="T30" fmla="*/ 2147483646 w 42"/>
              <a:gd name="T31" fmla="*/ 2147483646 h 61"/>
              <a:gd name="T32" fmla="*/ 2147483646 w 42"/>
              <a:gd name="T33" fmla="*/ 2147483646 h 61"/>
              <a:gd name="T34" fmla="*/ 2147483646 w 42"/>
              <a:gd name="T35" fmla="*/ 2147483646 h 61"/>
              <a:gd name="T36" fmla="*/ 2147483646 w 42"/>
              <a:gd name="T37" fmla="*/ 2147483646 h 61"/>
              <a:gd name="T38" fmla="*/ 2147483646 w 42"/>
              <a:gd name="T39" fmla="*/ 2147483646 h 61"/>
              <a:gd name="T40" fmla="*/ 2147483646 w 42"/>
              <a:gd name="T41" fmla="*/ 2147483646 h 61"/>
              <a:gd name="T42" fmla="*/ 2147483646 w 42"/>
              <a:gd name="T43" fmla="*/ 2147483646 h 61"/>
              <a:gd name="T44" fmla="*/ 2147483646 w 42"/>
              <a:gd name="T45" fmla="*/ 2147483646 h 61"/>
              <a:gd name="T46" fmla="*/ 2147483646 w 42"/>
              <a:gd name="T47" fmla="*/ 2147483646 h 61"/>
              <a:gd name="T48" fmla="*/ 2147483646 w 42"/>
              <a:gd name="T49" fmla="*/ 2147483646 h 61"/>
              <a:gd name="T50" fmla="*/ 2147483646 w 42"/>
              <a:gd name="T51" fmla="*/ 2147483646 h 61"/>
              <a:gd name="T52" fmla="*/ 2147483646 w 42"/>
              <a:gd name="T53" fmla="*/ 2147483646 h 61"/>
              <a:gd name="T54" fmla="*/ 2147483646 w 42"/>
              <a:gd name="T55" fmla="*/ 2147483646 h 61"/>
              <a:gd name="T56" fmla="*/ 2147483646 w 42"/>
              <a:gd name="T57" fmla="*/ 2147483646 h 61"/>
              <a:gd name="T58" fmla="*/ 2147483646 w 42"/>
              <a:gd name="T59" fmla="*/ 2147483646 h 61"/>
              <a:gd name="T60" fmla="*/ 2147483646 w 42"/>
              <a:gd name="T61" fmla="*/ 2147483646 h 61"/>
              <a:gd name="T62" fmla="*/ 2147483646 w 42"/>
              <a:gd name="T63" fmla="*/ 2147483646 h 61"/>
              <a:gd name="T64" fmla="*/ 2147483646 w 42"/>
              <a:gd name="T65" fmla="*/ 2147483646 h 61"/>
              <a:gd name="T66" fmla="*/ 2147483646 w 42"/>
              <a:gd name="T67" fmla="*/ 2147483646 h 61"/>
              <a:gd name="T68" fmla="*/ 2147483646 w 42"/>
              <a:gd name="T69" fmla="*/ 2147483646 h 61"/>
              <a:gd name="T70" fmla="*/ 2147483646 w 42"/>
              <a:gd name="T71" fmla="*/ 2147483646 h 61"/>
              <a:gd name="T72" fmla="*/ 2147483646 w 42"/>
              <a:gd name="T73" fmla="*/ 2147483646 h 61"/>
              <a:gd name="T74" fmla="*/ 2147483646 w 42"/>
              <a:gd name="T75" fmla="*/ 2147483646 h 61"/>
              <a:gd name="T76" fmla="*/ 2147483646 w 42"/>
              <a:gd name="T77" fmla="*/ 2147483646 h 61"/>
              <a:gd name="T78" fmla="*/ 2147483646 w 42"/>
              <a:gd name="T79" fmla="*/ 2147483646 h 61"/>
              <a:gd name="T80" fmla="*/ 2147483646 w 42"/>
              <a:gd name="T81" fmla="*/ 2147483646 h 61"/>
              <a:gd name="T82" fmla="*/ 2147483646 w 42"/>
              <a:gd name="T83" fmla="*/ 2147483646 h 61"/>
              <a:gd name="T84" fmla="*/ 2147483646 w 42"/>
              <a:gd name="T85" fmla="*/ 2147483646 h 61"/>
              <a:gd name="T86" fmla="*/ 2147483646 w 42"/>
              <a:gd name="T87" fmla="*/ 2147483646 h 61"/>
              <a:gd name="T88" fmla="*/ 2147483646 w 42"/>
              <a:gd name="T89" fmla="*/ 2147483646 h 61"/>
              <a:gd name="T90" fmla="*/ 2147483646 w 42"/>
              <a:gd name="T91" fmla="*/ 2147483646 h 61"/>
              <a:gd name="T92" fmla="*/ 2147483646 w 42"/>
              <a:gd name="T93" fmla="*/ 2147483646 h 61"/>
              <a:gd name="T94" fmla="*/ 2147483646 w 42"/>
              <a:gd name="T95" fmla="*/ 2147483646 h 61"/>
              <a:gd name="T96" fmla="*/ 2147483646 w 42"/>
              <a:gd name="T97" fmla="*/ 2147483646 h 61"/>
              <a:gd name="T98" fmla="*/ 2147483646 w 42"/>
              <a:gd name="T99" fmla="*/ 2147483646 h 61"/>
              <a:gd name="T100" fmla="*/ 2147483646 w 42"/>
              <a:gd name="T101" fmla="*/ 2147483646 h 61"/>
              <a:gd name="T102" fmla="*/ 2147483646 w 42"/>
              <a:gd name="T103" fmla="*/ 2147483646 h 61"/>
              <a:gd name="T104" fmla="*/ 2147483646 w 42"/>
              <a:gd name="T105" fmla="*/ 2147483646 h 61"/>
              <a:gd name="T106" fmla="*/ 2147483646 w 42"/>
              <a:gd name="T107" fmla="*/ 2147483646 h 61"/>
              <a:gd name="T108" fmla="*/ 2147483646 w 42"/>
              <a:gd name="T109" fmla="*/ 2147483646 h 61"/>
              <a:gd name="T110" fmla="*/ 2147483646 w 42"/>
              <a:gd name="T111" fmla="*/ 2147483646 h 6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2"/>
              <a:gd name="T169" fmla="*/ 0 h 61"/>
              <a:gd name="T170" fmla="*/ 42 w 42"/>
              <a:gd name="T171" fmla="*/ 61 h 6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2" h="61">
                <a:moveTo>
                  <a:pt x="41" y="36"/>
                </a:moveTo>
                <a:cubicBezTo>
                  <a:pt x="41" y="35"/>
                  <a:pt x="41" y="33"/>
                  <a:pt x="40" y="32"/>
                </a:cubicBezTo>
                <a:cubicBezTo>
                  <a:pt x="39" y="31"/>
                  <a:pt x="39" y="29"/>
                  <a:pt x="39" y="28"/>
                </a:cubicBezTo>
                <a:cubicBezTo>
                  <a:pt x="38" y="26"/>
                  <a:pt x="37" y="25"/>
                  <a:pt x="38" y="24"/>
                </a:cubicBezTo>
                <a:cubicBezTo>
                  <a:pt x="39" y="23"/>
                  <a:pt x="39" y="22"/>
                  <a:pt x="40" y="22"/>
                </a:cubicBezTo>
                <a:cubicBezTo>
                  <a:pt x="40" y="22"/>
                  <a:pt x="40" y="22"/>
                  <a:pt x="40" y="22"/>
                </a:cubicBezTo>
                <a:cubicBezTo>
                  <a:pt x="40" y="22"/>
                  <a:pt x="40" y="21"/>
                  <a:pt x="39" y="20"/>
                </a:cubicBezTo>
                <a:cubicBezTo>
                  <a:pt x="38" y="20"/>
                  <a:pt x="36" y="21"/>
                  <a:pt x="36" y="21"/>
                </a:cubicBezTo>
                <a:cubicBezTo>
                  <a:pt x="35" y="21"/>
                  <a:pt x="36" y="19"/>
                  <a:pt x="36" y="19"/>
                </a:cubicBezTo>
                <a:cubicBezTo>
                  <a:pt x="36" y="19"/>
                  <a:pt x="33" y="16"/>
                  <a:pt x="33" y="16"/>
                </a:cubicBezTo>
                <a:cubicBezTo>
                  <a:pt x="32" y="16"/>
                  <a:pt x="31" y="19"/>
                  <a:pt x="31" y="20"/>
                </a:cubicBezTo>
                <a:cubicBezTo>
                  <a:pt x="30" y="21"/>
                  <a:pt x="27" y="20"/>
                  <a:pt x="27" y="20"/>
                </a:cubicBezTo>
                <a:cubicBezTo>
                  <a:pt x="25" y="17"/>
                  <a:pt x="25" y="17"/>
                  <a:pt x="25" y="17"/>
                </a:cubicBezTo>
                <a:cubicBezTo>
                  <a:pt x="25" y="17"/>
                  <a:pt x="23" y="17"/>
                  <a:pt x="23" y="15"/>
                </a:cubicBezTo>
                <a:cubicBezTo>
                  <a:pt x="23" y="14"/>
                  <a:pt x="25" y="14"/>
                  <a:pt x="25" y="14"/>
                </a:cubicBezTo>
                <a:cubicBezTo>
                  <a:pt x="25" y="14"/>
                  <a:pt x="26" y="14"/>
                  <a:pt x="27" y="13"/>
                </a:cubicBezTo>
                <a:cubicBezTo>
                  <a:pt x="27" y="13"/>
                  <a:pt x="25" y="12"/>
                  <a:pt x="25" y="11"/>
                </a:cubicBezTo>
                <a:cubicBezTo>
                  <a:pt x="26" y="11"/>
                  <a:pt x="27" y="11"/>
                  <a:pt x="28" y="11"/>
                </a:cubicBezTo>
                <a:cubicBezTo>
                  <a:pt x="28" y="11"/>
                  <a:pt x="29" y="10"/>
                  <a:pt x="29" y="10"/>
                </a:cubicBezTo>
                <a:cubicBezTo>
                  <a:pt x="31" y="6"/>
                  <a:pt x="31" y="6"/>
                  <a:pt x="31" y="6"/>
                </a:cubicBezTo>
                <a:cubicBezTo>
                  <a:pt x="30" y="6"/>
                  <a:pt x="30" y="6"/>
                  <a:pt x="31" y="5"/>
                </a:cubicBezTo>
                <a:cubicBezTo>
                  <a:pt x="32" y="5"/>
                  <a:pt x="33" y="3"/>
                  <a:pt x="32" y="3"/>
                </a:cubicBezTo>
                <a:cubicBezTo>
                  <a:pt x="30" y="2"/>
                  <a:pt x="31" y="0"/>
                  <a:pt x="30" y="1"/>
                </a:cubicBezTo>
                <a:cubicBezTo>
                  <a:pt x="29" y="2"/>
                  <a:pt x="27" y="2"/>
                  <a:pt x="28" y="3"/>
                </a:cubicBezTo>
                <a:cubicBezTo>
                  <a:pt x="29" y="5"/>
                  <a:pt x="30" y="5"/>
                  <a:pt x="28" y="6"/>
                </a:cubicBezTo>
                <a:cubicBezTo>
                  <a:pt x="27" y="7"/>
                  <a:pt x="26" y="8"/>
                  <a:pt x="26" y="6"/>
                </a:cubicBezTo>
                <a:cubicBezTo>
                  <a:pt x="26" y="5"/>
                  <a:pt x="26" y="3"/>
                  <a:pt x="25" y="3"/>
                </a:cubicBezTo>
                <a:cubicBezTo>
                  <a:pt x="24" y="4"/>
                  <a:pt x="23" y="4"/>
                  <a:pt x="23" y="5"/>
                </a:cubicBezTo>
                <a:cubicBezTo>
                  <a:pt x="22" y="7"/>
                  <a:pt x="19" y="5"/>
                  <a:pt x="20" y="7"/>
                </a:cubicBezTo>
                <a:cubicBezTo>
                  <a:pt x="20" y="9"/>
                  <a:pt x="22" y="9"/>
                  <a:pt x="19" y="10"/>
                </a:cubicBezTo>
                <a:cubicBezTo>
                  <a:pt x="16" y="11"/>
                  <a:pt x="15" y="12"/>
                  <a:pt x="17" y="13"/>
                </a:cubicBezTo>
                <a:cubicBezTo>
                  <a:pt x="19" y="14"/>
                  <a:pt x="20" y="13"/>
                  <a:pt x="21" y="13"/>
                </a:cubicBezTo>
                <a:cubicBezTo>
                  <a:pt x="22" y="14"/>
                  <a:pt x="23" y="14"/>
                  <a:pt x="21" y="15"/>
                </a:cubicBezTo>
                <a:cubicBezTo>
                  <a:pt x="20" y="16"/>
                  <a:pt x="18" y="15"/>
                  <a:pt x="19" y="16"/>
                </a:cubicBezTo>
                <a:cubicBezTo>
                  <a:pt x="19" y="18"/>
                  <a:pt x="20" y="17"/>
                  <a:pt x="19" y="19"/>
                </a:cubicBezTo>
                <a:cubicBezTo>
                  <a:pt x="18" y="20"/>
                  <a:pt x="18" y="21"/>
                  <a:pt x="17" y="20"/>
                </a:cubicBezTo>
                <a:cubicBezTo>
                  <a:pt x="17" y="19"/>
                  <a:pt x="15" y="17"/>
                  <a:pt x="15" y="18"/>
                </a:cubicBezTo>
                <a:cubicBezTo>
                  <a:pt x="14" y="19"/>
                  <a:pt x="15" y="20"/>
                  <a:pt x="14" y="20"/>
                </a:cubicBezTo>
                <a:cubicBezTo>
                  <a:pt x="14" y="21"/>
                  <a:pt x="13" y="21"/>
                  <a:pt x="12" y="20"/>
                </a:cubicBezTo>
                <a:cubicBezTo>
                  <a:pt x="12" y="19"/>
                  <a:pt x="12" y="17"/>
                  <a:pt x="10" y="18"/>
                </a:cubicBezTo>
                <a:cubicBezTo>
                  <a:pt x="9" y="18"/>
                  <a:pt x="10" y="18"/>
                  <a:pt x="8" y="18"/>
                </a:cubicBezTo>
                <a:cubicBezTo>
                  <a:pt x="6" y="19"/>
                  <a:pt x="7" y="20"/>
                  <a:pt x="8" y="21"/>
                </a:cubicBezTo>
                <a:cubicBezTo>
                  <a:pt x="8" y="21"/>
                  <a:pt x="8" y="21"/>
                  <a:pt x="7" y="22"/>
                </a:cubicBezTo>
                <a:cubicBezTo>
                  <a:pt x="6" y="22"/>
                  <a:pt x="6" y="23"/>
                  <a:pt x="7" y="23"/>
                </a:cubicBezTo>
                <a:cubicBezTo>
                  <a:pt x="8" y="24"/>
                  <a:pt x="6" y="25"/>
                  <a:pt x="5" y="24"/>
                </a:cubicBezTo>
                <a:cubicBezTo>
                  <a:pt x="4" y="24"/>
                  <a:pt x="2" y="23"/>
                  <a:pt x="4" y="24"/>
                </a:cubicBezTo>
                <a:cubicBezTo>
                  <a:pt x="5" y="25"/>
                  <a:pt x="5" y="25"/>
                  <a:pt x="6" y="26"/>
                </a:cubicBezTo>
                <a:cubicBezTo>
                  <a:pt x="7" y="27"/>
                  <a:pt x="7" y="28"/>
                  <a:pt x="7" y="27"/>
                </a:cubicBezTo>
                <a:cubicBezTo>
                  <a:pt x="8" y="26"/>
                  <a:pt x="7" y="25"/>
                  <a:pt x="8" y="26"/>
                </a:cubicBezTo>
                <a:cubicBezTo>
                  <a:pt x="9" y="26"/>
                  <a:pt x="10" y="27"/>
                  <a:pt x="8" y="27"/>
                </a:cubicBezTo>
                <a:cubicBezTo>
                  <a:pt x="7" y="28"/>
                  <a:pt x="6" y="27"/>
                  <a:pt x="6" y="28"/>
                </a:cubicBezTo>
                <a:cubicBezTo>
                  <a:pt x="5" y="29"/>
                  <a:pt x="6" y="29"/>
                  <a:pt x="5" y="30"/>
                </a:cubicBezTo>
                <a:cubicBezTo>
                  <a:pt x="4" y="31"/>
                  <a:pt x="3" y="29"/>
                  <a:pt x="4" y="31"/>
                </a:cubicBezTo>
                <a:cubicBezTo>
                  <a:pt x="5" y="33"/>
                  <a:pt x="5" y="31"/>
                  <a:pt x="7" y="33"/>
                </a:cubicBezTo>
                <a:cubicBezTo>
                  <a:pt x="8" y="34"/>
                  <a:pt x="8" y="33"/>
                  <a:pt x="9" y="33"/>
                </a:cubicBezTo>
                <a:cubicBezTo>
                  <a:pt x="10" y="33"/>
                  <a:pt x="10" y="33"/>
                  <a:pt x="10" y="34"/>
                </a:cubicBezTo>
                <a:cubicBezTo>
                  <a:pt x="11" y="35"/>
                  <a:pt x="10" y="34"/>
                  <a:pt x="12" y="35"/>
                </a:cubicBezTo>
                <a:cubicBezTo>
                  <a:pt x="14" y="35"/>
                  <a:pt x="14" y="35"/>
                  <a:pt x="15" y="34"/>
                </a:cubicBezTo>
                <a:cubicBezTo>
                  <a:pt x="15" y="34"/>
                  <a:pt x="14" y="34"/>
                  <a:pt x="14" y="32"/>
                </a:cubicBezTo>
                <a:cubicBezTo>
                  <a:pt x="14" y="31"/>
                  <a:pt x="13" y="30"/>
                  <a:pt x="14" y="31"/>
                </a:cubicBezTo>
                <a:cubicBezTo>
                  <a:pt x="16" y="31"/>
                  <a:pt x="16" y="32"/>
                  <a:pt x="16" y="33"/>
                </a:cubicBezTo>
                <a:cubicBezTo>
                  <a:pt x="15" y="34"/>
                  <a:pt x="15" y="33"/>
                  <a:pt x="15" y="34"/>
                </a:cubicBezTo>
                <a:cubicBezTo>
                  <a:pt x="16" y="35"/>
                  <a:pt x="17" y="35"/>
                  <a:pt x="16" y="36"/>
                </a:cubicBezTo>
                <a:cubicBezTo>
                  <a:pt x="14" y="36"/>
                  <a:pt x="14" y="36"/>
                  <a:pt x="13" y="37"/>
                </a:cubicBezTo>
                <a:cubicBezTo>
                  <a:pt x="12" y="37"/>
                  <a:pt x="12" y="36"/>
                  <a:pt x="12" y="37"/>
                </a:cubicBezTo>
                <a:cubicBezTo>
                  <a:pt x="11" y="39"/>
                  <a:pt x="11" y="39"/>
                  <a:pt x="11" y="40"/>
                </a:cubicBezTo>
                <a:cubicBezTo>
                  <a:pt x="10" y="40"/>
                  <a:pt x="11" y="42"/>
                  <a:pt x="10" y="42"/>
                </a:cubicBezTo>
                <a:cubicBezTo>
                  <a:pt x="9" y="43"/>
                  <a:pt x="10" y="42"/>
                  <a:pt x="8" y="44"/>
                </a:cubicBezTo>
                <a:cubicBezTo>
                  <a:pt x="7" y="45"/>
                  <a:pt x="6" y="45"/>
                  <a:pt x="6" y="45"/>
                </a:cubicBezTo>
                <a:cubicBezTo>
                  <a:pt x="7" y="46"/>
                  <a:pt x="8" y="45"/>
                  <a:pt x="10" y="45"/>
                </a:cubicBezTo>
                <a:cubicBezTo>
                  <a:pt x="10" y="45"/>
                  <a:pt x="10" y="45"/>
                  <a:pt x="11" y="45"/>
                </a:cubicBezTo>
                <a:cubicBezTo>
                  <a:pt x="12" y="45"/>
                  <a:pt x="12" y="45"/>
                  <a:pt x="13" y="45"/>
                </a:cubicBezTo>
                <a:cubicBezTo>
                  <a:pt x="14" y="45"/>
                  <a:pt x="14" y="43"/>
                  <a:pt x="14" y="42"/>
                </a:cubicBezTo>
                <a:cubicBezTo>
                  <a:pt x="15" y="42"/>
                  <a:pt x="16" y="40"/>
                  <a:pt x="16" y="42"/>
                </a:cubicBezTo>
                <a:cubicBezTo>
                  <a:pt x="16" y="44"/>
                  <a:pt x="16" y="44"/>
                  <a:pt x="17" y="44"/>
                </a:cubicBezTo>
                <a:cubicBezTo>
                  <a:pt x="18" y="45"/>
                  <a:pt x="16" y="45"/>
                  <a:pt x="15" y="45"/>
                </a:cubicBezTo>
                <a:cubicBezTo>
                  <a:pt x="13" y="45"/>
                  <a:pt x="9" y="46"/>
                  <a:pt x="8" y="47"/>
                </a:cubicBezTo>
                <a:cubicBezTo>
                  <a:pt x="8" y="47"/>
                  <a:pt x="7" y="45"/>
                  <a:pt x="7" y="48"/>
                </a:cubicBezTo>
                <a:cubicBezTo>
                  <a:pt x="8" y="50"/>
                  <a:pt x="8" y="50"/>
                  <a:pt x="7" y="51"/>
                </a:cubicBezTo>
                <a:cubicBezTo>
                  <a:pt x="7" y="51"/>
                  <a:pt x="6" y="51"/>
                  <a:pt x="5" y="50"/>
                </a:cubicBezTo>
                <a:cubicBezTo>
                  <a:pt x="5" y="50"/>
                  <a:pt x="4" y="47"/>
                  <a:pt x="3" y="49"/>
                </a:cubicBezTo>
                <a:cubicBezTo>
                  <a:pt x="3" y="50"/>
                  <a:pt x="0" y="52"/>
                  <a:pt x="2" y="52"/>
                </a:cubicBezTo>
                <a:cubicBezTo>
                  <a:pt x="4" y="52"/>
                  <a:pt x="4" y="51"/>
                  <a:pt x="6" y="52"/>
                </a:cubicBezTo>
                <a:cubicBezTo>
                  <a:pt x="7" y="52"/>
                  <a:pt x="2" y="55"/>
                  <a:pt x="3" y="55"/>
                </a:cubicBezTo>
                <a:cubicBezTo>
                  <a:pt x="3" y="56"/>
                  <a:pt x="3" y="55"/>
                  <a:pt x="4" y="55"/>
                </a:cubicBezTo>
                <a:cubicBezTo>
                  <a:pt x="5" y="56"/>
                  <a:pt x="5" y="56"/>
                  <a:pt x="6" y="57"/>
                </a:cubicBezTo>
                <a:cubicBezTo>
                  <a:pt x="6" y="57"/>
                  <a:pt x="6" y="56"/>
                  <a:pt x="7" y="56"/>
                </a:cubicBezTo>
                <a:cubicBezTo>
                  <a:pt x="8" y="55"/>
                  <a:pt x="9" y="53"/>
                  <a:pt x="9" y="55"/>
                </a:cubicBezTo>
                <a:cubicBezTo>
                  <a:pt x="9" y="56"/>
                  <a:pt x="8" y="57"/>
                  <a:pt x="7" y="58"/>
                </a:cubicBezTo>
                <a:cubicBezTo>
                  <a:pt x="5" y="58"/>
                  <a:pt x="4" y="59"/>
                  <a:pt x="5" y="59"/>
                </a:cubicBezTo>
                <a:cubicBezTo>
                  <a:pt x="5" y="60"/>
                  <a:pt x="5" y="60"/>
                  <a:pt x="6" y="59"/>
                </a:cubicBezTo>
                <a:cubicBezTo>
                  <a:pt x="8" y="58"/>
                  <a:pt x="7" y="58"/>
                  <a:pt x="8" y="57"/>
                </a:cubicBezTo>
                <a:cubicBezTo>
                  <a:pt x="9" y="57"/>
                  <a:pt x="10" y="57"/>
                  <a:pt x="10" y="58"/>
                </a:cubicBezTo>
                <a:cubicBezTo>
                  <a:pt x="9" y="58"/>
                  <a:pt x="8" y="59"/>
                  <a:pt x="8" y="60"/>
                </a:cubicBezTo>
                <a:cubicBezTo>
                  <a:pt x="8" y="60"/>
                  <a:pt x="5" y="60"/>
                  <a:pt x="7" y="60"/>
                </a:cubicBezTo>
                <a:cubicBezTo>
                  <a:pt x="10" y="60"/>
                  <a:pt x="9" y="57"/>
                  <a:pt x="11" y="59"/>
                </a:cubicBezTo>
                <a:cubicBezTo>
                  <a:pt x="13" y="60"/>
                  <a:pt x="12" y="60"/>
                  <a:pt x="14" y="60"/>
                </a:cubicBezTo>
                <a:cubicBezTo>
                  <a:pt x="16" y="60"/>
                  <a:pt x="17" y="61"/>
                  <a:pt x="18" y="59"/>
                </a:cubicBezTo>
                <a:cubicBezTo>
                  <a:pt x="20" y="57"/>
                  <a:pt x="19" y="55"/>
                  <a:pt x="21" y="55"/>
                </a:cubicBezTo>
                <a:cubicBezTo>
                  <a:pt x="22" y="56"/>
                  <a:pt x="20" y="53"/>
                  <a:pt x="23" y="54"/>
                </a:cubicBezTo>
                <a:cubicBezTo>
                  <a:pt x="25" y="54"/>
                  <a:pt x="25" y="55"/>
                  <a:pt x="26" y="54"/>
                </a:cubicBezTo>
                <a:cubicBezTo>
                  <a:pt x="28" y="54"/>
                  <a:pt x="27" y="52"/>
                  <a:pt x="29" y="52"/>
                </a:cubicBezTo>
                <a:cubicBezTo>
                  <a:pt x="31" y="52"/>
                  <a:pt x="31" y="52"/>
                  <a:pt x="32" y="52"/>
                </a:cubicBezTo>
                <a:cubicBezTo>
                  <a:pt x="32" y="52"/>
                  <a:pt x="31" y="51"/>
                  <a:pt x="33" y="51"/>
                </a:cubicBezTo>
                <a:cubicBezTo>
                  <a:pt x="34" y="50"/>
                  <a:pt x="33" y="49"/>
                  <a:pt x="34" y="50"/>
                </a:cubicBezTo>
                <a:cubicBezTo>
                  <a:pt x="35" y="51"/>
                  <a:pt x="34" y="51"/>
                  <a:pt x="36" y="51"/>
                </a:cubicBezTo>
                <a:cubicBezTo>
                  <a:pt x="37" y="51"/>
                  <a:pt x="37" y="50"/>
                  <a:pt x="38" y="50"/>
                </a:cubicBezTo>
                <a:cubicBezTo>
                  <a:pt x="39" y="50"/>
                  <a:pt x="40" y="50"/>
                  <a:pt x="39" y="49"/>
                </a:cubicBezTo>
                <a:cubicBezTo>
                  <a:pt x="38" y="47"/>
                  <a:pt x="38" y="47"/>
                  <a:pt x="39" y="46"/>
                </a:cubicBezTo>
                <a:cubicBezTo>
                  <a:pt x="40" y="46"/>
                  <a:pt x="39" y="48"/>
                  <a:pt x="40" y="45"/>
                </a:cubicBezTo>
                <a:cubicBezTo>
                  <a:pt x="42" y="41"/>
                  <a:pt x="42" y="40"/>
                  <a:pt x="41" y="39"/>
                </a:cubicBezTo>
                <a:cubicBezTo>
                  <a:pt x="41" y="38"/>
                  <a:pt x="41" y="37"/>
                  <a:pt x="41" y="3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1" name="Freeform 139"/>
          <p:cNvSpPr>
            <a:spLocks/>
          </p:cNvSpPr>
          <p:nvPr userDrawn="1"/>
        </p:nvSpPr>
        <p:spPr bwMode="auto">
          <a:xfrm>
            <a:off x="5321472" y="3374782"/>
            <a:ext cx="63653" cy="67004"/>
          </a:xfrm>
          <a:custGeom>
            <a:avLst/>
            <a:gdLst>
              <a:gd name="T0" fmla="*/ 2147483646 w 24"/>
              <a:gd name="T1" fmla="*/ 2147483646 h 25"/>
              <a:gd name="T2" fmla="*/ 2147483646 w 24"/>
              <a:gd name="T3" fmla="*/ 2147483646 h 25"/>
              <a:gd name="T4" fmla="*/ 2147483646 w 24"/>
              <a:gd name="T5" fmla="*/ 2147483646 h 25"/>
              <a:gd name="T6" fmla="*/ 2147483646 w 24"/>
              <a:gd name="T7" fmla="*/ 2147483646 h 25"/>
              <a:gd name="T8" fmla="*/ 2147483646 w 24"/>
              <a:gd name="T9" fmla="*/ 2147483646 h 25"/>
              <a:gd name="T10" fmla="*/ 2147483646 w 24"/>
              <a:gd name="T11" fmla="*/ 2147483646 h 25"/>
              <a:gd name="T12" fmla="*/ 2147483646 w 24"/>
              <a:gd name="T13" fmla="*/ 2147483646 h 25"/>
              <a:gd name="T14" fmla="*/ 2147483646 w 24"/>
              <a:gd name="T15" fmla="*/ 2147483646 h 25"/>
              <a:gd name="T16" fmla="*/ 2147483646 w 24"/>
              <a:gd name="T17" fmla="*/ 2147483646 h 25"/>
              <a:gd name="T18" fmla="*/ 2147483646 w 24"/>
              <a:gd name="T19" fmla="*/ 2147483646 h 25"/>
              <a:gd name="T20" fmla="*/ 2147483646 w 24"/>
              <a:gd name="T21" fmla="*/ 2147483646 h 25"/>
              <a:gd name="T22" fmla="*/ 2147483646 w 24"/>
              <a:gd name="T23" fmla="*/ 2147483646 h 25"/>
              <a:gd name="T24" fmla="*/ 2147483646 w 24"/>
              <a:gd name="T25" fmla="*/ 2147483646 h 25"/>
              <a:gd name="T26" fmla="*/ 2147483646 w 24"/>
              <a:gd name="T27" fmla="*/ 2147483646 h 25"/>
              <a:gd name="T28" fmla="*/ 2147483646 w 24"/>
              <a:gd name="T29" fmla="*/ 2147483646 h 25"/>
              <a:gd name="T30" fmla="*/ 2147483646 w 24"/>
              <a:gd name="T31" fmla="*/ 2147483646 h 25"/>
              <a:gd name="T32" fmla="*/ 2147483646 w 24"/>
              <a:gd name="T33" fmla="*/ 2147483646 h 25"/>
              <a:gd name="T34" fmla="*/ 2147483646 w 24"/>
              <a:gd name="T35" fmla="*/ 2147483646 h 25"/>
              <a:gd name="T36" fmla="*/ 0 w 24"/>
              <a:gd name="T37" fmla="*/ 2147483646 h 25"/>
              <a:gd name="T38" fmla="*/ 2147483646 w 24"/>
              <a:gd name="T39" fmla="*/ 2147483646 h 25"/>
              <a:gd name="T40" fmla="*/ 2147483646 w 24"/>
              <a:gd name="T41" fmla="*/ 2147483646 h 25"/>
              <a:gd name="T42" fmla="*/ 2147483646 w 24"/>
              <a:gd name="T43" fmla="*/ 2147483646 h 25"/>
              <a:gd name="T44" fmla="*/ 2147483646 w 24"/>
              <a:gd name="T45" fmla="*/ 2147483646 h 25"/>
              <a:gd name="T46" fmla="*/ 2147483646 w 24"/>
              <a:gd name="T47" fmla="*/ 2147483646 h 25"/>
              <a:gd name="T48" fmla="*/ 2147483646 w 24"/>
              <a:gd name="T49" fmla="*/ 2147483646 h 25"/>
              <a:gd name="T50" fmla="*/ 2147483646 w 24"/>
              <a:gd name="T51" fmla="*/ 2147483646 h 25"/>
              <a:gd name="T52" fmla="*/ 2147483646 w 24"/>
              <a:gd name="T53" fmla="*/ 2147483646 h 25"/>
              <a:gd name="T54" fmla="*/ 2147483646 w 24"/>
              <a:gd name="T55" fmla="*/ 2147483646 h 25"/>
              <a:gd name="T56" fmla="*/ 2147483646 w 24"/>
              <a:gd name="T57" fmla="*/ 2147483646 h 25"/>
              <a:gd name="T58" fmla="*/ 2147483646 w 24"/>
              <a:gd name="T59" fmla="*/ 2147483646 h 25"/>
              <a:gd name="T60" fmla="*/ 2147483646 w 24"/>
              <a:gd name="T61" fmla="*/ 2147483646 h 25"/>
              <a:gd name="T62" fmla="*/ 2147483646 w 24"/>
              <a:gd name="T63" fmla="*/ 2147483646 h 25"/>
              <a:gd name="T64" fmla="*/ 2147483646 w 24"/>
              <a:gd name="T65" fmla="*/ 2147483646 h 2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4"/>
              <a:gd name="T100" fmla="*/ 0 h 25"/>
              <a:gd name="T101" fmla="*/ 24 w 24"/>
              <a:gd name="T102" fmla="*/ 25 h 2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4" h="25">
                <a:moveTo>
                  <a:pt x="23" y="14"/>
                </a:moveTo>
                <a:cubicBezTo>
                  <a:pt x="23" y="13"/>
                  <a:pt x="24" y="12"/>
                  <a:pt x="23" y="12"/>
                </a:cubicBezTo>
                <a:cubicBezTo>
                  <a:pt x="22" y="12"/>
                  <a:pt x="21" y="11"/>
                  <a:pt x="21" y="12"/>
                </a:cubicBezTo>
                <a:cubicBezTo>
                  <a:pt x="20" y="13"/>
                  <a:pt x="20" y="14"/>
                  <a:pt x="19" y="13"/>
                </a:cubicBezTo>
                <a:cubicBezTo>
                  <a:pt x="19" y="13"/>
                  <a:pt x="20" y="11"/>
                  <a:pt x="20" y="10"/>
                </a:cubicBezTo>
                <a:cubicBezTo>
                  <a:pt x="21" y="10"/>
                  <a:pt x="23" y="9"/>
                  <a:pt x="21" y="8"/>
                </a:cubicBezTo>
                <a:cubicBezTo>
                  <a:pt x="19" y="7"/>
                  <a:pt x="20" y="6"/>
                  <a:pt x="18" y="6"/>
                </a:cubicBezTo>
                <a:cubicBezTo>
                  <a:pt x="17" y="5"/>
                  <a:pt x="17" y="3"/>
                  <a:pt x="16" y="4"/>
                </a:cubicBezTo>
                <a:cubicBezTo>
                  <a:pt x="15" y="4"/>
                  <a:pt x="15" y="0"/>
                  <a:pt x="14" y="2"/>
                </a:cubicBezTo>
                <a:cubicBezTo>
                  <a:pt x="13" y="3"/>
                  <a:pt x="12" y="2"/>
                  <a:pt x="11" y="3"/>
                </a:cubicBezTo>
                <a:cubicBezTo>
                  <a:pt x="10" y="4"/>
                  <a:pt x="10" y="4"/>
                  <a:pt x="9" y="4"/>
                </a:cubicBezTo>
                <a:cubicBezTo>
                  <a:pt x="9" y="5"/>
                  <a:pt x="8" y="5"/>
                  <a:pt x="8" y="5"/>
                </a:cubicBezTo>
                <a:cubicBezTo>
                  <a:pt x="8" y="5"/>
                  <a:pt x="8" y="5"/>
                  <a:pt x="8" y="5"/>
                </a:cubicBezTo>
                <a:cubicBezTo>
                  <a:pt x="6" y="9"/>
                  <a:pt x="6" y="9"/>
                  <a:pt x="6" y="9"/>
                </a:cubicBezTo>
                <a:cubicBezTo>
                  <a:pt x="6" y="9"/>
                  <a:pt x="6" y="11"/>
                  <a:pt x="5" y="11"/>
                </a:cubicBezTo>
                <a:cubicBezTo>
                  <a:pt x="4" y="11"/>
                  <a:pt x="3" y="10"/>
                  <a:pt x="3" y="11"/>
                </a:cubicBezTo>
                <a:cubicBezTo>
                  <a:pt x="2" y="11"/>
                  <a:pt x="4" y="12"/>
                  <a:pt x="4" y="13"/>
                </a:cubicBezTo>
                <a:cubicBezTo>
                  <a:pt x="3" y="13"/>
                  <a:pt x="3" y="13"/>
                  <a:pt x="3" y="13"/>
                </a:cubicBezTo>
                <a:cubicBezTo>
                  <a:pt x="3" y="13"/>
                  <a:pt x="0" y="13"/>
                  <a:pt x="0" y="14"/>
                </a:cubicBezTo>
                <a:cubicBezTo>
                  <a:pt x="0" y="16"/>
                  <a:pt x="2" y="16"/>
                  <a:pt x="2" y="16"/>
                </a:cubicBezTo>
                <a:cubicBezTo>
                  <a:pt x="4" y="19"/>
                  <a:pt x="4" y="19"/>
                  <a:pt x="4" y="19"/>
                </a:cubicBezTo>
                <a:cubicBezTo>
                  <a:pt x="4" y="19"/>
                  <a:pt x="7" y="20"/>
                  <a:pt x="8" y="19"/>
                </a:cubicBezTo>
                <a:cubicBezTo>
                  <a:pt x="8" y="18"/>
                  <a:pt x="9" y="15"/>
                  <a:pt x="10" y="15"/>
                </a:cubicBezTo>
                <a:cubicBezTo>
                  <a:pt x="10" y="15"/>
                  <a:pt x="13" y="18"/>
                  <a:pt x="13" y="18"/>
                </a:cubicBezTo>
                <a:cubicBezTo>
                  <a:pt x="13" y="18"/>
                  <a:pt x="12" y="21"/>
                  <a:pt x="13" y="21"/>
                </a:cubicBezTo>
                <a:cubicBezTo>
                  <a:pt x="13" y="21"/>
                  <a:pt x="15" y="19"/>
                  <a:pt x="16" y="19"/>
                </a:cubicBezTo>
                <a:cubicBezTo>
                  <a:pt x="17" y="20"/>
                  <a:pt x="17" y="21"/>
                  <a:pt x="17" y="21"/>
                </a:cubicBezTo>
                <a:cubicBezTo>
                  <a:pt x="17" y="21"/>
                  <a:pt x="17" y="21"/>
                  <a:pt x="17" y="21"/>
                </a:cubicBezTo>
                <a:cubicBezTo>
                  <a:pt x="17" y="21"/>
                  <a:pt x="17" y="21"/>
                  <a:pt x="17" y="21"/>
                </a:cubicBezTo>
                <a:cubicBezTo>
                  <a:pt x="17" y="21"/>
                  <a:pt x="17" y="21"/>
                  <a:pt x="18" y="21"/>
                </a:cubicBezTo>
                <a:cubicBezTo>
                  <a:pt x="20" y="22"/>
                  <a:pt x="19" y="25"/>
                  <a:pt x="21" y="21"/>
                </a:cubicBezTo>
                <a:cubicBezTo>
                  <a:pt x="23" y="18"/>
                  <a:pt x="24" y="18"/>
                  <a:pt x="24" y="17"/>
                </a:cubicBezTo>
                <a:cubicBezTo>
                  <a:pt x="24" y="16"/>
                  <a:pt x="24" y="15"/>
                  <a:pt x="23" y="1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2" name="Line 3"/>
          <p:cNvSpPr>
            <a:spLocks noChangeShapeType="1"/>
          </p:cNvSpPr>
          <p:nvPr userDrawn="1"/>
        </p:nvSpPr>
        <p:spPr bwMode="auto">
          <a:xfrm>
            <a:off x="3477195" y="4783535"/>
            <a:ext cx="1676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3" name="Line 4"/>
          <p:cNvSpPr>
            <a:spLocks noChangeShapeType="1"/>
          </p:cNvSpPr>
          <p:nvPr userDrawn="1"/>
        </p:nvSpPr>
        <p:spPr bwMode="auto">
          <a:xfrm>
            <a:off x="3519073" y="4890740"/>
            <a:ext cx="1675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4" name="Line 5"/>
          <p:cNvSpPr>
            <a:spLocks noChangeShapeType="1"/>
          </p:cNvSpPr>
          <p:nvPr userDrawn="1"/>
        </p:nvSpPr>
        <p:spPr bwMode="auto">
          <a:xfrm>
            <a:off x="5555985" y="4277656"/>
            <a:ext cx="1675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5" name="Line 6"/>
          <p:cNvSpPr>
            <a:spLocks noChangeShapeType="1"/>
          </p:cNvSpPr>
          <p:nvPr userDrawn="1"/>
        </p:nvSpPr>
        <p:spPr bwMode="auto">
          <a:xfrm>
            <a:off x="3931145" y="4202278"/>
            <a:ext cx="1675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6" name="Line 7"/>
          <p:cNvSpPr>
            <a:spLocks noChangeShapeType="1"/>
          </p:cNvSpPr>
          <p:nvPr userDrawn="1"/>
        </p:nvSpPr>
        <p:spPr bwMode="auto">
          <a:xfrm>
            <a:off x="3964648" y="4286033"/>
            <a:ext cx="1675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7" name="Line 8"/>
          <p:cNvSpPr>
            <a:spLocks noChangeShapeType="1"/>
          </p:cNvSpPr>
          <p:nvPr userDrawn="1"/>
        </p:nvSpPr>
        <p:spPr bwMode="auto">
          <a:xfrm>
            <a:off x="5591162" y="3798580"/>
            <a:ext cx="1676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8" name="Line 41"/>
          <p:cNvSpPr>
            <a:spLocks noChangeShapeType="1"/>
          </p:cNvSpPr>
          <p:nvPr userDrawn="1"/>
        </p:nvSpPr>
        <p:spPr bwMode="auto">
          <a:xfrm>
            <a:off x="3936171" y="4870639"/>
            <a:ext cx="1676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9" name="Line 305"/>
          <p:cNvSpPr>
            <a:spLocks noChangeShapeType="1"/>
          </p:cNvSpPr>
          <p:nvPr userDrawn="1"/>
        </p:nvSpPr>
        <p:spPr bwMode="auto">
          <a:xfrm>
            <a:off x="5936231" y="4383187"/>
            <a:ext cx="1676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0" name="Freeform 363"/>
          <p:cNvSpPr>
            <a:spLocks/>
          </p:cNvSpPr>
          <p:nvPr userDrawn="1"/>
        </p:nvSpPr>
        <p:spPr bwMode="auto">
          <a:xfrm>
            <a:off x="3261110" y="4662928"/>
            <a:ext cx="120607" cy="128981"/>
          </a:xfrm>
          <a:custGeom>
            <a:avLst/>
            <a:gdLst>
              <a:gd name="T0" fmla="*/ 2147483646 w 130"/>
              <a:gd name="T1" fmla="*/ 2147483646 h 138"/>
              <a:gd name="T2" fmla="*/ 2147483646 w 130"/>
              <a:gd name="T3" fmla="*/ 2147483646 h 138"/>
              <a:gd name="T4" fmla="*/ 2147483646 w 130"/>
              <a:gd name="T5" fmla="*/ 2147483646 h 138"/>
              <a:gd name="T6" fmla="*/ 2147483646 w 130"/>
              <a:gd name="T7" fmla="*/ 2147483646 h 138"/>
              <a:gd name="T8" fmla="*/ 2147483646 w 130"/>
              <a:gd name="T9" fmla="*/ 2147483646 h 138"/>
              <a:gd name="T10" fmla="*/ 2147483646 w 130"/>
              <a:gd name="T11" fmla="*/ 2147483646 h 138"/>
              <a:gd name="T12" fmla="*/ 2147483646 w 130"/>
              <a:gd name="T13" fmla="*/ 2147483646 h 138"/>
              <a:gd name="T14" fmla="*/ 2147483646 w 130"/>
              <a:gd name="T15" fmla="*/ 2147483646 h 138"/>
              <a:gd name="T16" fmla="*/ 2147483646 w 130"/>
              <a:gd name="T17" fmla="*/ 2147483646 h 138"/>
              <a:gd name="T18" fmla="*/ 2147483646 w 130"/>
              <a:gd name="T19" fmla="*/ 2147483646 h 138"/>
              <a:gd name="T20" fmla="*/ 2147483646 w 130"/>
              <a:gd name="T21" fmla="*/ 2147483646 h 138"/>
              <a:gd name="T22" fmla="*/ 2147483646 w 130"/>
              <a:gd name="T23" fmla="*/ 2147483646 h 138"/>
              <a:gd name="T24" fmla="*/ 2147483646 w 130"/>
              <a:gd name="T25" fmla="*/ 2147483646 h 138"/>
              <a:gd name="T26" fmla="*/ 2147483646 w 130"/>
              <a:gd name="T27" fmla="*/ 2147483646 h 138"/>
              <a:gd name="T28" fmla="*/ 2147483646 w 130"/>
              <a:gd name="T29" fmla="*/ 2147483646 h 138"/>
              <a:gd name="T30" fmla="*/ 2147483646 w 130"/>
              <a:gd name="T31" fmla="*/ 2147483646 h 138"/>
              <a:gd name="T32" fmla="*/ 2147483646 w 130"/>
              <a:gd name="T33" fmla="*/ 2147483646 h 138"/>
              <a:gd name="T34" fmla="*/ 2147483646 w 130"/>
              <a:gd name="T35" fmla="*/ 2147483646 h 138"/>
              <a:gd name="T36" fmla="*/ 2147483646 w 130"/>
              <a:gd name="T37" fmla="*/ 2147483646 h 138"/>
              <a:gd name="T38" fmla="*/ 2147483646 w 130"/>
              <a:gd name="T39" fmla="*/ 2147483646 h 138"/>
              <a:gd name="T40" fmla="*/ 2147483646 w 130"/>
              <a:gd name="T41" fmla="*/ 2147483646 h 138"/>
              <a:gd name="T42" fmla="*/ 0 w 130"/>
              <a:gd name="T43" fmla="*/ 2147483646 h 138"/>
              <a:gd name="T44" fmla="*/ 0 w 130"/>
              <a:gd name="T45" fmla="*/ 2147483646 h 138"/>
              <a:gd name="T46" fmla="*/ 2147483646 w 130"/>
              <a:gd name="T47" fmla="*/ 2147483646 h 138"/>
              <a:gd name="T48" fmla="*/ 2147483646 w 130"/>
              <a:gd name="T49" fmla="*/ 2147483646 h 138"/>
              <a:gd name="T50" fmla="*/ 2147483646 w 130"/>
              <a:gd name="T51" fmla="*/ 2147483646 h 138"/>
              <a:gd name="T52" fmla="*/ 2147483646 w 130"/>
              <a:gd name="T53" fmla="*/ 2147483646 h 138"/>
              <a:gd name="T54" fmla="*/ 2147483646 w 130"/>
              <a:gd name="T55" fmla="*/ 2147483646 h 138"/>
              <a:gd name="T56" fmla="*/ 2147483646 w 130"/>
              <a:gd name="T57" fmla="*/ 2147483646 h 138"/>
              <a:gd name="T58" fmla="*/ 2147483646 w 130"/>
              <a:gd name="T59" fmla="*/ 2147483646 h 138"/>
              <a:gd name="T60" fmla="*/ 2147483646 w 130"/>
              <a:gd name="T61" fmla="*/ 2147483646 h 138"/>
              <a:gd name="T62" fmla="*/ 2147483646 w 130"/>
              <a:gd name="T63" fmla="*/ 2147483646 h 138"/>
              <a:gd name="T64" fmla="*/ 2147483646 w 130"/>
              <a:gd name="T65" fmla="*/ 2147483646 h 138"/>
              <a:gd name="T66" fmla="*/ 2147483646 w 130"/>
              <a:gd name="T67" fmla="*/ 2147483646 h 13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30"/>
              <a:gd name="T103" fmla="*/ 0 h 138"/>
              <a:gd name="T104" fmla="*/ 130 w 130"/>
              <a:gd name="T105" fmla="*/ 138 h 13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30" h="138">
                <a:moveTo>
                  <a:pt x="102" y="10"/>
                </a:moveTo>
                <a:cubicBezTo>
                  <a:pt x="100" y="13"/>
                  <a:pt x="96" y="17"/>
                  <a:pt x="95" y="22"/>
                </a:cubicBezTo>
                <a:cubicBezTo>
                  <a:pt x="93" y="28"/>
                  <a:pt x="92" y="27"/>
                  <a:pt x="93" y="37"/>
                </a:cubicBezTo>
                <a:cubicBezTo>
                  <a:pt x="94" y="47"/>
                  <a:pt x="94" y="36"/>
                  <a:pt x="91" y="54"/>
                </a:cubicBezTo>
                <a:cubicBezTo>
                  <a:pt x="87" y="71"/>
                  <a:pt x="87" y="74"/>
                  <a:pt x="89" y="76"/>
                </a:cubicBezTo>
                <a:cubicBezTo>
                  <a:pt x="92" y="78"/>
                  <a:pt x="100" y="73"/>
                  <a:pt x="100" y="73"/>
                </a:cubicBezTo>
                <a:cubicBezTo>
                  <a:pt x="100" y="74"/>
                  <a:pt x="100" y="74"/>
                  <a:pt x="100" y="74"/>
                </a:cubicBezTo>
                <a:cubicBezTo>
                  <a:pt x="100" y="77"/>
                  <a:pt x="109" y="75"/>
                  <a:pt x="109" y="75"/>
                </a:cubicBezTo>
                <a:cubicBezTo>
                  <a:pt x="126" y="72"/>
                  <a:pt x="126" y="72"/>
                  <a:pt x="126" y="72"/>
                </a:cubicBezTo>
                <a:cubicBezTo>
                  <a:pt x="126" y="72"/>
                  <a:pt x="127" y="73"/>
                  <a:pt x="130" y="74"/>
                </a:cubicBezTo>
                <a:cubicBezTo>
                  <a:pt x="129" y="76"/>
                  <a:pt x="129" y="76"/>
                  <a:pt x="129" y="76"/>
                </a:cubicBezTo>
                <a:cubicBezTo>
                  <a:pt x="126" y="79"/>
                  <a:pt x="120" y="80"/>
                  <a:pt x="116" y="83"/>
                </a:cubicBezTo>
                <a:cubicBezTo>
                  <a:pt x="111" y="86"/>
                  <a:pt x="105" y="89"/>
                  <a:pt x="101" y="93"/>
                </a:cubicBezTo>
                <a:cubicBezTo>
                  <a:pt x="97" y="96"/>
                  <a:pt x="91" y="99"/>
                  <a:pt x="89" y="103"/>
                </a:cubicBezTo>
                <a:cubicBezTo>
                  <a:pt x="87" y="106"/>
                  <a:pt x="88" y="111"/>
                  <a:pt x="86" y="114"/>
                </a:cubicBezTo>
                <a:cubicBezTo>
                  <a:pt x="83" y="121"/>
                  <a:pt x="73" y="125"/>
                  <a:pt x="68" y="129"/>
                </a:cubicBezTo>
                <a:cubicBezTo>
                  <a:pt x="64" y="131"/>
                  <a:pt x="62" y="134"/>
                  <a:pt x="59" y="137"/>
                </a:cubicBezTo>
                <a:cubicBezTo>
                  <a:pt x="58" y="138"/>
                  <a:pt x="58" y="138"/>
                  <a:pt x="58" y="138"/>
                </a:cubicBezTo>
                <a:cubicBezTo>
                  <a:pt x="55" y="138"/>
                  <a:pt x="53" y="138"/>
                  <a:pt x="51" y="135"/>
                </a:cubicBezTo>
                <a:cubicBezTo>
                  <a:pt x="47" y="128"/>
                  <a:pt x="38" y="135"/>
                  <a:pt x="33" y="133"/>
                </a:cubicBezTo>
                <a:cubicBezTo>
                  <a:pt x="28" y="132"/>
                  <a:pt x="14" y="127"/>
                  <a:pt x="4" y="117"/>
                </a:cubicBezTo>
                <a:cubicBezTo>
                  <a:pt x="3" y="116"/>
                  <a:pt x="2" y="114"/>
                  <a:pt x="0" y="113"/>
                </a:cubicBezTo>
                <a:cubicBezTo>
                  <a:pt x="0" y="112"/>
                  <a:pt x="0" y="112"/>
                  <a:pt x="0" y="112"/>
                </a:cubicBezTo>
                <a:cubicBezTo>
                  <a:pt x="1" y="107"/>
                  <a:pt x="1" y="95"/>
                  <a:pt x="2" y="89"/>
                </a:cubicBezTo>
                <a:cubicBezTo>
                  <a:pt x="3" y="81"/>
                  <a:pt x="5" y="76"/>
                  <a:pt x="11" y="72"/>
                </a:cubicBezTo>
                <a:cubicBezTo>
                  <a:pt x="18" y="68"/>
                  <a:pt x="12" y="61"/>
                  <a:pt x="25" y="64"/>
                </a:cubicBezTo>
                <a:cubicBezTo>
                  <a:pt x="39" y="66"/>
                  <a:pt x="52" y="67"/>
                  <a:pt x="54" y="64"/>
                </a:cubicBezTo>
                <a:cubicBezTo>
                  <a:pt x="55" y="61"/>
                  <a:pt x="57" y="47"/>
                  <a:pt x="50" y="43"/>
                </a:cubicBezTo>
                <a:cubicBezTo>
                  <a:pt x="42" y="38"/>
                  <a:pt x="32" y="35"/>
                  <a:pt x="36" y="31"/>
                </a:cubicBezTo>
                <a:cubicBezTo>
                  <a:pt x="40" y="28"/>
                  <a:pt x="45" y="18"/>
                  <a:pt x="48" y="16"/>
                </a:cubicBezTo>
                <a:cubicBezTo>
                  <a:pt x="51" y="13"/>
                  <a:pt x="46" y="0"/>
                  <a:pt x="58" y="7"/>
                </a:cubicBezTo>
                <a:cubicBezTo>
                  <a:pt x="69" y="13"/>
                  <a:pt x="65" y="9"/>
                  <a:pt x="76" y="8"/>
                </a:cubicBezTo>
                <a:cubicBezTo>
                  <a:pt x="87" y="7"/>
                  <a:pt x="81" y="7"/>
                  <a:pt x="87" y="7"/>
                </a:cubicBezTo>
                <a:cubicBezTo>
                  <a:pt x="90" y="6"/>
                  <a:pt x="98" y="8"/>
                  <a:pt x="102" y="1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1" name="Freeform 364"/>
          <p:cNvSpPr>
            <a:spLocks/>
          </p:cNvSpPr>
          <p:nvPr userDrawn="1"/>
        </p:nvSpPr>
        <p:spPr bwMode="auto">
          <a:xfrm>
            <a:off x="3341514" y="4728257"/>
            <a:ext cx="164159" cy="90455"/>
          </a:xfrm>
          <a:custGeom>
            <a:avLst/>
            <a:gdLst>
              <a:gd name="T0" fmla="*/ 2147483646 w 176"/>
              <a:gd name="T1" fmla="*/ 2147483646 h 98"/>
              <a:gd name="T2" fmla="*/ 2147483646 w 176"/>
              <a:gd name="T3" fmla="*/ 2147483646 h 98"/>
              <a:gd name="T4" fmla="*/ 2147483646 w 176"/>
              <a:gd name="T5" fmla="*/ 2147483646 h 98"/>
              <a:gd name="T6" fmla="*/ 2147483646 w 176"/>
              <a:gd name="T7" fmla="*/ 2147483646 h 98"/>
              <a:gd name="T8" fmla="*/ 2147483646 w 176"/>
              <a:gd name="T9" fmla="*/ 2147483646 h 98"/>
              <a:gd name="T10" fmla="*/ 2147483646 w 176"/>
              <a:gd name="T11" fmla="*/ 2147483646 h 98"/>
              <a:gd name="T12" fmla="*/ 2147483646 w 176"/>
              <a:gd name="T13" fmla="*/ 2147483646 h 98"/>
              <a:gd name="T14" fmla="*/ 2147483646 w 176"/>
              <a:gd name="T15" fmla="*/ 2147483646 h 98"/>
              <a:gd name="T16" fmla="*/ 2147483646 w 176"/>
              <a:gd name="T17" fmla="*/ 2147483646 h 98"/>
              <a:gd name="T18" fmla="*/ 2147483646 w 176"/>
              <a:gd name="T19" fmla="*/ 2147483646 h 98"/>
              <a:gd name="T20" fmla="*/ 2147483646 w 176"/>
              <a:gd name="T21" fmla="*/ 2147483646 h 98"/>
              <a:gd name="T22" fmla="*/ 2147483646 w 176"/>
              <a:gd name="T23" fmla="*/ 2147483646 h 98"/>
              <a:gd name="T24" fmla="*/ 2147483646 w 176"/>
              <a:gd name="T25" fmla="*/ 2147483646 h 98"/>
              <a:gd name="T26" fmla="*/ 2147483646 w 176"/>
              <a:gd name="T27" fmla="*/ 2147483646 h 98"/>
              <a:gd name="T28" fmla="*/ 2147483646 w 176"/>
              <a:gd name="T29" fmla="*/ 2147483646 h 98"/>
              <a:gd name="T30" fmla="*/ 2147483646 w 176"/>
              <a:gd name="T31" fmla="*/ 2147483646 h 98"/>
              <a:gd name="T32" fmla="*/ 2147483646 w 176"/>
              <a:gd name="T33" fmla="*/ 2147483646 h 98"/>
              <a:gd name="T34" fmla="*/ 2147483646 w 176"/>
              <a:gd name="T35" fmla="*/ 2147483646 h 98"/>
              <a:gd name="T36" fmla="*/ 2147483646 w 176"/>
              <a:gd name="T37" fmla="*/ 2147483646 h 98"/>
              <a:gd name="T38" fmla="*/ 2147483646 w 176"/>
              <a:gd name="T39" fmla="*/ 2147483646 h 98"/>
              <a:gd name="T40" fmla="*/ 2147483646 w 176"/>
              <a:gd name="T41" fmla="*/ 2147483646 h 98"/>
              <a:gd name="T42" fmla="*/ 2147483646 w 176"/>
              <a:gd name="T43" fmla="*/ 2147483646 h 98"/>
              <a:gd name="T44" fmla="*/ 2147483646 w 176"/>
              <a:gd name="T45" fmla="*/ 2147483646 h 98"/>
              <a:gd name="T46" fmla="*/ 2147483646 w 176"/>
              <a:gd name="T47" fmla="*/ 2147483646 h 98"/>
              <a:gd name="T48" fmla="*/ 2147483646 w 176"/>
              <a:gd name="T49" fmla="*/ 2147483646 h 98"/>
              <a:gd name="T50" fmla="*/ 2147483646 w 176"/>
              <a:gd name="T51" fmla="*/ 2147483646 h 98"/>
              <a:gd name="T52" fmla="*/ 2147483646 w 176"/>
              <a:gd name="T53" fmla="*/ 2147483646 h 98"/>
              <a:gd name="T54" fmla="*/ 2147483646 w 176"/>
              <a:gd name="T55" fmla="*/ 2147483646 h 98"/>
              <a:gd name="T56" fmla="*/ 2147483646 w 176"/>
              <a:gd name="T57" fmla="*/ 2147483646 h 98"/>
              <a:gd name="T58" fmla="*/ 2147483646 w 176"/>
              <a:gd name="T59" fmla="*/ 2147483646 h 98"/>
              <a:gd name="T60" fmla="*/ 2147483646 w 176"/>
              <a:gd name="T61" fmla="*/ 2147483646 h 98"/>
              <a:gd name="T62" fmla="*/ 2147483646 w 176"/>
              <a:gd name="T63" fmla="*/ 2147483646 h 98"/>
              <a:gd name="T64" fmla="*/ 2147483646 w 176"/>
              <a:gd name="T65" fmla="*/ 2147483646 h 98"/>
              <a:gd name="T66" fmla="*/ 2147483646 w 176"/>
              <a:gd name="T67" fmla="*/ 2147483646 h 98"/>
              <a:gd name="T68" fmla="*/ 2147483646 w 176"/>
              <a:gd name="T69" fmla="*/ 2147483646 h 9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76"/>
              <a:gd name="T106" fmla="*/ 0 h 98"/>
              <a:gd name="T107" fmla="*/ 176 w 176"/>
              <a:gd name="T108" fmla="*/ 98 h 9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76" h="98">
                <a:moveTo>
                  <a:pt x="1" y="41"/>
                </a:moveTo>
                <a:cubicBezTo>
                  <a:pt x="0" y="46"/>
                  <a:pt x="4" y="52"/>
                  <a:pt x="8" y="56"/>
                </a:cubicBezTo>
                <a:cubicBezTo>
                  <a:pt x="15" y="65"/>
                  <a:pt x="22" y="72"/>
                  <a:pt x="33" y="69"/>
                </a:cubicBezTo>
                <a:cubicBezTo>
                  <a:pt x="35" y="74"/>
                  <a:pt x="43" y="71"/>
                  <a:pt x="45" y="76"/>
                </a:cubicBezTo>
                <a:cubicBezTo>
                  <a:pt x="45" y="78"/>
                  <a:pt x="43" y="86"/>
                  <a:pt x="42" y="89"/>
                </a:cubicBezTo>
                <a:cubicBezTo>
                  <a:pt x="49" y="90"/>
                  <a:pt x="49" y="90"/>
                  <a:pt x="49" y="90"/>
                </a:cubicBezTo>
                <a:cubicBezTo>
                  <a:pt x="52" y="90"/>
                  <a:pt x="57" y="95"/>
                  <a:pt x="56" y="98"/>
                </a:cubicBezTo>
                <a:cubicBezTo>
                  <a:pt x="58" y="98"/>
                  <a:pt x="58" y="98"/>
                  <a:pt x="58" y="98"/>
                </a:cubicBezTo>
                <a:cubicBezTo>
                  <a:pt x="63" y="97"/>
                  <a:pt x="68" y="96"/>
                  <a:pt x="72" y="93"/>
                </a:cubicBezTo>
                <a:cubicBezTo>
                  <a:pt x="76" y="89"/>
                  <a:pt x="76" y="84"/>
                  <a:pt x="78" y="79"/>
                </a:cubicBezTo>
                <a:cubicBezTo>
                  <a:pt x="81" y="73"/>
                  <a:pt x="82" y="71"/>
                  <a:pt x="89" y="71"/>
                </a:cubicBezTo>
                <a:cubicBezTo>
                  <a:pt x="92" y="72"/>
                  <a:pt x="94" y="73"/>
                  <a:pt x="96" y="72"/>
                </a:cubicBezTo>
                <a:cubicBezTo>
                  <a:pt x="99" y="71"/>
                  <a:pt x="99" y="67"/>
                  <a:pt x="103" y="67"/>
                </a:cubicBezTo>
                <a:cubicBezTo>
                  <a:pt x="105" y="67"/>
                  <a:pt x="106" y="70"/>
                  <a:pt x="109" y="70"/>
                </a:cubicBezTo>
                <a:cubicBezTo>
                  <a:pt x="114" y="70"/>
                  <a:pt x="116" y="63"/>
                  <a:pt x="118" y="59"/>
                </a:cubicBezTo>
                <a:cubicBezTo>
                  <a:pt x="125" y="50"/>
                  <a:pt x="127" y="47"/>
                  <a:pt x="138" y="47"/>
                </a:cubicBezTo>
                <a:cubicBezTo>
                  <a:pt x="143" y="47"/>
                  <a:pt x="149" y="49"/>
                  <a:pt x="153" y="47"/>
                </a:cubicBezTo>
                <a:cubicBezTo>
                  <a:pt x="157" y="47"/>
                  <a:pt x="160" y="44"/>
                  <a:pt x="163" y="43"/>
                </a:cubicBezTo>
                <a:cubicBezTo>
                  <a:pt x="166" y="42"/>
                  <a:pt x="168" y="42"/>
                  <a:pt x="170" y="41"/>
                </a:cubicBezTo>
                <a:cubicBezTo>
                  <a:pt x="172" y="40"/>
                  <a:pt x="173" y="39"/>
                  <a:pt x="175" y="39"/>
                </a:cubicBezTo>
                <a:cubicBezTo>
                  <a:pt x="176" y="39"/>
                  <a:pt x="176" y="39"/>
                  <a:pt x="176" y="39"/>
                </a:cubicBezTo>
                <a:cubicBezTo>
                  <a:pt x="175" y="35"/>
                  <a:pt x="174" y="32"/>
                  <a:pt x="174" y="32"/>
                </a:cubicBezTo>
                <a:cubicBezTo>
                  <a:pt x="163" y="22"/>
                  <a:pt x="163" y="22"/>
                  <a:pt x="163" y="22"/>
                </a:cubicBezTo>
                <a:cubicBezTo>
                  <a:pt x="163" y="22"/>
                  <a:pt x="145" y="23"/>
                  <a:pt x="141" y="14"/>
                </a:cubicBezTo>
                <a:cubicBezTo>
                  <a:pt x="138" y="5"/>
                  <a:pt x="139" y="0"/>
                  <a:pt x="129" y="1"/>
                </a:cubicBezTo>
                <a:cubicBezTo>
                  <a:pt x="119" y="3"/>
                  <a:pt x="114" y="4"/>
                  <a:pt x="105" y="7"/>
                </a:cubicBezTo>
                <a:cubicBezTo>
                  <a:pt x="96" y="10"/>
                  <a:pt x="94" y="5"/>
                  <a:pt x="85" y="4"/>
                </a:cubicBezTo>
                <a:cubicBezTo>
                  <a:pt x="76" y="4"/>
                  <a:pt x="63" y="7"/>
                  <a:pt x="55" y="7"/>
                </a:cubicBezTo>
                <a:cubicBezTo>
                  <a:pt x="51" y="7"/>
                  <a:pt x="47" y="5"/>
                  <a:pt x="43" y="4"/>
                </a:cubicBezTo>
                <a:cubicBezTo>
                  <a:pt x="42" y="6"/>
                  <a:pt x="42" y="6"/>
                  <a:pt x="42" y="6"/>
                </a:cubicBezTo>
                <a:cubicBezTo>
                  <a:pt x="39" y="9"/>
                  <a:pt x="33" y="10"/>
                  <a:pt x="29" y="13"/>
                </a:cubicBezTo>
                <a:cubicBezTo>
                  <a:pt x="23" y="16"/>
                  <a:pt x="18" y="19"/>
                  <a:pt x="13" y="23"/>
                </a:cubicBezTo>
                <a:cubicBezTo>
                  <a:pt x="10" y="26"/>
                  <a:pt x="4" y="29"/>
                  <a:pt x="2" y="33"/>
                </a:cubicBezTo>
                <a:cubicBezTo>
                  <a:pt x="1" y="35"/>
                  <a:pt x="1" y="37"/>
                  <a:pt x="1" y="39"/>
                </a:cubicBezTo>
                <a:lnTo>
                  <a:pt x="1" y="4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2" name="Freeform 365"/>
          <p:cNvSpPr>
            <a:spLocks/>
          </p:cNvSpPr>
          <p:nvPr userDrawn="1"/>
        </p:nvSpPr>
        <p:spPr bwMode="auto">
          <a:xfrm>
            <a:off x="8983225" y="6111883"/>
            <a:ext cx="80404" cy="80404"/>
          </a:xfrm>
          <a:custGeom>
            <a:avLst/>
            <a:gdLst>
              <a:gd name="T0" fmla="*/ 2147483646 w 86"/>
              <a:gd name="T1" fmla="*/ 2147483646 h 87"/>
              <a:gd name="T2" fmla="*/ 2147483646 w 86"/>
              <a:gd name="T3" fmla="*/ 2147483646 h 87"/>
              <a:gd name="T4" fmla="*/ 2147483646 w 86"/>
              <a:gd name="T5" fmla="*/ 2147483646 h 87"/>
              <a:gd name="T6" fmla="*/ 2147483646 w 86"/>
              <a:gd name="T7" fmla="*/ 2147483646 h 87"/>
              <a:gd name="T8" fmla="*/ 2147483646 w 86"/>
              <a:gd name="T9" fmla="*/ 2147483646 h 87"/>
              <a:gd name="T10" fmla="*/ 2147483646 w 86"/>
              <a:gd name="T11" fmla="*/ 2147483646 h 87"/>
              <a:gd name="T12" fmla="*/ 2147483646 w 86"/>
              <a:gd name="T13" fmla="*/ 2147483646 h 87"/>
              <a:gd name="T14" fmla="*/ 2147483646 w 86"/>
              <a:gd name="T15" fmla="*/ 2147483646 h 87"/>
              <a:gd name="T16" fmla="*/ 2147483646 w 86"/>
              <a:gd name="T17" fmla="*/ 2147483646 h 87"/>
              <a:gd name="T18" fmla="*/ 2147483646 w 86"/>
              <a:gd name="T19" fmla="*/ 2147483646 h 87"/>
              <a:gd name="T20" fmla="*/ 2147483646 w 86"/>
              <a:gd name="T21" fmla="*/ 2147483646 h 87"/>
              <a:gd name="T22" fmla="*/ 2147483646 w 86"/>
              <a:gd name="T23" fmla="*/ 2147483646 h 87"/>
              <a:gd name="T24" fmla="*/ 2147483646 w 86"/>
              <a:gd name="T25" fmla="*/ 2147483646 h 87"/>
              <a:gd name="T26" fmla="*/ 2147483646 w 86"/>
              <a:gd name="T27" fmla="*/ 2147483646 h 87"/>
              <a:gd name="T28" fmla="*/ 2147483646 w 86"/>
              <a:gd name="T29" fmla="*/ 2147483646 h 87"/>
              <a:gd name="T30" fmla="*/ 2147483646 w 86"/>
              <a:gd name="T31" fmla="*/ 2147483646 h 87"/>
              <a:gd name="T32" fmla="*/ 2147483646 w 86"/>
              <a:gd name="T33" fmla="*/ 2147483646 h 87"/>
              <a:gd name="T34" fmla="*/ 2147483646 w 86"/>
              <a:gd name="T35" fmla="*/ 2147483646 h 87"/>
              <a:gd name="T36" fmla="*/ 2147483646 w 86"/>
              <a:gd name="T37" fmla="*/ 2147483646 h 87"/>
              <a:gd name="T38" fmla="*/ 2147483646 w 86"/>
              <a:gd name="T39" fmla="*/ 2147483646 h 87"/>
              <a:gd name="T40" fmla="*/ 2147483646 w 86"/>
              <a:gd name="T41" fmla="*/ 2147483646 h 87"/>
              <a:gd name="T42" fmla="*/ 2147483646 w 86"/>
              <a:gd name="T43" fmla="*/ 2147483646 h 8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6"/>
              <a:gd name="T67" fmla="*/ 0 h 87"/>
              <a:gd name="T68" fmla="*/ 86 w 86"/>
              <a:gd name="T69" fmla="*/ 87 h 8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6" h="87">
                <a:moveTo>
                  <a:pt x="59" y="10"/>
                </a:moveTo>
                <a:cubicBezTo>
                  <a:pt x="56" y="6"/>
                  <a:pt x="53" y="11"/>
                  <a:pt x="48" y="12"/>
                </a:cubicBezTo>
                <a:cubicBezTo>
                  <a:pt x="42" y="14"/>
                  <a:pt x="35" y="13"/>
                  <a:pt x="31" y="10"/>
                </a:cubicBezTo>
                <a:cubicBezTo>
                  <a:pt x="27" y="7"/>
                  <a:pt x="15" y="0"/>
                  <a:pt x="10" y="1"/>
                </a:cubicBezTo>
                <a:cubicBezTo>
                  <a:pt x="5" y="2"/>
                  <a:pt x="5" y="6"/>
                  <a:pt x="5" y="10"/>
                </a:cubicBezTo>
                <a:cubicBezTo>
                  <a:pt x="6" y="14"/>
                  <a:pt x="0" y="16"/>
                  <a:pt x="7" y="23"/>
                </a:cubicBezTo>
                <a:cubicBezTo>
                  <a:pt x="14" y="29"/>
                  <a:pt x="18" y="29"/>
                  <a:pt x="19" y="36"/>
                </a:cubicBezTo>
                <a:cubicBezTo>
                  <a:pt x="19" y="44"/>
                  <a:pt x="19" y="46"/>
                  <a:pt x="18" y="51"/>
                </a:cubicBezTo>
                <a:cubicBezTo>
                  <a:pt x="18" y="55"/>
                  <a:pt x="13" y="55"/>
                  <a:pt x="18" y="58"/>
                </a:cubicBezTo>
                <a:cubicBezTo>
                  <a:pt x="23" y="61"/>
                  <a:pt x="32" y="61"/>
                  <a:pt x="31" y="66"/>
                </a:cubicBezTo>
                <a:cubicBezTo>
                  <a:pt x="29" y="71"/>
                  <a:pt x="27" y="87"/>
                  <a:pt x="32" y="86"/>
                </a:cubicBezTo>
                <a:cubicBezTo>
                  <a:pt x="38" y="86"/>
                  <a:pt x="50" y="86"/>
                  <a:pt x="51" y="81"/>
                </a:cubicBezTo>
                <a:cubicBezTo>
                  <a:pt x="52" y="75"/>
                  <a:pt x="50" y="67"/>
                  <a:pt x="55" y="68"/>
                </a:cubicBezTo>
                <a:cubicBezTo>
                  <a:pt x="61" y="68"/>
                  <a:pt x="63" y="71"/>
                  <a:pt x="64" y="69"/>
                </a:cubicBezTo>
                <a:cubicBezTo>
                  <a:pt x="66" y="68"/>
                  <a:pt x="65" y="57"/>
                  <a:pt x="69" y="66"/>
                </a:cubicBezTo>
                <a:cubicBezTo>
                  <a:pt x="73" y="76"/>
                  <a:pt x="78" y="73"/>
                  <a:pt x="75" y="67"/>
                </a:cubicBezTo>
                <a:cubicBezTo>
                  <a:pt x="72" y="60"/>
                  <a:pt x="72" y="55"/>
                  <a:pt x="73" y="52"/>
                </a:cubicBezTo>
                <a:cubicBezTo>
                  <a:pt x="75" y="49"/>
                  <a:pt x="75" y="47"/>
                  <a:pt x="78" y="42"/>
                </a:cubicBezTo>
                <a:cubicBezTo>
                  <a:pt x="81" y="37"/>
                  <a:pt x="82" y="30"/>
                  <a:pt x="83" y="25"/>
                </a:cubicBezTo>
                <a:cubicBezTo>
                  <a:pt x="84" y="20"/>
                  <a:pt x="86" y="16"/>
                  <a:pt x="85" y="11"/>
                </a:cubicBezTo>
                <a:cubicBezTo>
                  <a:pt x="84" y="7"/>
                  <a:pt x="82" y="5"/>
                  <a:pt x="79" y="4"/>
                </a:cubicBezTo>
                <a:cubicBezTo>
                  <a:pt x="77" y="2"/>
                  <a:pt x="62" y="14"/>
                  <a:pt x="59" y="1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3" name="Freeform 366"/>
          <p:cNvSpPr>
            <a:spLocks/>
          </p:cNvSpPr>
          <p:nvPr userDrawn="1"/>
        </p:nvSpPr>
        <p:spPr bwMode="auto">
          <a:xfrm>
            <a:off x="8966474" y="6083408"/>
            <a:ext cx="8375" cy="18425"/>
          </a:xfrm>
          <a:custGeom>
            <a:avLst/>
            <a:gdLst>
              <a:gd name="T0" fmla="*/ 2147483646 w 9"/>
              <a:gd name="T1" fmla="*/ 2147483646 h 20"/>
              <a:gd name="T2" fmla="*/ 0 w 9"/>
              <a:gd name="T3" fmla="*/ 2147483646 h 20"/>
              <a:gd name="T4" fmla="*/ 2147483646 w 9"/>
              <a:gd name="T5" fmla="*/ 2147483646 h 20"/>
              <a:gd name="T6" fmla="*/ 2147483646 w 9"/>
              <a:gd name="T7" fmla="*/ 2147483646 h 20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20"/>
              <a:gd name="T14" fmla="*/ 9 w 9"/>
              <a:gd name="T15" fmla="*/ 20 h 2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20">
                <a:moveTo>
                  <a:pt x="6" y="3"/>
                </a:moveTo>
                <a:cubicBezTo>
                  <a:pt x="4" y="0"/>
                  <a:pt x="1" y="3"/>
                  <a:pt x="0" y="9"/>
                </a:cubicBezTo>
                <a:cubicBezTo>
                  <a:pt x="0" y="14"/>
                  <a:pt x="2" y="20"/>
                  <a:pt x="4" y="18"/>
                </a:cubicBezTo>
                <a:cubicBezTo>
                  <a:pt x="7" y="15"/>
                  <a:pt x="9" y="7"/>
                  <a:pt x="6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4" name="Freeform 367"/>
          <p:cNvSpPr>
            <a:spLocks/>
          </p:cNvSpPr>
          <p:nvPr userDrawn="1"/>
        </p:nvSpPr>
        <p:spPr bwMode="auto">
          <a:xfrm>
            <a:off x="9050229" y="6085082"/>
            <a:ext cx="13401" cy="20101"/>
          </a:xfrm>
          <a:custGeom>
            <a:avLst/>
            <a:gdLst>
              <a:gd name="T0" fmla="*/ 2147483646 w 15"/>
              <a:gd name="T1" fmla="*/ 2147483646 h 21"/>
              <a:gd name="T2" fmla="*/ 2147483646 w 15"/>
              <a:gd name="T3" fmla="*/ 2147483646 h 21"/>
              <a:gd name="T4" fmla="*/ 2147483646 w 15"/>
              <a:gd name="T5" fmla="*/ 2147483646 h 21"/>
              <a:gd name="T6" fmla="*/ 2147483646 w 15"/>
              <a:gd name="T7" fmla="*/ 2147483646 h 21"/>
              <a:gd name="T8" fmla="*/ 2147483646 w 15"/>
              <a:gd name="T9" fmla="*/ 2147483646 h 2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"/>
              <a:gd name="T16" fmla="*/ 0 h 21"/>
              <a:gd name="T17" fmla="*/ 15 w 15"/>
              <a:gd name="T18" fmla="*/ 21 h 2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" h="21">
                <a:moveTo>
                  <a:pt x="4" y="2"/>
                </a:moveTo>
                <a:cubicBezTo>
                  <a:pt x="0" y="4"/>
                  <a:pt x="3" y="8"/>
                  <a:pt x="4" y="12"/>
                </a:cubicBezTo>
                <a:cubicBezTo>
                  <a:pt x="6" y="16"/>
                  <a:pt x="7" y="21"/>
                  <a:pt x="9" y="19"/>
                </a:cubicBezTo>
                <a:cubicBezTo>
                  <a:pt x="11" y="18"/>
                  <a:pt x="15" y="14"/>
                  <a:pt x="15" y="14"/>
                </a:cubicBezTo>
                <a:cubicBezTo>
                  <a:pt x="15" y="14"/>
                  <a:pt x="9" y="0"/>
                  <a:pt x="4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5" name="Freeform 368"/>
          <p:cNvSpPr>
            <a:spLocks/>
          </p:cNvSpPr>
          <p:nvPr userDrawn="1"/>
        </p:nvSpPr>
        <p:spPr bwMode="auto">
          <a:xfrm>
            <a:off x="9455601" y="5597629"/>
            <a:ext cx="90455" cy="73704"/>
          </a:xfrm>
          <a:custGeom>
            <a:avLst/>
            <a:gdLst>
              <a:gd name="T0" fmla="*/ 2147483646 w 96"/>
              <a:gd name="T1" fmla="*/ 2147483646 h 80"/>
              <a:gd name="T2" fmla="*/ 2147483646 w 96"/>
              <a:gd name="T3" fmla="*/ 2147483646 h 80"/>
              <a:gd name="T4" fmla="*/ 2147483646 w 96"/>
              <a:gd name="T5" fmla="*/ 2147483646 h 80"/>
              <a:gd name="T6" fmla="*/ 2147483646 w 96"/>
              <a:gd name="T7" fmla="*/ 2147483646 h 80"/>
              <a:gd name="T8" fmla="*/ 2147483646 w 96"/>
              <a:gd name="T9" fmla="*/ 2147483646 h 80"/>
              <a:gd name="T10" fmla="*/ 2147483646 w 96"/>
              <a:gd name="T11" fmla="*/ 2147483646 h 80"/>
              <a:gd name="T12" fmla="*/ 2147483646 w 96"/>
              <a:gd name="T13" fmla="*/ 2147483646 h 80"/>
              <a:gd name="T14" fmla="*/ 2147483646 w 96"/>
              <a:gd name="T15" fmla="*/ 2147483646 h 80"/>
              <a:gd name="T16" fmla="*/ 2147483646 w 96"/>
              <a:gd name="T17" fmla="*/ 2147483646 h 80"/>
              <a:gd name="T18" fmla="*/ 2147483646 w 96"/>
              <a:gd name="T19" fmla="*/ 2147483646 h 80"/>
              <a:gd name="T20" fmla="*/ 2147483646 w 96"/>
              <a:gd name="T21" fmla="*/ 2147483646 h 80"/>
              <a:gd name="T22" fmla="*/ 2147483646 w 96"/>
              <a:gd name="T23" fmla="*/ 2147483646 h 80"/>
              <a:gd name="T24" fmla="*/ 2147483646 w 96"/>
              <a:gd name="T25" fmla="*/ 2147483646 h 80"/>
              <a:gd name="T26" fmla="*/ 2147483646 w 96"/>
              <a:gd name="T27" fmla="*/ 2147483646 h 80"/>
              <a:gd name="T28" fmla="*/ 2147483646 w 96"/>
              <a:gd name="T29" fmla="*/ 2147483646 h 80"/>
              <a:gd name="T30" fmla="*/ 2147483646 w 96"/>
              <a:gd name="T31" fmla="*/ 2147483646 h 80"/>
              <a:gd name="T32" fmla="*/ 2147483646 w 96"/>
              <a:gd name="T33" fmla="*/ 2147483646 h 80"/>
              <a:gd name="T34" fmla="*/ 2147483646 w 96"/>
              <a:gd name="T35" fmla="*/ 2147483646 h 80"/>
              <a:gd name="T36" fmla="*/ 2147483646 w 96"/>
              <a:gd name="T37" fmla="*/ 2147483646 h 80"/>
              <a:gd name="T38" fmla="*/ 2147483646 w 96"/>
              <a:gd name="T39" fmla="*/ 2147483646 h 80"/>
              <a:gd name="T40" fmla="*/ 2147483646 w 96"/>
              <a:gd name="T41" fmla="*/ 2147483646 h 80"/>
              <a:gd name="T42" fmla="*/ 2147483646 w 96"/>
              <a:gd name="T43" fmla="*/ 2147483646 h 80"/>
              <a:gd name="T44" fmla="*/ 2147483646 w 96"/>
              <a:gd name="T45" fmla="*/ 2147483646 h 80"/>
              <a:gd name="T46" fmla="*/ 2147483646 w 96"/>
              <a:gd name="T47" fmla="*/ 2147483646 h 80"/>
              <a:gd name="T48" fmla="*/ 2147483646 w 96"/>
              <a:gd name="T49" fmla="*/ 2147483646 h 80"/>
              <a:gd name="T50" fmla="*/ 2147483646 w 96"/>
              <a:gd name="T51" fmla="*/ 2147483646 h 80"/>
              <a:gd name="T52" fmla="*/ 2147483646 w 96"/>
              <a:gd name="T53" fmla="*/ 2147483646 h 80"/>
              <a:gd name="T54" fmla="*/ 2147483646 w 96"/>
              <a:gd name="T55" fmla="*/ 2147483646 h 80"/>
              <a:gd name="T56" fmla="*/ 2147483646 w 96"/>
              <a:gd name="T57" fmla="*/ 2147483646 h 80"/>
              <a:gd name="T58" fmla="*/ 2147483646 w 96"/>
              <a:gd name="T59" fmla="*/ 2147483646 h 80"/>
              <a:gd name="T60" fmla="*/ 2147483646 w 96"/>
              <a:gd name="T61" fmla="*/ 2147483646 h 80"/>
              <a:gd name="T62" fmla="*/ 2147483646 w 96"/>
              <a:gd name="T63" fmla="*/ 2147483646 h 80"/>
              <a:gd name="T64" fmla="*/ 2147483646 w 96"/>
              <a:gd name="T65" fmla="*/ 2147483646 h 80"/>
              <a:gd name="T66" fmla="*/ 2147483646 w 96"/>
              <a:gd name="T67" fmla="*/ 2147483646 h 80"/>
              <a:gd name="T68" fmla="*/ 2147483646 w 96"/>
              <a:gd name="T69" fmla="*/ 2147483646 h 80"/>
              <a:gd name="T70" fmla="*/ 2147483646 w 96"/>
              <a:gd name="T71" fmla="*/ 2147483646 h 80"/>
              <a:gd name="T72" fmla="*/ 2147483646 w 96"/>
              <a:gd name="T73" fmla="*/ 2147483646 h 80"/>
              <a:gd name="T74" fmla="*/ 2147483646 w 96"/>
              <a:gd name="T75" fmla="*/ 2147483646 h 8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96"/>
              <a:gd name="T115" fmla="*/ 0 h 80"/>
              <a:gd name="T116" fmla="*/ 96 w 96"/>
              <a:gd name="T117" fmla="*/ 80 h 8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96" h="80">
                <a:moveTo>
                  <a:pt x="2" y="1"/>
                </a:moveTo>
                <a:cubicBezTo>
                  <a:pt x="1" y="1"/>
                  <a:pt x="0" y="3"/>
                  <a:pt x="2" y="3"/>
                </a:cubicBezTo>
                <a:cubicBezTo>
                  <a:pt x="3" y="3"/>
                  <a:pt x="5" y="4"/>
                  <a:pt x="5" y="4"/>
                </a:cubicBezTo>
                <a:cubicBezTo>
                  <a:pt x="5" y="5"/>
                  <a:pt x="3" y="6"/>
                  <a:pt x="3" y="6"/>
                </a:cubicBezTo>
                <a:cubicBezTo>
                  <a:pt x="3" y="6"/>
                  <a:pt x="2" y="8"/>
                  <a:pt x="2" y="8"/>
                </a:cubicBezTo>
                <a:cubicBezTo>
                  <a:pt x="3" y="9"/>
                  <a:pt x="4" y="8"/>
                  <a:pt x="5" y="8"/>
                </a:cubicBezTo>
                <a:cubicBezTo>
                  <a:pt x="6" y="9"/>
                  <a:pt x="5" y="7"/>
                  <a:pt x="6" y="8"/>
                </a:cubicBezTo>
                <a:cubicBezTo>
                  <a:pt x="7" y="9"/>
                  <a:pt x="5" y="11"/>
                  <a:pt x="5" y="12"/>
                </a:cubicBezTo>
                <a:cubicBezTo>
                  <a:pt x="6" y="13"/>
                  <a:pt x="10" y="14"/>
                  <a:pt x="10" y="16"/>
                </a:cubicBezTo>
                <a:cubicBezTo>
                  <a:pt x="11" y="17"/>
                  <a:pt x="10" y="18"/>
                  <a:pt x="11" y="19"/>
                </a:cubicBezTo>
                <a:cubicBezTo>
                  <a:pt x="12" y="19"/>
                  <a:pt x="13" y="20"/>
                  <a:pt x="14" y="21"/>
                </a:cubicBezTo>
                <a:cubicBezTo>
                  <a:pt x="15" y="22"/>
                  <a:pt x="15" y="23"/>
                  <a:pt x="15" y="23"/>
                </a:cubicBezTo>
                <a:cubicBezTo>
                  <a:pt x="14" y="24"/>
                  <a:pt x="20" y="27"/>
                  <a:pt x="20" y="28"/>
                </a:cubicBezTo>
                <a:cubicBezTo>
                  <a:pt x="21" y="29"/>
                  <a:pt x="23" y="29"/>
                  <a:pt x="23" y="30"/>
                </a:cubicBezTo>
                <a:cubicBezTo>
                  <a:pt x="24" y="31"/>
                  <a:pt x="22" y="32"/>
                  <a:pt x="23" y="33"/>
                </a:cubicBezTo>
                <a:cubicBezTo>
                  <a:pt x="23" y="34"/>
                  <a:pt x="26" y="36"/>
                  <a:pt x="27" y="35"/>
                </a:cubicBezTo>
                <a:cubicBezTo>
                  <a:pt x="27" y="34"/>
                  <a:pt x="26" y="31"/>
                  <a:pt x="27" y="34"/>
                </a:cubicBezTo>
                <a:cubicBezTo>
                  <a:pt x="29" y="37"/>
                  <a:pt x="27" y="37"/>
                  <a:pt x="29" y="39"/>
                </a:cubicBezTo>
                <a:cubicBezTo>
                  <a:pt x="31" y="40"/>
                  <a:pt x="32" y="42"/>
                  <a:pt x="32" y="42"/>
                </a:cubicBezTo>
                <a:cubicBezTo>
                  <a:pt x="32" y="42"/>
                  <a:pt x="30" y="44"/>
                  <a:pt x="31" y="44"/>
                </a:cubicBezTo>
                <a:cubicBezTo>
                  <a:pt x="33" y="44"/>
                  <a:pt x="34" y="42"/>
                  <a:pt x="35" y="43"/>
                </a:cubicBezTo>
                <a:cubicBezTo>
                  <a:pt x="36" y="44"/>
                  <a:pt x="37" y="46"/>
                  <a:pt x="37" y="46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49"/>
                  <a:pt x="40" y="48"/>
                  <a:pt x="41" y="49"/>
                </a:cubicBezTo>
                <a:cubicBezTo>
                  <a:pt x="42" y="51"/>
                  <a:pt x="45" y="52"/>
                  <a:pt x="46" y="52"/>
                </a:cubicBezTo>
                <a:cubicBezTo>
                  <a:pt x="48" y="53"/>
                  <a:pt x="51" y="56"/>
                  <a:pt x="51" y="56"/>
                </a:cubicBezTo>
                <a:cubicBezTo>
                  <a:pt x="51" y="56"/>
                  <a:pt x="53" y="58"/>
                  <a:pt x="55" y="58"/>
                </a:cubicBezTo>
                <a:cubicBezTo>
                  <a:pt x="56" y="58"/>
                  <a:pt x="58" y="57"/>
                  <a:pt x="59" y="59"/>
                </a:cubicBezTo>
                <a:cubicBezTo>
                  <a:pt x="59" y="60"/>
                  <a:pt x="60" y="61"/>
                  <a:pt x="61" y="62"/>
                </a:cubicBezTo>
                <a:cubicBezTo>
                  <a:pt x="62" y="62"/>
                  <a:pt x="62" y="62"/>
                  <a:pt x="63" y="64"/>
                </a:cubicBezTo>
                <a:cubicBezTo>
                  <a:pt x="65" y="65"/>
                  <a:pt x="63" y="59"/>
                  <a:pt x="66" y="63"/>
                </a:cubicBezTo>
                <a:cubicBezTo>
                  <a:pt x="69" y="67"/>
                  <a:pt x="69" y="67"/>
                  <a:pt x="68" y="68"/>
                </a:cubicBezTo>
                <a:cubicBezTo>
                  <a:pt x="68" y="68"/>
                  <a:pt x="66" y="67"/>
                  <a:pt x="67" y="68"/>
                </a:cubicBezTo>
                <a:cubicBezTo>
                  <a:pt x="68" y="69"/>
                  <a:pt x="70" y="69"/>
                  <a:pt x="72" y="70"/>
                </a:cubicBezTo>
                <a:cubicBezTo>
                  <a:pt x="74" y="72"/>
                  <a:pt x="74" y="72"/>
                  <a:pt x="76" y="73"/>
                </a:cubicBezTo>
                <a:cubicBezTo>
                  <a:pt x="77" y="73"/>
                  <a:pt x="78" y="69"/>
                  <a:pt x="80" y="71"/>
                </a:cubicBezTo>
                <a:cubicBezTo>
                  <a:pt x="82" y="73"/>
                  <a:pt x="81" y="75"/>
                  <a:pt x="83" y="76"/>
                </a:cubicBezTo>
                <a:cubicBezTo>
                  <a:pt x="86" y="76"/>
                  <a:pt x="87" y="74"/>
                  <a:pt x="87" y="76"/>
                </a:cubicBezTo>
                <a:cubicBezTo>
                  <a:pt x="87" y="78"/>
                  <a:pt x="87" y="79"/>
                  <a:pt x="88" y="80"/>
                </a:cubicBezTo>
                <a:cubicBezTo>
                  <a:pt x="90" y="80"/>
                  <a:pt x="88" y="76"/>
                  <a:pt x="91" y="78"/>
                </a:cubicBezTo>
                <a:cubicBezTo>
                  <a:pt x="94" y="79"/>
                  <a:pt x="95" y="78"/>
                  <a:pt x="95" y="77"/>
                </a:cubicBezTo>
                <a:cubicBezTo>
                  <a:pt x="96" y="75"/>
                  <a:pt x="95" y="72"/>
                  <a:pt x="95" y="72"/>
                </a:cubicBezTo>
                <a:cubicBezTo>
                  <a:pt x="95" y="72"/>
                  <a:pt x="92" y="72"/>
                  <a:pt x="92" y="71"/>
                </a:cubicBezTo>
                <a:cubicBezTo>
                  <a:pt x="91" y="70"/>
                  <a:pt x="91" y="67"/>
                  <a:pt x="90" y="67"/>
                </a:cubicBezTo>
                <a:cubicBezTo>
                  <a:pt x="89" y="67"/>
                  <a:pt x="87" y="67"/>
                  <a:pt x="86" y="66"/>
                </a:cubicBezTo>
                <a:cubicBezTo>
                  <a:pt x="85" y="64"/>
                  <a:pt x="85" y="62"/>
                  <a:pt x="84" y="61"/>
                </a:cubicBezTo>
                <a:cubicBezTo>
                  <a:pt x="83" y="60"/>
                  <a:pt x="82" y="60"/>
                  <a:pt x="81" y="60"/>
                </a:cubicBezTo>
                <a:cubicBezTo>
                  <a:pt x="79" y="60"/>
                  <a:pt x="78" y="58"/>
                  <a:pt x="77" y="57"/>
                </a:cubicBezTo>
                <a:cubicBezTo>
                  <a:pt x="76" y="56"/>
                  <a:pt x="76" y="53"/>
                  <a:pt x="75" y="54"/>
                </a:cubicBezTo>
                <a:cubicBezTo>
                  <a:pt x="74" y="55"/>
                  <a:pt x="73" y="53"/>
                  <a:pt x="73" y="54"/>
                </a:cubicBezTo>
                <a:cubicBezTo>
                  <a:pt x="72" y="55"/>
                  <a:pt x="72" y="51"/>
                  <a:pt x="70" y="51"/>
                </a:cubicBezTo>
                <a:cubicBezTo>
                  <a:pt x="69" y="51"/>
                  <a:pt x="68" y="50"/>
                  <a:pt x="68" y="49"/>
                </a:cubicBezTo>
                <a:cubicBezTo>
                  <a:pt x="67" y="49"/>
                  <a:pt x="67" y="47"/>
                  <a:pt x="67" y="48"/>
                </a:cubicBezTo>
                <a:cubicBezTo>
                  <a:pt x="66" y="49"/>
                  <a:pt x="65" y="49"/>
                  <a:pt x="64" y="48"/>
                </a:cubicBezTo>
                <a:cubicBezTo>
                  <a:pt x="64" y="47"/>
                  <a:pt x="63" y="44"/>
                  <a:pt x="63" y="45"/>
                </a:cubicBezTo>
                <a:cubicBezTo>
                  <a:pt x="63" y="47"/>
                  <a:pt x="61" y="47"/>
                  <a:pt x="61" y="46"/>
                </a:cubicBezTo>
                <a:cubicBezTo>
                  <a:pt x="61" y="46"/>
                  <a:pt x="62" y="44"/>
                  <a:pt x="61" y="44"/>
                </a:cubicBezTo>
                <a:cubicBezTo>
                  <a:pt x="59" y="44"/>
                  <a:pt x="60" y="43"/>
                  <a:pt x="59" y="44"/>
                </a:cubicBezTo>
                <a:cubicBezTo>
                  <a:pt x="59" y="46"/>
                  <a:pt x="58" y="46"/>
                  <a:pt x="58" y="45"/>
                </a:cubicBezTo>
                <a:cubicBezTo>
                  <a:pt x="57" y="44"/>
                  <a:pt x="58" y="42"/>
                  <a:pt x="56" y="41"/>
                </a:cubicBezTo>
                <a:cubicBezTo>
                  <a:pt x="55" y="41"/>
                  <a:pt x="54" y="41"/>
                  <a:pt x="52" y="40"/>
                </a:cubicBezTo>
                <a:cubicBezTo>
                  <a:pt x="50" y="40"/>
                  <a:pt x="49" y="37"/>
                  <a:pt x="50" y="37"/>
                </a:cubicBezTo>
                <a:cubicBezTo>
                  <a:pt x="51" y="37"/>
                  <a:pt x="52" y="36"/>
                  <a:pt x="51" y="36"/>
                </a:cubicBezTo>
                <a:cubicBezTo>
                  <a:pt x="50" y="36"/>
                  <a:pt x="46" y="29"/>
                  <a:pt x="46" y="29"/>
                </a:cubicBezTo>
                <a:cubicBezTo>
                  <a:pt x="46" y="29"/>
                  <a:pt x="44" y="28"/>
                  <a:pt x="43" y="29"/>
                </a:cubicBezTo>
                <a:cubicBezTo>
                  <a:pt x="42" y="29"/>
                  <a:pt x="40" y="26"/>
                  <a:pt x="40" y="25"/>
                </a:cubicBezTo>
                <a:cubicBezTo>
                  <a:pt x="40" y="23"/>
                  <a:pt x="40" y="22"/>
                  <a:pt x="38" y="22"/>
                </a:cubicBezTo>
                <a:cubicBezTo>
                  <a:pt x="37" y="22"/>
                  <a:pt x="33" y="21"/>
                  <a:pt x="31" y="20"/>
                </a:cubicBezTo>
                <a:cubicBezTo>
                  <a:pt x="29" y="19"/>
                  <a:pt x="27" y="18"/>
                  <a:pt x="26" y="16"/>
                </a:cubicBezTo>
                <a:cubicBezTo>
                  <a:pt x="25" y="14"/>
                  <a:pt x="24" y="12"/>
                  <a:pt x="23" y="11"/>
                </a:cubicBezTo>
                <a:cubicBezTo>
                  <a:pt x="21" y="10"/>
                  <a:pt x="21" y="10"/>
                  <a:pt x="19" y="8"/>
                </a:cubicBezTo>
                <a:cubicBezTo>
                  <a:pt x="17" y="6"/>
                  <a:pt x="15" y="4"/>
                  <a:pt x="14" y="5"/>
                </a:cubicBezTo>
                <a:cubicBezTo>
                  <a:pt x="13" y="6"/>
                  <a:pt x="11" y="4"/>
                  <a:pt x="11" y="5"/>
                </a:cubicBezTo>
                <a:cubicBezTo>
                  <a:pt x="11" y="7"/>
                  <a:pt x="5" y="2"/>
                  <a:pt x="5" y="2"/>
                </a:cubicBezTo>
                <a:cubicBezTo>
                  <a:pt x="5" y="2"/>
                  <a:pt x="4" y="0"/>
                  <a:pt x="3" y="1"/>
                </a:cubicBezTo>
                <a:cubicBezTo>
                  <a:pt x="2" y="1"/>
                  <a:pt x="2" y="1"/>
                  <a:pt x="2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6" name="Freeform 369"/>
          <p:cNvSpPr>
            <a:spLocks/>
          </p:cNvSpPr>
          <p:nvPr userDrawn="1"/>
        </p:nvSpPr>
        <p:spPr bwMode="auto">
          <a:xfrm>
            <a:off x="9539355" y="5616055"/>
            <a:ext cx="11725" cy="15076"/>
          </a:xfrm>
          <a:custGeom>
            <a:avLst/>
            <a:gdLst>
              <a:gd name="T0" fmla="*/ 2147483646 w 13"/>
              <a:gd name="T1" fmla="*/ 0 h 16"/>
              <a:gd name="T2" fmla="*/ 2147483646 w 13"/>
              <a:gd name="T3" fmla="*/ 0 h 16"/>
              <a:gd name="T4" fmla="*/ 2147483646 w 13"/>
              <a:gd name="T5" fmla="*/ 2147483646 h 16"/>
              <a:gd name="T6" fmla="*/ 2147483646 w 13"/>
              <a:gd name="T7" fmla="*/ 2147483646 h 16"/>
              <a:gd name="T8" fmla="*/ 2147483646 w 13"/>
              <a:gd name="T9" fmla="*/ 2147483646 h 16"/>
              <a:gd name="T10" fmla="*/ 2147483646 w 13"/>
              <a:gd name="T11" fmla="*/ 2147483646 h 16"/>
              <a:gd name="T12" fmla="*/ 2147483646 w 13"/>
              <a:gd name="T13" fmla="*/ 2147483646 h 16"/>
              <a:gd name="T14" fmla="*/ 2147483646 w 13"/>
              <a:gd name="T15" fmla="*/ 2147483646 h 16"/>
              <a:gd name="T16" fmla="*/ 2147483646 w 13"/>
              <a:gd name="T17" fmla="*/ 2147483646 h 16"/>
              <a:gd name="T18" fmla="*/ 2147483646 w 13"/>
              <a:gd name="T19" fmla="*/ 2147483646 h 16"/>
              <a:gd name="T20" fmla="*/ 2147483646 w 13"/>
              <a:gd name="T21" fmla="*/ 2147483646 h 16"/>
              <a:gd name="T22" fmla="*/ 2147483646 w 13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3"/>
              <a:gd name="T37" fmla="*/ 0 h 16"/>
              <a:gd name="T38" fmla="*/ 13 w 13"/>
              <a:gd name="T39" fmla="*/ 16 h 1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3" h="16">
                <a:moveTo>
                  <a:pt x="8" y="0"/>
                </a:moveTo>
                <a:cubicBezTo>
                  <a:pt x="8" y="0"/>
                  <a:pt x="3" y="0"/>
                  <a:pt x="3" y="0"/>
                </a:cubicBezTo>
                <a:cubicBezTo>
                  <a:pt x="2" y="0"/>
                  <a:pt x="1" y="1"/>
                  <a:pt x="2" y="2"/>
                </a:cubicBezTo>
                <a:cubicBezTo>
                  <a:pt x="3" y="2"/>
                  <a:pt x="5" y="3"/>
                  <a:pt x="5" y="3"/>
                </a:cubicBezTo>
                <a:cubicBezTo>
                  <a:pt x="5" y="4"/>
                  <a:pt x="3" y="6"/>
                  <a:pt x="3" y="6"/>
                </a:cubicBezTo>
                <a:cubicBezTo>
                  <a:pt x="2" y="7"/>
                  <a:pt x="1" y="6"/>
                  <a:pt x="1" y="7"/>
                </a:cubicBezTo>
                <a:cubicBezTo>
                  <a:pt x="0" y="7"/>
                  <a:pt x="5" y="12"/>
                  <a:pt x="6" y="13"/>
                </a:cubicBezTo>
                <a:cubicBezTo>
                  <a:pt x="8" y="14"/>
                  <a:pt x="8" y="16"/>
                  <a:pt x="9" y="16"/>
                </a:cubicBezTo>
                <a:cubicBezTo>
                  <a:pt x="10" y="16"/>
                  <a:pt x="10" y="16"/>
                  <a:pt x="12" y="15"/>
                </a:cubicBezTo>
                <a:cubicBezTo>
                  <a:pt x="13" y="15"/>
                  <a:pt x="11" y="11"/>
                  <a:pt x="11" y="9"/>
                </a:cubicBezTo>
                <a:cubicBezTo>
                  <a:pt x="11" y="8"/>
                  <a:pt x="9" y="8"/>
                  <a:pt x="9" y="6"/>
                </a:cubicBezTo>
                <a:cubicBezTo>
                  <a:pt x="9" y="4"/>
                  <a:pt x="12" y="3"/>
                  <a:pt x="8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7" name="Freeform 370"/>
          <p:cNvSpPr>
            <a:spLocks/>
          </p:cNvSpPr>
          <p:nvPr userDrawn="1"/>
        </p:nvSpPr>
        <p:spPr bwMode="auto">
          <a:xfrm>
            <a:off x="9522605" y="5607680"/>
            <a:ext cx="8375" cy="10051"/>
          </a:xfrm>
          <a:custGeom>
            <a:avLst/>
            <a:gdLst>
              <a:gd name="T0" fmla="*/ 2147483646 w 9"/>
              <a:gd name="T1" fmla="*/ 2147483646 h 12"/>
              <a:gd name="T2" fmla="*/ 2147483646 w 9"/>
              <a:gd name="T3" fmla="*/ 2147483646 h 12"/>
              <a:gd name="T4" fmla="*/ 2147483646 w 9"/>
              <a:gd name="T5" fmla="*/ 2147483646 h 12"/>
              <a:gd name="T6" fmla="*/ 2147483646 w 9"/>
              <a:gd name="T7" fmla="*/ 2147483646 h 12"/>
              <a:gd name="T8" fmla="*/ 2147483646 w 9"/>
              <a:gd name="T9" fmla="*/ 2147483646 h 12"/>
              <a:gd name="T10" fmla="*/ 0 w 9"/>
              <a:gd name="T11" fmla="*/ 2147483646 h 12"/>
              <a:gd name="T12" fmla="*/ 2147483646 w 9"/>
              <a:gd name="T13" fmla="*/ 2147483646 h 12"/>
              <a:gd name="T14" fmla="*/ 2147483646 w 9"/>
              <a:gd name="T15" fmla="*/ 2147483646 h 12"/>
              <a:gd name="T16" fmla="*/ 2147483646 w 9"/>
              <a:gd name="T17" fmla="*/ 2147483646 h 12"/>
              <a:gd name="T18" fmla="*/ 2147483646 w 9"/>
              <a:gd name="T19" fmla="*/ 2147483646 h 12"/>
              <a:gd name="T20" fmla="*/ 2147483646 w 9"/>
              <a:gd name="T21" fmla="*/ 2147483646 h 12"/>
              <a:gd name="T22" fmla="*/ 2147483646 w 9"/>
              <a:gd name="T23" fmla="*/ 0 h 12"/>
              <a:gd name="T24" fmla="*/ 2147483646 w 9"/>
              <a:gd name="T25" fmla="*/ 2147483646 h 1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2"/>
              <a:gd name="T41" fmla="*/ 9 w 9"/>
              <a:gd name="T42" fmla="*/ 12 h 1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2">
                <a:moveTo>
                  <a:pt x="3" y="1"/>
                </a:moveTo>
                <a:cubicBezTo>
                  <a:pt x="3" y="1"/>
                  <a:pt x="4" y="0"/>
                  <a:pt x="6" y="1"/>
                </a:cubicBezTo>
                <a:cubicBezTo>
                  <a:pt x="7" y="2"/>
                  <a:pt x="6" y="4"/>
                  <a:pt x="6" y="4"/>
                </a:cubicBezTo>
                <a:cubicBezTo>
                  <a:pt x="5" y="5"/>
                  <a:pt x="5" y="6"/>
                  <a:pt x="5" y="7"/>
                </a:cubicBezTo>
                <a:cubicBezTo>
                  <a:pt x="5" y="8"/>
                  <a:pt x="3" y="8"/>
                  <a:pt x="2" y="9"/>
                </a:cubicBezTo>
                <a:cubicBezTo>
                  <a:pt x="2" y="11"/>
                  <a:pt x="0" y="12"/>
                  <a:pt x="0" y="12"/>
                </a:cubicBezTo>
                <a:cubicBezTo>
                  <a:pt x="0" y="12"/>
                  <a:pt x="2" y="11"/>
                  <a:pt x="4" y="11"/>
                </a:cubicBezTo>
                <a:cubicBezTo>
                  <a:pt x="6" y="11"/>
                  <a:pt x="6" y="8"/>
                  <a:pt x="6" y="8"/>
                </a:cubicBezTo>
                <a:cubicBezTo>
                  <a:pt x="7" y="7"/>
                  <a:pt x="5" y="6"/>
                  <a:pt x="6" y="6"/>
                </a:cubicBezTo>
                <a:cubicBezTo>
                  <a:pt x="6" y="5"/>
                  <a:pt x="6" y="4"/>
                  <a:pt x="8" y="4"/>
                </a:cubicBezTo>
                <a:cubicBezTo>
                  <a:pt x="9" y="3"/>
                  <a:pt x="9" y="2"/>
                  <a:pt x="9" y="2"/>
                </a:cubicBezTo>
                <a:cubicBezTo>
                  <a:pt x="9" y="1"/>
                  <a:pt x="8" y="0"/>
                  <a:pt x="8" y="0"/>
                </a:cubicBezTo>
                <a:cubicBezTo>
                  <a:pt x="7" y="0"/>
                  <a:pt x="3" y="1"/>
                  <a:pt x="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8" name="Freeform 371"/>
          <p:cNvSpPr>
            <a:spLocks/>
          </p:cNvSpPr>
          <p:nvPr userDrawn="1"/>
        </p:nvSpPr>
        <p:spPr bwMode="auto">
          <a:xfrm>
            <a:off x="9559456" y="5634481"/>
            <a:ext cx="11725" cy="10051"/>
          </a:xfrm>
          <a:custGeom>
            <a:avLst/>
            <a:gdLst>
              <a:gd name="T0" fmla="*/ 2147483646 w 12"/>
              <a:gd name="T1" fmla="*/ 2147483646 h 11"/>
              <a:gd name="T2" fmla="*/ 2147483646 w 12"/>
              <a:gd name="T3" fmla="*/ 2147483646 h 11"/>
              <a:gd name="T4" fmla="*/ 0 w 12"/>
              <a:gd name="T5" fmla="*/ 2147483646 h 11"/>
              <a:gd name="T6" fmla="*/ 2147483646 w 12"/>
              <a:gd name="T7" fmla="*/ 2147483646 h 11"/>
              <a:gd name="T8" fmla="*/ 2147483646 w 12"/>
              <a:gd name="T9" fmla="*/ 2147483646 h 11"/>
              <a:gd name="T10" fmla="*/ 2147483646 w 12"/>
              <a:gd name="T11" fmla="*/ 2147483646 h 11"/>
              <a:gd name="T12" fmla="*/ 2147483646 w 12"/>
              <a:gd name="T13" fmla="*/ 2147483646 h 11"/>
              <a:gd name="T14" fmla="*/ 2147483646 w 12"/>
              <a:gd name="T15" fmla="*/ 2147483646 h 11"/>
              <a:gd name="T16" fmla="*/ 2147483646 w 12"/>
              <a:gd name="T17" fmla="*/ 2147483646 h 11"/>
              <a:gd name="T18" fmla="*/ 2147483646 w 12"/>
              <a:gd name="T19" fmla="*/ 2147483646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11"/>
              <a:gd name="T32" fmla="*/ 12 w 12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11">
                <a:moveTo>
                  <a:pt x="5" y="1"/>
                </a:moveTo>
                <a:cubicBezTo>
                  <a:pt x="4" y="2"/>
                  <a:pt x="3" y="2"/>
                  <a:pt x="2" y="2"/>
                </a:cubicBezTo>
                <a:cubicBezTo>
                  <a:pt x="1" y="2"/>
                  <a:pt x="0" y="0"/>
                  <a:pt x="0" y="3"/>
                </a:cubicBezTo>
                <a:cubicBezTo>
                  <a:pt x="0" y="6"/>
                  <a:pt x="2" y="9"/>
                  <a:pt x="4" y="9"/>
                </a:cubicBezTo>
                <a:cubicBezTo>
                  <a:pt x="5" y="9"/>
                  <a:pt x="5" y="8"/>
                  <a:pt x="6" y="10"/>
                </a:cubicBezTo>
                <a:cubicBezTo>
                  <a:pt x="7" y="11"/>
                  <a:pt x="9" y="9"/>
                  <a:pt x="10" y="10"/>
                </a:cubicBezTo>
                <a:cubicBezTo>
                  <a:pt x="11" y="10"/>
                  <a:pt x="12" y="8"/>
                  <a:pt x="12" y="8"/>
                </a:cubicBezTo>
                <a:cubicBezTo>
                  <a:pt x="11" y="4"/>
                  <a:pt x="11" y="4"/>
                  <a:pt x="11" y="4"/>
                </a:cubicBezTo>
                <a:cubicBezTo>
                  <a:pt x="11" y="4"/>
                  <a:pt x="8" y="4"/>
                  <a:pt x="7" y="4"/>
                </a:cubicBezTo>
                <a:cubicBezTo>
                  <a:pt x="6" y="3"/>
                  <a:pt x="7" y="0"/>
                  <a:pt x="5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9" name="Freeform 372"/>
          <p:cNvSpPr>
            <a:spLocks/>
          </p:cNvSpPr>
          <p:nvPr userDrawn="1"/>
        </p:nvSpPr>
        <p:spPr bwMode="auto">
          <a:xfrm>
            <a:off x="8231108" y="5297787"/>
            <a:ext cx="973229" cy="773893"/>
          </a:xfrm>
          <a:custGeom>
            <a:avLst/>
            <a:gdLst>
              <a:gd name="T0" fmla="*/ 2147483646 w 1042"/>
              <a:gd name="T1" fmla="*/ 2147483646 h 829"/>
              <a:gd name="T2" fmla="*/ 2147483646 w 1042"/>
              <a:gd name="T3" fmla="*/ 2147483646 h 829"/>
              <a:gd name="T4" fmla="*/ 2147483646 w 1042"/>
              <a:gd name="T5" fmla="*/ 2147483646 h 829"/>
              <a:gd name="T6" fmla="*/ 2147483646 w 1042"/>
              <a:gd name="T7" fmla="*/ 2147483646 h 829"/>
              <a:gd name="T8" fmla="*/ 2147483646 w 1042"/>
              <a:gd name="T9" fmla="*/ 2147483646 h 829"/>
              <a:gd name="T10" fmla="*/ 2147483646 w 1042"/>
              <a:gd name="T11" fmla="*/ 2147483646 h 829"/>
              <a:gd name="T12" fmla="*/ 2147483646 w 1042"/>
              <a:gd name="T13" fmla="*/ 2147483646 h 829"/>
              <a:gd name="T14" fmla="*/ 2147483646 w 1042"/>
              <a:gd name="T15" fmla="*/ 2147483646 h 829"/>
              <a:gd name="T16" fmla="*/ 2147483646 w 1042"/>
              <a:gd name="T17" fmla="*/ 2147483646 h 829"/>
              <a:gd name="T18" fmla="*/ 2147483646 w 1042"/>
              <a:gd name="T19" fmla="*/ 2147483646 h 829"/>
              <a:gd name="T20" fmla="*/ 2147483646 w 1042"/>
              <a:gd name="T21" fmla="*/ 2147483646 h 829"/>
              <a:gd name="T22" fmla="*/ 2147483646 w 1042"/>
              <a:gd name="T23" fmla="*/ 2147483646 h 829"/>
              <a:gd name="T24" fmla="*/ 2147483646 w 1042"/>
              <a:gd name="T25" fmla="*/ 2147483646 h 829"/>
              <a:gd name="T26" fmla="*/ 2147483646 w 1042"/>
              <a:gd name="T27" fmla="*/ 2147483646 h 829"/>
              <a:gd name="T28" fmla="*/ 2147483646 w 1042"/>
              <a:gd name="T29" fmla="*/ 2147483646 h 829"/>
              <a:gd name="T30" fmla="*/ 2147483646 w 1042"/>
              <a:gd name="T31" fmla="*/ 2147483646 h 829"/>
              <a:gd name="T32" fmla="*/ 2147483646 w 1042"/>
              <a:gd name="T33" fmla="*/ 2147483646 h 829"/>
              <a:gd name="T34" fmla="*/ 2147483646 w 1042"/>
              <a:gd name="T35" fmla="*/ 2147483646 h 829"/>
              <a:gd name="T36" fmla="*/ 2147483646 w 1042"/>
              <a:gd name="T37" fmla="*/ 2147483646 h 829"/>
              <a:gd name="T38" fmla="*/ 2147483646 w 1042"/>
              <a:gd name="T39" fmla="*/ 2147483646 h 829"/>
              <a:gd name="T40" fmla="*/ 2147483646 w 1042"/>
              <a:gd name="T41" fmla="*/ 2147483646 h 829"/>
              <a:gd name="T42" fmla="*/ 2147483646 w 1042"/>
              <a:gd name="T43" fmla="*/ 2147483646 h 829"/>
              <a:gd name="T44" fmla="*/ 2147483646 w 1042"/>
              <a:gd name="T45" fmla="*/ 2147483646 h 829"/>
              <a:gd name="T46" fmla="*/ 2147483646 w 1042"/>
              <a:gd name="T47" fmla="*/ 2147483646 h 829"/>
              <a:gd name="T48" fmla="*/ 2147483646 w 1042"/>
              <a:gd name="T49" fmla="*/ 2147483646 h 829"/>
              <a:gd name="T50" fmla="*/ 2147483646 w 1042"/>
              <a:gd name="T51" fmla="*/ 2147483646 h 829"/>
              <a:gd name="T52" fmla="*/ 2147483646 w 1042"/>
              <a:gd name="T53" fmla="*/ 2147483646 h 829"/>
              <a:gd name="T54" fmla="*/ 2147483646 w 1042"/>
              <a:gd name="T55" fmla="*/ 2147483646 h 829"/>
              <a:gd name="T56" fmla="*/ 2147483646 w 1042"/>
              <a:gd name="T57" fmla="*/ 2147483646 h 829"/>
              <a:gd name="T58" fmla="*/ 2147483646 w 1042"/>
              <a:gd name="T59" fmla="*/ 2147483646 h 829"/>
              <a:gd name="T60" fmla="*/ 2147483646 w 1042"/>
              <a:gd name="T61" fmla="*/ 2147483646 h 829"/>
              <a:gd name="T62" fmla="*/ 2147483646 w 1042"/>
              <a:gd name="T63" fmla="*/ 2147483646 h 829"/>
              <a:gd name="T64" fmla="*/ 2147483646 w 1042"/>
              <a:gd name="T65" fmla="*/ 2147483646 h 829"/>
              <a:gd name="T66" fmla="*/ 2147483646 w 1042"/>
              <a:gd name="T67" fmla="*/ 2147483646 h 829"/>
              <a:gd name="T68" fmla="*/ 2147483646 w 1042"/>
              <a:gd name="T69" fmla="*/ 2147483646 h 829"/>
              <a:gd name="T70" fmla="*/ 2147483646 w 1042"/>
              <a:gd name="T71" fmla="*/ 2147483646 h 829"/>
              <a:gd name="T72" fmla="*/ 2147483646 w 1042"/>
              <a:gd name="T73" fmla="*/ 2147483646 h 829"/>
              <a:gd name="T74" fmla="*/ 2147483646 w 1042"/>
              <a:gd name="T75" fmla="*/ 2147483646 h 829"/>
              <a:gd name="T76" fmla="*/ 2147483646 w 1042"/>
              <a:gd name="T77" fmla="*/ 2147483646 h 829"/>
              <a:gd name="T78" fmla="*/ 2147483646 w 1042"/>
              <a:gd name="T79" fmla="*/ 2147483646 h 829"/>
              <a:gd name="T80" fmla="*/ 2147483646 w 1042"/>
              <a:gd name="T81" fmla="*/ 2147483646 h 829"/>
              <a:gd name="T82" fmla="*/ 2147483646 w 1042"/>
              <a:gd name="T83" fmla="*/ 2147483646 h 829"/>
              <a:gd name="T84" fmla="*/ 2147483646 w 1042"/>
              <a:gd name="T85" fmla="*/ 2147483646 h 829"/>
              <a:gd name="T86" fmla="*/ 2147483646 w 1042"/>
              <a:gd name="T87" fmla="*/ 2147483646 h 829"/>
              <a:gd name="T88" fmla="*/ 2147483646 w 1042"/>
              <a:gd name="T89" fmla="*/ 2147483646 h 829"/>
              <a:gd name="T90" fmla="*/ 2147483646 w 1042"/>
              <a:gd name="T91" fmla="*/ 2147483646 h 829"/>
              <a:gd name="T92" fmla="*/ 2147483646 w 1042"/>
              <a:gd name="T93" fmla="*/ 2147483646 h 829"/>
              <a:gd name="T94" fmla="*/ 2147483646 w 1042"/>
              <a:gd name="T95" fmla="*/ 2147483646 h 829"/>
              <a:gd name="T96" fmla="*/ 2147483646 w 1042"/>
              <a:gd name="T97" fmla="*/ 2147483646 h 829"/>
              <a:gd name="T98" fmla="*/ 2147483646 w 1042"/>
              <a:gd name="T99" fmla="*/ 2147483646 h 829"/>
              <a:gd name="T100" fmla="*/ 2147483646 w 1042"/>
              <a:gd name="T101" fmla="*/ 2147483646 h 829"/>
              <a:gd name="T102" fmla="*/ 2147483646 w 1042"/>
              <a:gd name="T103" fmla="*/ 2147483646 h 829"/>
              <a:gd name="T104" fmla="*/ 2147483646 w 1042"/>
              <a:gd name="T105" fmla="*/ 2147483646 h 829"/>
              <a:gd name="T106" fmla="*/ 2147483646 w 1042"/>
              <a:gd name="T107" fmla="*/ 2147483646 h 829"/>
              <a:gd name="T108" fmla="*/ 2147483646 w 1042"/>
              <a:gd name="T109" fmla="*/ 2147483646 h 829"/>
              <a:gd name="T110" fmla="*/ 2147483646 w 1042"/>
              <a:gd name="T111" fmla="*/ 2147483646 h 829"/>
              <a:gd name="T112" fmla="*/ 2147483646 w 1042"/>
              <a:gd name="T113" fmla="*/ 2147483646 h 829"/>
              <a:gd name="T114" fmla="*/ 2147483646 w 1042"/>
              <a:gd name="T115" fmla="*/ 2147483646 h 829"/>
              <a:gd name="T116" fmla="*/ 2147483646 w 1042"/>
              <a:gd name="T117" fmla="*/ 2147483646 h 829"/>
              <a:gd name="T118" fmla="*/ 2147483646 w 1042"/>
              <a:gd name="T119" fmla="*/ 2147483646 h 829"/>
              <a:gd name="T120" fmla="*/ 2147483646 w 1042"/>
              <a:gd name="T121" fmla="*/ 2147483646 h 82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042"/>
              <a:gd name="T184" fmla="*/ 0 h 829"/>
              <a:gd name="T185" fmla="*/ 1042 w 1042"/>
              <a:gd name="T186" fmla="*/ 829 h 82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042" h="829">
                <a:moveTo>
                  <a:pt x="732" y="793"/>
                </a:moveTo>
                <a:cubicBezTo>
                  <a:pt x="741" y="799"/>
                  <a:pt x="737" y="802"/>
                  <a:pt x="746" y="802"/>
                </a:cubicBezTo>
                <a:cubicBezTo>
                  <a:pt x="755" y="802"/>
                  <a:pt x="751" y="793"/>
                  <a:pt x="762" y="801"/>
                </a:cubicBezTo>
                <a:cubicBezTo>
                  <a:pt x="774" y="810"/>
                  <a:pt x="764" y="803"/>
                  <a:pt x="780" y="807"/>
                </a:cubicBezTo>
                <a:cubicBezTo>
                  <a:pt x="795" y="811"/>
                  <a:pt x="794" y="808"/>
                  <a:pt x="801" y="803"/>
                </a:cubicBezTo>
                <a:cubicBezTo>
                  <a:pt x="808" y="798"/>
                  <a:pt x="801" y="788"/>
                  <a:pt x="810" y="794"/>
                </a:cubicBezTo>
                <a:cubicBezTo>
                  <a:pt x="820" y="799"/>
                  <a:pt x="817" y="796"/>
                  <a:pt x="818" y="802"/>
                </a:cubicBezTo>
                <a:cubicBezTo>
                  <a:pt x="818" y="809"/>
                  <a:pt x="817" y="803"/>
                  <a:pt x="826" y="802"/>
                </a:cubicBezTo>
                <a:cubicBezTo>
                  <a:pt x="836" y="802"/>
                  <a:pt x="832" y="805"/>
                  <a:pt x="830" y="810"/>
                </a:cubicBezTo>
                <a:cubicBezTo>
                  <a:pt x="829" y="815"/>
                  <a:pt x="837" y="816"/>
                  <a:pt x="837" y="816"/>
                </a:cubicBezTo>
                <a:cubicBezTo>
                  <a:pt x="837" y="816"/>
                  <a:pt x="843" y="811"/>
                  <a:pt x="844" y="817"/>
                </a:cubicBezTo>
                <a:cubicBezTo>
                  <a:pt x="845" y="823"/>
                  <a:pt x="849" y="824"/>
                  <a:pt x="851" y="820"/>
                </a:cubicBezTo>
                <a:cubicBezTo>
                  <a:pt x="853" y="816"/>
                  <a:pt x="856" y="809"/>
                  <a:pt x="857" y="817"/>
                </a:cubicBezTo>
                <a:cubicBezTo>
                  <a:pt x="858" y="825"/>
                  <a:pt x="859" y="829"/>
                  <a:pt x="861" y="826"/>
                </a:cubicBezTo>
                <a:cubicBezTo>
                  <a:pt x="863" y="824"/>
                  <a:pt x="863" y="810"/>
                  <a:pt x="863" y="810"/>
                </a:cubicBezTo>
                <a:cubicBezTo>
                  <a:pt x="865" y="804"/>
                  <a:pt x="865" y="804"/>
                  <a:pt x="865" y="804"/>
                </a:cubicBezTo>
                <a:cubicBezTo>
                  <a:pt x="865" y="804"/>
                  <a:pt x="873" y="801"/>
                  <a:pt x="874" y="797"/>
                </a:cubicBezTo>
                <a:cubicBezTo>
                  <a:pt x="875" y="792"/>
                  <a:pt x="878" y="790"/>
                  <a:pt x="880" y="790"/>
                </a:cubicBezTo>
                <a:cubicBezTo>
                  <a:pt x="883" y="790"/>
                  <a:pt x="892" y="787"/>
                  <a:pt x="895" y="790"/>
                </a:cubicBezTo>
                <a:cubicBezTo>
                  <a:pt x="898" y="793"/>
                  <a:pt x="901" y="789"/>
                  <a:pt x="907" y="789"/>
                </a:cubicBezTo>
                <a:cubicBezTo>
                  <a:pt x="913" y="788"/>
                  <a:pt x="921" y="791"/>
                  <a:pt x="923" y="784"/>
                </a:cubicBezTo>
                <a:cubicBezTo>
                  <a:pt x="925" y="777"/>
                  <a:pt x="928" y="778"/>
                  <a:pt x="931" y="777"/>
                </a:cubicBezTo>
                <a:cubicBezTo>
                  <a:pt x="934" y="776"/>
                  <a:pt x="933" y="769"/>
                  <a:pt x="931" y="760"/>
                </a:cubicBezTo>
                <a:cubicBezTo>
                  <a:pt x="929" y="752"/>
                  <a:pt x="930" y="747"/>
                  <a:pt x="934" y="742"/>
                </a:cubicBezTo>
                <a:cubicBezTo>
                  <a:pt x="939" y="737"/>
                  <a:pt x="938" y="730"/>
                  <a:pt x="943" y="722"/>
                </a:cubicBezTo>
                <a:cubicBezTo>
                  <a:pt x="948" y="714"/>
                  <a:pt x="949" y="710"/>
                  <a:pt x="953" y="704"/>
                </a:cubicBezTo>
                <a:cubicBezTo>
                  <a:pt x="958" y="698"/>
                  <a:pt x="959" y="708"/>
                  <a:pt x="961" y="691"/>
                </a:cubicBezTo>
                <a:cubicBezTo>
                  <a:pt x="964" y="675"/>
                  <a:pt x="983" y="658"/>
                  <a:pt x="987" y="654"/>
                </a:cubicBezTo>
                <a:cubicBezTo>
                  <a:pt x="992" y="649"/>
                  <a:pt x="998" y="643"/>
                  <a:pt x="1001" y="640"/>
                </a:cubicBezTo>
                <a:cubicBezTo>
                  <a:pt x="1004" y="637"/>
                  <a:pt x="1009" y="630"/>
                  <a:pt x="1006" y="629"/>
                </a:cubicBezTo>
                <a:cubicBezTo>
                  <a:pt x="1002" y="628"/>
                  <a:pt x="1006" y="621"/>
                  <a:pt x="1006" y="621"/>
                </a:cubicBezTo>
                <a:cubicBezTo>
                  <a:pt x="1006" y="621"/>
                  <a:pt x="1014" y="616"/>
                  <a:pt x="1014" y="613"/>
                </a:cubicBezTo>
                <a:cubicBezTo>
                  <a:pt x="1014" y="609"/>
                  <a:pt x="1015" y="606"/>
                  <a:pt x="1018" y="604"/>
                </a:cubicBezTo>
                <a:cubicBezTo>
                  <a:pt x="1020" y="601"/>
                  <a:pt x="1020" y="592"/>
                  <a:pt x="1018" y="590"/>
                </a:cubicBezTo>
                <a:cubicBezTo>
                  <a:pt x="1016" y="589"/>
                  <a:pt x="1016" y="583"/>
                  <a:pt x="1020" y="582"/>
                </a:cubicBezTo>
                <a:cubicBezTo>
                  <a:pt x="1024" y="581"/>
                  <a:pt x="1020" y="564"/>
                  <a:pt x="1024" y="563"/>
                </a:cubicBezTo>
                <a:cubicBezTo>
                  <a:pt x="1029" y="562"/>
                  <a:pt x="1027" y="559"/>
                  <a:pt x="1030" y="555"/>
                </a:cubicBezTo>
                <a:cubicBezTo>
                  <a:pt x="1033" y="551"/>
                  <a:pt x="1029" y="548"/>
                  <a:pt x="1035" y="544"/>
                </a:cubicBezTo>
                <a:cubicBezTo>
                  <a:pt x="1041" y="540"/>
                  <a:pt x="1038" y="547"/>
                  <a:pt x="1040" y="534"/>
                </a:cubicBezTo>
                <a:cubicBezTo>
                  <a:pt x="1042" y="521"/>
                  <a:pt x="1041" y="516"/>
                  <a:pt x="1039" y="510"/>
                </a:cubicBezTo>
                <a:cubicBezTo>
                  <a:pt x="1039" y="510"/>
                  <a:pt x="1039" y="510"/>
                  <a:pt x="1039" y="510"/>
                </a:cubicBezTo>
                <a:cubicBezTo>
                  <a:pt x="1038" y="505"/>
                  <a:pt x="1039" y="499"/>
                  <a:pt x="1036" y="500"/>
                </a:cubicBezTo>
                <a:cubicBezTo>
                  <a:pt x="1033" y="501"/>
                  <a:pt x="1027" y="501"/>
                  <a:pt x="1026" y="495"/>
                </a:cubicBezTo>
                <a:cubicBezTo>
                  <a:pt x="1025" y="489"/>
                  <a:pt x="1025" y="482"/>
                  <a:pt x="1026" y="480"/>
                </a:cubicBezTo>
                <a:cubicBezTo>
                  <a:pt x="1026" y="478"/>
                  <a:pt x="1027" y="444"/>
                  <a:pt x="1026" y="440"/>
                </a:cubicBezTo>
                <a:cubicBezTo>
                  <a:pt x="1026" y="437"/>
                  <a:pt x="1024" y="437"/>
                  <a:pt x="1023" y="434"/>
                </a:cubicBezTo>
                <a:cubicBezTo>
                  <a:pt x="1022" y="431"/>
                  <a:pt x="1022" y="425"/>
                  <a:pt x="1018" y="424"/>
                </a:cubicBezTo>
                <a:cubicBezTo>
                  <a:pt x="1015" y="422"/>
                  <a:pt x="1007" y="417"/>
                  <a:pt x="1007" y="417"/>
                </a:cubicBezTo>
                <a:cubicBezTo>
                  <a:pt x="1007" y="417"/>
                  <a:pt x="1001" y="410"/>
                  <a:pt x="1002" y="408"/>
                </a:cubicBezTo>
                <a:cubicBezTo>
                  <a:pt x="1003" y="406"/>
                  <a:pt x="1004" y="400"/>
                  <a:pt x="1003" y="398"/>
                </a:cubicBezTo>
                <a:cubicBezTo>
                  <a:pt x="1003" y="397"/>
                  <a:pt x="999" y="393"/>
                  <a:pt x="999" y="393"/>
                </a:cubicBezTo>
                <a:cubicBezTo>
                  <a:pt x="999" y="393"/>
                  <a:pt x="979" y="379"/>
                  <a:pt x="979" y="372"/>
                </a:cubicBezTo>
                <a:cubicBezTo>
                  <a:pt x="980" y="366"/>
                  <a:pt x="977" y="365"/>
                  <a:pt x="977" y="359"/>
                </a:cubicBezTo>
                <a:cubicBezTo>
                  <a:pt x="978" y="352"/>
                  <a:pt x="979" y="340"/>
                  <a:pt x="970" y="343"/>
                </a:cubicBezTo>
                <a:cubicBezTo>
                  <a:pt x="961" y="346"/>
                  <a:pt x="961" y="348"/>
                  <a:pt x="960" y="344"/>
                </a:cubicBezTo>
                <a:cubicBezTo>
                  <a:pt x="958" y="340"/>
                  <a:pt x="957" y="329"/>
                  <a:pt x="954" y="337"/>
                </a:cubicBezTo>
                <a:cubicBezTo>
                  <a:pt x="951" y="345"/>
                  <a:pt x="951" y="355"/>
                  <a:pt x="946" y="351"/>
                </a:cubicBezTo>
                <a:cubicBezTo>
                  <a:pt x="942" y="348"/>
                  <a:pt x="942" y="341"/>
                  <a:pt x="942" y="341"/>
                </a:cubicBezTo>
                <a:cubicBezTo>
                  <a:pt x="942" y="332"/>
                  <a:pt x="942" y="332"/>
                  <a:pt x="942" y="332"/>
                </a:cubicBezTo>
                <a:cubicBezTo>
                  <a:pt x="942" y="332"/>
                  <a:pt x="946" y="321"/>
                  <a:pt x="940" y="317"/>
                </a:cubicBezTo>
                <a:cubicBezTo>
                  <a:pt x="934" y="313"/>
                  <a:pt x="933" y="309"/>
                  <a:pt x="933" y="309"/>
                </a:cubicBezTo>
                <a:cubicBezTo>
                  <a:pt x="933" y="309"/>
                  <a:pt x="940" y="299"/>
                  <a:pt x="934" y="298"/>
                </a:cubicBezTo>
                <a:cubicBezTo>
                  <a:pt x="928" y="298"/>
                  <a:pt x="926" y="299"/>
                  <a:pt x="923" y="295"/>
                </a:cubicBezTo>
                <a:cubicBezTo>
                  <a:pt x="921" y="292"/>
                  <a:pt x="921" y="287"/>
                  <a:pt x="923" y="286"/>
                </a:cubicBezTo>
                <a:cubicBezTo>
                  <a:pt x="926" y="284"/>
                  <a:pt x="927" y="280"/>
                  <a:pt x="922" y="278"/>
                </a:cubicBezTo>
                <a:cubicBezTo>
                  <a:pt x="918" y="275"/>
                  <a:pt x="914" y="269"/>
                  <a:pt x="912" y="271"/>
                </a:cubicBezTo>
                <a:cubicBezTo>
                  <a:pt x="910" y="272"/>
                  <a:pt x="906" y="263"/>
                  <a:pt x="903" y="265"/>
                </a:cubicBezTo>
                <a:cubicBezTo>
                  <a:pt x="900" y="267"/>
                  <a:pt x="898" y="262"/>
                  <a:pt x="895" y="261"/>
                </a:cubicBezTo>
                <a:cubicBezTo>
                  <a:pt x="892" y="260"/>
                  <a:pt x="887" y="254"/>
                  <a:pt x="887" y="254"/>
                </a:cubicBezTo>
                <a:cubicBezTo>
                  <a:pt x="887" y="254"/>
                  <a:pt x="884" y="243"/>
                  <a:pt x="881" y="249"/>
                </a:cubicBezTo>
                <a:cubicBezTo>
                  <a:pt x="878" y="255"/>
                  <a:pt x="872" y="251"/>
                  <a:pt x="872" y="251"/>
                </a:cubicBezTo>
                <a:cubicBezTo>
                  <a:pt x="865" y="246"/>
                  <a:pt x="865" y="246"/>
                  <a:pt x="865" y="246"/>
                </a:cubicBezTo>
                <a:cubicBezTo>
                  <a:pt x="860" y="237"/>
                  <a:pt x="860" y="237"/>
                  <a:pt x="860" y="237"/>
                </a:cubicBezTo>
                <a:cubicBezTo>
                  <a:pt x="859" y="226"/>
                  <a:pt x="859" y="226"/>
                  <a:pt x="859" y="226"/>
                </a:cubicBezTo>
                <a:cubicBezTo>
                  <a:pt x="856" y="215"/>
                  <a:pt x="856" y="215"/>
                  <a:pt x="856" y="215"/>
                </a:cubicBezTo>
                <a:cubicBezTo>
                  <a:pt x="856" y="215"/>
                  <a:pt x="860" y="206"/>
                  <a:pt x="858" y="201"/>
                </a:cubicBezTo>
                <a:cubicBezTo>
                  <a:pt x="856" y="196"/>
                  <a:pt x="854" y="193"/>
                  <a:pt x="850" y="189"/>
                </a:cubicBezTo>
                <a:cubicBezTo>
                  <a:pt x="846" y="185"/>
                  <a:pt x="843" y="176"/>
                  <a:pt x="843" y="173"/>
                </a:cubicBezTo>
                <a:cubicBezTo>
                  <a:pt x="843" y="170"/>
                  <a:pt x="833" y="174"/>
                  <a:pt x="834" y="168"/>
                </a:cubicBezTo>
                <a:cubicBezTo>
                  <a:pt x="835" y="163"/>
                  <a:pt x="841" y="153"/>
                  <a:pt x="836" y="151"/>
                </a:cubicBezTo>
                <a:cubicBezTo>
                  <a:pt x="832" y="150"/>
                  <a:pt x="830" y="140"/>
                  <a:pt x="833" y="136"/>
                </a:cubicBezTo>
                <a:cubicBezTo>
                  <a:pt x="835" y="133"/>
                  <a:pt x="837" y="124"/>
                  <a:pt x="834" y="122"/>
                </a:cubicBezTo>
                <a:cubicBezTo>
                  <a:pt x="832" y="120"/>
                  <a:pt x="833" y="114"/>
                  <a:pt x="829" y="116"/>
                </a:cubicBezTo>
                <a:cubicBezTo>
                  <a:pt x="825" y="118"/>
                  <a:pt x="833" y="114"/>
                  <a:pt x="818" y="109"/>
                </a:cubicBezTo>
                <a:cubicBezTo>
                  <a:pt x="804" y="104"/>
                  <a:pt x="808" y="98"/>
                  <a:pt x="804" y="104"/>
                </a:cubicBezTo>
                <a:cubicBezTo>
                  <a:pt x="799" y="109"/>
                  <a:pt x="798" y="110"/>
                  <a:pt x="794" y="105"/>
                </a:cubicBezTo>
                <a:cubicBezTo>
                  <a:pt x="790" y="100"/>
                  <a:pt x="788" y="90"/>
                  <a:pt x="789" y="86"/>
                </a:cubicBezTo>
                <a:cubicBezTo>
                  <a:pt x="790" y="81"/>
                  <a:pt x="789" y="76"/>
                  <a:pt x="789" y="73"/>
                </a:cubicBezTo>
                <a:cubicBezTo>
                  <a:pt x="788" y="69"/>
                  <a:pt x="787" y="66"/>
                  <a:pt x="784" y="63"/>
                </a:cubicBezTo>
                <a:cubicBezTo>
                  <a:pt x="781" y="61"/>
                  <a:pt x="777" y="61"/>
                  <a:pt x="780" y="55"/>
                </a:cubicBezTo>
                <a:cubicBezTo>
                  <a:pt x="783" y="50"/>
                  <a:pt x="787" y="46"/>
                  <a:pt x="781" y="47"/>
                </a:cubicBezTo>
                <a:cubicBezTo>
                  <a:pt x="774" y="48"/>
                  <a:pt x="771" y="44"/>
                  <a:pt x="774" y="40"/>
                </a:cubicBezTo>
                <a:cubicBezTo>
                  <a:pt x="776" y="36"/>
                  <a:pt x="777" y="33"/>
                  <a:pt x="773" y="31"/>
                </a:cubicBezTo>
                <a:cubicBezTo>
                  <a:pt x="769" y="29"/>
                  <a:pt x="767" y="30"/>
                  <a:pt x="766" y="25"/>
                </a:cubicBezTo>
                <a:cubicBezTo>
                  <a:pt x="765" y="20"/>
                  <a:pt x="764" y="19"/>
                  <a:pt x="762" y="15"/>
                </a:cubicBezTo>
                <a:cubicBezTo>
                  <a:pt x="760" y="10"/>
                  <a:pt x="761" y="0"/>
                  <a:pt x="755" y="4"/>
                </a:cubicBezTo>
                <a:cubicBezTo>
                  <a:pt x="748" y="7"/>
                  <a:pt x="744" y="7"/>
                  <a:pt x="746" y="16"/>
                </a:cubicBezTo>
                <a:cubicBezTo>
                  <a:pt x="747" y="25"/>
                  <a:pt x="743" y="23"/>
                  <a:pt x="740" y="31"/>
                </a:cubicBezTo>
                <a:cubicBezTo>
                  <a:pt x="738" y="38"/>
                  <a:pt x="735" y="32"/>
                  <a:pt x="735" y="39"/>
                </a:cubicBezTo>
                <a:cubicBezTo>
                  <a:pt x="735" y="46"/>
                  <a:pt x="735" y="51"/>
                  <a:pt x="736" y="59"/>
                </a:cubicBezTo>
                <a:cubicBezTo>
                  <a:pt x="738" y="68"/>
                  <a:pt x="739" y="63"/>
                  <a:pt x="738" y="73"/>
                </a:cubicBezTo>
                <a:cubicBezTo>
                  <a:pt x="737" y="83"/>
                  <a:pt x="737" y="82"/>
                  <a:pt x="735" y="89"/>
                </a:cubicBezTo>
                <a:cubicBezTo>
                  <a:pt x="732" y="95"/>
                  <a:pt x="729" y="110"/>
                  <a:pt x="733" y="115"/>
                </a:cubicBezTo>
                <a:cubicBezTo>
                  <a:pt x="736" y="120"/>
                  <a:pt x="731" y="124"/>
                  <a:pt x="735" y="127"/>
                </a:cubicBezTo>
                <a:cubicBezTo>
                  <a:pt x="738" y="130"/>
                  <a:pt x="744" y="130"/>
                  <a:pt x="740" y="133"/>
                </a:cubicBezTo>
                <a:cubicBezTo>
                  <a:pt x="735" y="137"/>
                  <a:pt x="731" y="140"/>
                  <a:pt x="730" y="147"/>
                </a:cubicBezTo>
                <a:cubicBezTo>
                  <a:pt x="729" y="153"/>
                  <a:pt x="728" y="169"/>
                  <a:pt x="723" y="174"/>
                </a:cubicBezTo>
                <a:cubicBezTo>
                  <a:pt x="719" y="178"/>
                  <a:pt x="719" y="179"/>
                  <a:pt x="719" y="184"/>
                </a:cubicBezTo>
                <a:cubicBezTo>
                  <a:pt x="719" y="189"/>
                  <a:pt x="722" y="186"/>
                  <a:pt x="717" y="192"/>
                </a:cubicBezTo>
                <a:cubicBezTo>
                  <a:pt x="712" y="198"/>
                  <a:pt x="688" y="212"/>
                  <a:pt x="678" y="202"/>
                </a:cubicBezTo>
                <a:cubicBezTo>
                  <a:pt x="669" y="193"/>
                  <a:pt x="676" y="194"/>
                  <a:pt x="669" y="193"/>
                </a:cubicBezTo>
                <a:cubicBezTo>
                  <a:pt x="662" y="192"/>
                  <a:pt x="662" y="185"/>
                  <a:pt x="661" y="182"/>
                </a:cubicBezTo>
                <a:cubicBezTo>
                  <a:pt x="659" y="178"/>
                  <a:pt x="646" y="178"/>
                  <a:pt x="641" y="178"/>
                </a:cubicBezTo>
                <a:cubicBezTo>
                  <a:pt x="640" y="178"/>
                  <a:pt x="639" y="178"/>
                  <a:pt x="638" y="178"/>
                </a:cubicBezTo>
                <a:cubicBezTo>
                  <a:pt x="637" y="178"/>
                  <a:pt x="637" y="178"/>
                  <a:pt x="637" y="178"/>
                </a:cubicBezTo>
                <a:cubicBezTo>
                  <a:pt x="636" y="177"/>
                  <a:pt x="636" y="177"/>
                  <a:pt x="636" y="177"/>
                </a:cubicBezTo>
                <a:cubicBezTo>
                  <a:pt x="635" y="177"/>
                  <a:pt x="634" y="176"/>
                  <a:pt x="633" y="173"/>
                </a:cubicBezTo>
                <a:cubicBezTo>
                  <a:pt x="630" y="169"/>
                  <a:pt x="627" y="163"/>
                  <a:pt x="627" y="163"/>
                </a:cubicBezTo>
                <a:cubicBezTo>
                  <a:pt x="627" y="163"/>
                  <a:pt x="626" y="161"/>
                  <a:pt x="618" y="161"/>
                </a:cubicBezTo>
                <a:cubicBezTo>
                  <a:pt x="611" y="160"/>
                  <a:pt x="618" y="161"/>
                  <a:pt x="606" y="156"/>
                </a:cubicBezTo>
                <a:cubicBezTo>
                  <a:pt x="593" y="151"/>
                  <a:pt x="594" y="143"/>
                  <a:pt x="586" y="144"/>
                </a:cubicBezTo>
                <a:cubicBezTo>
                  <a:pt x="579" y="144"/>
                  <a:pt x="572" y="143"/>
                  <a:pt x="574" y="140"/>
                </a:cubicBezTo>
                <a:cubicBezTo>
                  <a:pt x="576" y="136"/>
                  <a:pt x="582" y="138"/>
                  <a:pt x="573" y="130"/>
                </a:cubicBezTo>
                <a:cubicBezTo>
                  <a:pt x="565" y="122"/>
                  <a:pt x="563" y="121"/>
                  <a:pt x="564" y="119"/>
                </a:cubicBezTo>
                <a:cubicBezTo>
                  <a:pt x="565" y="117"/>
                  <a:pt x="575" y="109"/>
                  <a:pt x="575" y="102"/>
                </a:cubicBezTo>
                <a:cubicBezTo>
                  <a:pt x="576" y="94"/>
                  <a:pt x="571" y="94"/>
                  <a:pt x="573" y="89"/>
                </a:cubicBezTo>
                <a:cubicBezTo>
                  <a:pt x="575" y="84"/>
                  <a:pt x="579" y="72"/>
                  <a:pt x="582" y="79"/>
                </a:cubicBezTo>
                <a:cubicBezTo>
                  <a:pt x="585" y="86"/>
                  <a:pt x="585" y="85"/>
                  <a:pt x="588" y="79"/>
                </a:cubicBezTo>
                <a:cubicBezTo>
                  <a:pt x="592" y="73"/>
                  <a:pt x="591" y="69"/>
                  <a:pt x="593" y="64"/>
                </a:cubicBezTo>
                <a:cubicBezTo>
                  <a:pt x="595" y="59"/>
                  <a:pt x="596" y="61"/>
                  <a:pt x="598" y="55"/>
                </a:cubicBezTo>
                <a:cubicBezTo>
                  <a:pt x="600" y="50"/>
                  <a:pt x="607" y="46"/>
                  <a:pt x="600" y="48"/>
                </a:cubicBezTo>
                <a:cubicBezTo>
                  <a:pt x="594" y="50"/>
                  <a:pt x="592" y="55"/>
                  <a:pt x="591" y="50"/>
                </a:cubicBezTo>
                <a:cubicBezTo>
                  <a:pt x="591" y="45"/>
                  <a:pt x="586" y="43"/>
                  <a:pt x="584" y="46"/>
                </a:cubicBezTo>
                <a:cubicBezTo>
                  <a:pt x="582" y="50"/>
                  <a:pt x="582" y="59"/>
                  <a:pt x="579" y="58"/>
                </a:cubicBezTo>
                <a:cubicBezTo>
                  <a:pt x="576" y="56"/>
                  <a:pt x="572" y="58"/>
                  <a:pt x="572" y="53"/>
                </a:cubicBezTo>
                <a:cubicBezTo>
                  <a:pt x="573" y="48"/>
                  <a:pt x="573" y="42"/>
                  <a:pt x="573" y="42"/>
                </a:cubicBezTo>
                <a:cubicBezTo>
                  <a:pt x="573" y="42"/>
                  <a:pt x="572" y="34"/>
                  <a:pt x="567" y="42"/>
                </a:cubicBezTo>
                <a:cubicBezTo>
                  <a:pt x="561" y="49"/>
                  <a:pt x="556" y="47"/>
                  <a:pt x="556" y="47"/>
                </a:cubicBezTo>
                <a:cubicBezTo>
                  <a:pt x="556" y="47"/>
                  <a:pt x="555" y="41"/>
                  <a:pt x="553" y="46"/>
                </a:cubicBezTo>
                <a:cubicBezTo>
                  <a:pt x="552" y="50"/>
                  <a:pt x="556" y="52"/>
                  <a:pt x="553" y="54"/>
                </a:cubicBezTo>
                <a:cubicBezTo>
                  <a:pt x="549" y="55"/>
                  <a:pt x="549" y="54"/>
                  <a:pt x="546" y="51"/>
                </a:cubicBezTo>
                <a:cubicBezTo>
                  <a:pt x="544" y="49"/>
                  <a:pt x="544" y="47"/>
                  <a:pt x="544" y="47"/>
                </a:cubicBezTo>
                <a:cubicBezTo>
                  <a:pt x="544" y="47"/>
                  <a:pt x="536" y="57"/>
                  <a:pt x="535" y="53"/>
                </a:cubicBezTo>
                <a:cubicBezTo>
                  <a:pt x="534" y="49"/>
                  <a:pt x="534" y="40"/>
                  <a:pt x="532" y="43"/>
                </a:cubicBezTo>
                <a:cubicBezTo>
                  <a:pt x="530" y="47"/>
                  <a:pt x="524" y="45"/>
                  <a:pt x="521" y="46"/>
                </a:cubicBezTo>
                <a:cubicBezTo>
                  <a:pt x="518" y="46"/>
                  <a:pt x="516" y="46"/>
                  <a:pt x="513" y="44"/>
                </a:cubicBezTo>
                <a:cubicBezTo>
                  <a:pt x="510" y="42"/>
                  <a:pt x="506" y="38"/>
                  <a:pt x="506" y="38"/>
                </a:cubicBezTo>
                <a:cubicBezTo>
                  <a:pt x="495" y="34"/>
                  <a:pt x="495" y="34"/>
                  <a:pt x="495" y="34"/>
                </a:cubicBezTo>
                <a:cubicBezTo>
                  <a:pt x="490" y="31"/>
                  <a:pt x="490" y="31"/>
                  <a:pt x="490" y="31"/>
                </a:cubicBezTo>
                <a:cubicBezTo>
                  <a:pt x="490" y="31"/>
                  <a:pt x="483" y="19"/>
                  <a:pt x="477" y="24"/>
                </a:cubicBezTo>
                <a:cubicBezTo>
                  <a:pt x="471" y="28"/>
                  <a:pt x="474" y="24"/>
                  <a:pt x="468" y="26"/>
                </a:cubicBezTo>
                <a:cubicBezTo>
                  <a:pt x="462" y="27"/>
                  <a:pt x="452" y="26"/>
                  <a:pt x="456" y="30"/>
                </a:cubicBezTo>
                <a:cubicBezTo>
                  <a:pt x="461" y="34"/>
                  <a:pt x="467" y="35"/>
                  <a:pt x="471" y="37"/>
                </a:cubicBezTo>
                <a:cubicBezTo>
                  <a:pt x="476" y="39"/>
                  <a:pt x="478" y="44"/>
                  <a:pt x="478" y="44"/>
                </a:cubicBezTo>
                <a:cubicBezTo>
                  <a:pt x="478" y="44"/>
                  <a:pt x="479" y="45"/>
                  <a:pt x="484" y="51"/>
                </a:cubicBezTo>
                <a:cubicBezTo>
                  <a:pt x="489" y="58"/>
                  <a:pt x="496" y="61"/>
                  <a:pt x="488" y="61"/>
                </a:cubicBezTo>
                <a:cubicBezTo>
                  <a:pt x="480" y="61"/>
                  <a:pt x="472" y="55"/>
                  <a:pt x="472" y="55"/>
                </a:cubicBezTo>
                <a:cubicBezTo>
                  <a:pt x="472" y="55"/>
                  <a:pt x="474" y="43"/>
                  <a:pt x="464" y="54"/>
                </a:cubicBezTo>
                <a:cubicBezTo>
                  <a:pt x="455" y="64"/>
                  <a:pt x="461" y="57"/>
                  <a:pt x="449" y="61"/>
                </a:cubicBezTo>
                <a:cubicBezTo>
                  <a:pt x="437" y="64"/>
                  <a:pt x="447" y="52"/>
                  <a:pt x="443" y="53"/>
                </a:cubicBezTo>
                <a:cubicBezTo>
                  <a:pt x="439" y="54"/>
                  <a:pt x="432" y="53"/>
                  <a:pt x="432" y="58"/>
                </a:cubicBezTo>
                <a:cubicBezTo>
                  <a:pt x="431" y="63"/>
                  <a:pt x="432" y="67"/>
                  <a:pt x="432" y="67"/>
                </a:cubicBezTo>
                <a:cubicBezTo>
                  <a:pt x="432" y="67"/>
                  <a:pt x="429" y="69"/>
                  <a:pt x="425" y="70"/>
                </a:cubicBezTo>
                <a:cubicBezTo>
                  <a:pt x="422" y="71"/>
                  <a:pt x="420" y="71"/>
                  <a:pt x="420" y="71"/>
                </a:cubicBezTo>
                <a:cubicBezTo>
                  <a:pt x="420" y="71"/>
                  <a:pt x="418" y="73"/>
                  <a:pt x="416" y="79"/>
                </a:cubicBezTo>
                <a:cubicBezTo>
                  <a:pt x="414" y="85"/>
                  <a:pt x="419" y="86"/>
                  <a:pt x="416" y="90"/>
                </a:cubicBezTo>
                <a:cubicBezTo>
                  <a:pt x="413" y="94"/>
                  <a:pt x="411" y="95"/>
                  <a:pt x="411" y="95"/>
                </a:cubicBezTo>
                <a:cubicBezTo>
                  <a:pt x="411" y="95"/>
                  <a:pt x="406" y="96"/>
                  <a:pt x="405" y="101"/>
                </a:cubicBezTo>
                <a:cubicBezTo>
                  <a:pt x="403" y="105"/>
                  <a:pt x="404" y="111"/>
                  <a:pt x="404" y="111"/>
                </a:cubicBezTo>
                <a:cubicBezTo>
                  <a:pt x="404" y="111"/>
                  <a:pt x="397" y="112"/>
                  <a:pt x="396" y="116"/>
                </a:cubicBezTo>
                <a:cubicBezTo>
                  <a:pt x="396" y="119"/>
                  <a:pt x="395" y="122"/>
                  <a:pt x="395" y="122"/>
                </a:cubicBezTo>
                <a:cubicBezTo>
                  <a:pt x="395" y="122"/>
                  <a:pt x="400" y="124"/>
                  <a:pt x="399" y="130"/>
                </a:cubicBezTo>
                <a:cubicBezTo>
                  <a:pt x="399" y="136"/>
                  <a:pt x="399" y="138"/>
                  <a:pt x="398" y="141"/>
                </a:cubicBezTo>
                <a:cubicBezTo>
                  <a:pt x="397" y="143"/>
                  <a:pt x="394" y="142"/>
                  <a:pt x="394" y="142"/>
                </a:cubicBezTo>
                <a:cubicBezTo>
                  <a:pt x="394" y="142"/>
                  <a:pt x="391" y="137"/>
                  <a:pt x="390" y="139"/>
                </a:cubicBezTo>
                <a:cubicBezTo>
                  <a:pt x="389" y="141"/>
                  <a:pt x="386" y="141"/>
                  <a:pt x="386" y="141"/>
                </a:cubicBezTo>
                <a:cubicBezTo>
                  <a:pt x="386" y="141"/>
                  <a:pt x="386" y="141"/>
                  <a:pt x="386" y="141"/>
                </a:cubicBezTo>
                <a:cubicBezTo>
                  <a:pt x="370" y="137"/>
                  <a:pt x="370" y="137"/>
                  <a:pt x="370" y="137"/>
                </a:cubicBezTo>
                <a:cubicBezTo>
                  <a:pt x="370" y="137"/>
                  <a:pt x="365" y="147"/>
                  <a:pt x="362" y="148"/>
                </a:cubicBezTo>
                <a:cubicBezTo>
                  <a:pt x="359" y="148"/>
                  <a:pt x="360" y="141"/>
                  <a:pt x="360" y="139"/>
                </a:cubicBezTo>
                <a:cubicBezTo>
                  <a:pt x="360" y="137"/>
                  <a:pt x="353" y="136"/>
                  <a:pt x="353" y="136"/>
                </a:cubicBezTo>
                <a:cubicBezTo>
                  <a:pt x="353" y="136"/>
                  <a:pt x="348" y="135"/>
                  <a:pt x="347" y="131"/>
                </a:cubicBezTo>
                <a:cubicBezTo>
                  <a:pt x="346" y="127"/>
                  <a:pt x="344" y="123"/>
                  <a:pt x="340" y="118"/>
                </a:cubicBezTo>
                <a:cubicBezTo>
                  <a:pt x="336" y="114"/>
                  <a:pt x="327" y="111"/>
                  <a:pt x="324" y="113"/>
                </a:cubicBezTo>
                <a:cubicBezTo>
                  <a:pt x="321" y="114"/>
                  <a:pt x="317" y="119"/>
                  <a:pt x="315" y="121"/>
                </a:cubicBezTo>
                <a:cubicBezTo>
                  <a:pt x="313" y="124"/>
                  <a:pt x="308" y="125"/>
                  <a:pt x="308" y="125"/>
                </a:cubicBezTo>
                <a:cubicBezTo>
                  <a:pt x="305" y="125"/>
                  <a:pt x="306" y="117"/>
                  <a:pt x="304" y="118"/>
                </a:cubicBezTo>
                <a:cubicBezTo>
                  <a:pt x="302" y="119"/>
                  <a:pt x="300" y="119"/>
                  <a:pt x="300" y="123"/>
                </a:cubicBezTo>
                <a:cubicBezTo>
                  <a:pt x="300" y="126"/>
                  <a:pt x="302" y="141"/>
                  <a:pt x="300" y="141"/>
                </a:cubicBezTo>
                <a:cubicBezTo>
                  <a:pt x="299" y="142"/>
                  <a:pt x="295" y="139"/>
                  <a:pt x="293" y="137"/>
                </a:cubicBezTo>
                <a:cubicBezTo>
                  <a:pt x="291" y="136"/>
                  <a:pt x="290" y="129"/>
                  <a:pt x="288" y="134"/>
                </a:cubicBezTo>
                <a:cubicBezTo>
                  <a:pt x="285" y="139"/>
                  <a:pt x="276" y="140"/>
                  <a:pt x="276" y="145"/>
                </a:cubicBezTo>
                <a:cubicBezTo>
                  <a:pt x="276" y="149"/>
                  <a:pt x="281" y="153"/>
                  <a:pt x="278" y="156"/>
                </a:cubicBezTo>
                <a:cubicBezTo>
                  <a:pt x="275" y="159"/>
                  <a:pt x="272" y="158"/>
                  <a:pt x="273" y="161"/>
                </a:cubicBezTo>
                <a:cubicBezTo>
                  <a:pt x="275" y="164"/>
                  <a:pt x="279" y="168"/>
                  <a:pt x="278" y="169"/>
                </a:cubicBezTo>
                <a:cubicBezTo>
                  <a:pt x="278" y="171"/>
                  <a:pt x="272" y="169"/>
                  <a:pt x="271" y="169"/>
                </a:cubicBezTo>
                <a:cubicBezTo>
                  <a:pt x="269" y="169"/>
                  <a:pt x="267" y="163"/>
                  <a:pt x="265" y="166"/>
                </a:cubicBezTo>
                <a:cubicBezTo>
                  <a:pt x="263" y="170"/>
                  <a:pt x="259" y="171"/>
                  <a:pt x="260" y="175"/>
                </a:cubicBezTo>
                <a:cubicBezTo>
                  <a:pt x="261" y="178"/>
                  <a:pt x="267" y="178"/>
                  <a:pt x="267" y="178"/>
                </a:cubicBezTo>
                <a:cubicBezTo>
                  <a:pt x="265" y="186"/>
                  <a:pt x="267" y="178"/>
                  <a:pt x="265" y="186"/>
                </a:cubicBezTo>
                <a:cubicBezTo>
                  <a:pt x="262" y="194"/>
                  <a:pt x="251" y="194"/>
                  <a:pt x="248" y="193"/>
                </a:cubicBezTo>
                <a:cubicBezTo>
                  <a:pt x="246" y="191"/>
                  <a:pt x="240" y="189"/>
                  <a:pt x="238" y="193"/>
                </a:cubicBezTo>
                <a:cubicBezTo>
                  <a:pt x="236" y="197"/>
                  <a:pt x="237" y="209"/>
                  <a:pt x="239" y="210"/>
                </a:cubicBezTo>
                <a:cubicBezTo>
                  <a:pt x="240" y="211"/>
                  <a:pt x="244" y="214"/>
                  <a:pt x="242" y="215"/>
                </a:cubicBezTo>
                <a:cubicBezTo>
                  <a:pt x="241" y="216"/>
                  <a:pt x="241" y="218"/>
                  <a:pt x="240" y="219"/>
                </a:cubicBezTo>
                <a:cubicBezTo>
                  <a:pt x="238" y="220"/>
                  <a:pt x="232" y="220"/>
                  <a:pt x="230" y="217"/>
                </a:cubicBezTo>
                <a:cubicBezTo>
                  <a:pt x="228" y="215"/>
                  <a:pt x="227" y="212"/>
                  <a:pt x="224" y="208"/>
                </a:cubicBezTo>
                <a:cubicBezTo>
                  <a:pt x="220" y="205"/>
                  <a:pt x="220" y="200"/>
                  <a:pt x="217" y="204"/>
                </a:cubicBezTo>
                <a:cubicBezTo>
                  <a:pt x="214" y="209"/>
                  <a:pt x="217" y="208"/>
                  <a:pt x="212" y="215"/>
                </a:cubicBezTo>
                <a:cubicBezTo>
                  <a:pt x="207" y="221"/>
                  <a:pt x="203" y="227"/>
                  <a:pt x="201" y="232"/>
                </a:cubicBezTo>
                <a:cubicBezTo>
                  <a:pt x="200" y="236"/>
                  <a:pt x="201" y="243"/>
                  <a:pt x="205" y="247"/>
                </a:cubicBezTo>
                <a:cubicBezTo>
                  <a:pt x="208" y="250"/>
                  <a:pt x="218" y="252"/>
                  <a:pt x="212" y="257"/>
                </a:cubicBezTo>
                <a:cubicBezTo>
                  <a:pt x="207" y="262"/>
                  <a:pt x="203" y="264"/>
                  <a:pt x="201" y="268"/>
                </a:cubicBezTo>
                <a:cubicBezTo>
                  <a:pt x="199" y="273"/>
                  <a:pt x="196" y="270"/>
                  <a:pt x="195" y="274"/>
                </a:cubicBezTo>
                <a:cubicBezTo>
                  <a:pt x="195" y="278"/>
                  <a:pt x="191" y="292"/>
                  <a:pt x="190" y="294"/>
                </a:cubicBezTo>
                <a:cubicBezTo>
                  <a:pt x="189" y="296"/>
                  <a:pt x="182" y="297"/>
                  <a:pt x="178" y="303"/>
                </a:cubicBezTo>
                <a:cubicBezTo>
                  <a:pt x="174" y="308"/>
                  <a:pt x="159" y="316"/>
                  <a:pt x="152" y="316"/>
                </a:cubicBezTo>
                <a:cubicBezTo>
                  <a:pt x="145" y="316"/>
                  <a:pt x="143" y="316"/>
                  <a:pt x="136" y="323"/>
                </a:cubicBezTo>
                <a:cubicBezTo>
                  <a:pt x="129" y="330"/>
                  <a:pt x="127" y="321"/>
                  <a:pt x="124" y="330"/>
                </a:cubicBezTo>
                <a:cubicBezTo>
                  <a:pt x="121" y="339"/>
                  <a:pt x="113" y="342"/>
                  <a:pt x="110" y="343"/>
                </a:cubicBezTo>
                <a:cubicBezTo>
                  <a:pt x="107" y="345"/>
                  <a:pt x="105" y="341"/>
                  <a:pt x="103" y="348"/>
                </a:cubicBezTo>
                <a:cubicBezTo>
                  <a:pt x="100" y="355"/>
                  <a:pt x="98" y="353"/>
                  <a:pt x="92" y="355"/>
                </a:cubicBezTo>
                <a:cubicBezTo>
                  <a:pt x="87" y="357"/>
                  <a:pt x="77" y="351"/>
                  <a:pt x="72" y="355"/>
                </a:cubicBezTo>
                <a:cubicBezTo>
                  <a:pt x="67" y="360"/>
                  <a:pt x="64" y="370"/>
                  <a:pt x="44" y="387"/>
                </a:cubicBezTo>
                <a:cubicBezTo>
                  <a:pt x="23" y="404"/>
                  <a:pt x="26" y="411"/>
                  <a:pt x="23" y="417"/>
                </a:cubicBezTo>
                <a:cubicBezTo>
                  <a:pt x="21" y="423"/>
                  <a:pt x="15" y="425"/>
                  <a:pt x="16" y="419"/>
                </a:cubicBezTo>
                <a:cubicBezTo>
                  <a:pt x="17" y="412"/>
                  <a:pt x="16" y="402"/>
                  <a:pt x="12" y="408"/>
                </a:cubicBezTo>
                <a:cubicBezTo>
                  <a:pt x="8" y="415"/>
                  <a:pt x="0" y="431"/>
                  <a:pt x="5" y="431"/>
                </a:cubicBezTo>
                <a:cubicBezTo>
                  <a:pt x="9" y="431"/>
                  <a:pt x="14" y="430"/>
                  <a:pt x="15" y="436"/>
                </a:cubicBezTo>
                <a:cubicBezTo>
                  <a:pt x="17" y="442"/>
                  <a:pt x="18" y="454"/>
                  <a:pt x="18" y="456"/>
                </a:cubicBezTo>
                <a:cubicBezTo>
                  <a:pt x="17" y="458"/>
                  <a:pt x="13" y="457"/>
                  <a:pt x="12" y="466"/>
                </a:cubicBezTo>
                <a:cubicBezTo>
                  <a:pt x="11" y="474"/>
                  <a:pt x="9" y="485"/>
                  <a:pt x="18" y="493"/>
                </a:cubicBezTo>
                <a:cubicBezTo>
                  <a:pt x="27" y="501"/>
                  <a:pt x="44" y="519"/>
                  <a:pt x="44" y="527"/>
                </a:cubicBezTo>
                <a:cubicBezTo>
                  <a:pt x="45" y="536"/>
                  <a:pt x="48" y="540"/>
                  <a:pt x="42" y="535"/>
                </a:cubicBezTo>
                <a:cubicBezTo>
                  <a:pt x="36" y="531"/>
                  <a:pt x="20" y="514"/>
                  <a:pt x="19" y="516"/>
                </a:cubicBezTo>
                <a:cubicBezTo>
                  <a:pt x="18" y="518"/>
                  <a:pt x="22" y="521"/>
                  <a:pt x="26" y="526"/>
                </a:cubicBezTo>
                <a:cubicBezTo>
                  <a:pt x="30" y="531"/>
                  <a:pt x="40" y="539"/>
                  <a:pt x="37" y="544"/>
                </a:cubicBezTo>
                <a:cubicBezTo>
                  <a:pt x="34" y="548"/>
                  <a:pt x="22" y="533"/>
                  <a:pt x="20" y="537"/>
                </a:cubicBezTo>
                <a:cubicBezTo>
                  <a:pt x="18" y="541"/>
                  <a:pt x="21" y="543"/>
                  <a:pt x="27" y="548"/>
                </a:cubicBezTo>
                <a:cubicBezTo>
                  <a:pt x="34" y="553"/>
                  <a:pt x="38" y="556"/>
                  <a:pt x="45" y="563"/>
                </a:cubicBezTo>
                <a:cubicBezTo>
                  <a:pt x="51" y="571"/>
                  <a:pt x="48" y="575"/>
                  <a:pt x="53" y="582"/>
                </a:cubicBezTo>
                <a:cubicBezTo>
                  <a:pt x="58" y="590"/>
                  <a:pt x="50" y="585"/>
                  <a:pt x="60" y="594"/>
                </a:cubicBezTo>
                <a:cubicBezTo>
                  <a:pt x="71" y="602"/>
                  <a:pt x="83" y="609"/>
                  <a:pt x="84" y="620"/>
                </a:cubicBezTo>
                <a:cubicBezTo>
                  <a:pt x="85" y="631"/>
                  <a:pt x="84" y="636"/>
                  <a:pt x="89" y="644"/>
                </a:cubicBezTo>
                <a:cubicBezTo>
                  <a:pt x="95" y="652"/>
                  <a:pt x="100" y="667"/>
                  <a:pt x="109" y="676"/>
                </a:cubicBezTo>
                <a:cubicBezTo>
                  <a:pt x="118" y="685"/>
                  <a:pt x="120" y="690"/>
                  <a:pt x="121" y="695"/>
                </a:cubicBezTo>
                <a:cubicBezTo>
                  <a:pt x="122" y="701"/>
                  <a:pt x="123" y="707"/>
                  <a:pt x="125" y="709"/>
                </a:cubicBezTo>
                <a:cubicBezTo>
                  <a:pt x="126" y="712"/>
                  <a:pt x="123" y="711"/>
                  <a:pt x="122" y="716"/>
                </a:cubicBezTo>
                <a:cubicBezTo>
                  <a:pt x="121" y="720"/>
                  <a:pt x="119" y="727"/>
                  <a:pt x="120" y="734"/>
                </a:cubicBezTo>
                <a:cubicBezTo>
                  <a:pt x="122" y="741"/>
                  <a:pt x="120" y="744"/>
                  <a:pt x="116" y="742"/>
                </a:cubicBezTo>
                <a:cubicBezTo>
                  <a:pt x="112" y="740"/>
                  <a:pt x="103" y="737"/>
                  <a:pt x="108" y="743"/>
                </a:cubicBezTo>
                <a:cubicBezTo>
                  <a:pt x="114" y="749"/>
                  <a:pt x="116" y="752"/>
                  <a:pt x="119" y="757"/>
                </a:cubicBezTo>
                <a:cubicBezTo>
                  <a:pt x="121" y="761"/>
                  <a:pt x="115" y="767"/>
                  <a:pt x="122" y="766"/>
                </a:cubicBezTo>
                <a:cubicBezTo>
                  <a:pt x="129" y="764"/>
                  <a:pt x="134" y="764"/>
                  <a:pt x="139" y="768"/>
                </a:cubicBezTo>
                <a:cubicBezTo>
                  <a:pt x="143" y="771"/>
                  <a:pt x="147" y="776"/>
                  <a:pt x="153" y="774"/>
                </a:cubicBezTo>
                <a:cubicBezTo>
                  <a:pt x="158" y="772"/>
                  <a:pt x="159" y="765"/>
                  <a:pt x="165" y="771"/>
                </a:cubicBezTo>
                <a:cubicBezTo>
                  <a:pt x="170" y="778"/>
                  <a:pt x="173" y="769"/>
                  <a:pt x="178" y="768"/>
                </a:cubicBezTo>
                <a:cubicBezTo>
                  <a:pt x="183" y="768"/>
                  <a:pt x="187" y="767"/>
                  <a:pt x="191" y="767"/>
                </a:cubicBezTo>
                <a:cubicBezTo>
                  <a:pt x="194" y="768"/>
                  <a:pt x="196" y="765"/>
                  <a:pt x="200" y="762"/>
                </a:cubicBezTo>
                <a:cubicBezTo>
                  <a:pt x="204" y="759"/>
                  <a:pt x="204" y="756"/>
                  <a:pt x="212" y="753"/>
                </a:cubicBezTo>
                <a:cubicBezTo>
                  <a:pt x="219" y="750"/>
                  <a:pt x="222" y="756"/>
                  <a:pt x="222" y="744"/>
                </a:cubicBezTo>
                <a:cubicBezTo>
                  <a:pt x="223" y="732"/>
                  <a:pt x="223" y="730"/>
                  <a:pt x="234" y="726"/>
                </a:cubicBezTo>
                <a:cubicBezTo>
                  <a:pt x="245" y="722"/>
                  <a:pt x="268" y="717"/>
                  <a:pt x="272" y="717"/>
                </a:cubicBezTo>
                <a:cubicBezTo>
                  <a:pt x="276" y="716"/>
                  <a:pt x="273" y="711"/>
                  <a:pt x="280" y="716"/>
                </a:cubicBezTo>
                <a:cubicBezTo>
                  <a:pt x="288" y="721"/>
                  <a:pt x="288" y="712"/>
                  <a:pt x="294" y="713"/>
                </a:cubicBezTo>
                <a:cubicBezTo>
                  <a:pt x="300" y="715"/>
                  <a:pt x="289" y="716"/>
                  <a:pt x="303" y="713"/>
                </a:cubicBezTo>
                <a:cubicBezTo>
                  <a:pt x="317" y="710"/>
                  <a:pt x="316" y="705"/>
                  <a:pt x="321" y="694"/>
                </a:cubicBezTo>
                <a:cubicBezTo>
                  <a:pt x="325" y="684"/>
                  <a:pt x="317" y="685"/>
                  <a:pt x="333" y="678"/>
                </a:cubicBezTo>
                <a:cubicBezTo>
                  <a:pt x="349" y="671"/>
                  <a:pt x="359" y="652"/>
                  <a:pt x="380" y="653"/>
                </a:cubicBezTo>
                <a:cubicBezTo>
                  <a:pt x="401" y="655"/>
                  <a:pt x="408" y="649"/>
                  <a:pt x="419" y="640"/>
                </a:cubicBezTo>
                <a:cubicBezTo>
                  <a:pt x="426" y="633"/>
                  <a:pt x="428" y="629"/>
                  <a:pt x="433" y="628"/>
                </a:cubicBezTo>
                <a:cubicBezTo>
                  <a:pt x="433" y="628"/>
                  <a:pt x="433" y="628"/>
                  <a:pt x="433" y="628"/>
                </a:cubicBezTo>
                <a:cubicBezTo>
                  <a:pt x="435" y="627"/>
                  <a:pt x="438" y="627"/>
                  <a:pt x="442" y="627"/>
                </a:cubicBezTo>
                <a:cubicBezTo>
                  <a:pt x="455" y="627"/>
                  <a:pt x="477" y="612"/>
                  <a:pt x="493" y="623"/>
                </a:cubicBezTo>
                <a:cubicBezTo>
                  <a:pt x="509" y="634"/>
                  <a:pt x="512" y="637"/>
                  <a:pt x="518" y="632"/>
                </a:cubicBezTo>
                <a:cubicBezTo>
                  <a:pt x="524" y="627"/>
                  <a:pt x="523" y="620"/>
                  <a:pt x="531" y="627"/>
                </a:cubicBezTo>
                <a:cubicBezTo>
                  <a:pt x="538" y="634"/>
                  <a:pt x="543" y="619"/>
                  <a:pt x="549" y="631"/>
                </a:cubicBezTo>
                <a:cubicBezTo>
                  <a:pt x="556" y="643"/>
                  <a:pt x="558" y="639"/>
                  <a:pt x="564" y="648"/>
                </a:cubicBezTo>
                <a:cubicBezTo>
                  <a:pt x="570" y="657"/>
                  <a:pt x="567" y="650"/>
                  <a:pt x="572" y="661"/>
                </a:cubicBezTo>
                <a:cubicBezTo>
                  <a:pt x="578" y="672"/>
                  <a:pt x="582" y="662"/>
                  <a:pt x="582" y="673"/>
                </a:cubicBezTo>
                <a:cubicBezTo>
                  <a:pt x="582" y="683"/>
                  <a:pt x="584" y="692"/>
                  <a:pt x="584" y="692"/>
                </a:cubicBezTo>
                <a:cubicBezTo>
                  <a:pt x="595" y="698"/>
                  <a:pt x="595" y="698"/>
                  <a:pt x="595" y="698"/>
                </a:cubicBezTo>
                <a:cubicBezTo>
                  <a:pt x="598" y="706"/>
                  <a:pt x="598" y="706"/>
                  <a:pt x="598" y="706"/>
                </a:cubicBezTo>
                <a:cubicBezTo>
                  <a:pt x="598" y="706"/>
                  <a:pt x="600" y="719"/>
                  <a:pt x="605" y="710"/>
                </a:cubicBezTo>
                <a:cubicBezTo>
                  <a:pt x="609" y="700"/>
                  <a:pt x="605" y="697"/>
                  <a:pt x="613" y="689"/>
                </a:cubicBezTo>
                <a:cubicBezTo>
                  <a:pt x="621" y="680"/>
                  <a:pt x="632" y="673"/>
                  <a:pt x="636" y="670"/>
                </a:cubicBezTo>
                <a:cubicBezTo>
                  <a:pt x="639" y="666"/>
                  <a:pt x="642" y="666"/>
                  <a:pt x="644" y="652"/>
                </a:cubicBezTo>
                <a:cubicBezTo>
                  <a:pt x="646" y="638"/>
                  <a:pt x="642" y="622"/>
                  <a:pt x="649" y="634"/>
                </a:cubicBezTo>
                <a:cubicBezTo>
                  <a:pt x="656" y="646"/>
                  <a:pt x="652" y="646"/>
                  <a:pt x="653" y="654"/>
                </a:cubicBezTo>
                <a:cubicBezTo>
                  <a:pt x="654" y="661"/>
                  <a:pt x="646" y="669"/>
                  <a:pt x="645" y="679"/>
                </a:cubicBezTo>
                <a:cubicBezTo>
                  <a:pt x="644" y="688"/>
                  <a:pt x="649" y="691"/>
                  <a:pt x="647" y="697"/>
                </a:cubicBezTo>
                <a:cubicBezTo>
                  <a:pt x="645" y="704"/>
                  <a:pt x="633" y="698"/>
                  <a:pt x="636" y="706"/>
                </a:cubicBezTo>
                <a:cubicBezTo>
                  <a:pt x="640" y="714"/>
                  <a:pt x="650" y="714"/>
                  <a:pt x="652" y="705"/>
                </a:cubicBezTo>
                <a:cubicBezTo>
                  <a:pt x="653" y="696"/>
                  <a:pt x="651" y="676"/>
                  <a:pt x="658" y="683"/>
                </a:cubicBezTo>
                <a:cubicBezTo>
                  <a:pt x="665" y="691"/>
                  <a:pt x="665" y="691"/>
                  <a:pt x="669" y="697"/>
                </a:cubicBezTo>
                <a:cubicBezTo>
                  <a:pt x="672" y="704"/>
                  <a:pt x="676" y="707"/>
                  <a:pt x="669" y="715"/>
                </a:cubicBezTo>
                <a:cubicBezTo>
                  <a:pt x="663" y="723"/>
                  <a:pt x="671" y="724"/>
                  <a:pt x="673" y="724"/>
                </a:cubicBezTo>
                <a:cubicBezTo>
                  <a:pt x="676" y="724"/>
                  <a:pt x="679" y="722"/>
                  <a:pt x="681" y="719"/>
                </a:cubicBezTo>
                <a:cubicBezTo>
                  <a:pt x="684" y="716"/>
                  <a:pt x="686" y="715"/>
                  <a:pt x="686" y="715"/>
                </a:cubicBezTo>
                <a:cubicBezTo>
                  <a:pt x="687" y="733"/>
                  <a:pt x="687" y="733"/>
                  <a:pt x="687" y="733"/>
                </a:cubicBezTo>
                <a:cubicBezTo>
                  <a:pt x="687" y="733"/>
                  <a:pt x="687" y="733"/>
                  <a:pt x="694" y="737"/>
                </a:cubicBezTo>
                <a:cubicBezTo>
                  <a:pt x="700" y="740"/>
                  <a:pt x="703" y="748"/>
                  <a:pt x="703" y="753"/>
                </a:cubicBezTo>
                <a:cubicBezTo>
                  <a:pt x="704" y="758"/>
                  <a:pt x="702" y="755"/>
                  <a:pt x="700" y="761"/>
                </a:cubicBezTo>
                <a:cubicBezTo>
                  <a:pt x="699" y="768"/>
                  <a:pt x="700" y="767"/>
                  <a:pt x="706" y="773"/>
                </a:cubicBezTo>
                <a:cubicBezTo>
                  <a:pt x="712" y="780"/>
                  <a:pt x="713" y="774"/>
                  <a:pt x="715" y="782"/>
                </a:cubicBezTo>
                <a:cubicBezTo>
                  <a:pt x="718" y="789"/>
                  <a:pt x="712" y="791"/>
                  <a:pt x="719" y="793"/>
                </a:cubicBezTo>
                <a:cubicBezTo>
                  <a:pt x="725" y="795"/>
                  <a:pt x="718" y="782"/>
                  <a:pt x="730" y="791"/>
                </a:cubicBezTo>
                <a:cubicBezTo>
                  <a:pt x="731" y="791"/>
                  <a:pt x="731" y="792"/>
                  <a:pt x="732" y="792"/>
                </a:cubicBezTo>
                <a:lnTo>
                  <a:pt x="732" y="79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40" name="Freeform 373"/>
          <p:cNvSpPr>
            <a:spLocks/>
          </p:cNvSpPr>
          <p:nvPr userDrawn="1"/>
        </p:nvSpPr>
        <p:spPr bwMode="auto">
          <a:xfrm>
            <a:off x="3313037" y="4763433"/>
            <a:ext cx="70353" cy="51928"/>
          </a:xfrm>
          <a:custGeom>
            <a:avLst/>
            <a:gdLst>
              <a:gd name="T0" fmla="*/ 2147483646 w 75"/>
              <a:gd name="T1" fmla="*/ 2147483646 h 55"/>
              <a:gd name="T2" fmla="*/ 2147483646 w 75"/>
              <a:gd name="T3" fmla="*/ 2147483646 h 55"/>
              <a:gd name="T4" fmla="*/ 2147483646 w 75"/>
              <a:gd name="T5" fmla="*/ 2147483646 h 55"/>
              <a:gd name="T6" fmla="*/ 2147483646 w 75"/>
              <a:gd name="T7" fmla="*/ 2147483646 h 55"/>
              <a:gd name="T8" fmla="*/ 2147483646 w 75"/>
              <a:gd name="T9" fmla="*/ 2147483646 h 55"/>
              <a:gd name="T10" fmla="*/ 2147483646 w 75"/>
              <a:gd name="T11" fmla="*/ 2147483646 h 55"/>
              <a:gd name="T12" fmla="*/ 2147483646 w 75"/>
              <a:gd name="T13" fmla="*/ 2147483646 h 55"/>
              <a:gd name="T14" fmla="*/ 2147483646 w 75"/>
              <a:gd name="T15" fmla="*/ 2147483646 h 55"/>
              <a:gd name="T16" fmla="*/ 2147483646 w 75"/>
              <a:gd name="T17" fmla="*/ 2147483646 h 55"/>
              <a:gd name="T18" fmla="*/ 2147483646 w 75"/>
              <a:gd name="T19" fmla="*/ 2147483646 h 55"/>
              <a:gd name="T20" fmla="*/ 2147483646 w 75"/>
              <a:gd name="T21" fmla="*/ 2147483646 h 55"/>
              <a:gd name="T22" fmla="*/ 0 w 75"/>
              <a:gd name="T23" fmla="*/ 2147483646 h 55"/>
              <a:gd name="T24" fmla="*/ 2147483646 w 75"/>
              <a:gd name="T25" fmla="*/ 2147483646 h 55"/>
              <a:gd name="T26" fmla="*/ 2147483646 w 75"/>
              <a:gd name="T27" fmla="*/ 2147483646 h 55"/>
              <a:gd name="T28" fmla="*/ 2147483646 w 75"/>
              <a:gd name="T29" fmla="*/ 2147483646 h 55"/>
              <a:gd name="T30" fmla="*/ 2147483646 w 75"/>
              <a:gd name="T31" fmla="*/ 0 h 55"/>
              <a:gd name="T32" fmla="*/ 2147483646 w 75"/>
              <a:gd name="T33" fmla="*/ 2147483646 h 5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75"/>
              <a:gd name="T52" fmla="*/ 0 h 55"/>
              <a:gd name="T53" fmla="*/ 75 w 75"/>
              <a:gd name="T54" fmla="*/ 55 h 55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75" h="55">
                <a:moveTo>
                  <a:pt x="31" y="2"/>
                </a:moveTo>
                <a:cubicBezTo>
                  <a:pt x="30" y="7"/>
                  <a:pt x="35" y="13"/>
                  <a:pt x="38" y="17"/>
                </a:cubicBezTo>
                <a:cubicBezTo>
                  <a:pt x="45" y="26"/>
                  <a:pt x="52" y="33"/>
                  <a:pt x="63" y="30"/>
                </a:cubicBezTo>
                <a:cubicBezTo>
                  <a:pt x="65" y="35"/>
                  <a:pt x="73" y="32"/>
                  <a:pt x="75" y="37"/>
                </a:cubicBezTo>
                <a:cubicBezTo>
                  <a:pt x="75" y="39"/>
                  <a:pt x="73" y="47"/>
                  <a:pt x="72" y="50"/>
                </a:cubicBezTo>
                <a:cubicBezTo>
                  <a:pt x="72" y="51"/>
                  <a:pt x="72" y="51"/>
                  <a:pt x="72" y="51"/>
                </a:cubicBezTo>
                <a:cubicBezTo>
                  <a:pt x="71" y="52"/>
                  <a:pt x="71" y="52"/>
                  <a:pt x="71" y="52"/>
                </a:cubicBezTo>
                <a:cubicBezTo>
                  <a:pt x="65" y="53"/>
                  <a:pt x="58" y="55"/>
                  <a:pt x="55" y="55"/>
                </a:cubicBezTo>
                <a:cubicBezTo>
                  <a:pt x="52" y="55"/>
                  <a:pt x="47" y="52"/>
                  <a:pt x="37" y="51"/>
                </a:cubicBezTo>
                <a:cubicBezTo>
                  <a:pt x="26" y="50"/>
                  <a:pt x="29" y="50"/>
                  <a:pt x="23" y="42"/>
                </a:cubicBezTo>
                <a:cubicBezTo>
                  <a:pt x="16" y="34"/>
                  <a:pt x="15" y="39"/>
                  <a:pt x="9" y="33"/>
                </a:cubicBezTo>
                <a:cubicBezTo>
                  <a:pt x="6" y="30"/>
                  <a:pt x="3" y="30"/>
                  <a:pt x="0" y="29"/>
                </a:cubicBezTo>
                <a:cubicBezTo>
                  <a:pt x="1" y="29"/>
                  <a:pt x="1" y="29"/>
                  <a:pt x="1" y="29"/>
                </a:cubicBezTo>
                <a:cubicBezTo>
                  <a:pt x="5" y="26"/>
                  <a:pt x="6" y="23"/>
                  <a:pt x="11" y="20"/>
                </a:cubicBezTo>
                <a:cubicBezTo>
                  <a:pt x="16" y="16"/>
                  <a:pt x="26" y="12"/>
                  <a:pt x="29" y="5"/>
                </a:cubicBezTo>
                <a:cubicBezTo>
                  <a:pt x="30" y="4"/>
                  <a:pt x="30" y="2"/>
                  <a:pt x="30" y="0"/>
                </a:cubicBezTo>
                <a:lnTo>
                  <a:pt x="31" y="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41" name="Freeform 374"/>
          <p:cNvSpPr>
            <a:spLocks/>
          </p:cNvSpPr>
          <p:nvPr userDrawn="1"/>
        </p:nvSpPr>
        <p:spPr bwMode="auto">
          <a:xfrm>
            <a:off x="3386740" y="4763433"/>
            <a:ext cx="127307" cy="125632"/>
          </a:xfrm>
          <a:custGeom>
            <a:avLst/>
            <a:gdLst>
              <a:gd name="T0" fmla="*/ 2147483646 w 135"/>
              <a:gd name="T1" fmla="*/ 0 h 134"/>
              <a:gd name="T2" fmla="*/ 2147483646 w 135"/>
              <a:gd name="T3" fmla="*/ 2147483646 h 134"/>
              <a:gd name="T4" fmla="*/ 2147483646 w 135"/>
              <a:gd name="T5" fmla="*/ 2147483646 h 134"/>
              <a:gd name="T6" fmla="*/ 2147483646 w 135"/>
              <a:gd name="T7" fmla="*/ 2147483646 h 134"/>
              <a:gd name="T8" fmla="*/ 2147483646 w 135"/>
              <a:gd name="T9" fmla="*/ 2147483646 h 134"/>
              <a:gd name="T10" fmla="*/ 2147483646 w 135"/>
              <a:gd name="T11" fmla="*/ 2147483646 h 134"/>
              <a:gd name="T12" fmla="*/ 2147483646 w 135"/>
              <a:gd name="T13" fmla="*/ 2147483646 h 134"/>
              <a:gd name="T14" fmla="*/ 2147483646 w 135"/>
              <a:gd name="T15" fmla="*/ 2147483646 h 134"/>
              <a:gd name="T16" fmla="*/ 2147483646 w 135"/>
              <a:gd name="T17" fmla="*/ 2147483646 h 134"/>
              <a:gd name="T18" fmla="*/ 2147483646 w 135"/>
              <a:gd name="T19" fmla="*/ 2147483646 h 134"/>
              <a:gd name="T20" fmla="*/ 2147483646 w 135"/>
              <a:gd name="T21" fmla="*/ 2147483646 h 134"/>
              <a:gd name="T22" fmla="*/ 2147483646 w 135"/>
              <a:gd name="T23" fmla="*/ 2147483646 h 134"/>
              <a:gd name="T24" fmla="*/ 2147483646 w 135"/>
              <a:gd name="T25" fmla="*/ 2147483646 h 134"/>
              <a:gd name="T26" fmla="*/ 2147483646 w 135"/>
              <a:gd name="T27" fmla="*/ 2147483646 h 134"/>
              <a:gd name="T28" fmla="*/ 2147483646 w 135"/>
              <a:gd name="T29" fmla="*/ 2147483646 h 134"/>
              <a:gd name="T30" fmla="*/ 2147483646 w 135"/>
              <a:gd name="T31" fmla="*/ 2147483646 h 134"/>
              <a:gd name="T32" fmla="*/ 2147483646 w 135"/>
              <a:gd name="T33" fmla="*/ 2147483646 h 134"/>
              <a:gd name="T34" fmla="*/ 2147483646 w 135"/>
              <a:gd name="T35" fmla="*/ 2147483646 h 134"/>
              <a:gd name="T36" fmla="*/ 2147483646 w 135"/>
              <a:gd name="T37" fmla="*/ 2147483646 h 134"/>
              <a:gd name="T38" fmla="*/ 2147483646 w 135"/>
              <a:gd name="T39" fmla="*/ 2147483646 h 134"/>
              <a:gd name="T40" fmla="*/ 2147483646 w 135"/>
              <a:gd name="T41" fmla="*/ 2147483646 h 134"/>
              <a:gd name="T42" fmla="*/ 2147483646 w 135"/>
              <a:gd name="T43" fmla="*/ 2147483646 h 134"/>
              <a:gd name="T44" fmla="*/ 2147483646 w 135"/>
              <a:gd name="T45" fmla="*/ 2147483646 h 134"/>
              <a:gd name="T46" fmla="*/ 2147483646 w 135"/>
              <a:gd name="T47" fmla="*/ 2147483646 h 134"/>
              <a:gd name="T48" fmla="*/ 2147483646 w 135"/>
              <a:gd name="T49" fmla="*/ 2147483646 h 134"/>
              <a:gd name="T50" fmla="*/ 2147483646 w 135"/>
              <a:gd name="T51" fmla="*/ 2147483646 h 134"/>
              <a:gd name="T52" fmla="*/ 2147483646 w 135"/>
              <a:gd name="T53" fmla="*/ 2147483646 h 134"/>
              <a:gd name="T54" fmla="*/ 2147483646 w 135"/>
              <a:gd name="T55" fmla="*/ 2147483646 h 134"/>
              <a:gd name="T56" fmla="*/ 2147483646 w 135"/>
              <a:gd name="T57" fmla="*/ 2147483646 h 134"/>
              <a:gd name="T58" fmla="*/ 2147483646 w 135"/>
              <a:gd name="T59" fmla="*/ 2147483646 h 134"/>
              <a:gd name="T60" fmla="*/ 2147483646 w 135"/>
              <a:gd name="T61" fmla="*/ 2147483646 h 134"/>
              <a:gd name="T62" fmla="*/ 2147483646 w 135"/>
              <a:gd name="T63" fmla="*/ 2147483646 h 134"/>
              <a:gd name="T64" fmla="*/ 2147483646 w 135"/>
              <a:gd name="T65" fmla="*/ 2147483646 h 134"/>
              <a:gd name="T66" fmla="*/ 2147483646 w 135"/>
              <a:gd name="T67" fmla="*/ 0 h 134"/>
              <a:gd name="T68" fmla="*/ 2147483646 w 135"/>
              <a:gd name="T69" fmla="*/ 0 h 13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35"/>
              <a:gd name="T106" fmla="*/ 0 h 134"/>
              <a:gd name="T107" fmla="*/ 135 w 135"/>
              <a:gd name="T108" fmla="*/ 134 h 13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35" h="134">
                <a:moveTo>
                  <a:pt x="127" y="0"/>
                </a:moveTo>
                <a:cubicBezTo>
                  <a:pt x="128" y="3"/>
                  <a:pt x="129" y="7"/>
                  <a:pt x="131" y="10"/>
                </a:cubicBezTo>
                <a:cubicBezTo>
                  <a:pt x="135" y="18"/>
                  <a:pt x="130" y="31"/>
                  <a:pt x="124" y="39"/>
                </a:cubicBezTo>
                <a:cubicBezTo>
                  <a:pt x="117" y="47"/>
                  <a:pt x="121" y="64"/>
                  <a:pt x="116" y="80"/>
                </a:cubicBezTo>
                <a:cubicBezTo>
                  <a:pt x="111" y="97"/>
                  <a:pt x="110" y="98"/>
                  <a:pt x="115" y="107"/>
                </a:cubicBezTo>
                <a:cubicBezTo>
                  <a:pt x="118" y="113"/>
                  <a:pt x="116" y="116"/>
                  <a:pt x="118" y="128"/>
                </a:cubicBezTo>
                <a:cubicBezTo>
                  <a:pt x="117" y="129"/>
                  <a:pt x="117" y="129"/>
                  <a:pt x="117" y="129"/>
                </a:cubicBezTo>
                <a:cubicBezTo>
                  <a:pt x="110" y="130"/>
                  <a:pt x="106" y="134"/>
                  <a:pt x="99" y="129"/>
                </a:cubicBezTo>
                <a:cubicBezTo>
                  <a:pt x="93" y="125"/>
                  <a:pt x="90" y="119"/>
                  <a:pt x="81" y="120"/>
                </a:cubicBezTo>
                <a:cubicBezTo>
                  <a:pt x="81" y="119"/>
                  <a:pt x="81" y="119"/>
                  <a:pt x="81" y="119"/>
                </a:cubicBezTo>
                <a:cubicBezTo>
                  <a:pt x="78" y="114"/>
                  <a:pt x="68" y="106"/>
                  <a:pt x="65" y="103"/>
                </a:cubicBezTo>
                <a:cubicBezTo>
                  <a:pt x="62" y="100"/>
                  <a:pt x="62" y="97"/>
                  <a:pt x="59" y="94"/>
                </a:cubicBezTo>
                <a:cubicBezTo>
                  <a:pt x="56" y="91"/>
                  <a:pt x="54" y="90"/>
                  <a:pt x="51" y="90"/>
                </a:cubicBezTo>
                <a:cubicBezTo>
                  <a:pt x="49" y="89"/>
                  <a:pt x="48" y="98"/>
                  <a:pt x="49" y="101"/>
                </a:cubicBezTo>
                <a:cubicBezTo>
                  <a:pt x="50" y="104"/>
                  <a:pt x="56" y="112"/>
                  <a:pt x="57" y="114"/>
                </a:cubicBezTo>
                <a:cubicBezTo>
                  <a:pt x="59" y="115"/>
                  <a:pt x="56" y="117"/>
                  <a:pt x="55" y="118"/>
                </a:cubicBezTo>
                <a:cubicBezTo>
                  <a:pt x="54" y="119"/>
                  <a:pt x="46" y="114"/>
                  <a:pt x="40" y="106"/>
                </a:cubicBezTo>
                <a:cubicBezTo>
                  <a:pt x="34" y="99"/>
                  <a:pt x="31" y="98"/>
                  <a:pt x="25" y="90"/>
                </a:cubicBezTo>
                <a:cubicBezTo>
                  <a:pt x="19" y="82"/>
                  <a:pt x="15" y="77"/>
                  <a:pt x="9" y="71"/>
                </a:cubicBezTo>
                <a:cubicBezTo>
                  <a:pt x="2" y="65"/>
                  <a:pt x="0" y="64"/>
                  <a:pt x="5" y="61"/>
                </a:cubicBezTo>
                <a:cubicBezTo>
                  <a:pt x="6" y="61"/>
                  <a:pt x="6" y="60"/>
                  <a:pt x="7" y="59"/>
                </a:cubicBezTo>
                <a:cubicBezTo>
                  <a:pt x="8" y="59"/>
                  <a:pt x="8" y="59"/>
                  <a:pt x="8" y="59"/>
                </a:cubicBezTo>
                <a:cubicBezTo>
                  <a:pt x="13" y="59"/>
                  <a:pt x="18" y="57"/>
                  <a:pt x="22" y="54"/>
                </a:cubicBezTo>
                <a:cubicBezTo>
                  <a:pt x="27" y="50"/>
                  <a:pt x="27" y="45"/>
                  <a:pt x="29" y="40"/>
                </a:cubicBezTo>
                <a:cubicBezTo>
                  <a:pt x="31" y="34"/>
                  <a:pt x="33" y="32"/>
                  <a:pt x="40" y="33"/>
                </a:cubicBezTo>
                <a:cubicBezTo>
                  <a:pt x="43" y="33"/>
                  <a:pt x="44" y="34"/>
                  <a:pt x="47" y="33"/>
                </a:cubicBezTo>
                <a:cubicBezTo>
                  <a:pt x="50" y="32"/>
                  <a:pt x="49" y="28"/>
                  <a:pt x="53" y="28"/>
                </a:cubicBezTo>
                <a:cubicBezTo>
                  <a:pt x="56" y="29"/>
                  <a:pt x="56" y="31"/>
                  <a:pt x="59" y="31"/>
                </a:cubicBezTo>
                <a:cubicBezTo>
                  <a:pt x="64" y="31"/>
                  <a:pt x="67" y="24"/>
                  <a:pt x="69" y="20"/>
                </a:cubicBezTo>
                <a:cubicBezTo>
                  <a:pt x="75" y="11"/>
                  <a:pt x="78" y="8"/>
                  <a:pt x="89" y="8"/>
                </a:cubicBezTo>
                <a:cubicBezTo>
                  <a:pt x="93" y="8"/>
                  <a:pt x="100" y="10"/>
                  <a:pt x="104" y="9"/>
                </a:cubicBezTo>
                <a:cubicBezTo>
                  <a:pt x="107" y="8"/>
                  <a:pt x="110" y="5"/>
                  <a:pt x="114" y="4"/>
                </a:cubicBezTo>
                <a:cubicBezTo>
                  <a:pt x="117" y="4"/>
                  <a:pt x="118" y="3"/>
                  <a:pt x="121" y="2"/>
                </a:cubicBezTo>
                <a:cubicBezTo>
                  <a:pt x="123" y="1"/>
                  <a:pt x="124" y="0"/>
                  <a:pt x="126" y="0"/>
                </a:cubicBezTo>
                <a:lnTo>
                  <a:pt x="12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42" name="Freeform 375"/>
          <p:cNvSpPr>
            <a:spLocks/>
          </p:cNvSpPr>
          <p:nvPr userDrawn="1"/>
        </p:nvSpPr>
        <p:spPr bwMode="auto">
          <a:xfrm>
            <a:off x="3433644" y="4873990"/>
            <a:ext cx="87105" cy="88780"/>
          </a:xfrm>
          <a:custGeom>
            <a:avLst/>
            <a:gdLst>
              <a:gd name="T0" fmla="*/ 2147483646 w 93"/>
              <a:gd name="T1" fmla="*/ 2147483646 h 96"/>
              <a:gd name="T2" fmla="*/ 2147483646 w 93"/>
              <a:gd name="T3" fmla="*/ 2147483646 h 96"/>
              <a:gd name="T4" fmla="*/ 2147483646 w 93"/>
              <a:gd name="T5" fmla="*/ 2147483646 h 96"/>
              <a:gd name="T6" fmla="*/ 2147483646 w 93"/>
              <a:gd name="T7" fmla="*/ 2147483646 h 96"/>
              <a:gd name="T8" fmla="*/ 2147483646 w 93"/>
              <a:gd name="T9" fmla="*/ 2147483646 h 96"/>
              <a:gd name="T10" fmla="*/ 2147483646 w 93"/>
              <a:gd name="T11" fmla="*/ 2147483646 h 96"/>
              <a:gd name="T12" fmla="*/ 2147483646 w 93"/>
              <a:gd name="T13" fmla="*/ 2147483646 h 96"/>
              <a:gd name="T14" fmla="*/ 2147483646 w 93"/>
              <a:gd name="T15" fmla="*/ 2147483646 h 96"/>
              <a:gd name="T16" fmla="*/ 2147483646 w 93"/>
              <a:gd name="T17" fmla="*/ 2147483646 h 96"/>
              <a:gd name="T18" fmla="*/ 2147483646 w 93"/>
              <a:gd name="T19" fmla="*/ 2147483646 h 96"/>
              <a:gd name="T20" fmla="*/ 2147483646 w 93"/>
              <a:gd name="T21" fmla="*/ 2147483646 h 96"/>
              <a:gd name="T22" fmla="*/ 2147483646 w 93"/>
              <a:gd name="T23" fmla="*/ 2147483646 h 96"/>
              <a:gd name="T24" fmla="*/ 2147483646 w 93"/>
              <a:gd name="T25" fmla="*/ 0 h 96"/>
              <a:gd name="T26" fmla="*/ 2147483646 w 93"/>
              <a:gd name="T27" fmla="*/ 2147483646 h 96"/>
              <a:gd name="T28" fmla="*/ 2147483646 w 93"/>
              <a:gd name="T29" fmla="*/ 2147483646 h 96"/>
              <a:gd name="T30" fmla="*/ 2147483646 w 93"/>
              <a:gd name="T31" fmla="*/ 2147483646 h 96"/>
              <a:gd name="T32" fmla="*/ 2147483646 w 93"/>
              <a:gd name="T33" fmla="*/ 2147483646 h 96"/>
              <a:gd name="T34" fmla="*/ 2147483646 w 93"/>
              <a:gd name="T35" fmla="*/ 2147483646 h 96"/>
              <a:gd name="T36" fmla="*/ 2147483646 w 93"/>
              <a:gd name="T37" fmla="*/ 2147483646 h 96"/>
              <a:gd name="T38" fmla="*/ 2147483646 w 93"/>
              <a:gd name="T39" fmla="*/ 2147483646 h 96"/>
              <a:gd name="T40" fmla="*/ 2147483646 w 93"/>
              <a:gd name="T41" fmla="*/ 2147483646 h 96"/>
              <a:gd name="T42" fmla="*/ 2147483646 w 93"/>
              <a:gd name="T43" fmla="*/ 2147483646 h 96"/>
              <a:gd name="T44" fmla="*/ 2147483646 w 93"/>
              <a:gd name="T45" fmla="*/ 2147483646 h 96"/>
              <a:gd name="T46" fmla="*/ 2147483646 w 93"/>
              <a:gd name="T47" fmla="*/ 2147483646 h 96"/>
              <a:gd name="T48" fmla="*/ 2147483646 w 93"/>
              <a:gd name="T49" fmla="*/ 2147483646 h 96"/>
              <a:gd name="T50" fmla="*/ 2147483646 w 93"/>
              <a:gd name="T51" fmla="*/ 2147483646 h 9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93"/>
              <a:gd name="T79" fmla="*/ 0 h 96"/>
              <a:gd name="T80" fmla="*/ 93 w 93"/>
              <a:gd name="T81" fmla="*/ 96 h 9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93" h="96">
                <a:moveTo>
                  <a:pt x="85" y="94"/>
                </a:moveTo>
                <a:cubicBezTo>
                  <a:pt x="85" y="91"/>
                  <a:pt x="86" y="87"/>
                  <a:pt x="87" y="84"/>
                </a:cubicBezTo>
                <a:cubicBezTo>
                  <a:pt x="90" y="79"/>
                  <a:pt x="92" y="79"/>
                  <a:pt x="90" y="74"/>
                </a:cubicBezTo>
                <a:cubicBezTo>
                  <a:pt x="88" y="65"/>
                  <a:pt x="81" y="56"/>
                  <a:pt x="93" y="52"/>
                </a:cubicBezTo>
                <a:cubicBezTo>
                  <a:pt x="93" y="51"/>
                  <a:pt x="93" y="51"/>
                  <a:pt x="93" y="51"/>
                </a:cubicBezTo>
                <a:cubicBezTo>
                  <a:pt x="84" y="44"/>
                  <a:pt x="75" y="34"/>
                  <a:pt x="72" y="24"/>
                </a:cubicBezTo>
                <a:cubicBezTo>
                  <a:pt x="70" y="18"/>
                  <a:pt x="69" y="14"/>
                  <a:pt x="68" y="11"/>
                </a:cubicBezTo>
                <a:cubicBezTo>
                  <a:pt x="67" y="12"/>
                  <a:pt x="67" y="12"/>
                  <a:pt x="67" y="12"/>
                </a:cubicBezTo>
                <a:cubicBezTo>
                  <a:pt x="60" y="14"/>
                  <a:pt x="56" y="17"/>
                  <a:pt x="49" y="13"/>
                </a:cubicBezTo>
                <a:cubicBezTo>
                  <a:pt x="43" y="9"/>
                  <a:pt x="39" y="2"/>
                  <a:pt x="31" y="3"/>
                </a:cubicBezTo>
                <a:cubicBezTo>
                  <a:pt x="31" y="3"/>
                  <a:pt x="31" y="3"/>
                  <a:pt x="31" y="3"/>
                </a:cubicBezTo>
                <a:cubicBezTo>
                  <a:pt x="29" y="5"/>
                  <a:pt x="26" y="9"/>
                  <a:pt x="25" y="8"/>
                </a:cubicBezTo>
                <a:cubicBezTo>
                  <a:pt x="23" y="8"/>
                  <a:pt x="9" y="0"/>
                  <a:pt x="9" y="0"/>
                </a:cubicBezTo>
                <a:cubicBezTo>
                  <a:pt x="9" y="0"/>
                  <a:pt x="4" y="1"/>
                  <a:pt x="4" y="4"/>
                </a:cubicBezTo>
                <a:cubicBezTo>
                  <a:pt x="3" y="6"/>
                  <a:pt x="0" y="20"/>
                  <a:pt x="1" y="24"/>
                </a:cubicBezTo>
                <a:cubicBezTo>
                  <a:pt x="2" y="28"/>
                  <a:pt x="3" y="38"/>
                  <a:pt x="7" y="39"/>
                </a:cubicBezTo>
                <a:cubicBezTo>
                  <a:pt x="12" y="41"/>
                  <a:pt x="17" y="48"/>
                  <a:pt x="22" y="47"/>
                </a:cubicBezTo>
                <a:cubicBezTo>
                  <a:pt x="26" y="46"/>
                  <a:pt x="21" y="38"/>
                  <a:pt x="26" y="40"/>
                </a:cubicBezTo>
                <a:cubicBezTo>
                  <a:pt x="32" y="41"/>
                  <a:pt x="35" y="44"/>
                  <a:pt x="38" y="48"/>
                </a:cubicBezTo>
                <a:cubicBezTo>
                  <a:pt x="42" y="51"/>
                  <a:pt x="45" y="52"/>
                  <a:pt x="48" y="54"/>
                </a:cubicBezTo>
                <a:cubicBezTo>
                  <a:pt x="50" y="57"/>
                  <a:pt x="63" y="70"/>
                  <a:pt x="64" y="74"/>
                </a:cubicBezTo>
                <a:cubicBezTo>
                  <a:pt x="66" y="77"/>
                  <a:pt x="61" y="86"/>
                  <a:pt x="61" y="88"/>
                </a:cubicBezTo>
                <a:cubicBezTo>
                  <a:pt x="62" y="90"/>
                  <a:pt x="74" y="96"/>
                  <a:pt x="77" y="95"/>
                </a:cubicBezTo>
                <a:cubicBezTo>
                  <a:pt x="80" y="94"/>
                  <a:pt x="81" y="85"/>
                  <a:pt x="83" y="88"/>
                </a:cubicBezTo>
                <a:cubicBezTo>
                  <a:pt x="85" y="90"/>
                  <a:pt x="84" y="92"/>
                  <a:pt x="84" y="94"/>
                </a:cubicBezTo>
                <a:lnTo>
                  <a:pt x="85" y="9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43" name="Freeform 376"/>
          <p:cNvSpPr>
            <a:spLocks/>
          </p:cNvSpPr>
          <p:nvPr userDrawn="1"/>
        </p:nvSpPr>
        <p:spPr bwMode="auto">
          <a:xfrm>
            <a:off x="3509023" y="4922568"/>
            <a:ext cx="175884" cy="70353"/>
          </a:xfrm>
          <a:custGeom>
            <a:avLst/>
            <a:gdLst>
              <a:gd name="T0" fmla="*/ 2147483646 w 188"/>
              <a:gd name="T1" fmla="*/ 2147483646 h 76"/>
              <a:gd name="T2" fmla="*/ 2147483646 w 188"/>
              <a:gd name="T3" fmla="*/ 2147483646 h 76"/>
              <a:gd name="T4" fmla="*/ 2147483646 w 188"/>
              <a:gd name="T5" fmla="*/ 2147483646 h 76"/>
              <a:gd name="T6" fmla="*/ 2147483646 w 188"/>
              <a:gd name="T7" fmla="*/ 2147483646 h 76"/>
              <a:gd name="T8" fmla="*/ 2147483646 w 188"/>
              <a:gd name="T9" fmla="*/ 2147483646 h 76"/>
              <a:gd name="T10" fmla="*/ 2147483646 w 188"/>
              <a:gd name="T11" fmla="*/ 2147483646 h 76"/>
              <a:gd name="T12" fmla="*/ 2147483646 w 188"/>
              <a:gd name="T13" fmla="*/ 2147483646 h 76"/>
              <a:gd name="T14" fmla="*/ 2147483646 w 188"/>
              <a:gd name="T15" fmla="*/ 2147483646 h 76"/>
              <a:gd name="T16" fmla="*/ 2147483646 w 188"/>
              <a:gd name="T17" fmla="*/ 2147483646 h 76"/>
              <a:gd name="T18" fmla="*/ 2147483646 w 188"/>
              <a:gd name="T19" fmla="*/ 2147483646 h 76"/>
              <a:gd name="T20" fmla="*/ 2147483646 w 188"/>
              <a:gd name="T21" fmla="*/ 2147483646 h 76"/>
              <a:gd name="T22" fmla="*/ 2147483646 w 188"/>
              <a:gd name="T23" fmla="*/ 2147483646 h 76"/>
              <a:gd name="T24" fmla="*/ 2147483646 w 188"/>
              <a:gd name="T25" fmla="*/ 2147483646 h 76"/>
              <a:gd name="T26" fmla="*/ 2147483646 w 188"/>
              <a:gd name="T27" fmla="*/ 2147483646 h 76"/>
              <a:gd name="T28" fmla="*/ 2147483646 w 188"/>
              <a:gd name="T29" fmla="*/ 0 h 76"/>
              <a:gd name="T30" fmla="*/ 2147483646 w 188"/>
              <a:gd name="T31" fmla="*/ 0 h 76"/>
              <a:gd name="T32" fmla="*/ 2147483646 w 188"/>
              <a:gd name="T33" fmla="*/ 2147483646 h 76"/>
              <a:gd name="T34" fmla="*/ 2147483646 w 188"/>
              <a:gd name="T35" fmla="*/ 2147483646 h 76"/>
              <a:gd name="T36" fmla="*/ 2147483646 w 188"/>
              <a:gd name="T37" fmla="*/ 2147483646 h 76"/>
              <a:gd name="T38" fmla="*/ 2147483646 w 188"/>
              <a:gd name="T39" fmla="*/ 2147483646 h 76"/>
              <a:gd name="T40" fmla="*/ 2147483646 w 188"/>
              <a:gd name="T41" fmla="*/ 2147483646 h 76"/>
              <a:gd name="T42" fmla="*/ 2147483646 w 188"/>
              <a:gd name="T43" fmla="*/ 2147483646 h 76"/>
              <a:gd name="T44" fmla="*/ 2147483646 w 188"/>
              <a:gd name="T45" fmla="*/ 2147483646 h 76"/>
              <a:gd name="T46" fmla="*/ 2147483646 w 188"/>
              <a:gd name="T47" fmla="*/ 2147483646 h 76"/>
              <a:gd name="T48" fmla="*/ 2147483646 w 188"/>
              <a:gd name="T49" fmla="*/ 2147483646 h 76"/>
              <a:gd name="T50" fmla="*/ 2147483646 w 188"/>
              <a:gd name="T51" fmla="*/ 2147483646 h 76"/>
              <a:gd name="T52" fmla="*/ 2147483646 w 188"/>
              <a:gd name="T53" fmla="*/ 2147483646 h 76"/>
              <a:gd name="T54" fmla="*/ 2147483646 w 188"/>
              <a:gd name="T55" fmla="*/ 2147483646 h 76"/>
              <a:gd name="T56" fmla="*/ 2147483646 w 188"/>
              <a:gd name="T57" fmla="*/ 2147483646 h 76"/>
              <a:gd name="T58" fmla="*/ 2147483646 w 188"/>
              <a:gd name="T59" fmla="*/ 2147483646 h 76"/>
              <a:gd name="T60" fmla="*/ 2147483646 w 188"/>
              <a:gd name="T61" fmla="*/ 2147483646 h 76"/>
              <a:gd name="T62" fmla="*/ 2147483646 w 188"/>
              <a:gd name="T63" fmla="*/ 2147483646 h 76"/>
              <a:gd name="T64" fmla="*/ 2147483646 w 188"/>
              <a:gd name="T65" fmla="*/ 2147483646 h 76"/>
              <a:gd name="T66" fmla="*/ 2147483646 w 188"/>
              <a:gd name="T67" fmla="*/ 2147483646 h 76"/>
              <a:gd name="T68" fmla="*/ 2147483646 w 188"/>
              <a:gd name="T69" fmla="*/ 2147483646 h 76"/>
              <a:gd name="T70" fmla="*/ 2147483646 w 188"/>
              <a:gd name="T71" fmla="*/ 2147483646 h 76"/>
              <a:gd name="T72" fmla="*/ 2147483646 w 188"/>
              <a:gd name="T73" fmla="*/ 2147483646 h 76"/>
              <a:gd name="T74" fmla="*/ 2147483646 w 188"/>
              <a:gd name="T75" fmla="*/ 2147483646 h 76"/>
              <a:gd name="T76" fmla="*/ 2147483646 w 188"/>
              <a:gd name="T77" fmla="*/ 2147483646 h 76"/>
              <a:gd name="T78" fmla="*/ 2147483646 w 188"/>
              <a:gd name="T79" fmla="*/ 2147483646 h 76"/>
              <a:gd name="T80" fmla="*/ 2147483646 w 188"/>
              <a:gd name="T81" fmla="*/ 2147483646 h 7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88"/>
              <a:gd name="T124" fmla="*/ 0 h 76"/>
              <a:gd name="T125" fmla="*/ 188 w 188"/>
              <a:gd name="T126" fmla="*/ 76 h 7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88" h="76">
                <a:moveTo>
                  <a:pt x="163" y="72"/>
                </a:moveTo>
                <a:cubicBezTo>
                  <a:pt x="167" y="73"/>
                  <a:pt x="175" y="67"/>
                  <a:pt x="178" y="63"/>
                </a:cubicBezTo>
                <a:cubicBezTo>
                  <a:pt x="180" y="60"/>
                  <a:pt x="184" y="56"/>
                  <a:pt x="186" y="53"/>
                </a:cubicBezTo>
                <a:cubicBezTo>
                  <a:pt x="188" y="49"/>
                  <a:pt x="186" y="45"/>
                  <a:pt x="186" y="41"/>
                </a:cubicBezTo>
                <a:cubicBezTo>
                  <a:pt x="186" y="40"/>
                  <a:pt x="186" y="40"/>
                  <a:pt x="186" y="40"/>
                </a:cubicBezTo>
                <a:cubicBezTo>
                  <a:pt x="184" y="37"/>
                  <a:pt x="182" y="34"/>
                  <a:pt x="182" y="34"/>
                </a:cubicBezTo>
                <a:cubicBezTo>
                  <a:pt x="170" y="22"/>
                  <a:pt x="170" y="22"/>
                  <a:pt x="170" y="22"/>
                </a:cubicBezTo>
                <a:cubicBezTo>
                  <a:pt x="170" y="22"/>
                  <a:pt x="166" y="8"/>
                  <a:pt x="158" y="11"/>
                </a:cubicBezTo>
                <a:cubicBezTo>
                  <a:pt x="151" y="15"/>
                  <a:pt x="145" y="8"/>
                  <a:pt x="145" y="8"/>
                </a:cubicBezTo>
                <a:cubicBezTo>
                  <a:pt x="145" y="8"/>
                  <a:pt x="133" y="2"/>
                  <a:pt x="125" y="3"/>
                </a:cubicBezTo>
                <a:cubicBezTo>
                  <a:pt x="117" y="4"/>
                  <a:pt x="103" y="0"/>
                  <a:pt x="100" y="5"/>
                </a:cubicBezTo>
                <a:cubicBezTo>
                  <a:pt x="97" y="9"/>
                  <a:pt x="92" y="11"/>
                  <a:pt x="80" y="16"/>
                </a:cubicBezTo>
                <a:cubicBezTo>
                  <a:pt x="68" y="21"/>
                  <a:pt x="54" y="18"/>
                  <a:pt x="54" y="18"/>
                </a:cubicBezTo>
                <a:cubicBezTo>
                  <a:pt x="33" y="14"/>
                  <a:pt x="33" y="14"/>
                  <a:pt x="33" y="14"/>
                </a:cubicBezTo>
                <a:cubicBezTo>
                  <a:pt x="33" y="14"/>
                  <a:pt x="23" y="8"/>
                  <a:pt x="13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0" y="4"/>
                  <a:pt x="7" y="13"/>
                  <a:pt x="9" y="22"/>
                </a:cubicBezTo>
                <a:cubicBezTo>
                  <a:pt x="11" y="27"/>
                  <a:pt x="9" y="27"/>
                  <a:pt x="6" y="32"/>
                </a:cubicBezTo>
                <a:cubicBezTo>
                  <a:pt x="5" y="36"/>
                  <a:pt x="3" y="42"/>
                  <a:pt x="4" y="45"/>
                </a:cubicBezTo>
                <a:cubicBezTo>
                  <a:pt x="7" y="45"/>
                  <a:pt x="7" y="45"/>
                  <a:pt x="7" y="45"/>
                </a:cubicBezTo>
                <a:cubicBezTo>
                  <a:pt x="13" y="48"/>
                  <a:pt x="15" y="44"/>
                  <a:pt x="22" y="45"/>
                </a:cubicBezTo>
                <a:cubicBezTo>
                  <a:pt x="29" y="46"/>
                  <a:pt x="30" y="42"/>
                  <a:pt x="37" y="47"/>
                </a:cubicBezTo>
                <a:cubicBezTo>
                  <a:pt x="44" y="51"/>
                  <a:pt x="46" y="48"/>
                  <a:pt x="49" y="53"/>
                </a:cubicBezTo>
                <a:cubicBezTo>
                  <a:pt x="52" y="59"/>
                  <a:pt x="51" y="62"/>
                  <a:pt x="55" y="64"/>
                </a:cubicBezTo>
                <a:cubicBezTo>
                  <a:pt x="59" y="65"/>
                  <a:pt x="58" y="61"/>
                  <a:pt x="63" y="62"/>
                </a:cubicBezTo>
                <a:cubicBezTo>
                  <a:pt x="67" y="62"/>
                  <a:pt x="69" y="65"/>
                  <a:pt x="74" y="70"/>
                </a:cubicBezTo>
                <a:cubicBezTo>
                  <a:pt x="79" y="76"/>
                  <a:pt x="83" y="67"/>
                  <a:pt x="88" y="67"/>
                </a:cubicBezTo>
                <a:cubicBezTo>
                  <a:pt x="93" y="67"/>
                  <a:pt x="96" y="66"/>
                  <a:pt x="96" y="64"/>
                </a:cubicBezTo>
                <a:cubicBezTo>
                  <a:pt x="96" y="62"/>
                  <a:pt x="91" y="48"/>
                  <a:pt x="90" y="48"/>
                </a:cubicBezTo>
                <a:cubicBezTo>
                  <a:pt x="88" y="48"/>
                  <a:pt x="95" y="39"/>
                  <a:pt x="98" y="37"/>
                </a:cubicBezTo>
                <a:cubicBezTo>
                  <a:pt x="100" y="36"/>
                  <a:pt x="110" y="29"/>
                  <a:pt x="110" y="26"/>
                </a:cubicBezTo>
                <a:cubicBezTo>
                  <a:pt x="109" y="23"/>
                  <a:pt x="112" y="20"/>
                  <a:pt x="115" y="20"/>
                </a:cubicBezTo>
                <a:cubicBezTo>
                  <a:pt x="118" y="20"/>
                  <a:pt x="116" y="14"/>
                  <a:pt x="121" y="19"/>
                </a:cubicBezTo>
                <a:cubicBezTo>
                  <a:pt x="126" y="23"/>
                  <a:pt x="129" y="20"/>
                  <a:pt x="133" y="26"/>
                </a:cubicBezTo>
                <a:cubicBezTo>
                  <a:pt x="137" y="32"/>
                  <a:pt x="133" y="32"/>
                  <a:pt x="137" y="34"/>
                </a:cubicBezTo>
                <a:cubicBezTo>
                  <a:pt x="141" y="36"/>
                  <a:pt x="148" y="31"/>
                  <a:pt x="149" y="37"/>
                </a:cubicBezTo>
                <a:cubicBezTo>
                  <a:pt x="150" y="43"/>
                  <a:pt x="145" y="41"/>
                  <a:pt x="144" y="45"/>
                </a:cubicBezTo>
                <a:cubicBezTo>
                  <a:pt x="144" y="50"/>
                  <a:pt x="143" y="52"/>
                  <a:pt x="148" y="55"/>
                </a:cubicBezTo>
                <a:cubicBezTo>
                  <a:pt x="153" y="58"/>
                  <a:pt x="152" y="65"/>
                  <a:pt x="156" y="70"/>
                </a:cubicBezTo>
                <a:cubicBezTo>
                  <a:pt x="158" y="72"/>
                  <a:pt x="159" y="72"/>
                  <a:pt x="161" y="72"/>
                </a:cubicBezTo>
                <a:lnTo>
                  <a:pt x="163" y="7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44" name="Freeform 377"/>
          <p:cNvSpPr>
            <a:spLocks/>
          </p:cNvSpPr>
          <p:nvPr userDrawn="1"/>
        </p:nvSpPr>
        <p:spPr bwMode="auto">
          <a:xfrm>
            <a:off x="4132158" y="4937643"/>
            <a:ext cx="144057" cy="209387"/>
          </a:xfrm>
          <a:custGeom>
            <a:avLst/>
            <a:gdLst>
              <a:gd name="T0" fmla="*/ 2147483646 w 154"/>
              <a:gd name="T1" fmla="*/ 2147483646 h 225"/>
              <a:gd name="T2" fmla="*/ 2147483646 w 154"/>
              <a:gd name="T3" fmla="*/ 2147483646 h 225"/>
              <a:gd name="T4" fmla="*/ 2147483646 w 154"/>
              <a:gd name="T5" fmla="*/ 2147483646 h 225"/>
              <a:gd name="T6" fmla="*/ 2147483646 w 154"/>
              <a:gd name="T7" fmla="*/ 2147483646 h 225"/>
              <a:gd name="T8" fmla="*/ 2147483646 w 154"/>
              <a:gd name="T9" fmla="*/ 0 h 225"/>
              <a:gd name="T10" fmla="*/ 2147483646 w 154"/>
              <a:gd name="T11" fmla="*/ 2147483646 h 225"/>
              <a:gd name="T12" fmla="*/ 2147483646 w 154"/>
              <a:gd name="T13" fmla="*/ 2147483646 h 225"/>
              <a:gd name="T14" fmla="*/ 2147483646 w 154"/>
              <a:gd name="T15" fmla="*/ 2147483646 h 225"/>
              <a:gd name="T16" fmla="*/ 2147483646 w 154"/>
              <a:gd name="T17" fmla="*/ 2147483646 h 225"/>
              <a:gd name="T18" fmla="*/ 2147483646 w 154"/>
              <a:gd name="T19" fmla="*/ 2147483646 h 225"/>
              <a:gd name="T20" fmla="*/ 0 w 154"/>
              <a:gd name="T21" fmla="*/ 2147483646 h 225"/>
              <a:gd name="T22" fmla="*/ 2147483646 w 154"/>
              <a:gd name="T23" fmla="*/ 2147483646 h 225"/>
              <a:gd name="T24" fmla="*/ 2147483646 w 154"/>
              <a:gd name="T25" fmla="*/ 2147483646 h 225"/>
              <a:gd name="T26" fmla="*/ 2147483646 w 154"/>
              <a:gd name="T27" fmla="*/ 2147483646 h 225"/>
              <a:gd name="T28" fmla="*/ 2147483646 w 154"/>
              <a:gd name="T29" fmla="*/ 2147483646 h 225"/>
              <a:gd name="T30" fmla="*/ 2147483646 w 154"/>
              <a:gd name="T31" fmla="*/ 2147483646 h 225"/>
              <a:gd name="T32" fmla="*/ 2147483646 w 154"/>
              <a:gd name="T33" fmla="*/ 2147483646 h 225"/>
              <a:gd name="T34" fmla="*/ 2147483646 w 154"/>
              <a:gd name="T35" fmla="*/ 2147483646 h 225"/>
              <a:gd name="T36" fmla="*/ 2147483646 w 154"/>
              <a:gd name="T37" fmla="*/ 2147483646 h 225"/>
              <a:gd name="T38" fmla="*/ 2147483646 w 154"/>
              <a:gd name="T39" fmla="*/ 2147483646 h 225"/>
              <a:gd name="T40" fmla="*/ 2147483646 w 154"/>
              <a:gd name="T41" fmla="*/ 2147483646 h 225"/>
              <a:gd name="T42" fmla="*/ 2147483646 w 154"/>
              <a:gd name="T43" fmla="*/ 2147483646 h 225"/>
              <a:gd name="T44" fmla="*/ 2147483646 w 154"/>
              <a:gd name="T45" fmla="*/ 2147483646 h 225"/>
              <a:gd name="T46" fmla="*/ 2147483646 w 154"/>
              <a:gd name="T47" fmla="*/ 2147483646 h 225"/>
              <a:gd name="T48" fmla="*/ 2147483646 w 154"/>
              <a:gd name="T49" fmla="*/ 2147483646 h 225"/>
              <a:gd name="T50" fmla="*/ 2147483646 w 154"/>
              <a:gd name="T51" fmla="*/ 2147483646 h 225"/>
              <a:gd name="T52" fmla="*/ 2147483646 w 154"/>
              <a:gd name="T53" fmla="*/ 2147483646 h 225"/>
              <a:gd name="T54" fmla="*/ 2147483646 w 154"/>
              <a:gd name="T55" fmla="*/ 2147483646 h 225"/>
              <a:gd name="T56" fmla="*/ 2147483646 w 154"/>
              <a:gd name="T57" fmla="*/ 2147483646 h 225"/>
              <a:gd name="T58" fmla="*/ 2147483646 w 154"/>
              <a:gd name="T59" fmla="*/ 2147483646 h 225"/>
              <a:gd name="T60" fmla="*/ 2147483646 w 154"/>
              <a:gd name="T61" fmla="*/ 2147483646 h 225"/>
              <a:gd name="T62" fmla="*/ 2147483646 w 154"/>
              <a:gd name="T63" fmla="*/ 2147483646 h 225"/>
              <a:gd name="T64" fmla="*/ 2147483646 w 154"/>
              <a:gd name="T65" fmla="*/ 2147483646 h 225"/>
              <a:gd name="T66" fmla="*/ 2147483646 w 154"/>
              <a:gd name="T67" fmla="*/ 2147483646 h 225"/>
              <a:gd name="T68" fmla="*/ 2147483646 w 154"/>
              <a:gd name="T69" fmla="*/ 2147483646 h 225"/>
              <a:gd name="T70" fmla="*/ 2147483646 w 154"/>
              <a:gd name="T71" fmla="*/ 2147483646 h 225"/>
              <a:gd name="T72" fmla="*/ 2147483646 w 154"/>
              <a:gd name="T73" fmla="*/ 2147483646 h 225"/>
              <a:gd name="T74" fmla="*/ 2147483646 w 154"/>
              <a:gd name="T75" fmla="*/ 2147483646 h 225"/>
              <a:gd name="T76" fmla="*/ 2147483646 w 154"/>
              <a:gd name="T77" fmla="*/ 2147483646 h 225"/>
              <a:gd name="T78" fmla="*/ 2147483646 w 154"/>
              <a:gd name="T79" fmla="*/ 2147483646 h 22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54"/>
              <a:gd name="T121" fmla="*/ 0 h 225"/>
              <a:gd name="T122" fmla="*/ 154 w 154"/>
              <a:gd name="T123" fmla="*/ 225 h 22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54" h="225">
                <a:moveTo>
                  <a:pt x="133" y="67"/>
                </a:moveTo>
                <a:cubicBezTo>
                  <a:pt x="127" y="68"/>
                  <a:pt x="120" y="56"/>
                  <a:pt x="117" y="55"/>
                </a:cubicBezTo>
                <a:cubicBezTo>
                  <a:pt x="114" y="54"/>
                  <a:pt x="101" y="49"/>
                  <a:pt x="94" y="45"/>
                </a:cubicBezTo>
                <a:cubicBezTo>
                  <a:pt x="87" y="42"/>
                  <a:pt x="102" y="26"/>
                  <a:pt x="82" y="21"/>
                </a:cubicBezTo>
                <a:cubicBezTo>
                  <a:pt x="63" y="16"/>
                  <a:pt x="63" y="6"/>
                  <a:pt x="49" y="0"/>
                </a:cubicBezTo>
                <a:cubicBezTo>
                  <a:pt x="49" y="1"/>
                  <a:pt x="49" y="1"/>
                  <a:pt x="49" y="1"/>
                </a:cubicBezTo>
                <a:cubicBezTo>
                  <a:pt x="47" y="9"/>
                  <a:pt x="35" y="13"/>
                  <a:pt x="29" y="20"/>
                </a:cubicBezTo>
                <a:cubicBezTo>
                  <a:pt x="26" y="23"/>
                  <a:pt x="19" y="30"/>
                  <a:pt x="19" y="34"/>
                </a:cubicBezTo>
                <a:cubicBezTo>
                  <a:pt x="19" y="41"/>
                  <a:pt x="29" y="38"/>
                  <a:pt x="31" y="46"/>
                </a:cubicBezTo>
                <a:cubicBezTo>
                  <a:pt x="32" y="55"/>
                  <a:pt x="14" y="57"/>
                  <a:pt x="8" y="61"/>
                </a:cubicBezTo>
                <a:cubicBezTo>
                  <a:pt x="3" y="64"/>
                  <a:pt x="0" y="66"/>
                  <a:pt x="0" y="72"/>
                </a:cubicBezTo>
                <a:cubicBezTo>
                  <a:pt x="1" y="76"/>
                  <a:pt x="4" y="79"/>
                  <a:pt x="5" y="81"/>
                </a:cubicBezTo>
                <a:cubicBezTo>
                  <a:pt x="6" y="83"/>
                  <a:pt x="5" y="87"/>
                  <a:pt x="6" y="89"/>
                </a:cubicBezTo>
                <a:cubicBezTo>
                  <a:pt x="8" y="93"/>
                  <a:pt x="13" y="91"/>
                  <a:pt x="17" y="94"/>
                </a:cubicBezTo>
                <a:cubicBezTo>
                  <a:pt x="22" y="97"/>
                  <a:pt x="28" y="105"/>
                  <a:pt x="32" y="109"/>
                </a:cubicBezTo>
                <a:cubicBezTo>
                  <a:pt x="38" y="108"/>
                  <a:pt x="45" y="103"/>
                  <a:pt x="49" y="110"/>
                </a:cubicBezTo>
                <a:cubicBezTo>
                  <a:pt x="52" y="115"/>
                  <a:pt x="50" y="118"/>
                  <a:pt x="50" y="122"/>
                </a:cubicBezTo>
                <a:cubicBezTo>
                  <a:pt x="50" y="127"/>
                  <a:pt x="51" y="129"/>
                  <a:pt x="52" y="134"/>
                </a:cubicBezTo>
                <a:cubicBezTo>
                  <a:pt x="60" y="134"/>
                  <a:pt x="65" y="137"/>
                  <a:pt x="63" y="145"/>
                </a:cubicBezTo>
                <a:cubicBezTo>
                  <a:pt x="62" y="150"/>
                  <a:pt x="60" y="151"/>
                  <a:pt x="56" y="155"/>
                </a:cubicBezTo>
                <a:cubicBezTo>
                  <a:pt x="52" y="159"/>
                  <a:pt x="51" y="162"/>
                  <a:pt x="51" y="167"/>
                </a:cubicBezTo>
                <a:cubicBezTo>
                  <a:pt x="49" y="177"/>
                  <a:pt x="56" y="178"/>
                  <a:pt x="59" y="187"/>
                </a:cubicBezTo>
                <a:cubicBezTo>
                  <a:pt x="60" y="194"/>
                  <a:pt x="63" y="203"/>
                  <a:pt x="68" y="208"/>
                </a:cubicBezTo>
                <a:cubicBezTo>
                  <a:pt x="70" y="212"/>
                  <a:pt x="77" y="218"/>
                  <a:pt x="80" y="221"/>
                </a:cubicBezTo>
                <a:cubicBezTo>
                  <a:pt x="87" y="225"/>
                  <a:pt x="98" y="217"/>
                  <a:pt x="104" y="214"/>
                </a:cubicBezTo>
                <a:cubicBezTo>
                  <a:pt x="111" y="210"/>
                  <a:pt x="116" y="206"/>
                  <a:pt x="123" y="203"/>
                </a:cubicBezTo>
                <a:cubicBezTo>
                  <a:pt x="127" y="202"/>
                  <a:pt x="131" y="203"/>
                  <a:pt x="134" y="201"/>
                </a:cubicBezTo>
                <a:cubicBezTo>
                  <a:pt x="137" y="200"/>
                  <a:pt x="140" y="197"/>
                  <a:pt x="143" y="195"/>
                </a:cubicBezTo>
                <a:cubicBezTo>
                  <a:pt x="147" y="194"/>
                  <a:pt x="151" y="195"/>
                  <a:pt x="154" y="192"/>
                </a:cubicBezTo>
                <a:cubicBezTo>
                  <a:pt x="148" y="185"/>
                  <a:pt x="140" y="179"/>
                  <a:pt x="135" y="171"/>
                </a:cubicBezTo>
                <a:cubicBezTo>
                  <a:pt x="131" y="166"/>
                  <a:pt x="130" y="159"/>
                  <a:pt x="126" y="154"/>
                </a:cubicBezTo>
                <a:cubicBezTo>
                  <a:pt x="124" y="151"/>
                  <a:pt x="122" y="148"/>
                  <a:pt x="121" y="145"/>
                </a:cubicBezTo>
                <a:cubicBezTo>
                  <a:pt x="116" y="145"/>
                  <a:pt x="112" y="146"/>
                  <a:pt x="108" y="143"/>
                </a:cubicBezTo>
                <a:cubicBezTo>
                  <a:pt x="103" y="139"/>
                  <a:pt x="104" y="131"/>
                  <a:pt x="106" y="126"/>
                </a:cubicBezTo>
                <a:cubicBezTo>
                  <a:pt x="108" y="121"/>
                  <a:pt x="110" y="117"/>
                  <a:pt x="112" y="111"/>
                </a:cubicBezTo>
                <a:cubicBezTo>
                  <a:pt x="113" y="107"/>
                  <a:pt x="114" y="105"/>
                  <a:pt x="119" y="103"/>
                </a:cubicBezTo>
                <a:cubicBezTo>
                  <a:pt x="122" y="103"/>
                  <a:pt x="122" y="102"/>
                  <a:pt x="124" y="102"/>
                </a:cubicBezTo>
                <a:cubicBezTo>
                  <a:pt x="126" y="101"/>
                  <a:pt x="129" y="103"/>
                  <a:pt x="131" y="102"/>
                </a:cubicBezTo>
                <a:cubicBezTo>
                  <a:pt x="134" y="99"/>
                  <a:pt x="133" y="92"/>
                  <a:pt x="133" y="88"/>
                </a:cubicBezTo>
                <a:cubicBezTo>
                  <a:pt x="133" y="81"/>
                  <a:pt x="134" y="74"/>
                  <a:pt x="133" y="6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45" name="Freeform 378"/>
          <p:cNvSpPr>
            <a:spLocks/>
          </p:cNvSpPr>
          <p:nvPr userDrawn="1"/>
        </p:nvSpPr>
        <p:spPr bwMode="auto">
          <a:xfrm>
            <a:off x="3792112" y="4840489"/>
            <a:ext cx="386947" cy="333343"/>
          </a:xfrm>
          <a:custGeom>
            <a:avLst/>
            <a:gdLst>
              <a:gd name="T0" fmla="*/ 2147483646 w 415"/>
              <a:gd name="T1" fmla="*/ 2147483646 h 358"/>
              <a:gd name="T2" fmla="*/ 2147483646 w 415"/>
              <a:gd name="T3" fmla="*/ 2147483646 h 358"/>
              <a:gd name="T4" fmla="*/ 0 w 415"/>
              <a:gd name="T5" fmla="*/ 2147483646 h 358"/>
              <a:gd name="T6" fmla="*/ 2147483646 w 415"/>
              <a:gd name="T7" fmla="*/ 2147483646 h 358"/>
              <a:gd name="T8" fmla="*/ 2147483646 w 415"/>
              <a:gd name="T9" fmla="*/ 2147483646 h 358"/>
              <a:gd name="T10" fmla="*/ 2147483646 w 415"/>
              <a:gd name="T11" fmla="*/ 2147483646 h 358"/>
              <a:gd name="T12" fmla="*/ 2147483646 w 415"/>
              <a:gd name="T13" fmla="*/ 2147483646 h 358"/>
              <a:gd name="T14" fmla="*/ 2147483646 w 415"/>
              <a:gd name="T15" fmla="*/ 2147483646 h 358"/>
              <a:gd name="T16" fmla="*/ 2147483646 w 415"/>
              <a:gd name="T17" fmla="*/ 2147483646 h 358"/>
              <a:gd name="T18" fmla="*/ 2147483646 w 415"/>
              <a:gd name="T19" fmla="*/ 2147483646 h 358"/>
              <a:gd name="T20" fmla="*/ 2147483646 w 415"/>
              <a:gd name="T21" fmla="*/ 2147483646 h 358"/>
              <a:gd name="T22" fmla="*/ 2147483646 w 415"/>
              <a:gd name="T23" fmla="*/ 2147483646 h 358"/>
              <a:gd name="T24" fmla="*/ 2147483646 w 415"/>
              <a:gd name="T25" fmla="*/ 2147483646 h 358"/>
              <a:gd name="T26" fmla="*/ 2147483646 w 415"/>
              <a:gd name="T27" fmla="*/ 2147483646 h 358"/>
              <a:gd name="T28" fmla="*/ 2147483646 w 415"/>
              <a:gd name="T29" fmla="*/ 2147483646 h 358"/>
              <a:gd name="T30" fmla="*/ 2147483646 w 415"/>
              <a:gd name="T31" fmla="*/ 2147483646 h 358"/>
              <a:gd name="T32" fmla="*/ 2147483646 w 415"/>
              <a:gd name="T33" fmla="*/ 2147483646 h 358"/>
              <a:gd name="T34" fmla="*/ 2147483646 w 415"/>
              <a:gd name="T35" fmla="*/ 2147483646 h 358"/>
              <a:gd name="T36" fmla="*/ 2147483646 w 415"/>
              <a:gd name="T37" fmla="*/ 2147483646 h 358"/>
              <a:gd name="T38" fmla="*/ 2147483646 w 415"/>
              <a:gd name="T39" fmla="*/ 2147483646 h 358"/>
              <a:gd name="T40" fmla="*/ 2147483646 w 415"/>
              <a:gd name="T41" fmla="*/ 2147483646 h 358"/>
              <a:gd name="T42" fmla="*/ 2147483646 w 415"/>
              <a:gd name="T43" fmla="*/ 2147483646 h 358"/>
              <a:gd name="T44" fmla="*/ 2147483646 w 415"/>
              <a:gd name="T45" fmla="*/ 2147483646 h 358"/>
              <a:gd name="T46" fmla="*/ 2147483646 w 415"/>
              <a:gd name="T47" fmla="*/ 2147483646 h 358"/>
              <a:gd name="T48" fmla="*/ 2147483646 w 415"/>
              <a:gd name="T49" fmla="*/ 2147483646 h 358"/>
              <a:gd name="T50" fmla="*/ 2147483646 w 415"/>
              <a:gd name="T51" fmla="*/ 2147483646 h 358"/>
              <a:gd name="T52" fmla="*/ 2147483646 w 415"/>
              <a:gd name="T53" fmla="*/ 2147483646 h 358"/>
              <a:gd name="T54" fmla="*/ 2147483646 w 415"/>
              <a:gd name="T55" fmla="*/ 2147483646 h 358"/>
              <a:gd name="T56" fmla="*/ 2147483646 w 415"/>
              <a:gd name="T57" fmla="*/ 2147483646 h 358"/>
              <a:gd name="T58" fmla="*/ 2147483646 w 415"/>
              <a:gd name="T59" fmla="*/ 2147483646 h 358"/>
              <a:gd name="T60" fmla="*/ 2147483646 w 415"/>
              <a:gd name="T61" fmla="*/ 2147483646 h 358"/>
              <a:gd name="T62" fmla="*/ 2147483646 w 415"/>
              <a:gd name="T63" fmla="*/ 2147483646 h 358"/>
              <a:gd name="T64" fmla="*/ 2147483646 w 415"/>
              <a:gd name="T65" fmla="*/ 2147483646 h 358"/>
              <a:gd name="T66" fmla="*/ 2147483646 w 415"/>
              <a:gd name="T67" fmla="*/ 2147483646 h 358"/>
              <a:gd name="T68" fmla="*/ 2147483646 w 415"/>
              <a:gd name="T69" fmla="*/ 2147483646 h 358"/>
              <a:gd name="T70" fmla="*/ 2147483646 w 415"/>
              <a:gd name="T71" fmla="*/ 2147483646 h 358"/>
              <a:gd name="T72" fmla="*/ 2147483646 w 415"/>
              <a:gd name="T73" fmla="*/ 2147483646 h 358"/>
              <a:gd name="T74" fmla="*/ 2147483646 w 415"/>
              <a:gd name="T75" fmla="*/ 2147483646 h 358"/>
              <a:gd name="T76" fmla="*/ 2147483646 w 415"/>
              <a:gd name="T77" fmla="*/ 2147483646 h 358"/>
              <a:gd name="T78" fmla="*/ 2147483646 w 415"/>
              <a:gd name="T79" fmla="*/ 2147483646 h 35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415"/>
              <a:gd name="T121" fmla="*/ 0 h 358"/>
              <a:gd name="T122" fmla="*/ 415 w 415"/>
              <a:gd name="T123" fmla="*/ 358 h 358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415" h="358">
                <a:moveTo>
                  <a:pt x="37" y="28"/>
                </a:moveTo>
                <a:cubicBezTo>
                  <a:pt x="33" y="35"/>
                  <a:pt x="23" y="39"/>
                  <a:pt x="20" y="47"/>
                </a:cubicBezTo>
                <a:cubicBezTo>
                  <a:pt x="19" y="49"/>
                  <a:pt x="21" y="51"/>
                  <a:pt x="20" y="53"/>
                </a:cubicBezTo>
                <a:cubicBezTo>
                  <a:pt x="18" y="56"/>
                  <a:pt x="15" y="58"/>
                  <a:pt x="13" y="61"/>
                </a:cubicBezTo>
                <a:cubicBezTo>
                  <a:pt x="9" y="68"/>
                  <a:pt x="10" y="77"/>
                  <a:pt x="9" y="85"/>
                </a:cubicBezTo>
                <a:cubicBezTo>
                  <a:pt x="8" y="92"/>
                  <a:pt x="1" y="95"/>
                  <a:pt x="0" y="101"/>
                </a:cubicBezTo>
                <a:cubicBezTo>
                  <a:pt x="5" y="104"/>
                  <a:pt x="11" y="98"/>
                  <a:pt x="16" y="102"/>
                </a:cubicBezTo>
                <a:cubicBezTo>
                  <a:pt x="24" y="107"/>
                  <a:pt x="17" y="117"/>
                  <a:pt x="18" y="123"/>
                </a:cubicBezTo>
                <a:cubicBezTo>
                  <a:pt x="19" y="131"/>
                  <a:pt x="27" y="130"/>
                  <a:pt x="29" y="136"/>
                </a:cubicBezTo>
                <a:cubicBezTo>
                  <a:pt x="32" y="143"/>
                  <a:pt x="29" y="147"/>
                  <a:pt x="27" y="153"/>
                </a:cubicBezTo>
                <a:cubicBezTo>
                  <a:pt x="23" y="169"/>
                  <a:pt x="39" y="173"/>
                  <a:pt x="52" y="170"/>
                </a:cubicBezTo>
                <a:cubicBezTo>
                  <a:pt x="64" y="167"/>
                  <a:pt x="75" y="163"/>
                  <a:pt x="88" y="167"/>
                </a:cubicBezTo>
                <a:cubicBezTo>
                  <a:pt x="96" y="169"/>
                  <a:pt x="107" y="170"/>
                  <a:pt x="110" y="178"/>
                </a:cubicBezTo>
                <a:cubicBezTo>
                  <a:pt x="111" y="184"/>
                  <a:pt x="111" y="194"/>
                  <a:pt x="117" y="198"/>
                </a:cubicBezTo>
                <a:cubicBezTo>
                  <a:pt x="122" y="201"/>
                  <a:pt x="132" y="195"/>
                  <a:pt x="137" y="193"/>
                </a:cubicBezTo>
                <a:cubicBezTo>
                  <a:pt x="148" y="189"/>
                  <a:pt x="166" y="182"/>
                  <a:pt x="176" y="189"/>
                </a:cubicBezTo>
                <a:cubicBezTo>
                  <a:pt x="180" y="192"/>
                  <a:pt x="181" y="194"/>
                  <a:pt x="178" y="199"/>
                </a:cubicBezTo>
                <a:cubicBezTo>
                  <a:pt x="177" y="202"/>
                  <a:pt x="173" y="205"/>
                  <a:pt x="171" y="209"/>
                </a:cubicBezTo>
                <a:cubicBezTo>
                  <a:pt x="168" y="213"/>
                  <a:pt x="167" y="220"/>
                  <a:pt x="167" y="226"/>
                </a:cubicBezTo>
                <a:cubicBezTo>
                  <a:pt x="168" y="235"/>
                  <a:pt x="174" y="239"/>
                  <a:pt x="177" y="248"/>
                </a:cubicBezTo>
                <a:cubicBezTo>
                  <a:pt x="178" y="252"/>
                  <a:pt x="175" y="256"/>
                  <a:pt x="175" y="260"/>
                </a:cubicBezTo>
                <a:cubicBezTo>
                  <a:pt x="176" y="264"/>
                  <a:pt x="180" y="266"/>
                  <a:pt x="183" y="269"/>
                </a:cubicBezTo>
                <a:cubicBezTo>
                  <a:pt x="192" y="280"/>
                  <a:pt x="185" y="282"/>
                  <a:pt x="179" y="290"/>
                </a:cubicBezTo>
                <a:cubicBezTo>
                  <a:pt x="171" y="300"/>
                  <a:pt x="184" y="297"/>
                  <a:pt x="188" y="304"/>
                </a:cubicBezTo>
                <a:cubicBezTo>
                  <a:pt x="191" y="308"/>
                  <a:pt x="192" y="315"/>
                  <a:pt x="194" y="320"/>
                </a:cubicBezTo>
                <a:cubicBezTo>
                  <a:pt x="196" y="325"/>
                  <a:pt x="198" y="330"/>
                  <a:pt x="200" y="335"/>
                </a:cubicBezTo>
                <a:cubicBezTo>
                  <a:pt x="201" y="338"/>
                  <a:pt x="202" y="344"/>
                  <a:pt x="205" y="346"/>
                </a:cubicBezTo>
                <a:cubicBezTo>
                  <a:pt x="210" y="349"/>
                  <a:pt x="213" y="345"/>
                  <a:pt x="217" y="345"/>
                </a:cubicBezTo>
                <a:cubicBezTo>
                  <a:pt x="227" y="345"/>
                  <a:pt x="228" y="358"/>
                  <a:pt x="238" y="352"/>
                </a:cubicBezTo>
                <a:cubicBezTo>
                  <a:pt x="241" y="350"/>
                  <a:pt x="242" y="346"/>
                  <a:pt x="246" y="348"/>
                </a:cubicBezTo>
                <a:cubicBezTo>
                  <a:pt x="249" y="350"/>
                  <a:pt x="249" y="355"/>
                  <a:pt x="250" y="357"/>
                </a:cubicBezTo>
                <a:cubicBezTo>
                  <a:pt x="255" y="353"/>
                  <a:pt x="259" y="345"/>
                  <a:pt x="265" y="340"/>
                </a:cubicBezTo>
                <a:cubicBezTo>
                  <a:pt x="271" y="336"/>
                  <a:pt x="277" y="334"/>
                  <a:pt x="283" y="330"/>
                </a:cubicBezTo>
                <a:cubicBezTo>
                  <a:pt x="293" y="324"/>
                  <a:pt x="298" y="313"/>
                  <a:pt x="309" y="309"/>
                </a:cubicBezTo>
                <a:cubicBezTo>
                  <a:pt x="308" y="302"/>
                  <a:pt x="291" y="299"/>
                  <a:pt x="285" y="296"/>
                </a:cubicBezTo>
                <a:cubicBezTo>
                  <a:pt x="297" y="295"/>
                  <a:pt x="283" y="285"/>
                  <a:pt x="279" y="279"/>
                </a:cubicBezTo>
                <a:cubicBezTo>
                  <a:pt x="274" y="271"/>
                  <a:pt x="268" y="258"/>
                  <a:pt x="269" y="248"/>
                </a:cubicBezTo>
                <a:cubicBezTo>
                  <a:pt x="271" y="227"/>
                  <a:pt x="300" y="263"/>
                  <a:pt x="301" y="248"/>
                </a:cubicBezTo>
                <a:cubicBezTo>
                  <a:pt x="305" y="250"/>
                  <a:pt x="306" y="255"/>
                  <a:pt x="308" y="259"/>
                </a:cubicBezTo>
                <a:cubicBezTo>
                  <a:pt x="311" y="258"/>
                  <a:pt x="314" y="252"/>
                  <a:pt x="318" y="253"/>
                </a:cubicBezTo>
                <a:cubicBezTo>
                  <a:pt x="322" y="253"/>
                  <a:pt x="326" y="262"/>
                  <a:pt x="329" y="265"/>
                </a:cubicBezTo>
                <a:cubicBezTo>
                  <a:pt x="332" y="259"/>
                  <a:pt x="333" y="245"/>
                  <a:pt x="340" y="242"/>
                </a:cubicBezTo>
                <a:cubicBezTo>
                  <a:pt x="345" y="240"/>
                  <a:pt x="346" y="243"/>
                  <a:pt x="351" y="244"/>
                </a:cubicBezTo>
                <a:cubicBezTo>
                  <a:pt x="359" y="247"/>
                  <a:pt x="368" y="240"/>
                  <a:pt x="374" y="234"/>
                </a:cubicBezTo>
                <a:cubicBezTo>
                  <a:pt x="379" y="230"/>
                  <a:pt x="386" y="227"/>
                  <a:pt x="390" y="222"/>
                </a:cubicBezTo>
                <a:cubicBezTo>
                  <a:pt x="392" y="219"/>
                  <a:pt x="392" y="215"/>
                  <a:pt x="393" y="211"/>
                </a:cubicBezTo>
                <a:cubicBezTo>
                  <a:pt x="393" y="209"/>
                  <a:pt x="393" y="209"/>
                  <a:pt x="393" y="209"/>
                </a:cubicBezTo>
                <a:cubicBezTo>
                  <a:pt x="390" y="206"/>
                  <a:pt x="386" y="201"/>
                  <a:pt x="383" y="199"/>
                </a:cubicBezTo>
                <a:cubicBezTo>
                  <a:pt x="379" y="197"/>
                  <a:pt x="374" y="199"/>
                  <a:pt x="372" y="195"/>
                </a:cubicBezTo>
                <a:cubicBezTo>
                  <a:pt x="371" y="193"/>
                  <a:pt x="371" y="188"/>
                  <a:pt x="370" y="186"/>
                </a:cubicBezTo>
                <a:cubicBezTo>
                  <a:pt x="369" y="184"/>
                  <a:pt x="366" y="182"/>
                  <a:pt x="366" y="178"/>
                </a:cubicBezTo>
                <a:cubicBezTo>
                  <a:pt x="366" y="172"/>
                  <a:pt x="369" y="169"/>
                  <a:pt x="373" y="167"/>
                </a:cubicBezTo>
                <a:cubicBezTo>
                  <a:pt x="379" y="163"/>
                  <a:pt x="398" y="161"/>
                  <a:pt x="396" y="151"/>
                </a:cubicBezTo>
                <a:cubicBezTo>
                  <a:pt x="394" y="144"/>
                  <a:pt x="384" y="146"/>
                  <a:pt x="384" y="140"/>
                </a:cubicBezTo>
                <a:cubicBezTo>
                  <a:pt x="384" y="135"/>
                  <a:pt x="392" y="129"/>
                  <a:pt x="394" y="126"/>
                </a:cubicBezTo>
                <a:cubicBezTo>
                  <a:pt x="400" y="118"/>
                  <a:pt x="413" y="115"/>
                  <a:pt x="415" y="105"/>
                </a:cubicBezTo>
                <a:cubicBezTo>
                  <a:pt x="412" y="104"/>
                  <a:pt x="412" y="104"/>
                  <a:pt x="412" y="104"/>
                </a:cubicBezTo>
                <a:cubicBezTo>
                  <a:pt x="394" y="98"/>
                  <a:pt x="348" y="114"/>
                  <a:pt x="361" y="103"/>
                </a:cubicBezTo>
                <a:cubicBezTo>
                  <a:pt x="374" y="91"/>
                  <a:pt x="388" y="75"/>
                  <a:pt x="374" y="71"/>
                </a:cubicBezTo>
                <a:cubicBezTo>
                  <a:pt x="360" y="68"/>
                  <a:pt x="346" y="63"/>
                  <a:pt x="337" y="60"/>
                </a:cubicBezTo>
                <a:cubicBezTo>
                  <a:pt x="327" y="57"/>
                  <a:pt x="320" y="55"/>
                  <a:pt x="320" y="50"/>
                </a:cubicBezTo>
                <a:cubicBezTo>
                  <a:pt x="320" y="45"/>
                  <a:pt x="310" y="44"/>
                  <a:pt x="307" y="44"/>
                </a:cubicBezTo>
                <a:cubicBezTo>
                  <a:pt x="304" y="44"/>
                  <a:pt x="291" y="45"/>
                  <a:pt x="279" y="52"/>
                </a:cubicBezTo>
                <a:cubicBezTo>
                  <a:pt x="267" y="58"/>
                  <a:pt x="261" y="64"/>
                  <a:pt x="252" y="63"/>
                </a:cubicBezTo>
                <a:cubicBezTo>
                  <a:pt x="242" y="62"/>
                  <a:pt x="226" y="55"/>
                  <a:pt x="216" y="52"/>
                </a:cubicBezTo>
                <a:cubicBezTo>
                  <a:pt x="207" y="49"/>
                  <a:pt x="205" y="46"/>
                  <a:pt x="186" y="51"/>
                </a:cubicBezTo>
                <a:cubicBezTo>
                  <a:pt x="167" y="56"/>
                  <a:pt x="157" y="68"/>
                  <a:pt x="154" y="51"/>
                </a:cubicBezTo>
                <a:cubicBezTo>
                  <a:pt x="150" y="34"/>
                  <a:pt x="149" y="30"/>
                  <a:pt x="135" y="27"/>
                </a:cubicBezTo>
                <a:cubicBezTo>
                  <a:pt x="121" y="25"/>
                  <a:pt x="106" y="36"/>
                  <a:pt x="102" y="22"/>
                </a:cubicBezTo>
                <a:cubicBezTo>
                  <a:pt x="99" y="7"/>
                  <a:pt x="90" y="0"/>
                  <a:pt x="89" y="9"/>
                </a:cubicBezTo>
                <a:cubicBezTo>
                  <a:pt x="88" y="19"/>
                  <a:pt x="97" y="35"/>
                  <a:pt x="84" y="35"/>
                </a:cubicBezTo>
                <a:cubicBezTo>
                  <a:pt x="71" y="36"/>
                  <a:pt x="57" y="33"/>
                  <a:pt x="56" y="47"/>
                </a:cubicBezTo>
                <a:cubicBezTo>
                  <a:pt x="56" y="60"/>
                  <a:pt x="62" y="64"/>
                  <a:pt x="66" y="72"/>
                </a:cubicBezTo>
                <a:cubicBezTo>
                  <a:pt x="70" y="80"/>
                  <a:pt x="79" y="93"/>
                  <a:pt x="67" y="95"/>
                </a:cubicBezTo>
                <a:cubicBezTo>
                  <a:pt x="56" y="98"/>
                  <a:pt x="53" y="106"/>
                  <a:pt x="48" y="100"/>
                </a:cubicBezTo>
                <a:cubicBezTo>
                  <a:pt x="44" y="95"/>
                  <a:pt x="48" y="87"/>
                  <a:pt x="43" y="84"/>
                </a:cubicBezTo>
                <a:cubicBezTo>
                  <a:pt x="37" y="81"/>
                  <a:pt x="34" y="77"/>
                  <a:pt x="34" y="77"/>
                </a:cubicBezTo>
                <a:cubicBezTo>
                  <a:pt x="47" y="62"/>
                  <a:pt x="47" y="62"/>
                  <a:pt x="47" y="62"/>
                </a:cubicBezTo>
                <a:cubicBezTo>
                  <a:pt x="47" y="62"/>
                  <a:pt x="52" y="50"/>
                  <a:pt x="47" y="44"/>
                </a:cubicBezTo>
                <a:cubicBezTo>
                  <a:pt x="41" y="38"/>
                  <a:pt x="34" y="31"/>
                  <a:pt x="40" y="2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46" name="Freeform 379"/>
          <p:cNvSpPr>
            <a:spLocks/>
          </p:cNvSpPr>
          <p:nvPr userDrawn="1"/>
        </p:nvSpPr>
        <p:spPr bwMode="auto">
          <a:xfrm>
            <a:off x="3792112" y="4840489"/>
            <a:ext cx="386947" cy="333343"/>
          </a:xfrm>
          <a:custGeom>
            <a:avLst/>
            <a:gdLst>
              <a:gd name="T0" fmla="*/ 2147483646 w 415"/>
              <a:gd name="T1" fmla="*/ 2147483646 h 358"/>
              <a:gd name="T2" fmla="*/ 2147483646 w 415"/>
              <a:gd name="T3" fmla="*/ 2147483646 h 358"/>
              <a:gd name="T4" fmla="*/ 0 w 415"/>
              <a:gd name="T5" fmla="*/ 2147483646 h 358"/>
              <a:gd name="T6" fmla="*/ 2147483646 w 415"/>
              <a:gd name="T7" fmla="*/ 2147483646 h 358"/>
              <a:gd name="T8" fmla="*/ 2147483646 w 415"/>
              <a:gd name="T9" fmla="*/ 2147483646 h 358"/>
              <a:gd name="T10" fmla="*/ 2147483646 w 415"/>
              <a:gd name="T11" fmla="*/ 2147483646 h 358"/>
              <a:gd name="T12" fmla="*/ 2147483646 w 415"/>
              <a:gd name="T13" fmla="*/ 2147483646 h 358"/>
              <a:gd name="T14" fmla="*/ 2147483646 w 415"/>
              <a:gd name="T15" fmla="*/ 2147483646 h 358"/>
              <a:gd name="T16" fmla="*/ 2147483646 w 415"/>
              <a:gd name="T17" fmla="*/ 2147483646 h 358"/>
              <a:gd name="T18" fmla="*/ 2147483646 w 415"/>
              <a:gd name="T19" fmla="*/ 2147483646 h 358"/>
              <a:gd name="T20" fmla="*/ 2147483646 w 415"/>
              <a:gd name="T21" fmla="*/ 2147483646 h 358"/>
              <a:gd name="T22" fmla="*/ 2147483646 w 415"/>
              <a:gd name="T23" fmla="*/ 2147483646 h 358"/>
              <a:gd name="T24" fmla="*/ 2147483646 w 415"/>
              <a:gd name="T25" fmla="*/ 2147483646 h 358"/>
              <a:gd name="T26" fmla="*/ 2147483646 w 415"/>
              <a:gd name="T27" fmla="*/ 2147483646 h 358"/>
              <a:gd name="T28" fmla="*/ 2147483646 w 415"/>
              <a:gd name="T29" fmla="*/ 2147483646 h 358"/>
              <a:gd name="T30" fmla="*/ 2147483646 w 415"/>
              <a:gd name="T31" fmla="*/ 2147483646 h 358"/>
              <a:gd name="T32" fmla="*/ 2147483646 w 415"/>
              <a:gd name="T33" fmla="*/ 2147483646 h 358"/>
              <a:gd name="T34" fmla="*/ 2147483646 w 415"/>
              <a:gd name="T35" fmla="*/ 2147483646 h 358"/>
              <a:gd name="T36" fmla="*/ 2147483646 w 415"/>
              <a:gd name="T37" fmla="*/ 2147483646 h 358"/>
              <a:gd name="T38" fmla="*/ 2147483646 w 415"/>
              <a:gd name="T39" fmla="*/ 2147483646 h 358"/>
              <a:gd name="T40" fmla="*/ 2147483646 w 415"/>
              <a:gd name="T41" fmla="*/ 2147483646 h 358"/>
              <a:gd name="T42" fmla="*/ 2147483646 w 415"/>
              <a:gd name="T43" fmla="*/ 2147483646 h 358"/>
              <a:gd name="T44" fmla="*/ 2147483646 w 415"/>
              <a:gd name="T45" fmla="*/ 2147483646 h 358"/>
              <a:gd name="T46" fmla="*/ 2147483646 w 415"/>
              <a:gd name="T47" fmla="*/ 2147483646 h 358"/>
              <a:gd name="T48" fmla="*/ 2147483646 w 415"/>
              <a:gd name="T49" fmla="*/ 2147483646 h 358"/>
              <a:gd name="T50" fmla="*/ 2147483646 w 415"/>
              <a:gd name="T51" fmla="*/ 2147483646 h 358"/>
              <a:gd name="T52" fmla="*/ 2147483646 w 415"/>
              <a:gd name="T53" fmla="*/ 2147483646 h 358"/>
              <a:gd name="T54" fmla="*/ 2147483646 w 415"/>
              <a:gd name="T55" fmla="*/ 2147483646 h 358"/>
              <a:gd name="T56" fmla="*/ 2147483646 w 415"/>
              <a:gd name="T57" fmla="*/ 2147483646 h 358"/>
              <a:gd name="T58" fmla="*/ 2147483646 w 415"/>
              <a:gd name="T59" fmla="*/ 2147483646 h 358"/>
              <a:gd name="T60" fmla="*/ 2147483646 w 415"/>
              <a:gd name="T61" fmla="*/ 2147483646 h 358"/>
              <a:gd name="T62" fmla="*/ 2147483646 w 415"/>
              <a:gd name="T63" fmla="*/ 2147483646 h 358"/>
              <a:gd name="T64" fmla="*/ 2147483646 w 415"/>
              <a:gd name="T65" fmla="*/ 2147483646 h 358"/>
              <a:gd name="T66" fmla="*/ 2147483646 w 415"/>
              <a:gd name="T67" fmla="*/ 2147483646 h 358"/>
              <a:gd name="T68" fmla="*/ 2147483646 w 415"/>
              <a:gd name="T69" fmla="*/ 2147483646 h 358"/>
              <a:gd name="T70" fmla="*/ 2147483646 w 415"/>
              <a:gd name="T71" fmla="*/ 2147483646 h 358"/>
              <a:gd name="T72" fmla="*/ 2147483646 w 415"/>
              <a:gd name="T73" fmla="*/ 2147483646 h 358"/>
              <a:gd name="T74" fmla="*/ 2147483646 w 415"/>
              <a:gd name="T75" fmla="*/ 2147483646 h 358"/>
              <a:gd name="T76" fmla="*/ 2147483646 w 415"/>
              <a:gd name="T77" fmla="*/ 2147483646 h 358"/>
              <a:gd name="T78" fmla="*/ 2147483646 w 415"/>
              <a:gd name="T79" fmla="*/ 2147483646 h 35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415"/>
              <a:gd name="T121" fmla="*/ 0 h 358"/>
              <a:gd name="T122" fmla="*/ 415 w 415"/>
              <a:gd name="T123" fmla="*/ 358 h 358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415" h="358">
                <a:moveTo>
                  <a:pt x="37" y="28"/>
                </a:moveTo>
                <a:cubicBezTo>
                  <a:pt x="33" y="35"/>
                  <a:pt x="23" y="39"/>
                  <a:pt x="20" y="47"/>
                </a:cubicBezTo>
                <a:cubicBezTo>
                  <a:pt x="19" y="49"/>
                  <a:pt x="21" y="51"/>
                  <a:pt x="20" y="53"/>
                </a:cubicBezTo>
                <a:cubicBezTo>
                  <a:pt x="18" y="56"/>
                  <a:pt x="15" y="58"/>
                  <a:pt x="13" y="61"/>
                </a:cubicBezTo>
                <a:cubicBezTo>
                  <a:pt x="9" y="68"/>
                  <a:pt x="10" y="77"/>
                  <a:pt x="9" y="85"/>
                </a:cubicBezTo>
                <a:cubicBezTo>
                  <a:pt x="8" y="92"/>
                  <a:pt x="1" y="95"/>
                  <a:pt x="0" y="101"/>
                </a:cubicBezTo>
                <a:cubicBezTo>
                  <a:pt x="5" y="104"/>
                  <a:pt x="11" y="98"/>
                  <a:pt x="16" y="102"/>
                </a:cubicBezTo>
                <a:cubicBezTo>
                  <a:pt x="24" y="107"/>
                  <a:pt x="17" y="117"/>
                  <a:pt x="18" y="123"/>
                </a:cubicBezTo>
                <a:cubicBezTo>
                  <a:pt x="19" y="131"/>
                  <a:pt x="27" y="130"/>
                  <a:pt x="29" y="136"/>
                </a:cubicBezTo>
                <a:cubicBezTo>
                  <a:pt x="32" y="143"/>
                  <a:pt x="29" y="147"/>
                  <a:pt x="27" y="153"/>
                </a:cubicBezTo>
                <a:cubicBezTo>
                  <a:pt x="23" y="169"/>
                  <a:pt x="39" y="173"/>
                  <a:pt x="52" y="170"/>
                </a:cubicBezTo>
                <a:cubicBezTo>
                  <a:pt x="64" y="167"/>
                  <a:pt x="75" y="163"/>
                  <a:pt x="88" y="167"/>
                </a:cubicBezTo>
                <a:cubicBezTo>
                  <a:pt x="96" y="169"/>
                  <a:pt x="107" y="170"/>
                  <a:pt x="110" y="178"/>
                </a:cubicBezTo>
                <a:cubicBezTo>
                  <a:pt x="111" y="184"/>
                  <a:pt x="111" y="194"/>
                  <a:pt x="117" y="198"/>
                </a:cubicBezTo>
                <a:cubicBezTo>
                  <a:pt x="122" y="201"/>
                  <a:pt x="132" y="195"/>
                  <a:pt x="137" y="193"/>
                </a:cubicBezTo>
                <a:cubicBezTo>
                  <a:pt x="148" y="189"/>
                  <a:pt x="166" y="182"/>
                  <a:pt x="176" y="189"/>
                </a:cubicBezTo>
                <a:cubicBezTo>
                  <a:pt x="180" y="192"/>
                  <a:pt x="181" y="194"/>
                  <a:pt x="178" y="199"/>
                </a:cubicBezTo>
                <a:cubicBezTo>
                  <a:pt x="177" y="202"/>
                  <a:pt x="173" y="205"/>
                  <a:pt x="171" y="209"/>
                </a:cubicBezTo>
                <a:cubicBezTo>
                  <a:pt x="168" y="213"/>
                  <a:pt x="167" y="220"/>
                  <a:pt x="167" y="226"/>
                </a:cubicBezTo>
                <a:cubicBezTo>
                  <a:pt x="168" y="235"/>
                  <a:pt x="174" y="239"/>
                  <a:pt x="177" y="248"/>
                </a:cubicBezTo>
                <a:cubicBezTo>
                  <a:pt x="178" y="252"/>
                  <a:pt x="175" y="256"/>
                  <a:pt x="175" y="260"/>
                </a:cubicBezTo>
                <a:cubicBezTo>
                  <a:pt x="176" y="264"/>
                  <a:pt x="180" y="266"/>
                  <a:pt x="183" y="269"/>
                </a:cubicBezTo>
                <a:cubicBezTo>
                  <a:pt x="192" y="280"/>
                  <a:pt x="185" y="282"/>
                  <a:pt x="179" y="290"/>
                </a:cubicBezTo>
                <a:cubicBezTo>
                  <a:pt x="171" y="300"/>
                  <a:pt x="184" y="297"/>
                  <a:pt x="188" y="304"/>
                </a:cubicBezTo>
                <a:cubicBezTo>
                  <a:pt x="191" y="308"/>
                  <a:pt x="192" y="315"/>
                  <a:pt x="194" y="320"/>
                </a:cubicBezTo>
                <a:cubicBezTo>
                  <a:pt x="196" y="325"/>
                  <a:pt x="198" y="330"/>
                  <a:pt x="200" y="335"/>
                </a:cubicBezTo>
                <a:cubicBezTo>
                  <a:pt x="201" y="338"/>
                  <a:pt x="202" y="344"/>
                  <a:pt x="205" y="346"/>
                </a:cubicBezTo>
                <a:cubicBezTo>
                  <a:pt x="210" y="349"/>
                  <a:pt x="213" y="345"/>
                  <a:pt x="217" y="345"/>
                </a:cubicBezTo>
                <a:cubicBezTo>
                  <a:pt x="227" y="345"/>
                  <a:pt x="228" y="358"/>
                  <a:pt x="238" y="352"/>
                </a:cubicBezTo>
                <a:cubicBezTo>
                  <a:pt x="241" y="350"/>
                  <a:pt x="242" y="346"/>
                  <a:pt x="246" y="348"/>
                </a:cubicBezTo>
                <a:cubicBezTo>
                  <a:pt x="249" y="350"/>
                  <a:pt x="249" y="355"/>
                  <a:pt x="250" y="357"/>
                </a:cubicBezTo>
                <a:cubicBezTo>
                  <a:pt x="255" y="353"/>
                  <a:pt x="259" y="345"/>
                  <a:pt x="265" y="340"/>
                </a:cubicBezTo>
                <a:cubicBezTo>
                  <a:pt x="271" y="336"/>
                  <a:pt x="277" y="334"/>
                  <a:pt x="283" y="330"/>
                </a:cubicBezTo>
                <a:cubicBezTo>
                  <a:pt x="293" y="324"/>
                  <a:pt x="298" y="313"/>
                  <a:pt x="309" y="309"/>
                </a:cubicBezTo>
                <a:cubicBezTo>
                  <a:pt x="308" y="302"/>
                  <a:pt x="291" y="299"/>
                  <a:pt x="285" y="296"/>
                </a:cubicBezTo>
                <a:cubicBezTo>
                  <a:pt x="297" y="295"/>
                  <a:pt x="283" y="285"/>
                  <a:pt x="279" y="279"/>
                </a:cubicBezTo>
                <a:cubicBezTo>
                  <a:pt x="274" y="271"/>
                  <a:pt x="268" y="258"/>
                  <a:pt x="269" y="248"/>
                </a:cubicBezTo>
                <a:cubicBezTo>
                  <a:pt x="271" y="227"/>
                  <a:pt x="300" y="263"/>
                  <a:pt x="301" y="248"/>
                </a:cubicBezTo>
                <a:cubicBezTo>
                  <a:pt x="305" y="250"/>
                  <a:pt x="306" y="255"/>
                  <a:pt x="308" y="259"/>
                </a:cubicBezTo>
                <a:cubicBezTo>
                  <a:pt x="311" y="258"/>
                  <a:pt x="314" y="252"/>
                  <a:pt x="318" y="253"/>
                </a:cubicBezTo>
                <a:cubicBezTo>
                  <a:pt x="322" y="253"/>
                  <a:pt x="326" y="262"/>
                  <a:pt x="329" y="265"/>
                </a:cubicBezTo>
                <a:cubicBezTo>
                  <a:pt x="332" y="259"/>
                  <a:pt x="333" y="245"/>
                  <a:pt x="340" y="242"/>
                </a:cubicBezTo>
                <a:cubicBezTo>
                  <a:pt x="345" y="240"/>
                  <a:pt x="346" y="243"/>
                  <a:pt x="351" y="244"/>
                </a:cubicBezTo>
                <a:cubicBezTo>
                  <a:pt x="359" y="247"/>
                  <a:pt x="368" y="240"/>
                  <a:pt x="374" y="234"/>
                </a:cubicBezTo>
                <a:cubicBezTo>
                  <a:pt x="379" y="230"/>
                  <a:pt x="386" y="227"/>
                  <a:pt x="390" y="222"/>
                </a:cubicBezTo>
                <a:cubicBezTo>
                  <a:pt x="392" y="219"/>
                  <a:pt x="392" y="215"/>
                  <a:pt x="393" y="211"/>
                </a:cubicBezTo>
                <a:cubicBezTo>
                  <a:pt x="393" y="209"/>
                  <a:pt x="393" y="209"/>
                  <a:pt x="393" y="209"/>
                </a:cubicBezTo>
                <a:cubicBezTo>
                  <a:pt x="390" y="206"/>
                  <a:pt x="386" y="201"/>
                  <a:pt x="383" y="199"/>
                </a:cubicBezTo>
                <a:cubicBezTo>
                  <a:pt x="379" y="197"/>
                  <a:pt x="374" y="199"/>
                  <a:pt x="372" y="195"/>
                </a:cubicBezTo>
                <a:cubicBezTo>
                  <a:pt x="371" y="193"/>
                  <a:pt x="371" y="188"/>
                  <a:pt x="370" y="186"/>
                </a:cubicBezTo>
                <a:cubicBezTo>
                  <a:pt x="369" y="184"/>
                  <a:pt x="366" y="182"/>
                  <a:pt x="366" y="178"/>
                </a:cubicBezTo>
                <a:cubicBezTo>
                  <a:pt x="366" y="172"/>
                  <a:pt x="369" y="169"/>
                  <a:pt x="373" y="167"/>
                </a:cubicBezTo>
                <a:cubicBezTo>
                  <a:pt x="379" y="163"/>
                  <a:pt x="398" y="161"/>
                  <a:pt x="396" y="151"/>
                </a:cubicBezTo>
                <a:cubicBezTo>
                  <a:pt x="394" y="144"/>
                  <a:pt x="384" y="146"/>
                  <a:pt x="384" y="140"/>
                </a:cubicBezTo>
                <a:cubicBezTo>
                  <a:pt x="384" y="135"/>
                  <a:pt x="392" y="129"/>
                  <a:pt x="394" y="126"/>
                </a:cubicBezTo>
                <a:cubicBezTo>
                  <a:pt x="400" y="118"/>
                  <a:pt x="413" y="115"/>
                  <a:pt x="415" y="105"/>
                </a:cubicBezTo>
                <a:cubicBezTo>
                  <a:pt x="412" y="104"/>
                  <a:pt x="412" y="104"/>
                  <a:pt x="412" y="104"/>
                </a:cubicBezTo>
                <a:cubicBezTo>
                  <a:pt x="394" y="98"/>
                  <a:pt x="348" y="114"/>
                  <a:pt x="361" y="103"/>
                </a:cubicBezTo>
                <a:cubicBezTo>
                  <a:pt x="374" y="91"/>
                  <a:pt x="388" y="75"/>
                  <a:pt x="374" y="71"/>
                </a:cubicBezTo>
                <a:cubicBezTo>
                  <a:pt x="360" y="68"/>
                  <a:pt x="346" y="63"/>
                  <a:pt x="337" y="60"/>
                </a:cubicBezTo>
                <a:cubicBezTo>
                  <a:pt x="327" y="57"/>
                  <a:pt x="320" y="55"/>
                  <a:pt x="320" y="50"/>
                </a:cubicBezTo>
                <a:cubicBezTo>
                  <a:pt x="320" y="45"/>
                  <a:pt x="310" y="44"/>
                  <a:pt x="307" y="44"/>
                </a:cubicBezTo>
                <a:cubicBezTo>
                  <a:pt x="304" y="44"/>
                  <a:pt x="291" y="45"/>
                  <a:pt x="279" y="52"/>
                </a:cubicBezTo>
                <a:cubicBezTo>
                  <a:pt x="267" y="58"/>
                  <a:pt x="261" y="64"/>
                  <a:pt x="252" y="63"/>
                </a:cubicBezTo>
                <a:cubicBezTo>
                  <a:pt x="242" y="62"/>
                  <a:pt x="226" y="55"/>
                  <a:pt x="216" y="52"/>
                </a:cubicBezTo>
                <a:cubicBezTo>
                  <a:pt x="207" y="49"/>
                  <a:pt x="205" y="46"/>
                  <a:pt x="186" y="51"/>
                </a:cubicBezTo>
                <a:cubicBezTo>
                  <a:pt x="167" y="56"/>
                  <a:pt x="157" y="68"/>
                  <a:pt x="154" y="51"/>
                </a:cubicBezTo>
                <a:cubicBezTo>
                  <a:pt x="150" y="34"/>
                  <a:pt x="149" y="30"/>
                  <a:pt x="135" y="27"/>
                </a:cubicBezTo>
                <a:cubicBezTo>
                  <a:pt x="121" y="25"/>
                  <a:pt x="106" y="36"/>
                  <a:pt x="102" y="22"/>
                </a:cubicBezTo>
                <a:cubicBezTo>
                  <a:pt x="99" y="7"/>
                  <a:pt x="90" y="0"/>
                  <a:pt x="89" y="9"/>
                </a:cubicBezTo>
                <a:cubicBezTo>
                  <a:pt x="88" y="19"/>
                  <a:pt x="97" y="35"/>
                  <a:pt x="84" y="35"/>
                </a:cubicBezTo>
                <a:cubicBezTo>
                  <a:pt x="71" y="36"/>
                  <a:pt x="57" y="33"/>
                  <a:pt x="56" y="47"/>
                </a:cubicBezTo>
                <a:cubicBezTo>
                  <a:pt x="56" y="60"/>
                  <a:pt x="62" y="64"/>
                  <a:pt x="66" y="72"/>
                </a:cubicBezTo>
                <a:cubicBezTo>
                  <a:pt x="70" y="80"/>
                  <a:pt x="79" y="93"/>
                  <a:pt x="67" y="95"/>
                </a:cubicBezTo>
                <a:cubicBezTo>
                  <a:pt x="56" y="98"/>
                  <a:pt x="53" y="106"/>
                  <a:pt x="48" y="100"/>
                </a:cubicBezTo>
                <a:cubicBezTo>
                  <a:pt x="44" y="95"/>
                  <a:pt x="48" y="87"/>
                  <a:pt x="43" y="84"/>
                </a:cubicBezTo>
                <a:cubicBezTo>
                  <a:pt x="37" y="81"/>
                  <a:pt x="34" y="77"/>
                  <a:pt x="34" y="77"/>
                </a:cubicBezTo>
                <a:cubicBezTo>
                  <a:pt x="47" y="62"/>
                  <a:pt x="47" y="62"/>
                  <a:pt x="47" y="62"/>
                </a:cubicBezTo>
                <a:cubicBezTo>
                  <a:pt x="47" y="62"/>
                  <a:pt x="52" y="50"/>
                  <a:pt x="47" y="44"/>
                </a:cubicBezTo>
                <a:cubicBezTo>
                  <a:pt x="41" y="38"/>
                  <a:pt x="34" y="31"/>
                  <a:pt x="40" y="2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47" name="Freeform 380"/>
          <p:cNvSpPr>
            <a:spLocks/>
          </p:cNvSpPr>
          <p:nvPr userDrawn="1"/>
        </p:nvSpPr>
        <p:spPr bwMode="auto">
          <a:xfrm>
            <a:off x="4229312" y="4996271"/>
            <a:ext cx="117256" cy="134008"/>
          </a:xfrm>
          <a:custGeom>
            <a:avLst/>
            <a:gdLst>
              <a:gd name="T0" fmla="*/ 2147483646 w 125"/>
              <a:gd name="T1" fmla="*/ 2147483646 h 143"/>
              <a:gd name="T2" fmla="*/ 2147483646 w 125"/>
              <a:gd name="T3" fmla="*/ 2147483646 h 143"/>
              <a:gd name="T4" fmla="*/ 2147483646 w 125"/>
              <a:gd name="T5" fmla="*/ 2147483646 h 143"/>
              <a:gd name="T6" fmla="*/ 2147483646 w 125"/>
              <a:gd name="T7" fmla="*/ 2147483646 h 143"/>
              <a:gd name="T8" fmla="*/ 2147483646 w 125"/>
              <a:gd name="T9" fmla="*/ 2147483646 h 143"/>
              <a:gd name="T10" fmla="*/ 2147483646 w 125"/>
              <a:gd name="T11" fmla="*/ 2147483646 h 143"/>
              <a:gd name="T12" fmla="*/ 2147483646 w 125"/>
              <a:gd name="T13" fmla="*/ 2147483646 h 143"/>
              <a:gd name="T14" fmla="*/ 2147483646 w 125"/>
              <a:gd name="T15" fmla="*/ 2147483646 h 143"/>
              <a:gd name="T16" fmla="*/ 2147483646 w 125"/>
              <a:gd name="T17" fmla="*/ 2147483646 h 143"/>
              <a:gd name="T18" fmla="*/ 2147483646 w 125"/>
              <a:gd name="T19" fmla="*/ 2147483646 h 143"/>
              <a:gd name="T20" fmla="*/ 2147483646 w 125"/>
              <a:gd name="T21" fmla="*/ 2147483646 h 143"/>
              <a:gd name="T22" fmla="*/ 2147483646 w 125"/>
              <a:gd name="T23" fmla="*/ 2147483646 h 143"/>
              <a:gd name="T24" fmla="*/ 2147483646 w 125"/>
              <a:gd name="T25" fmla="*/ 2147483646 h 143"/>
              <a:gd name="T26" fmla="*/ 2147483646 w 125"/>
              <a:gd name="T27" fmla="*/ 2147483646 h 143"/>
              <a:gd name="T28" fmla="*/ 2147483646 w 125"/>
              <a:gd name="T29" fmla="*/ 2147483646 h 143"/>
              <a:gd name="T30" fmla="*/ 2147483646 w 125"/>
              <a:gd name="T31" fmla="*/ 2147483646 h 143"/>
              <a:gd name="T32" fmla="*/ 2147483646 w 125"/>
              <a:gd name="T33" fmla="*/ 2147483646 h 143"/>
              <a:gd name="T34" fmla="*/ 2147483646 w 125"/>
              <a:gd name="T35" fmla="*/ 2147483646 h 143"/>
              <a:gd name="T36" fmla="*/ 2147483646 w 125"/>
              <a:gd name="T37" fmla="*/ 2147483646 h 143"/>
              <a:gd name="T38" fmla="*/ 2147483646 w 125"/>
              <a:gd name="T39" fmla="*/ 2147483646 h 143"/>
              <a:gd name="T40" fmla="*/ 2147483646 w 125"/>
              <a:gd name="T41" fmla="*/ 2147483646 h 143"/>
              <a:gd name="T42" fmla="*/ 2147483646 w 125"/>
              <a:gd name="T43" fmla="*/ 2147483646 h 143"/>
              <a:gd name="T44" fmla="*/ 2147483646 w 125"/>
              <a:gd name="T45" fmla="*/ 2147483646 h 143"/>
              <a:gd name="T46" fmla="*/ 2147483646 w 125"/>
              <a:gd name="T47" fmla="*/ 2147483646 h 143"/>
              <a:gd name="T48" fmla="*/ 2147483646 w 125"/>
              <a:gd name="T49" fmla="*/ 2147483646 h 143"/>
              <a:gd name="T50" fmla="*/ 2147483646 w 125"/>
              <a:gd name="T51" fmla="*/ 2147483646 h 143"/>
              <a:gd name="T52" fmla="*/ 2147483646 w 125"/>
              <a:gd name="T53" fmla="*/ 2147483646 h 143"/>
              <a:gd name="T54" fmla="*/ 2147483646 w 125"/>
              <a:gd name="T55" fmla="*/ 2147483646 h 143"/>
              <a:gd name="T56" fmla="*/ 2147483646 w 125"/>
              <a:gd name="T57" fmla="*/ 2147483646 h 143"/>
              <a:gd name="T58" fmla="*/ 2147483646 w 125"/>
              <a:gd name="T59" fmla="*/ 2147483646 h 14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25"/>
              <a:gd name="T91" fmla="*/ 0 h 143"/>
              <a:gd name="T92" fmla="*/ 125 w 125"/>
              <a:gd name="T93" fmla="*/ 143 h 14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25" h="143">
                <a:moveTo>
                  <a:pt x="50" y="130"/>
                </a:moveTo>
                <a:cubicBezTo>
                  <a:pt x="55" y="134"/>
                  <a:pt x="65" y="143"/>
                  <a:pt x="69" y="135"/>
                </a:cubicBezTo>
                <a:cubicBezTo>
                  <a:pt x="73" y="129"/>
                  <a:pt x="70" y="123"/>
                  <a:pt x="70" y="117"/>
                </a:cubicBezTo>
                <a:cubicBezTo>
                  <a:pt x="76" y="118"/>
                  <a:pt x="80" y="114"/>
                  <a:pt x="86" y="115"/>
                </a:cubicBezTo>
                <a:cubicBezTo>
                  <a:pt x="90" y="115"/>
                  <a:pt x="92" y="116"/>
                  <a:pt x="95" y="115"/>
                </a:cubicBezTo>
                <a:cubicBezTo>
                  <a:pt x="97" y="115"/>
                  <a:pt x="100" y="111"/>
                  <a:pt x="101" y="111"/>
                </a:cubicBezTo>
                <a:cubicBezTo>
                  <a:pt x="105" y="110"/>
                  <a:pt x="105" y="113"/>
                  <a:pt x="108" y="114"/>
                </a:cubicBezTo>
                <a:cubicBezTo>
                  <a:pt x="111" y="116"/>
                  <a:pt x="115" y="115"/>
                  <a:pt x="116" y="118"/>
                </a:cubicBezTo>
                <a:cubicBezTo>
                  <a:pt x="120" y="112"/>
                  <a:pt x="120" y="106"/>
                  <a:pt x="121" y="99"/>
                </a:cubicBezTo>
                <a:cubicBezTo>
                  <a:pt x="121" y="93"/>
                  <a:pt x="124" y="88"/>
                  <a:pt x="124" y="83"/>
                </a:cubicBezTo>
                <a:cubicBezTo>
                  <a:pt x="124" y="78"/>
                  <a:pt x="124" y="71"/>
                  <a:pt x="122" y="67"/>
                </a:cubicBezTo>
                <a:cubicBezTo>
                  <a:pt x="119" y="62"/>
                  <a:pt x="114" y="60"/>
                  <a:pt x="112" y="54"/>
                </a:cubicBezTo>
                <a:cubicBezTo>
                  <a:pt x="108" y="43"/>
                  <a:pt x="114" y="34"/>
                  <a:pt x="120" y="25"/>
                </a:cubicBezTo>
                <a:cubicBezTo>
                  <a:pt x="124" y="19"/>
                  <a:pt x="125" y="13"/>
                  <a:pt x="123" y="6"/>
                </a:cubicBezTo>
                <a:cubicBezTo>
                  <a:pt x="122" y="5"/>
                  <a:pt x="122" y="5"/>
                  <a:pt x="122" y="5"/>
                </a:cubicBezTo>
                <a:cubicBezTo>
                  <a:pt x="114" y="3"/>
                  <a:pt x="93" y="0"/>
                  <a:pt x="80" y="5"/>
                </a:cubicBezTo>
                <a:cubicBezTo>
                  <a:pt x="66" y="10"/>
                  <a:pt x="59" y="15"/>
                  <a:pt x="50" y="12"/>
                </a:cubicBezTo>
                <a:cubicBezTo>
                  <a:pt x="42" y="9"/>
                  <a:pt x="35" y="4"/>
                  <a:pt x="30" y="5"/>
                </a:cubicBezTo>
                <a:cubicBezTo>
                  <a:pt x="30" y="6"/>
                  <a:pt x="30" y="6"/>
                  <a:pt x="30" y="6"/>
                </a:cubicBezTo>
                <a:cubicBezTo>
                  <a:pt x="30" y="12"/>
                  <a:pt x="30" y="19"/>
                  <a:pt x="29" y="26"/>
                </a:cubicBezTo>
                <a:cubicBezTo>
                  <a:pt x="29" y="29"/>
                  <a:pt x="30" y="37"/>
                  <a:pt x="27" y="39"/>
                </a:cubicBezTo>
                <a:cubicBezTo>
                  <a:pt x="25" y="41"/>
                  <a:pt x="23" y="39"/>
                  <a:pt x="21" y="39"/>
                </a:cubicBezTo>
                <a:cubicBezTo>
                  <a:pt x="18" y="40"/>
                  <a:pt x="18" y="40"/>
                  <a:pt x="16" y="41"/>
                </a:cubicBezTo>
                <a:cubicBezTo>
                  <a:pt x="10" y="43"/>
                  <a:pt x="9" y="44"/>
                  <a:pt x="8" y="49"/>
                </a:cubicBezTo>
                <a:cubicBezTo>
                  <a:pt x="6" y="55"/>
                  <a:pt x="4" y="59"/>
                  <a:pt x="2" y="64"/>
                </a:cubicBezTo>
                <a:cubicBezTo>
                  <a:pt x="0" y="69"/>
                  <a:pt x="0" y="76"/>
                  <a:pt x="4" y="80"/>
                </a:cubicBezTo>
                <a:cubicBezTo>
                  <a:pt x="8" y="84"/>
                  <a:pt x="13" y="82"/>
                  <a:pt x="17" y="83"/>
                </a:cubicBezTo>
                <a:cubicBezTo>
                  <a:pt x="18" y="86"/>
                  <a:pt x="20" y="89"/>
                  <a:pt x="22" y="91"/>
                </a:cubicBezTo>
                <a:cubicBezTo>
                  <a:pt x="26" y="97"/>
                  <a:pt x="28" y="103"/>
                  <a:pt x="31" y="109"/>
                </a:cubicBezTo>
                <a:cubicBezTo>
                  <a:pt x="36" y="117"/>
                  <a:pt x="44" y="123"/>
                  <a:pt x="50" y="13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48" name="Freeform 381"/>
          <p:cNvSpPr>
            <a:spLocks/>
          </p:cNvSpPr>
          <p:nvPr userDrawn="1"/>
        </p:nvSpPr>
        <p:spPr bwMode="auto">
          <a:xfrm>
            <a:off x="4329818" y="5002972"/>
            <a:ext cx="88780" cy="108881"/>
          </a:xfrm>
          <a:custGeom>
            <a:avLst/>
            <a:gdLst>
              <a:gd name="T0" fmla="*/ 2147483646 w 95"/>
              <a:gd name="T1" fmla="*/ 2147483646 h 118"/>
              <a:gd name="T2" fmla="*/ 2147483646 w 95"/>
              <a:gd name="T3" fmla="*/ 2147483646 h 118"/>
              <a:gd name="T4" fmla="*/ 2147483646 w 95"/>
              <a:gd name="T5" fmla="*/ 2147483646 h 118"/>
              <a:gd name="T6" fmla="*/ 2147483646 w 95"/>
              <a:gd name="T7" fmla="*/ 2147483646 h 118"/>
              <a:gd name="T8" fmla="*/ 2147483646 w 95"/>
              <a:gd name="T9" fmla="*/ 2147483646 h 118"/>
              <a:gd name="T10" fmla="*/ 2147483646 w 95"/>
              <a:gd name="T11" fmla="*/ 2147483646 h 118"/>
              <a:gd name="T12" fmla="*/ 2147483646 w 95"/>
              <a:gd name="T13" fmla="*/ 2147483646 h 118"/>
              <a:gd name="T14" fmla="*/ 2147483646 w 95"/>
              <a:gd name="T15" fmla="*/ 2147483646 h 118"/>
              <a:gd name="T16" fmla="*/ 2147483646 w 95"/>
              <a:gd name="T17" fmla="*/ 2147483646 h 118"/>
              <a:gd name="T18" fmla="*/ 2147483646 w 95"/>
              <a:gd name="T19" fmla="*/ 2147483646 h 118"/>
              <a:gd name="T20" fmla="*/ 2147483646 w 95"/>
              <a:gd name="T21" fmla="*/ 2147483646 h 118"/>
              <a:gd name="T22" fmla="*/ 2147483646 w 95"/>
              <a:gd name="T23" fmla="*/ 2147483646 h 118"/>
              <a:gd name="T24" fmla="*/ 2147483646 w 95"/>
              <a:gd name="T25" fmla="*/ 2147483646 h 118"/>
              <a:gd name="T26" fmla="*/ 2147483646 w 95"/>
              <a:gd name="T27" fmla="*/ 0 h 118"/>
              <a:gd name="T28" fmla="*/ 2147483646 w 95"/>
              <a:gd name="T29" fmla="*/ 0 h 118"/>
              <a:gd name="T30" fmla="*/ 2147483646 w 95"/>
              <a:gd name="T31" fmla="*/ 2147483646 h 118"/>
              <a:gd name="T32" fmla="*/ 2147483646 w 95"/>
              <a:gd name="T33" fmla="*/ 2147483646 h 118"/>
              <a:gd name="T34" fmla="*/ 2147483646 w 95"/>
              <a:gd name="T35" fmla="*/ 2147483646 h 118"/>
              <a:gd name="T36" fmla="*/ 2147483646 w 95"/>
              <a:gd name="T37" fmla="*/ 2147483646 h 118"/>
              <a:gd name="T38" fmla="*/ 2147483646 w 95"/>
              <a:gd name="T39" fmla="*/ 2147483646 h 118"/>
              <a:gd name="T40" fmla="*/ 2147483646 w 95"/>
              <a:gd name="T41" fmla="*/ 2147483646 h 118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95"/>
              <a:gd name="T64" fmla="*/ 0 h 118"/>
              <a:gd name="T65" fmla="*/ 95 w 95"/>
              <a:gd name="T66" fmla="*/ 118 h 118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95" h="118">
                <a:moveTo>
                  <a:pt x="9" y="113"/>
                </a:moveTo>
                <a:cubicBezTo>
                  <a:pt x="11" y="115"/>
                  <a:pt x="14" y="117"/>
                  <a:pt x="16" y="117"/>
                </a:cubicBezTo>
                <a:cubicBezTo>
                  <a:pt x="20" y="118"/>
                  <a:pt x="19" y="117"/>
                  <a:pt x="22" y="115"/>
                </a:cubicBezTo>
                <a:cubicBezTo>
                  <a:pt x="26" y="113"/>
                  <a:pt x="32" y="108"/>
                  <a:pt x="37" y="108"/>
                </a:cubicBezTo>
                <a:cubicBezTo>
                  <a:pt x="40" y="107"/>
                  <a:pt x="44" y="112"/>
                  <a:pt x="49" y="110"/>
                </a:cubicBezTo>
                <a:cubicBezTo>
                  <a:pt x="51" y="109"/>
                  <a:pt x="51" y="106"/>
                  <a:pt x="54" y="105"/>
                </a:cubicBezTo>
                <a:cubicBezTo>
                  <a:pt x="56" y="105"/>
                  <a:pt x="59" y="107"/>
                  <a:pt x="61" y="106"/>
                </a:cubicBezTo>
                <a:cubicBezTo>
                  <a:pt x="66" y="105"/>
                  <a:pt x="68" y="94"/>
                  <a:pt x="70" y="90"/>
                </a:cubicBezTo>
                <a:cubicBezTo>
                  <a:pt x="73" y="83"/>
                  <a:pt x="77" y="76"/>
                  <a:pt x="81" y="69"/>
                </a:cubicBezTo>
                <a:cubicBezTo>
                  <a:pt x="86" y="61"/>
                  <a:pt x="94" y="52"/>
                  <a:pt x="95" y="43"/>
                </a:cubicBezTo>
                <a:cubicBezTo>
                  <a:pt x="95" y="42"/>
                  <a:pt x="95" y="42"/>
                  <a:pt x="95" y="42"/>
                </a:cubicBezTo>
                <a:cubicBezTo>
                  <a:pt x="92" y="41"/>
                  <a:pt x="77" y="36"/>
                  <a:pt x="65" y="22"/>
                </a:cubicBezTo>
                <a:cubicBezTo>
                  <a:pt x="51" y="7"/>
                  <a:pt x="41" y="8"/>
                  <a:pt x="33" y="7"/>
                </a:cubicBezTo>
                <a:cubicBezTo>
                  <a:pt x="26" y="7"/>
                  <a:pt x="23" y="2"/>
                  <a:pt x="1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8" y="7"/>
                  <a:pt x="17" y="14"/>
                  <a:pt x="13" y="20"/>
                </a:cubicBezTo>
                <a:cubicBezTo>
                  <a:pt x="6" y="28"/>
                  <a:pt x="0" y="37"/>
                  <a:pt x="4" y="48"/>
                </a:cubicBezTo>
                <a:cubicBezTo>
                  <a:pt x="6" y="54"/>
                  <a:pt x="12" y="56"/>
                  <a:pt x="14" y="62"/>
                </a:cubicBezTo>
                <a:cubicBezTo>
                  <a:pt x="17" y="66"/>
                  <a:pt x="16" y="72"/>
                  <a:pt x="16" y="77"/>
                </a:cubicBezTo>
                <a:cubicBezTo>
                  <a:pt x="16" y="83"/>
                  <a:pt x="14" y="88"/>
                  <a:pt x="13" y="94"/>
                </a:cubicBezTo>
                <a:cubicBezTo>
                  <a:pt x="12" y="101"/>
                  <a:pt x="12" y="106"/>
                  <a:pt x="9" y="1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49" name="Freeform 382"/>
          <p:cNvSpPr>
            <a:spLocks/>
          </p:cNvSpPr>
          <p:nvPr userDrawn="1"/>
        </p:nvSpPr>
        <p:spPr bwMode="auto">
          <a:xfrm>
            <a:off x="3631305" y="4835462"/>
            <a:ext cx="341719" cy="485777"/>
          </a:xfrm>
          <a:custGeom>
            <a:avLst/>
            <a:gdLst>
              <a:gd name="T0" fmla="*/ 2147483646 w 366"/>
              <a:gd name="T1" fmla="*/ 2147483646 h 520"/>
              <a:gd name="T2" fmla="*/ 2147483646 w 366"/>
              <a:gd name="T3" fmla="*/ 2147483646 h 520"/>
              <a:gd name="T4" fmla="*/ 2147483646 w 366"/>
              <a:gd name="T5" fmla="*/ 2147483646 h 520"/>
              <a:gd name="T6" fmla="*/ 2147483646 w 366"/>
              <a:gd name="T7" fmla="*/ 2147483646 h 520"/>
              <a:gd name="T8" fmla="*/ 2147483646 w 366"/>
              <a:gd name="T9" fmla="*/ 2147483646 h 520"/>
              <a:gd name="T10" fmla="*/ 2147483646 w 366"/>
              <a:gd name="T11" fmla="*/ 2147483646 h 520"/>
              <a:gd name="T12" fmla="*/ 2147483646 w 366"/>
              <a:gd name="T13" fmla="*/ 2147483646 h 520"/>
              <a:gd name="T14" fmla="*/ 2147483646 w 366"/>
              <a:gd name="T15" fmla="*/ 2147483646 h 520"/>
              <a:gd name="T16" fmla="*/ 2147483646 w 366"/>
              <a:gd name="T17" fmla="*/ 2147483646 h 520"/>
              <a:gd name="T18" fmla="*/ 2147483646 w 366"/>
              <a:gd name="T19" fmla="*/ 2147483646 h 520"/>
              <a:gd name="T20" fmla="*/ 2147483646 w 366"/>
              <a:gd name="T21" fmla="*/ 2147483646 h 520"/>
              <a:gd name="T22" fmla="*/ 2147483646 w 366"/>
              <a:gd name="T23" fmla="*/ 2147483646 h 520"/>
              <a:gd name="T24" fmla="*/ 2147483646 w 366"/>
              <a:gd name="T25" fmla="*/ 2147483646 h 520"/>
              <a:gd name="T26" fmla="*/ 2147483646 w 366"/>
              <a:gd name="T27" fmla="*/ 2147483646 h 520"/>
              <a:gd name="T28" fmla="*/ 2147483646 w 366"/>
              <a:gd name="T29" fmla="*/ 2147483646 h 520"/>
              <a:gd name="T30" fmla="*/ 2147483646 w 366"/>
              <a:gd name="T31" fmla="*/ 2147483646 h 520"/>
              <a:gd name="T32" fmla="*/ 2147483646 w 366"/>
              <a:gd name="T33" fmla="*/ 2147483646 h 520"/>
              <a:gd name="T34" fmla="*/ 2147483646 w 366"/>
              <a:gd name="T35" fmla="*/ 2147483646 h 520"/>
              <a:gd name="T36" fmla="*/ 2147483646 w 366"/>
              <a:gd name="T37" fmla="*/ 2147483646 h 520"/>
              <a:gd name="T38" fmla="*/ 2147483646 w 366"/>
              <a:gd name="T39" fmla="*/ 2147483646 h 520"/>
              <a:gd name="T40" fmla="*/ 2147483646 w 366"/>
              <a:gd name="T41" fmla="*/ 2147483646 h 520"/>
              <a:gd name="T42" fmla="*/ 2147483646 w 366"/>
              <a:gd name="T43" fmla="*/ 2147483646 h 520"/>
              <a:gd name="T44" fmla="*/ 2147483646 w 366"/>
              <a:gd name="T45" fmla="*/ 2147483646 h 520"/>
              <a:gd name="T46" fmla="*/ 2147483646 w 366"/>
              <a:gd name="T47" fmla="*/ 2147483646 h 520"/>
              <a:gd name="T48" fmla="*/ 2147483646 w 366"/>
              <a:gd name="T49" fmla="*/ 2147483646 h 520"/>
              <a:gd name="T50" fmla="*/ 2147483646 w 366"/>
              <a:gd name="T51" fmla="*/ 2147483646 h 520"/>
              <a:gd name="T52" fmla="*/ 2147483646 w 366"/>
              <a:gd name="T53" fmla="*/ 2147483646 h 520"/>
              <a:gd name="T54" fmla="*/ 2147483646 w 366"/>
              <a:gd name="T55" fmla="*/ 2147483646 h 520"/>
              <a:gd name="T56" fmla="*/ 2147483646 w 366"/>
              <a:gd name="T57" fmla="*/ 2147483646 h 520"/>
              <a:gd name="T58" fmla="*/ 2147483646 w 366"/>
              <a:gd name="T59" fmla="*/ 2147483646 h 520"/>
              <a:gd name="T60" fmla="*/ 2147483646 w 366"/>
              <a:gd name="T61" fmla="*/ 2147483646 h 520"/>
              <a:gd name="T62" fmla="*/ 2147483646 w 366"/>
              <a:gd name="T63" fmla="*/ 2147483646 h 520"/>
              <a:gd name="T64" fmla="*/ 2147483646 w 366"/>
              <a:gd name="T65" fmla="*/ 2147483646 h 520"/>
              <a:gd name="T66" fmla="*/ 2147483646 w 366"/>
              <a:gd name="T67" fmla="*/ 2147483646 h 520"/>
              <a:gd name="T68" fmla="*/ 2147483646 w 366"/>
              <a:gd name="T69" fmla="*/ 2147483646 h 520"/>
              <a:gd name="T70" fmla="*/ 2147483646 w 366"/>
              <a:gd name="T71" fmla="*/ 2147483646 h 520"/>
              <a:gd name="T72" fmla="*/ 2147483646 w 366"/>
              <a:gd name="T73" fmla="*/ 2147483646 h 520"/>
              <a:gd name="T74" fmla="*/ 2147483646 w 366"/>
              <a:gd name="T75" fmla="*/ 2147483646 h 520"/>
              <a:gd name="T76" fmla="*/ 2147483646 w 366"/>
              <a:gd name="T77" fmla="*/ 2147483646 h 520"/>
              <a:gd name="T78" fmla="*/ 2147483646 w 366"/>
              <a:gd name="T79" fmla="*/ 2147483646 h 520"/>
              <a:gd name="T80" fmla="*/ 2147483646 w 366"/>
              <a:gd name="T81" fmla="*/ 2147483646 h 520"/>
              <a:gd name="T82" fmla="*/ 2147483646 w 366"/>
              <a:gd name="T83" fmla="*/ 2147483646 h 520"/>
              <a:gd name="T84" fmla="*/ 2147483646 w 366"/>
              <a:gd name="T85" fmla="*/ 2147483646 h 520"/>
              <a:gd name="T86" fmla="*/ 2147483646 w 366"/>
              <a:gd name="T87" fmla="*/ 2147483646 h 520"/>
              <a:gd name="T88" fmla="*/ 2147483646 w 366"/>
              <a:gd name="T89" fmla="*/ 2147483646 h 520"/>
              <a:gd name="T90" fmla="*/ 2147483646 w 366"/>
              <a:gd name="T91" fmla="*/ 2147483646 h 520"/>
              <a:gd name="T92" fmla="*/ 2147483646 w 366"/>
              <a:gd name="T93" fmla="*/ 2147483646 h 520"/>
              <a:gd name="T94" fmla="*/ 2147483646 w 366"/>
              <a:gd name="T95" fmla="*/ 2147483646 h 52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66"/>
              <a:gd name="T145" fmla="*/ 0 h 520"/>
              <a:gd name="T146" fmla="*/ 366 w 366"/>
              <a:gd name="T147" fmla="*/ 520 h 52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66" h="520">
                <a:moveTo>
                  <a:pt x="366" y="322"/>
                </a:moveTo>
                <a:cubicBezTo>
                  <a:pt x="364" y="317"/>
                  <a:pt x="364" y="313"/>
                  <a:pt x="361" y="309"/>
                </a:cubicBezTo>
                <a:cubicBezTo>
                  <a:pt x="357" y="302"/>
                  <a:pt x="344" y="305"/>
                  <a:pt x="352" y="295"/>
                </a:cubicBezTo>
                <a:cubicBezTo>
                  <a:pt x="358" y="287"/>
                  <a:pt x="365" y="285"/>
                  <a:pt x="356" y="274"/>
                </a:cubicBezTo>
                <a:cubicBezTo>
                  <a:pt x="353" y="271"/>
                  <a:pt x="349" y="269"/>
                  <a:pt x="348" y="265"/>
                </a:cubicBezTo>
                <a:cubicBezTo>
                  <a:pt x="348" y="261"/>
                  <a:pt x="351" y="257"/>
                  <a:pt x="350" y="253"/>
                </a:cubicBezTo>
                <a:cubicBezTo>
                  <a:pt x="347" y="244"/>
                  <a:pt x="341" y="241"/>
                  <a:pt x="340" y="231"/>
                </a:cubicBezTo>
                <a:cubicBezTo>
                  <a:pt x="340" y="225"/>
                  <a:pt x="341" y="219"/>
                  <a:pt x="344" y="214"/>
                </a:cubicBezTo>
                <a:cubicBezTo>
                  <a:pt x="346" y="210"/>
                  <a:pt x="350" y="207"/>
                  <a:pt x="351" y="204"/>
                </a:cubicBezTo>
                <a:cubicBezTo>
                  <a:pt x="354" y="199"/>
                  <a:pt x="353" y="197"/>
                  <a:pt x="349" y="194"/>
                </a:cubicBezTo>
                <a:cubicBezTo>
                  <a:pt x="339" y="187"/>
                  <a:pt x="321" y="194"/>
                  <a:pt x="310" y="198"/>
                </a:cubicBezTo>
                <a:cubicBezTo>
                  <a:pt x="305" y="200"/>
                  <a:pt x="295" y="206"/>
                  <a:pt x="290" y="203"/>
                </a:cubicBezTo>
                <a:cubicBezTo>
                  <a:pt x="284" y="199"/>
                  <a:pt x="284" y="189"/>
                  <a:pt x="283" y="183"/>
                </a:cubicBezTo>
                <a:cubicBezTo>
                  <a:pt x="280" y="175"/>
                  <a:pt x="269" y="174"/>
                  <a:pt x="261" y="172"/>
                </a:cubicBezTo>
                <a:cubicBezTo>
                  <a:pt x="248" y="168"/>
                  <a:pt x="237" y="172"/>
                  <a:pt x="225" y="175"/>
                </a:cubicBezTo>
                <a:cubicBezTo>
                  <a:pt x="212" y="178"/>
                  <a:pt x="196" y="174"/>
                  <a:pt x="200" y="158"/>
                </a:cubicBezTo>
                <a:cubicBezTo>
                  <a:pt x="202" y="152"/>
                  <a:pt x="205" y="148"/>
                  <a:pt x="202" y="141"/>
                </a:cubicBezTo>
                <a:cubicBezTo>
                  <a:pt x="200" y="135"/>
                  <a:pt x="192" y="136"/>
                  <a:pt x="191" y="128"/>
                </a:cubicBezTo>
                <a:cubicBezTo>
                  <a:pt x="190" y="122"/>
                  <a:pt x="197" y="112"/>
                  <a:pt x="189" y="107"/>
                </a:cubicBezTo>
                <a:cubicBezTo>
                  <a:pt x="184" y="104"/>
                  <a:pt x="178" y="109"/>
                  <a:pt x="173" y="106"/>
                </a:cubicBezTo>
                <a:cubicBezTo>
                  <a:pt x="174" y="100"/>
                  <a:pt x="181" y="97"/>
                  <a:pt x="182" y="90"/>
                </a:cubicBezTo>
                <a:cubicBezTo>
                  <a:pt x="183" y="82"/>
                  <a:pt x="182" y="73"/>
                  <a:pt x="186" y="66"/>
                </a:cubicBezTo>
                <a:cubicBezTo>
                  <a:pt x="188" y="63"/>
                  <a:pt x="192" y="61"/>
                  <a:pt x="193" y="58"/>
                </a:cubicBezTo>
                <a:cubicBezTo>
                  <a:pt x="194" y="56"/>
                  <a:pt x="192" y="54"/>
                  <a:pt x="193" y="52"/>
                </a:cubicBezTo>
                <a:cubicBezTo>
                  <a:pt x="196" y="44"/>
                  <a:pt x="206" y="40"/>
                  <a:pt x="210" y="33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219" y="25"/>
                  <a:pt x="221" y="21"/>
                  <a:pt x="226" y="20"/>
                </a:cubicBezTo>
                <a:cubicBezTo>
                  <a:pt x="230" y="19"/>
                  <a:pt x="235" y="13"/>
                  <a:pt x="235" y="13"/>
                </a:cubicBezTo>
                <a:cubicBezTo>
                  <a:pt x="235" y="13"/>
                  <a:pt x="235" y="0"/>
                  <a:pt x="227" y="2"/>
                </a:cubicBezTo>
                <a:cubicBezTo>
                  <a:pt x="219" y="4"/>
                  <a:pt x="204" y="13"/>
                  <a:pt x="204" y="13"/>
                </a:cubicBezTo>
                <a:cubicBezTo>
                  <a:pt x="204" y="13"/>
                  <a:pt x="203" y="21"/>
                  <a:pt x="194" y="25"/>
                </a:cubicBezTo>
                <a:cubicBezTo>
                  <a:pt x="185" y="30"/>
                  <a:pt x="174" y="34"/>
                  <a:pt x="169" y="36"/>
                </a:cubicBezTo>
                <a:cubicBezTo>
                  <a:pt x="163" y="39"/>
                  <a:pt x="162" y="44"/>
                  <a:pt x="153" y="40"/>
                </a:cubicBezTo>
                <a:cubicBezTo>
                  <a:pt x="144" y="36"/>
                  <a:pt x="141" y="37"/>
                  <a:pt x="141" y="37"/>
                </a:cubicBezTo>
                <a:cubicBezTo>
                  <a:pt x="141" y="37"/>
                  <a:pt x="146" y="54"/>
                  <a:pt x="138" y="55"/>
                </a:cubicBezTo>
                <a:cubicBezTo>
                  <a:pt x="131" y="57"/>
                  <a:pt x="125" y="51"/>
                  <a:pt x="125" y="51"/>
                </a:cubicBezTo>
                <a:cubicBezTo>
                  <a:pt x="125" y="51"/>
                  <a:pt x="127" y="35"/>
                  <a:pt x="120" y="45"/>
                </a:cubicBezTo>
                <a:cubicBezTo>
                  <a:pt x="114" y="55"/>
                  <a:pt x="93" y="69"/>
                  <a:pt x="97" y="75"/>
                </a:cubicBezTo>
                <a:cubicBezTo>
                  <a:pt x="101" y="81"/>
                  <a:pt x="103" y="89"/>
                  <a:pt x="103" y="89"/>
                </a:cubicBezTo>
                <a:cubicBezTo>
                  <a:pt x="94" y="100"/>
                  <a:pt x="94" y="100"/>
                  <a:pt x="94" y="100"/>
                </a:cubicBezTo>
                <a:cubicBezTo>
                  <a:pt x="94" y="100"/>
                  <a:pt x="84" y="102"/>
                  <a:pt x="79" y="105"/>
                </a:cubicBezTo>
                <a:cubicBezTo>
                  <a:pt x="74" y="109"/>
                  <a:pt x="67" y="114"/>
                  <a:pt x="69" y="118"/>
                </a:cubicBezTo>
                <a:cubicBezTo>
                  <a:pt x="71" y="123"/>
                  <a:pt x="66" y="127"/>
                  <a:pt x="66" y="127"/>
                </a:cubicBezTo>
                <a:cubicBezTo>
                  <a:pt x="66" y="127"/>
                  <a:pt x="68" y="141"/>
                  <a:pt x="64" y="140"/>
                </a:cubicBezTo>
                <a:cubicBezTo>
                  <a:pt x="62" y="139"/>
                  <a:pt x="59" y="137"/>
                  <a:pt x="57" y="134"/>
                </a:cubicBezTo>
                <a:cubicBezTo>
                  <a:pt x="56" y="133"/>
                  <a:pt x="56" y="133"/>
                  <a:pt x="56" y="133"/>
                </a:cubicBezTo>
                <a:cubicBezTo>
                  <a:pt x="55" y="137"/>
                  <a:pt x="57" y="142"/>
                  <a:pt x="55" y="146"/>
                </a:cubicBezTo>
                <a:cubicBezTo>
                  <a:pt x="54" y="149"/>
                  <a:pt x="50" y="153"/>
                  <a:pt x="48" y="156"/>
                </a:cubicBezTo>
                <a:cubicBezTo>
                  <a:pt x="44" y="160"/>
                  <a:pt x="37" y="165"/>
                  <a:pt x="32" y="16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31" y="166"/>
                  <a:pt x="31" y="166"/>
                  <a:pt x="31" y="166"/>
                </a:cubicBezTo>
                <a:cubicBezTo>
                  <a:pt x="33" y="166"/>
                  <a:pt x="34" y="167"/>
                  <a:pt x="36" y="169"/>
                </a:cubicBezTo>
                <a:cubicBezTo>
                  <a:pt x="40" y="175"/>
                  <a:pt x="37" y="175"/>
                  <a:pt x="41" y="183"/>
                </a:cubicBezTo>
                <a:cubicBezTo>
                  <a:pt x="45" y="191"/>
                  <a:pt x="49" y="193"/>
                  <a:pt x="48" y="199"/>
                </a:cubicBezTo>
                <a:cubicBezTo>
                  <a:pt x="47" y="204"/>
                  <a:pt x="41" y="205"/>
                  <a:pt x="44" y="213"/>
                </a:cubicBezTo>
                <a:cubicBezTo>
                  <a:pt x="47" y="221"/>
                  <a:pt x="48" y="235"/>
                  <a:pt x="50" y="240"/>
                </a:cubicBezTo>
                <a:cubicBezTo>
                  <a:pt x="52" y="245"/>
                  <a:pt x="47" y="249"/>
                  <a:pt x="49" y="256"/>
                </a:cubicBezTo>
                <a:cubicBezTo>
                  <a:pt x="51" y="263"/>
                  <a:pt x="58" y="270"/>
                  <a:pt x="56" y="276"/>
                </a:cubicBezTo>
                <a:cubicBezTo>
                  <a:pt x="53" y="282"/>
                  <a:pt x="46" y="283"/>
                  <a:pt x="44" y="290"/>
                </a:cubicBezTo>
                <a:cubicBezTo>
                  <a:pt x="42" y="297"/>
                  <a:pt x="42" y="297"/>
                  <a:pt x="39" y="305"/>
                </a:cubicBezTo>
                <a:cubicBezTo>
                  <a:pt x="35" y="313"/>
                  <a:pt x="33" y="314"/>
                  <a:pt x="28" y="314"/>
                </a:cubicBezTo>
                <a:cubicBezTo>
                  <a:pt x="23" y="315"/>
                  <a:pt x="22" y="302"/>
                  <a:pt x="15" y="313"/>
                </a:cubicBezTo>
                <a:cubicBezTo>
                  <a:pt x="9" y="324"/>
                  <a:pt x="12" y="327"/>
                  <a:pt x="11" y="330"/>
                </a:cubicBezTo>
                <a:cubicBezTo>
                  <a:pt x="11" y="333"/>
                  <a:pt x="7" y="334"/>
                  <a:pt x="3" y="336"/>
                </a:cubicBezTo>
                <a:cubicBezTo>
                  <a:pt x="0" y="338"/>
                  <a:pt x="2" y="345"/>
                  <a:pt x="2" y="349"/>
                </a:cubicBezTo>
                <a:cubicBezTo>
                  <a:pt x="3" y="349"/>
                  <a:pt x="3" y="349"/>
                  <a:pt x="3" y="349"/>
                </a:cubicBezTo>
                <a:cubicBezTo>
                  <a:pt x="13" y="355"/>
                  <a:pt x="23" y="364"/>
                  <a:pt x="32" y="370"/>
                </a:cubicBezTo>
                <a:cubicBezTo>
                  <a:pt x="36" y="373"/>
                  <a:pt x="39" y="376"/>
                  <a:pt x="44" y="376"/>
                </a:cubicBezTo>
                <a:cubicBezTo>
                  <a:pt x="51" y="377"/>
                  <a:pt x="51" y="374"/>
                  <a:pt x="58" y="379"/>
                </a:cubicBezTo>
                <a:cubicBezTo>
                  <a:pt x="63" y="381"/>
                  <a:pt x="65" y="385"/>
                  <a:pt x="71" y="386"/>
                </a:cubicBezTo>
                <a:cubicBezTo>
                  <a:pt x="77" y="386"/>
                  <a:pt x="84" y="379"/>
                  <a:pt x="91" y="380"/>
                </a:cubicBezTo>
                <a:cubicBezTo>
                  <a:pt x="103" y="381"/>
                  <a:pt x="116" y="394"/>
                  <a:pt x="127" y="399"/>
                </a:cubicBezTo>
                <a:cubicBezTo>
                  <a:pt x="138" y="404"/>
                  <a:pt x="153" y="411"/>
                  <a:pt x="159" y="422"/>
                </a:cubicBezTo>
                <a:cubicBezTo>
                  <a:pt x="165" y="434"/>
                  <a:pt x="170" y="449"/>
                  <a:pt x="178" y="460"/>
                </a:cubicBezTo>
                <a:cubicBezTo>
                  <a:pt x="185" y="470"/>
                  <a:pt x="197" y="464"/>
                  <a:pt x="208" y="461"/>
                </a:cubicBezTo>
                <a:cubicBezTo>
                  <a:pt x="212" y="460"/>
                  <a:pt x="218" y="457"/>
                  <a:pt x="223" y="458"/>
                </a:cubicBezTo>
                <a:cubicBezTo>
                  <a:pt x="229" y="459"/>
                  <a:pt x="232" y="464"/>
                  <a:pt x="237" y="464"/>
                </a:cubicBezTo>
                <a:cubicBezTo>
                  <a:pt x="241" y="465"/>
                  <a:pt x="246" y="462"/>
                  <a:pt x="251" y="463"/>
                </a:cubicBezTo>
                <a:cubicBezTo>
                  <a:pt x="257" y="464"/>
                  <a:pt x="262" y="464"/>
                  <a:pt x="265" y="469"/>
                </a:cubicBezTo>
                <a:cubicBezTo>
                  <a:pt x="270" y="477"/>
                  <a:pt x="264" y="494"/>
                  <a:pt x="261" y="502"/>
                </a:cubicBezTo>
                <a:cubicBezTo>
                  <a:pt x="267" y="507"/>
                  <a:pt x="276" y="512"/>
                  <a:pt x="279" y="520"/>
                </a:cubicBezTo>
                <a:cubicBezTo>
                  <a:pt x="282" y="517"/>
                  <a:pt x="282" y="503"/>
                  <a:pt x="283" y="497"/>
                </a:cubicBezTo>
                <a:cubicBezTo>
                  <a:pt x="285" y="484"/>
                  <a:pt x="288" y="472"/>
                  <a:pt x="290" y="460"/>
                </a:cubicBezTo>
                <a:cubicBezTo>
                  <a:pt x="292" y="451"/>
                  <a:pt x="293" y="442"/>
                  <a:pt x="296" y="432"/>
                </a:cubicBezTo>
                <a:cubicBezTo>
                  <a:pt x="297" y="426"/>
                  <a:pt x="299" y="418"/>
                  <a:pt x="296" y="413"/>
                </a:cubicBezTo>
                <a:cubicBezTo>
                  <a:pt x="289" y="400"/>
                  <a:pt x="272" y="397"/>
                  <a:pt x="275" y="379"/>
                </a:cubicBezTo>
                <a:cubicBezTo>
                  <a:pt x="277" y="366"/>
                  <a:pt x="291" y="367"/>
                  <a:pt x="301" y="373"/>
                </a:cubicBezTo>
                <a:cubicBezTo>
                  <a:pt x="301" y="369"/>
                  <a:pt x="300" y="365"/>
                  <a:pt x="298" y="362"/>
                </a:cubicBezTo>
                <a:cubicBezTo>
                  <a:pt x="294" y="357"/>
                  <a:pt x="289" y="359"/>
                  <a:pt x="285" y="356"/>
                </a:cubicBezTo>
                <a:cubicBezTo>
                  <a:pt x="274" y="348"/>
                  <a:pt x="288" y="332"/>
                  <a:pt x="300" y="333"/>
                </a:cubicBezTo>
                <a:cubicBezTo>
                  <a:pt x="307" y="334"/>
                  <a:pt x="316" y="339"/>
                  <a:pt x="324" y="338"/>
                </a:cubicBezTo>
                <a:cubicBezTo>
                  <a:pt x="327" y="338"/>
                  <a:pt x="329" y="337"/>
                  <a:pt x="331" y="337"/>
                </a:cubicBezTo>
                <a:cubicBezTo>
                  <a:pt x="333" y="336"/>
                  <a:pt x="334" y="334"/>
                  <a:pt x="337" y="334"/>
                </a:cubicBezTo>
                <a:cubicBezTo>
                  <a:pt x="338" y="334"/>
                  <a:pt x="339" y="335"/>
                  <a:pt x="340" y="335"/>
                </a:cubicBezTo>
                <a:cubicBezTo>
                  <a:pt x="350" y="334"/>
                  <a:pt x="356" y="328"/>
                  <a:pt x="363" y="324"/>
                </a:cubicBezTo>
                <a:lnTo>
                  <a:pt x="366" y="3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50" name="Freeform 383"/>
          <p:cNvSpPr>
            <a:spLocks/>
          </p:cNvSpPr>
          <p:nvPr userDrawn="1"/>
        </p:nvSpPr>
        <p:spPr bwMode="auto">
          <a:xfrm>
            <a:off x="3571001" y="5160430"/>
            <a:ext cx="170860" cy="192636"/>
          </a:xfrm>
          <a:custGeom>
            <a:avLst/>
            <a:gdLst>
              <a:gd name="T0" fmla="*/ 2147483646 w 183"/>
              <a:gd name="T1" fmla="*/ 2147483646 h 206"/>
              <a:gd name="T2" fmla="*/ 2147483646 w 183"/>
              <a:gd name="T3" fmla="*/ 2147483646 h 206"/>
              <a:gd name="T4" fmla="*/ 2147483646 w 183"/>
              <a:gd name="T5" fmla="*/ 2147483646 h 206"/>
              <a:gd name="T6" fmla="*/ 2147483646 w 183"/>
              <a:gd name="T7" fmla="*/ 2147483646 h 206"/>
              <a:gd name="T8" fmla="*/ 2147483646 w 183"/>
              <a:gd name="T9" fmla="*/ 2147483646 h 206"/>
              <a:gd name="T10" fmla="*/ 2147483646 w 183"/>
              <a:gd name="T11" fmla="*/ 2147483646 h 206"/>
              <a:gd name="T12" fmla="*/ 2147483646 w 183"/>
              <a:gd name="T13" fmla="*/ 2147483646 h 206"/>
              <a:gd name="T14" fmla="*/ 2147483646 w 183"/>
              <a:gd name="T15" fmla="*/ 2147483646 h 206"/>
              <a:gd name="T16" fmla="*/ 2147483646 w 183"/>
              <a:gd name="T17" fmla="*/ 2147483646 h 206"/>
              <a:gd name="T18" fmla="*/ 2147483646 w 183"/>
              <a:gd name="T19" fmla="*/ 2147483646 h 206"/>
              <a:gd name="T20" fmla="*/ 2147483646 w 183"/>
              <a:gd name="T21" fmla="*/ 2147483646 h 206"/>
              <a:gd name="T22" fmla="*/ 2147483646 w 183"/>
              <a:gd name="T23" fmla="*/ 2147483646 h 206"/>
              <a:gd name="T24" fmla="*/ 2147483646 w 183"/>
              <a:gd name="T25" fmla="*/ 2147483646 h 206"/>
              <a:gd name="T26" fmla="*/ 2147483646 w 183"/>
              <a:gd name="T27" fmla="*/ 2147483646 h 206"/>
              <a:gd name="T28" fmla="*/ 2147483646 w 183"/>
              <a:gd name="T29" fmla="*/ 2147483646 h 206"/>
              <a:gd name="T30" fmla="*/ 2147483646 w 183"/>
              <a:gd name="T31" fmla="*/ 2147483646 h 206"/>
              <a:gd name="T32" fmla="*/ 2147483646 w 183"/>
              <a:gd name="T33" fmla="*/ 2147483646 h 206"/>
              <a:gd name="T34" fmla="*/ 2147483646 w 183"/>
              <a:gd name="T35" fmla="*/ 2147483646 h 206"/>
              <a:gd name="T36" fmla="*/ 2147483646 w 183"/>
              <a:gd name="T37" fmla="*/ 2147483646 h 206"/>
              <a:gd name="T38" fmla="*/ 2147483646 w 183"/>
              <a:gd name="T39" fmla="*/ 2147483646 h 206"/>
              <a:gd name="T40" fmla="*/ 2147483646 w 183"/>
              <a:gd name="T41" fmla="*/ 0 h 206"/>
              <a:gd name="T42" fmla="*/ 2147483646 w 183"/>
              <a:gd name="T43" fmla="*/ 2147483646 h 206"/>
              <a:gd name="T44" fmla="*/ 2147483646 w 183"/>
              <a:gd name="T45" fmla="*/ 2147483646 h 206"/>
              <a:gd name="T46" fmla="*/ 2147483646 w 183"/>
              <a:gd name="T47" fmla="*/ 2147483646 h 206"/>
              <a:gd name="T48" fmla="*/ 2147483646 w 183"/>
              <a:gd name="T49" fmla="*/ 2147483646 h 206"/>
              <a:gd name="T50" fmla="*/ 2147483646 w 183"/>
              <a:gd name="T51" fmla="*/ 2147483646 h 206"/>
              <a:gd name="T52" fmla="*/ 2147483646 w 183"/>
              <a:gd name="T53" fmla="*/ 2147483646 h 206"/>
              <a:gd name="T54" fmla="*/ 2147483646 w 183"/>
              <a:gd name="T55" fmla="*/ 2147483646 h 206"/>
              <a:gd name="T56" fmla="*/ 2147483646 w 183"/>
              <a:gd name="T57" fmla="*/ 2147483646 h 206"/>
              <a:gd name="T58" fmla="*/ 2147483646 w 183"/>
              <a:gd name="T59" fmla="*/ 2147483646 h 206"/>
              <a:gd name="T60" fmla="*/ 2147483646 w 183"/>
              <a:gd name="T61" fmla="*/ 2147483646 h 206"/>
              <a:gd name="T62" fmla="*/ 2147483646 w 183"/>
              <a:gd name="T63" fmla="*/ 2147483646 h 206"/>
              <a:gd name="T64" fmla="*/ 2147483646 w 183"/>
              <a:gd name="T65" fmla="*/ 2147483646 h 206"/>
              <a:gd name="T66" fmla="*/ 2147483646 w 183"/>
              <a:gd name="T67" fmla="*/ 2147483646 h 206"/>
              <a:gd name="T68" fmla="*/ 2147483646 w 183"/>
              <a:gd name="T69" fmla="*/ 2147483646 h 206"/>
              <a:gd name="T70" fmla="*/ 2147483646 w 183"/>
              <a:gd name="T71" fmla="*/ 2147483646 h 206"/>
              <a:gd name="T72" fmla="*/ 2147483646 w 183"/>
              <a:gd name="T73" fmla="*/ 2147483646 h 20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83"/>
              <a:gd name="T112" fmla="*/ 0 h 206"/>
              <a:gd name="T113" fmla="*/ 183 w 183"/>
              <a:gd name="T114" fmla="*/ 206 h 20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83" h="206">
                <a:moveTo>
                  <a:pt x="14" y="153"/>
                </a:moveTo>
                <a:cubicBezTo>
                  <a:pt x="15" y="156"/>
                  <a:pt x="16" y="159"/>
                  <a:pt x="15" y="162"/>
                </a:cubicBezTo>
                <a:cubicBezTo>
                  <a:pt x="13" y="168"/>
                  <a:pt x="6" y="175"/>
                  <a:pt x="10" y="180"/>
                </a:cubicBezTo>
                <a:cubicBezTo>
                  <a:pt x="12" y="182"/>
                  <a:pt x="20" y="184"/>
                  <a:pt x="23" y="184"/>
                </a:cubicBezTo>
                <a:cubicBezTo>
                  <a:pt x="27" y="185"/>
                  <a:pt x="33" y="182"/>
                  <a:pt x="36" y="183"/>
                </a:cubicBezTo>
                <a:cubicBezTo>
                  <a:pt x="40" y="184"/>
                  <a:pt x="41" y="187"/>
                  <a:pt x="44" y="191"/>
                </a:cubicBezTo>
                <a:cubicBezTo>
                  <a:pt x="51" y="200"/>
                  <a:pt x="56" y="206"/>
                  <a:pt x="65" y="195"/>
                </a:cubicBezTo>
                <a:cubicBezTo>
                  <a:pt x="74" y="184"/>
                  <a:pt x="80" y="169"/>
                  <a:pt x="86" y="156"/>
                </a:cubicBezTo>
                <a:cubicBezTo>
                  <a:pt x="92" y="143"/>
                  <a:pt x="95" y="145"/>
                  <a:pt x="108" y="143"/>
                </a:cubicBezTo>
                <a:cubicBezTo>
                  <a:pt x="122" y="140"/>
                  <a:pt x="135" y="129"/>
                  <a:pt x="146" y="119"/>
                </a:cubicBezTo>
                <a:cubicBezTo>
                  <a:pt x="158" y="109"/>
                  <a:pt x="168" y="95"/>
                  <a:pt x="176" y="81"/>
                </a:cubicBezTo>
                <a:cubicBezTo>
                  <a:pt x="180" y="74"/>
                  <a:pt x="183" y="70"/>
                  <a:pt x="182" y="63"/>
                </a:cubicBezTo>
                <a:cubicBezTo>
                  <a:pt x="181" y="55"/>
                  <a:pt x="176" y="44"/>
                  <a:pt x="170" y="39"/>
                </a:cubicBezTo>
                <a:cubicBezTo>
                  <a:pt x="165" y="34"/>
                  <a:pt x="165" y="34"/>
                  <a:pt x="165" y="34"/>
                </a:cubicBezTo>
                <a:cubicBezTo>
                  <a:pt x="162" y="32"/>
                  <a:pt x="159" y="31"/>
                  <a:pt x="156" y="31"/>
                </a:cubicBezTo>
                <a:cubicBezTo>
                  <a:pt x="149" y="30"/>
                  <a:pt x="142" y="37"/>
                  <a:pt x="136" y="36"/>
                </a:cubicBezTo>
                <a:cubicBezTo>
                  <a:pt x="130" y="36"/>
                  <a:pt x="128" y="32"/>
                  <a:pt x="123" y="30"/>
                </a:cubicBezTo>
                <a:cubicBezTo>
                  <a:pt x="116" y="25"/>
                  <a:pt x="116" y="28"/>
                  <a:pt x="109" y="27"/>
                </a:cubicBezTo>
                <a:cubicBezTo>
                  <a:pt x="104" y="27"/>
                  <a:pt x="101" y="24"/>
                  <a:pt x="97" y="21"/>
                </a:cubicBezTo>
                <a:cubicBezTo>
                  <a:pt x="88" y="15"/>
                  <a:pt x="79" y="6"/>
                  <a:pt x="69" y="1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1"/>
                  <a:pt x="67" y="1"/>
                  <a:pt x="66" y="2"/>
                </a:cubicBezTo>
                <a:cubicBezTo>
                  <a:pt x="64" y="5"/>
                  <a:pt x="52" y="9"/>
                  <a:pt x="50" y="9"/>
                </a:cubicBezTo>
                <a:cubicBezTo>
                  <a:pt x="49" y="9"/>
                  <a:pt x="46" y="7"/>
                  <a:pt x="40" y="10"/>
                </a:cubicBezTo>
                <a:cubicBezTo>
                  <a:pt x="34" y="14"/>
                  <a:pt x="29" y="26"/>
                  <a:pt x="30" y="32"/>
                </a:cubicBezTo>
                <a:cubicBezTo>
                  <a:pt x="31" y="37"/>
                  <a:pt x="29" y="50"/>
                  <a:pt x="25" y="51"/>
                </a:cubicBezTo>
                <a:cubicBezTo>
                  <a:pt x="22" y="52"/>
                  <a:pt x="14" y="51"/>
                  <a:pt x="13" y="56"/>
                </a:cubicBezTo>
                <a:cubicBezTo>
                  <a:pt x="11" y="62"/>
                  <a:pt x="11" y="75"/>
                  <a:pt x="11" y="79"/>
                </a:cubicBezTo>
                <a:cubicBezTo>
                  <a:pt x="12" y="83"/>
                  <a:pt x="7" y="89"/>
                  <a:pt x="6" y="92"/>
                </a:cubicBezTo>
                <a:cubicBezTo>
                  <a:pt x="5" y="94"/>
                  <a:pt x="7" y="102"/>
                  <a:pt x="6" y="104"/>
                </a:cubicBezTo>
                <a:cubicBezTo>
                  <a:pt x="5" y="107"/>
                  <a:pt x="0" y="112"/>
                  <a:pt x="5" y="114"/>
                </a:cubicBezTo>
                <a:cubicBezTo>
                  <a:pt x="9" y="115"/>
                  <a:pt x="13" y="114"/>
                  <a:pt x="18" y="115"/>
                </a:cubicBezTo>
                <a:cubicBezTo>
                  <a:pt x="22" y="116"/>
                  <a:pt x="35" y="100"/>
                  <a:pt x="37" y="108"/>
                </a:cubicBezTo>
                <a:cubicBezTo>
                  <a:pt x="39" y="117"/>
                  <a:pt x="36" y="118"/>
                  <a:pt x="36" y="125"/>
                </a:cubicBezTo>
                <a:cubicBezTo>
                  <a:pt x="35" y="131"/>
                  <a:pt x="30" y="140"/>
                  <a:pt x="27" y="143"/>
                </a:cubicBezTo>
                <a:cubicBezTo>
                  <a:pt x="24" y="147"/>
                  <a:pt x="15" y="147"/>
                  <a:pt x="14" y="151"/>
                </a:cubicBezTo>
                <a:lnTo>
                  <a:pt x="14" y="15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51" name="Freeform 384"/>
          <p:cNvSpPr>
            <a:spLocks/>
          </p:cNvSpPr>
          <p:nvPr userDrawn="1"/>
        </p:nvSpPr>
        <p:spPr bwMode="auto">
          <a:xfrm>
            <a:off x="3554250" y="5193932"/>
            <a:ext cx="371871" cy="531005"/>
          </a:xfrm>
          <a:custGeom>
            <a:avLst/>
            <a:gdLst>
              <a:gd name="T0" fmla="*/ 2147483646 w 400"/>
              <a:gd name="T1" fmla="*/ 2147483646 h 569"/>
              <a:gd name="T2" fmla="*/ 2147483646 w 400"/>
              <a:gd name="T3" fmla="*/ 2147483646 h 569"/>
              <a:gd name="T4" fmla="*/ 2147483646 w 400"/>
              <a:gd name="T5" fmla="*/ 2147483646 h 569"/>
              <a:gd name="T6" fmla="*/ 2147483646 w 400"/>
              <a:gd name="T7" fmla="*/ 2147483646 h 569"/>
              <a:gd name="T8" fmla="*/ 2147483646 w 400"/>
              <a:gd name="T9" fmla="*/ 2147483646 h 569"/>
              <a:gd name="T10" fmla="*/ 2147483646 w 400"/>
              <a:gd name="T11" fmla="*/ 2147483646 h 569"/>
              <a:gd name="T12" fmla="*/ 2147483646 w 400"/>
              <a:gd name="T13" fmla="*/ 2147483646 h 569"/>
              <a:gd name="T14" fmla="*/ 2147483646 w 400"/>
              <a:gd name="T15" fmla="*/ 2147483646 h 569"/>
              <a:gd name="T16" fmla="*/ 2147483646 w 400"/>
              <a:gd name="T17" fmla="*/ 2147483646 h 569"/>
              <a:gd name="T18" fmla="*/ 2147483646 w 400"/>
              <a:gd name="T19" fmla="*/ 2147483646 h 569"/>
              <a:gd name="T20" fmla="*/ 2147483646 w 400"/>
              <a:gd name="T21" fmla="*/ 2147483646 h 569"/>
              <a:gd name="T22" fmla="*/ 2147483646 w 400"/>
              <a:gd name="T23" fmla="*/ 2147483646 h 569"/>
              <a:gd name="T24" fmla="*/ 2147483646 w 400"/>
              <a:gd name="T25" fmla="*/ 2147483646 h 569"/>
              <a:gd name="T26" fmla="*/ 2147483646 w 400"/>
              <a:gd name="T27" fmla="*/ 2147483646 h 569"/>
              <a:gd name="T28" fmla="*/ 2147483646 w 400"/>
              <a:gd name="T29" fmla="*/ 2147483646 h 569"/>
              <a:gd name="T30" fmla="*/ 2147483646 w 400"/>
              <a:gd name="T31" fmla="*/ 2147483646 h 569"/>
              <a:gd name="T32" fmla="*/ 2147483646 w 400"/>
              <a:gd name="T33" fmla="*/ 2147483646 h 569"/>
              <a:gd name="T34" fmla="*/ 2147483646 w 400"/>
              <a:gd name="T35" fmla="*/ 2147483646 h 569"/>
              <a:gd name="T36" fmla="*/ 2147483646 w 400"/>
              <a:gd name="T37" fmla="*/ 2147483646 h 569"/>
              <a:gd name="T38" fmla="*/ 2147483646 w 400"/>
              <a:gd name="T39" fmla="*/ 2147483646 h 569"/>
              <a:gd name="T40" fmla="*/ 2147483646 w 400"/>
              <a:gd name="T41" fmla="*/ 2147483646 h 569"/>
              <a:gd name="T42" fmla="*/ 2147483646 w 400"/>
              <a:gd name="T43" fmla="*/ 2147483646 h 569"/>
              <a:gd name="T44" fmla="*/ 2147483646 w 400"/>
              <a:gd name="T45" fmla="*/ 2147483646 h 569"/>
              <a:gd name="T46" fmla="*/ 2147483646 w 400"/>
              <a:gd name="T47" fmla="*/ 2147483646 h 569"/>
              <a:gd name="T48" fmla="*/ 2147483646 w 400"/>
              <a:gd name="T49" fmla="*/ 2147483646 h 569"/>
              <a:gd name="T50" fmla="*/ 2147483646 w 400"/>
              <a:gd name="T51" fmla="*/ 2147483646 h 569"/>
              <a:gd name="T52" fmla="*/ 2147483646 w 400"/>
              <a:gd name="T53" fmla="*/ 2147483646 h 569"/>
              <a:gd name="T54" fmla="*/ 2147483646 w 400"/>
              <a:gd name="T55" fmla="*/ 2147483646 h 569"/>
              <a:gd name="T56" fmla="*/ 2147483646 w 400"/>
              <a:gd name="T57" fmla="*/ 2147483646 h 569"/>
              <a:gd name="T58" fmla="*/ 2147483646 w 400"/>
              <a:gd name="T59" fmla="*/ 2147483646 h 569"/>
              <a:gd name="T60" fmla="*/ 2147483646 w 400"/>
              <a:gd name="T61" fmla="*/ 2147483646 h 569"/>
              <a:gd name="T62" fmla="*/ 2147483646 w 400"/>
              <a:gd name="T63" fmla="*/ 2147483646 h 569"/>
              <a:gd name="T64" fmla="*/ 2147483646 w 400"/>
              <a:gd name="T65" fmla="*/ 2147483646 h 569"/>
              <a:gd name="T66" fmla="*/ 2147483646 w 400"/>
              <a:gd name="T67" fmla="*/ 2147483646 h 56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00"/>
              <a:gd name="T103" fmla="*/ 0 h 569"/>
              <a:gd name="T104" fmla="*/ 400 w 400"/>
              <a:gd name="T105" fmla="*/ 569 h 56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00" h="569">
                <a:moveTo>
                  <a:pt x="349" y="565"/>
                </a:moveTo>
                <a:cubicBezTo>
                  <a:pt x="349" y="567"/>
                  <a:pt x="348" y="569"/>
                  <a:pt x="336" y="564"/>
                </a:cubicBezTo>
                <a:cubicBezTo>
                  <a:pt x="320" y="557"/>
                  <a:pt x="323" y="553"/>
                  <a:pt x="316" y="538"/>
                </a:cubicBezTo>
                <a:cubicBezTo>
                  <a:pt x="309" y="524"/>
                  <a:pt x="296" y="526"/>
                  <a:pt x="279" y="516"/>
                </a:cubicBezTo>
                <a:cubicBezTo>
                  <a:pt x="263" y="507"/>
                  <a:pt x="226" y="500"/>
                  <a:pt x="219" y="493"/>
                </a:cubicBezTo>
                <a:cubicBezTo>
                  <a:pt x="212" y="485"/>
                  <a:pt x="201" y="482"/>
                  <a:pt x="193" y="476"/>
                </a:cubicBezTo>
                <a:cubicBezTo>
                  <a:pt x="186" y="471"/>
                  <a:pt x="162" y="423"/>
                  <a:pt x="162" y="407"/>
                </a:cubicBezTo>
                <a:cubicBezTo>
                  <a:pt x="162" y="390"/>
                  <a:pt x="146" y="383"/>
                  <a:pt x="139" y="374"/>
                </a:cubicBezTo>
                <a:cubicBezTo>
                  <a:pt x="131" y="364"/>
                  <a:pt x="115" y="335"/>
                  <a:pt x="115" y="335"/>
                </a:cubicBezTo>
                <a:cubicBezTo>
                  <a:pt x="115" y="335"/>
                  <a:pt x="73" y="258"/>
                  <a:pt x="65" y="251"/>
                </a:cubicBezTo>
                <a:cubicBezTo>
                  <a:pt x="58" y="244"/>
                  <a:pt x="53" y="225"/>
                  <a:pt x="47" y="218"/>
                </a:cubicBezTo>
                <a:cubicBezTo>
                  <a:pt x="42" y="211"/>
                  <a:pt x="20" y="203"/>
                  <a:pt x="11" y="200"/>
                </a:cubicBezTo>
                <a:cubicBezTo>
                  <a:pt x="1" y="196"/>
                  <a:pt x="14" y="191"/>
                  <a:pt x="22" y="187"/>
                </a:cubicBezTo>
                <a:cubicBezTo>
                  <a:pt x="29" y="183"/>
                  <a:pt x="11" y="161"/>
                  <a:pt x="5" y="156"/>
                </a:cubicBezTo>
                <a:cubicBezTo>
                  <a:pt x="0" y="150"/>
                  <a:pt x="0" y="134"/>
                  <a:pt x="13" y="130"/>
                </a:cubicBezTo>
                <a:cubicBezTo>
                  <a:pt x="24" y="127"/>
                  <a:pt x="30" y="122"/>
                  <a:pt x="32" y="118"/>
                </a:cubicBezTo>
                <a:cubicBezTo>
                  <a:pt x="33" y="117"/>
                  <a:pt x="33" y="117"/>
                  <a:pt x="33" y="117"/>
                </a:cubicBezTo>
                <a:cubicBezTo>
                  <a:pt x="33" y="119"/>
                  <a:pt x="33" y="119"/>
                  <a:pt x="33" y="119"/>
                </a:cubicBezTo>
                <a:cubicBezTo>
                  <a:pt x="34" y="122"/>
                  <a:pt x="33" y="124"/>
                  <a:pt x="33" y="127"/>
                </a:cubicBezTo>
                <a:cubicBezTo>
                  <a:pt x="31" y="132"/>
                  <a:pt x="24" y="139"/>
                  <a:pt x="29" y="145"/>
                </a:cubicBezTo>
                <a:cubicBezTo>
                  <a:pt x="30" y="147"/>
                  <a:pt x="38" y="148"/>
                  <a:pt x="41" y="149"/>
                </a:cubicBezTo>
                <a:cubicBezTo>
                  <a:pt x="45" y="149"/>
                  <a:pt x="51" y="146"/>
                  <a:pt x="54" y="147"/>
                </a:cubicBezTo>
                <a:cubicBezTo>
                  <a:pt x="58" y="148"/>
                  <a:pt x="59" y="151"/>
                  <a:pt x="62" y="155"/>
                </a:cubicBezTo>
                <a:cubicBezTo>
                  <a:pt x="69" y="164"/>
                  <a:pt x="75" y="170"/>
                  <a:pt x="83" y="159"/>
                </a:cubicBezTo>
                <a:cubicBezTo>
                  <a:pt x="92" y="148"/>
                  <a:pt x="98" y="133"/>
                  <a:pt x="104" y="121"/>
                </a:cubicBezTo>
                <a:cubicBezTo>
                  <a:pt x="111" y="108"/>
                  <a:pt x="113" y="110"/>
                  <a:pt x="126" y="107"/>
                </a:cubicBezTo>
                <a:cubicBezTo>
                  <a:pt x="141" y="104"/>
                  <a:pt x="154" y="93"/>
                  <a:pt x="164" y="84"/>
                </a:cubicBezTo>
                <a:cubicBezTo>
                  <a:pt x="176" y="73"/>
                  <a:pt x="186" y="59"/>
                  <a:pt x="194" y="45"/>
                </a:cubicBezTo>
                <a:cubicBezTo>
                  <a:pt x="198" y="38"/>
                  <a:pt x="201" y="35"/>
                  <a:pt x="200" y="27"/>
                </a:cubicBezTo>
                <a:cubicBezTo>
                  <a:pt x="199" y="19"/>
                  <a:pt x="194" y="9"/>
                  <a:pt x="189" y="3"/>
                </a:cubicBezTo>
                <a:cubicBezTo>
                  <a:pt x="187" y="0"/>
                  <a:pt x="187" y="0"/>
                  <a:pt x="187" y="0"/>
                </a:cubicBezTo>
                <a:cubicBezTo>
                  <a:pt x="195" y="5"/>
                  <a:pt x="203" y="11"/>
                  <a:pt x="210" y="14"/>
                </a:cubicBezTo>
                <a:cubicBezTo>
                  <a:pt x="221" y="19"/>
                  <a:pt x="236" y="26"/>
                  <a:pt x="242" y="38"/>
                </a:cubicBezTo>
                <a:cubicBezTo>
                  <a:pt x="249" y="50"/>
                  <a:pt x="253" y="64"/>
                  <a:pt x="261" y="75"/>
                </a:cubicBezTo>
                <a:cubicBezTo>
                  <a:pt x="268" y="86"/>
                  <a:pt x="280" y="80"/>
                  <a:pt x="291" y="77"/>
                </a:cubicBezTo>
                <a:cubicBezTo>
                  <a:pt x="295" y="75"/>
                  <a:pt x="301" y="73"/>
                  <a:pt x="306" y="73"/>
                </a:cubicBezTo>
                <a:cubicBezTo>
                  <a:pt x="312" y="74"/>
                  <a:pt x="315" y="79"/>
                  <a:pt x="320" y="80"/>
                </a:cubicBezTo>
                <a:cubicBezTo>
                  <a:pt x="325" y="80"/>
                  <a:pt x="329" y="78"/>
                  <a:pt x="334" y="78"/>
                </a:cubicBezTo>
                <a:cubicBezTo>
                  <a:pt x="340" y="79"/>
                  <a:pt x="345" y="79"/>
                  <a:pt x="349" y="85"/>
                </a:cubicBezTo>
                <a:cubicBezTo>
                  <a:pt x="353" y="93"/>
                  <a:pt x="347" y="109"/>
                  <a:pt x="344" y="117"/>
                </a:cubicBezTo>
                <a:cubicBezTo>
                  <a:pt x="349" y="122"/>
                  <a:pt x="357" y="126"/>
                  <a:pt x="360" y="132"/>
                </a:cubicBezTo>
                <a:cubicBezTo>
                  <a:pt x="358" y="134"/>
                  <a:pt x="358" y="134"/>
                  <a:pt x="358" y="134"/>
                </a:cubicBezTo>
                <a:cubicBezTo>
                  <a:pt x="354" y="138"/>
                  <a:pt x="349" y="134"/>
                  <a:pt x="344" y="135"/>
                </a:cubicBezTo>
                <a:cubicBezTo>
                  <a:pt x="336" y="135"/>
                  <a:pt x="327" y="140"/>
                  <a:pt x="321" y="143"/>
                </a:cubicBezTo>
                <a:cubicBezTo>
                  <a:pt x="315" y="145"/>
                  <a:pt x="310" y="149"/>
                  <a:pt x="305" y="152"/>
                </a:cubicBezTo>
                <a:cubicBezTo>
                  <a:pt x="296" y="157"/>
                  <a:pt x="288" y="161"/>
                  <a:pt x="279" y="167"/>
                </a:cubicBezTo>
                <a:cubicBezTo>
                  <a:pt x="273" y="173"/>
                  <a:pt x="264" y="178"/>
                  <a:pt x="260" y="185"/>
                </a:cubicBezTo>
                <a:cubicBezTo>
                  <a:pt x="256" y="192"/>
                  <a:pt x="258" y="194"/>
                  <a:pt x="259" y="200"/>
                </a:cubicBezTo>
                <a:cubicBezTo>
                  <a:pt x="260" y="202"/>
                  <a:pt x="261" y="211"/>
                  <a:pt x="259" y="213"/>
                </a:cubicBezTo>
                <a:cubicBezTo>
                  <a:pt x="257" y="217"/>
                  <a:pt x="247" y="221"/>
                  <a:pt x="243" y="226"/>
                </a:cubicBezTo>
                <a:cubicBezTo>
                  <a:pt x="234" y="239"/>
                  <a:pt x="245" y="255"/>
                  <a:pt x="252" y="268"/>
                </a:cubicBezTo>
                <a:cubicBezTo>
                  <a:pt x="256" y="274"/>
                  <a:pt x="262" y="280"/>
                  <a:pt x="265" y="287"/>
                </a:cubicBezTo>
                <a:cubicBezTo>
                  <a:pt x="268" y="292"/>
                  <a:pt x="266" y="299"/>
                  <a:pt x="274" y="299"/>
                </a:cubicBezTo>
                <a:cubicBezTo>
                  <a:pt x="277" y="299"/>
                  <a:pt x="278" y="295"/>
                  <a:pt x="281" y="296"/>
                </a:cubicBezTo>
                <a:cubicBezTo>
                  <a:pt x="285" y="296"/>
                  <a:pt x="288" y="301"/>
                  <a:pt x="290" y="303"/>
                </a:cubicBezTo>
                <a:cubicBezTo>
                  <a:pt x="294" y="310"/>
                  <a:pt x="293" y="314"/>
                  <a:pt x="302" y="314"/>
                </a:cubicBezTo>
                <a:cubicBezTo>
                  <a:pt x="319" y="314"/>
                  <a:pt x="329" y="297"/>
                  <a:pt x="343" y="291"/>
                </a:cubicBezTo>
                <a:cubicBezTo>
                  <a:pt x="344" y="305"/>
                  <a:pt x="338" y="332"/>
                  <a:pt x="346" y="344"/>
                </a:cubicBezTo>
                <a:cubicBezTo>
                  <a:pt x="348" y="347"/>
                  <a:pt x="354" y="351"/>
                  <a:pt x="358" y="352"/>
                </a:cubicBezTo>
                <a:cubicBezTo>
                  <a:pt x="366" y="354"/>
                  <a:pt x="369" y="348"/>
                  <a:pt x="376" y="352"/>
                </a:cubicBezTo>
                <a:cubicBezTo>
                  <a:pt x="381" y="355"/>
                  <a:pt x="383" y="361"/>
                  <a:pt x="386" y="365"/>
                </a:cubicBezTo>
                <a:cubicBezTo>
                  <a:pt x="389" y="372"/>
                  <a:pt x="395" y="379"/>
                  <a:pt x="397" y="385"/>
                </a:cubicBezTo>
                <a:cubicBezTo>
                  <a:pt x="400" y="395"/>
                  <a:pt x="391" y="414"/>
                  <a:pt x="389" y="426"/>
                </a:cubicBezTo>
                <a:cubicBezTo>
                  <a:pt x="388" y="438"/>
                  <a:pt x="391" y="451"/>
                  <a:pt x="387" y="462"/>
                </a:cubicBezTo>
                <a:cubicBezTo>
                  <a:pt x="384" y="472"/>
                  <a:pt x="376" y="481"/>
                  <a:pt x="383" y="489"/>
                </a:cubicBezTo>
                <a:cubicBezTo>
                  <a:pt x="390" y="497"/>
                  <a:pt x="396" y="500"/>
                  <a:pt x="389" y="511"/>
                </a:cubicBezTo>
                <a:cubicBezTo>
                  <a:pt x="383" y="520"/>
                  <a:pt x="378" y="529"/>
                  <a:pt x="374" y="539"/>
                </a:cubicBezTo>
                <a:cubicBezTo>
                  <a:pt x="371" y="547"/>
                  <a:pt x="360" y="564"/>
                  <a:pt x="350" y="565"/>
                </a:cubicBezTo>
                <a:lnTo>
                  <a:pt x="349" y="56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52" name="Freeform 385"/>
          <p:cNvSpPr>
            <a:spLocks/>
          </p:cNvSpPr>
          <p:nvPr userDrawn="1"/>
        </p:nvSpPr>
        <p:spPr bwMode="auto">
          <a:xfrm>
            <a:off x="3875867" y="5470323"/>
            <a:ext cx="361820" cy="376895"/>
          </a:xfrm>
          <a:custGeom>
            <a:avLst/>
            <a:gdLst>
              <a:gd name="T0" fmla="*/ 2147483646 w 389"/>
              <a:gd name="T1" fmla="*/ 2147483646 h 404"/>
              <a:gd name="T2" fmla="*/ 2147483646 w 389"/>
              <a:gd name="T3" fmla="*/ 2147483646 h 404"/>
              <a:gd name="T4" fmla="*/ 2147483646 w 389"/>
              <a:gd name="T5" fmla="*/ 2147483646 h 404"/>
              <a:gd name="T6" fmla="*/ 2147483646 w 389"/>
              <a:gd name="T7" fmla="*/ 2147483646 h 404"/>
              <a:gd name="T8" fmla="*/ 2147483646 w 389"/>
              <a:gd name="T9" fmla="*/ 2147483646 h 404"/>
              <a:gd name="T10" fmla="*/ 2147483646 w 389"/>
              <a:gd name="T11" fmla="*/ 2147483646 h 404"/>
              <a:gd name="T12" fmla="*/ 2147483646 w 389"/>
              <a:gd name="T13" fmla="*/ 2147483646 h 404"/>
              <a:gd name="T14" fmla="*/ 2147483646 w 389"/>
              <a:gd name="T15" fmla="*/ 2147483646 h 404"/>
              <a:gd name="T16" fmla="*/ 2147483646 w 389"/>
              <a:gd name="T17" fmla="*/ 2147483646 h 404"/>
              <a:gd name="T18" fmla="*/ 2147483646 w 389"/>
              <a:gd name="T19" fmla="*/ 2147483646 h 404"/>
              <a:gd name="T20" fmla="*/ 2147483646 w 389"/>
              <a:gd name="T21" fmla="*/ 2147483646 h 404"/>
              <a:gd name="T22" fmla="*/ 2147483646 w 389"/>
              <a:gd name="T23" fmla="*/ 2147483646 h 404"/>
              <a:gd name="T24" fmla="*/ 2147483646 w 389"/>
              <a:gd name="T25" fmla="*/ 2147483646 h 404"/>
              <a:gd name="T26" fmla="*/ 2147483646 w 389"/>
              <a:gd name="T27" fmla="*/ 2147483646 h 404"/>
              <a:gd name="T28" fmla="*/ 2147483646 w 389"/>
              <a:gd name="T29" fmla="*/ 2147483646 h 404"/>
              <a:gd name="T30" fmla="*/ 2147483646 w 389"/>
              <a:gd name="T31" fmla="*/ 2147483646 h 404"/>
              <a:gd name="T32" fmla="*/ 2147483646 w 389"/>
              <a:gd name="T33" fmla="*/ 2147483646 h 404"/>
              <a:gd name="T34" fmla="*/ 2147483646 w 389"/>
              <a:gd name="T35" fmla="*/ 2147483646 h 404"/>
              <a:gd name="T36" fmla="*/ 2147483646 w 389"/>
              <a:gd name="T37" fmla="*/ 2147483646 h 404"/>
              <a:gd name="T38" fmla="*/ 2147483646 w 389"/>
              <a:gd name="T39" fmla="*/ 2147483646 h 404"/>
              <a:gd name="T40" fmla="*/ 2147483646 w 389"/>
              <a:gd name="T41" fmla="*/ 2147483646 h 404"/>
              <a:gd name="T42" fmla="*/ 2147483646 w 389"/>
              <a:gd name="T43" fmla="*/ 2147483646 h 404"/>
              <a:gd name="T44" fmla="*/ 2147483646 w 389"/>
              <a:gd name="T45" fmla="*/ 2147483646 h 404"/>
              <a:gd name="T46" fmla="*/ 2147483646 w 389"/>
              <a:gd name="T47" fmla="*/ 2147483646 h 404"/>
              <a:gd name="T48" fmla="*/ 2147483646 w 389"/>
              <a:gd name="T49" fmla="*/ 2147483646 h 404"/>
              <a:gd name="T50" fmla="*/ 2147483646 w 389"/>
              <a:gd name="T51" fmla="*/ 2147483646 h 404"/>
              <a:gd name="T52" fmla="*/ 2147483646 w 389"/>
              <a:gd name="T53" fmla="*/ 2147483646 h 404"/>
              <a:gd name="T54" fmla="*/ 2147483646 w 389"/>
              <a:gd name="T55" fmla="*/ 2147483646 h 404"/>
              <a:gd name="T56" fmla="*/ 2147483646 w 389"/>
              <a:gd name="T57" fmla="*/ 2147483646 h 404"/>
              <a:gd name="T58" fmla="*/ 2147483646 w 389"/>
              <a:gd name="T59" fmla="*/ 2147483646 h 404"/>
              <a:gd name="T60" fmla="*/ 2147483646 w 389"/>
              <a:gd name="T61" fmla="*/ 2147483646 h 404"/>
              <a:gd name="T62" fmla="*/ 2147483646 w 389"/>
              <a:gd name="T63" fmla="*/ 2147483646 h 404"/>
              <a:gd name="T64" fmla="*/ 2147483646 w 389"/>
              <a:gd name="T65" fmla="*/ 2147483646 h 404"/>
              <a:gd name="T66" fmla="*/ 2147483646 w 389"/>
              <a:gd name="T67" fmla="*/ 2147483646 h 404"/>
              <a:gd name="T68" fmla="*/ 2147483646 w 389"/>
              <a:gd name="T69" fmla="*/ 2147483646 h 404"/>
              <a:gd name="T70" fmla="*/ 2147483646 w 389"/>
              <a:gd name="T71" fmla="*/ 2147483646 h 404"/>
              <a:gd name="T72" fmla="*/ 2147483646 w 389"/>
              <a:gd name="T73" fmla="*/ 2147483646 h 404"/>
              <a:gd name="T74" fmla="*/ 2147483646 w 389"/>
              <a:gd name="T75" fmla="*/ 2147483646 h 404"/>
              <a:gd name="T76" fmla="*/ 2147483646 w 389"/>
              <a:gd name="T77" fmla="*/ 2147483646 h 404"/>
              <a:gd name="T78" fmla="*/ 2147483646 w 389"/>
              <a:gd name="T79" fmla="*/ 2147483646 h 404"/>
              <a:gd name="T80" fmla="*/ 2147483646 w 389"/>
              <a:gd name="T81" fmla="*/ 2147483646 h 404"/>
              <a:gd name="T82" fmla="*/ 2147483646 w 389"/>
              <a:gd name="T83" fmla="*/ 2147483646 h 404"/>
              <a:gd name="T84" fmla="*/ 2147483646 w 389"/>
              <a:gd name="T85" fmla="*/ 2147483646 h 404"/>
              <a:gd name="T86" fmla="*/ 2147483646 w 389"/>
              <a:gd name="T87" fmla="*/ 2147483646 h 404"/>
              <a:gd name="T88" fmla="*/ 2147483646 w 389"/>
              <a:gd name="T89" fmla="*/ 2147483646 h 404"/>
              <a:gd name="T90" fmla="*/ 2147483646 w 389"/>
              <a:gd name="T91" fmla="*/ 2147483646 h 404"/>
              <a:gd name="T92" fmla="*/ 0 w 389"/>
              <a:gd name="T93" fmla="*/ 2147483646 h 404"/>
              <a:gd name="T94" fmla="*/ 2147483646 w 389"/>
              <a:gd name="T95" fmla="*/ 2147483646 h 404"/>
              <a:gd name="T96" fmla="*/ 2147483646 w 389"/>
              <a:gd name="T97" fmla="*/ 2147483646 h 404"/>
              <a:gd name="T98" fmla="*/ 2147483646 w 389"/>
              <a:gd name="T99" fmla="*/ 2147483646 h 404"/>
              <a:gd name="T100" fmla="*/ 2147483646 w 389"/>
              <a:gd name="T101" fmla="*/ 2147483646 h 404"/>
              <a:gd name="T102" fmla="*/ 2147483646 w 389"/>
              <a:gd name="T103" fmla="*/ 2147483646 h 404"/>
              <a:gd name="T104" fmla="*/ 2147483646 w 389"/>
              <a:gd name="T105" fmla="*/ 2147483646 h 404"/>
              <a:gd name="T106" fmla="*/ 2147483646 w 389"/>
              <a:gd name="T107" fmla="*/ 2147483646 h 404"/>
              <a:gd name="T108" fmla="*/ 2147483646 w 389"/>
              <a:gd name="T109" fmla="*/ 2147483646 h 404"/>
              <a:gd name="T110" fmla="*/ 2147483646 w 389"/>
              <a:gd name="T111" fmla="*/ 2147483646 h 404"/>
              <a:gd name="T112" fmla="*/ 2147483646 w 389"/>
              <a:gd name="T113" fmla="*/ 2147483646 h 404"/>
              <a:gd name="T114" fmla="*/ 2147483646 w 389"/>
              <a:gd name="T115" fmla="*/ 2147483646 h 40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89"/>
              <a:gd name="T175" fmla="*/ 0 h 404"/>
              <a:gd name="T176" fmla="*/ 389 w 389"/>
              <a:gd name="T177" fmla="*/ 404 h 40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89" h="404">
                <a:moveTo>
                  <a:pt x="29" y="245"/>
                </a:moveTo>
                <a:cubicBezTo>
                  <a:pt x="35" y="252"/>
                  <a:pt x="35" y="268"/>
                  <a:pt x="40" y="277"/>
                </a:cubicBezTo>
                <a:cubicBezTo>
                  <a:pt x="43" y="283"/>
                  <a:pt x="49" y="287"/>
                  <a:pt x="52" y="293"/>
                </a:cubicBezTo>
                <a:cubicBezTo>
                  <a:pt x="54" y="300"/>
                  <a:pt x="49" y="303"/>
                  <a:pt x="46" y="309"/>
                </a:cubicBezTo>
                <a:cubicBezTo>
                  <a:pt x="42" y="319"/>
                  <a:pt x="46" y="321"/>
                  <a:pt x="51" y="329"/>
                </a:cubicBezTo>
                <a:cubicBezTo>
                  <a:pt x="57" y="337"/>
                  <a:pt x="58" y="349"/>
                  <a:pt x="62" y="358"/>
                </a:cubicBezTo>
                <a:cubicBezTo>
                  <a:pt x="67" y="372"/>
                  <a:pt x="68" y="391"/>
                  <a:pt x="74" y="404"/>
                </a:cubicBezTo>
                <a:cubicBezTo>
                  <a:pt x="77" y="398"/>
                  <a:pt x="88" y="397"/>
                  <a:pt x="94" y="395"/>
                </a:cubicBezTo>
                <a:cubicBezTo>
                  <a:pt x="103" y="392"/>
                  <a:pt x="107" y="381"/>
                  <a:pt x="116" y="377"/>
                </a:cubicBezTo>
                <a:cubicBezTo>
                  <a:pt x="123" y="373"/>
                  <a:pt x="121" y="376"/>
                  <a:pt x="128" y="379"/>
                </a:cubicBezTo>
                <a:cubicBezTo>
                  <a:pt x="132" y="381"/>
                  <a:pt x="138" y="381"/>
                  <a:pt x="143" y="382"/>
                </a:cubicBezTo>
                <a:cubicBezTo>
                  <a:pt x="148" y="382"/>
                  <a:pt x="154" y="381"/>
                  <a:pt x="159" y="383"/>
                </a:cubicBezTo>
                <a:cubicBezTo>
                  <a:pt x="163" y="384"/>
                  <a:pt x="166" y="389"/>
                  <a:pt x="170" y="392"/>
                </a:cubicBezTo>
                <a:cubicBezTo>
                  <a:pt x="178" y="398"/>
                  <a:pt x="180" y="389"/>
                  <a:pt x="186" y="382"/>
                </a:cubicBezTo>
                <a:cubicBezTo>
                  <a:pt x="191" y="377"/>
                  <a:pt x="190" y="376"/>
                  <a:pt x="196" y="375"/>
                </a:cubicBezTo>
                <a:cubicBezTo>
                  <a:pt x="202" y="374"/>
                  <a:pt x="210" y="376"/>
                  <a:pt x="216" y="377"/>
                </a:cubicBezTo>
                <a:cubicBezTo>
                  <a:pt x="219" y="377"/>
                  <a:pt x="224" y="380"/>
                  <a:pt x="227" y="378"/>
                </a:cubicBezTo>
                <a:cubicBezTo>
                  <a:pt x="230" y="376"/>
                  <a:pt x="234" y="363"/>
                  <a:pt x="235" y="360"/>
                </a:cubicBezTo>
                <a:cubicBezTo>
                  <a:pt x="239" y="346"/>
                  <a:pt x="241" y="329"/>
                  <a:pt x="251" y="318"/>
                </a:cubicBezTo>
                <a:cubicBezTo>
                  <a:pt x="267" y="303"/>
                  <a:pt x="293" y="299"/>
                  <a:pt x="313" y="293"/>
                </a:cubicBezTo>
                <a:cubicBezTo>
                  <a:pt x="322" y="290"/>
                  <a:pt x="332" y="290"/>
                  <a:pt x="341" y="293"/>
                </a:cubicBezTo>
                <a:cubicBezTo>
                  <a:pt x="349" y="295"/>
                  <a:pt x="355" y="299"/>
                  <a:pt x="362" y="302"/>
                </a:cubicBezTo>
                <a:cubicBezTo>
                  <a:pt x="365" y="304"/>
                  <a:pt x="368" y="303"/>
                  <a:pt x="371" y="306"/>
                </a:cubicBezTo>
                <a:cubicBezTo>
                  <a:pt x="377" y="299"/>
                  <a:pt x="379" y="289"/>
                  <a:pt x="381" y="281"/>
                </a:cubicBezTo>
                <a:cubicBezTo>
                  <a:pt x="383" y="275"/>
                  <a:pt x="383" y="269"/>
                  <a:pt x="384" y="263"/>
                </a:cubicBezTo>
                <a:cubicBezTo>
                  <a:pt x="385" y="257"/>
                  <a:pt x="389" y="251"/>
                  <a:pt x="389" y="245"/>
                </a:cubicBezTo>
                <a:cubicBezTo>
                  <a:pt x="389" y="234"/>
                  <a:pt x="379" y="236"/>
                  <a:pt x="373" y="229"/>
                </a:cubicBezTo>
                <a:cubicBezTo>
                  <a:pt x="365" y="222"/>
                  <a:pt x="372" y="210"/>
                  <a:pt x="372" y="202"/>
                </a:cubicBezTo>
                <a:cubicBezTo>
                  <a:pt x="362" y="202"/>
                  <a:pt x="353" y="201"/>
                  <a:pt x="344" y="200"/>
                </a:cubicBezTo>
                <a:cubicBezTo>
                  <a:pt x="334" y="198"/>
                  <a:pt x="321" y="202"/>
                  <a:pt x="315" y="191"/>
                </a:cubicBezTo>
                <a:cubicBezTo>
                  <a:pt x="311" y="186"/>
                  <a:pt x="314" y="175"/>
                  <a:pt x="314" y="169"/>
                </a:cubicBezTo>
                <a:cubicBezTo>
                  <a:pt x="314" y="160"/>
                  <a:pt x="314" y="150"/>
                  <a:pt x="311" y="141"/>
                </a:cubicBezTo>
                <a:cubicBezTo>
                  <a:pt x="310" y="136"/>
                  <a:pt x="306" y="128"/>
                  <a:pt x="301" y="126"/>
                </a:cubicBezTo>
                <a:cubicBezTo>
                  <a:pt x="296" y="123"/>
                  <a:pt x="290" y="127"/>
                  <a:pt x="285" y="125"/>
                </a:cubicBezTo>
                <a:cubicBezTo>
                  <a:pt x="280" y="124"/>
                  <a:pt x="275" y="118"/>
                  <a:pt x="270" y="116"/>
                </a:cubicBezTo>
                <a:cubicBezTo>
                  <a:pt x="262" y="111"/>
                  <a:pt x="254" y="108"/>
                  <a:pt x="245" y="105"/>
                </a:cubicBezTo>
                <a:cubicBezTo>
                  <a:pt x="237" y="102"/>
                  <a:pt x="229" y="98"/>
                  <a:pt x="221" y="98"/>
                </a:cubicBezTo>
                <a:cubicBezTo>
                  <a:pt x="215" y="99"/>
                  <a:pt x="209" y="102"/>
                  <a:pt x="203" y="101"/>
                </a:cubicBezTo>
                <a:cubicBezTo>
                  <a:pt x="196" y="100"/>
                  <a:pt x="187" y="93"/>
                  <a:pt x="182" y="89"/>
                </a:cubicBezTo>
                <a:cubicBezTo>
                  <a:pt x="179" y="86"/>
                  <a:pt x="177" y="83"/>
                  <a:pt x="173" y="81"/>
                </a:cubicBezTo>
                <a:cubicBezTo>
                  <a:pt x="171" y="80"/>
                  <a:pt x="167" y="80"/>
                  <a:pt x="166" y="79"/>
                </a:cubicBezTo>
                <a:cubicBezTo>
                  <a:pt x="161" y="74"/>
                  <a:pt x="161" y="58"/>
                  <a:pt x="160" y="51"/>
                </a:cubicBezTo>
                <a:cubicBezTo>
                  <a:pt x="160" y="40"/>
                  <a:pt x="160" y="29"/>
                  <a:pt x="162" y="17"/>
                </a:cubicBezTo>
                <a:cubicBezTo>
                  <a:pt x="164" y="0"/>
                  <a:pt x="151" y="2"/>
                  <a:pt x="137" y="5"/>
                </a:cubicBezTo>
                <a:cubicBezTo>
                  <a:pt x="115" y="11"/>
                  <a:pt x="104" y="22"/>
                  <a:pt x="86" y="34"/>
                </a:cubicBezTo>
                <a:cubicBezTo>
                  <a:pt x="74" y="42"/>
                  <a:pt x="67" y="54"/>
                  <a:pt x="52" y="52"/>
                </a:cubicBezTo>
                <a:cubicBezTo>
                  <a:pt x="44" y="51"/>
                  <a:pt x="4" y="47"/>
                  <a:pt x="0" y="48"/>
                </a:cubicBezTo>
                <a:cubicBezTo>
                  <a:pt x="2" y="49"/>
                  <a:pt x="2" y="49"/>
                  <a:pt x="2" y="49"/>
                </a:cubicBezTo>
                <a:cubicBezTo>
                  <a:pt x="3" y="52"/>
                  <a:pt x="10" y="56"/>
                  <a:pt x="13" y="57"/>
                </a:cubicBezTo>
                <a:cubicBezTo>
                  <a:pt x="21" y="59"/>
                  <a:pt x="25" y="52"/>
                  <a:pt x="32" y="57"/>
                </a:cubicBezTo>
                <a:cubicBezTo>
                  <a:pt x="37" y="60"/>
                  <a:pt x="39" y="66"/>
                  <a:pt x="41" y="70"/>
                </a:cubicBezTo>
                <a:cubicBezTo>
                  <a:pt x="45" y="76"/>
                  <a:pt x="50" y="83"/>
                  <a:pt x="53" y="90"/>
                </a:cubicBezTo>
                <a:cubicBezTo>
                  <a:pt x="56" y="100"/>
                  <a:pt x="46" y="119"/>
                  <a:pt x="45" y="131"/>
                </a:cubicBezTo>
                <a:cubicBezTo>
                  <a:pt x="43" y="143"/>
                  <a:pt x="47" y="155"/>
                  <a:pt x="43" y="167"/>
                </a:cubicBezTo>
                <a:cubicBezTo>
                  <a:pt x="40" y="177"/>
                  <a:pt x="32" y="185"/>
                  <a:pt x="39" y="194"/>
                </a:cubicBezTo>
                <a:cubicBezTo>
                  <a:pt x="46" y="202"/>
                  <a:pt x="52" y="204"/>
                  <a:pt x="45" y="215"/>
                </a:cubicBezTo>
                <a:cubicBezTo>
                  <a:pt x="39" y="225"/>
                  <a:pt x="34" y="234"/>
                  <a:pt x="30" y="244"/>
                </a:cubicBezTo>
                <a:lnTo>
                  <a:pt x="29" y="24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53" name="Freeform 386"/>
          <p:cNvSpPr>
            <a:spLocks/>
          </p:cNvSpPr>
          <p:nvPr userDrawn="1"/>
        </p:nvSpPr>
        <p:spPr bwMode="auto">
          <a:xfrm>
            <a:off x="4086930" y="5740012"/>
            <a:ext cx="232839" cy="231163"/>
          </a:xfrm>
          <a:custGeom>
            <a:avLst/>
            <a:gdLst>
              <a:gd name="T0" fmla="*/ 2147483646 w 249"/>
              <a:gd name="T1" fmla="*/ 2147483646 h 247"/>
              <a:gd name="T2" fmla="*/ 2147483646 w 249"/>
              <a:gd name="T3" fmla="*/ 2147483646 h 247"/>
              <a:gd name="T4" fmla="*/ 2147483646 w 249"/>
              <a:gd name="T5" fmla="*/ 2147483646 h 247"/>
              <a:gd name="T6" fmla="*/ 2147483646 w 249"/>
              <a:gd name="T7" fmla="*/ 2147483646 h 247"/>
              <a:gd name="T8" fmla="*/ 2147483646 w 249"/>
              <a:gd name="T9" fmla="*/ 2147483646 h 247"/>
              <a:gd name="T10" fmla="*/ 2147483646 w 249"/>
              <a:gd name="T11" fmla="*/ 2147483646 h 247"/>
              <a:gd name="T12" fmla="*/ 0 w 249"/>
              <a:gd name="T13" fmla="*/ 2147483646 h 247"/>
              <a:gd name="T14" fmla="*/ 2147483646 w 249"/>
              <a:gd name="T15" fmla="*/ 2147483646 h 247"/>
              <a:gd name="T16" fmla="*/ 2147483646 w 249"/>
              <a:gd name="T17" fmla="*/ 2147483646 h 247"/>
              <a:gd name="T18" fmla="*/ 2147483646 w 249"/>
              <a:gd name="T19" fmla="*/ 2147483646 h 247"/>
              <a:gd name="T20" fmla="*/ 2147483646 w 249"/>
              <a:gd name="T21" fmla="*/ 2147483646 h 247"/>
              <a:gd name="T22" fmla="*/ 2147483646 w 249"/>
              <a:gd name="T23" fmla="*/ 2147483646 h 247"/>
              <a:gd name="T24" fmla="*/ 2147483646 w 249"/>
              <a:gd name="T25" fmla="*/ 2147483646 h 247"/>
              <a:gd name="T26" fmla="*/ 2147483646 w 249"/>
              <a:gd name="T27" fmla="*/ 2147483646 h 247"/>
              <a:gd name="T28" fmla="*/ 2147483646 w 249"/>
              <a:gd name="T29" fmla="*/ 2147483646 h 247"/>
              <a:gd name="T30" fmla="*/ 2147483646 w 249"/>
              <a:gd name="T31" fmla="*/ 2147483646 h 247"/>
              <a:gd name="T32" fmla="*/ 2147483646 w 249"/>
              <a:gd name="T33" fmla="*/ 2147483646 h 247"/>
              <a:gd name="T34" fmla="*/ 2147483646 w 249"/>
              <a:gd name="T35" fmla="*/ 2147483646 h 247"/>
              <a:gd name="T36" fmla="*/ 2147483646 w 249"/>
              <a:gd name="T37" fmla="*/ 2147483646 h 247"/>
              <a:gd name="T38" fmla="*/ 2147483646 w 249"/>
              <a:gd name="T39" fmla="*/ 2147483646 h 247"/>
              <a:gd name="T40" fmla="*/ 2147483646 w 249"/>
              <a:gd name="T41" fmla="*/ 2147483646 h 247"/>
              <a:gd name="T42" fmla="*/ 2147483646 w 249"/>
              <a:gd name="T43" fmla="*/ 2147483646 h 247"/>
              <a:gd name="T44" fmla="*/ 2147483646 w 249"/>
              <a:gd name="T45" fmla="*/ 2147483646 h 247"/>
              <a:gd name="T46" fmla="*/ 2147483646 w 249"/>
              <a:gd name="T47" fmla="*/ 2147483646 h 247"/>
              <a:gd name="T48" fmla="*/ 2147483646 w 249"/>
              <a:gd name="T49" fmla="*/ 2147483646 h 247"/>
              <a:gd name="T50" fmla="*/ 2147483646 w 249"/>
              <a:gd name="T51" fmla="*/ 2147483646 h 247"/>
              <a:gd name="T52" fmla="*/ 2147483646 w 249"/>
              <a:gd name="T53" fmla="*/ 2147483646 h 247"/>
              <a:gd name="T54" fmla="*/ 2147483646 w 249"/>
              <a:gd name="T55" fmla="*/ 2147483646 h 247"/>
              <a:gd name="T56" fmla="*/ 2147483646 w 249"/>
              <a:gd name="T57" fmla="*/ 2147483646 h 247"/>
              <a:gd name="T58" fmla="*/ 2147483646 w 249"/>
              <a:gd name="T59" fmla="*/ 2147483646 h 24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49"/>
              <a:gd name="T91" fmla="*/ 0 h 247"/>
              <a:gd name="T92" fmla="*/ 249 w 249"/>
              <a:gd name="T93" fmla="*/ 247 h 247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49" h="247">
                <a:moveTo>
                  <a:pt x="139" y="13"/>
                </a:moveTo>
                <a:cubicBezTo>
                  <a:pt x="138" y="13"/>
                  <a:pt x="136" y="13"/>
                  <a:pt x="135" y="12"/>
                </a:cubicBezTo>
                <a:cubicBezTo>
                  <a:pt x="128" y="9"/>
                  <a:pt x="122" y="4"/>
                  <a:pt x="114" y="3"/>
                </a:cubicBezTo>
                <a:cubicBezTo>
                  <a:pt x="105" y="0"/>
                  <a:pt x="95" y="0"/>
                  <a:pt x="86" y="3"/>
                </a:cubicBezTo>
                <a:cubicBezTo>
                  <a:pt x="66" y="9"/>
                  <a:pt x="40" y="13"/>
                  <a:pt x="25" y="28"/>
                </a:cubicBezTo>
                <a:cubicBezTo>
                  <a:pt x="14" y="38"/>
                  <a:pt x="12" y="56"/>
                  <a:pt x="8" y="69"/>
                </a:cubicBezTo>
                <a:cubicBezTo>
                  <a:pt x="7" y="73"/>
                  <a:pt x="3" y="86"/>
                  <a:pt x="0" y="88"/>
                </a:cubicBezTo>
                <a:cubicBezTo>
                  <a:pt x="1" y="90"/>
                  <a:pt x="1" y="90"/>
                  <a:pt x="1" y="90"/>
                </a:cubicBezTo>
                <a:cubicBezTo>
                  <a:pt x="10" y="103"/>
                  <a:pt x="18" y="117"/>
                  <a:pt x="29" y="128"/>
                </a:cubicBezTo>
                <a:cubicBezTo>
                  <a:pt x="36" y="135"/>
                  <a:pt x="44" y="136"/>
                  <a:pt x="53" y="139"/>
                </a:cubicBezTo>
                <a:cubicBezTo>
                  <a:pt x="61" y="143"/>
                  <a:pt x="68" y="149"/>
                  <a:pt x="78" y="149"/>
                </a:cubicBezTo>
                <a:cubicBezTo>
                  <a:pt x="82" y="149"/>
                  <a:pt x="86" y="147"/>
                  <a:pt x="91" y="148"/>
                </a:cubicBezTo>
                <a:cubicBezTo>
                  <a:pt x="99" y="149"/>
                  <a:pt x="107" y="150"/>
                  <a:pt x="114" y="153"/>
                </a:cubicBezTo>
                <a:cubicBezTo>
                  <a:pt x="129" y="157"/>
                  <a:pt x="152" y="163"/>
                  <a:pt x="147" y="183"/>
                </a:cubicBezTo>
                <a:cubicBezTo>
                  <a:pt x="143" y="194"/>
                  <a:pt x="131" y="203"/>
                  <a:pt x="124" y="213"/>
                </a:cubicBezTo>
                <a:cubicBezTo>
                  <a:pt x="119" y="220"/>
                  <a:pt x="114" y="231"/>
                  <a:pt x="107" y="237"/>
                </a:cubicBezTo>
                <a:cubicBezTo>
                  <a:pt x="121" y="240"/>
                  <a:pt x="136" y="238"/>
                  <a:pt x="150" y="240"/>
                </a:cubicBezTo>
                <a:cubicBezTo>
                  <a:pt x="160" y="242"/>
                  <a:pt x="176" y="247"/>
                  <a:pt x="186" y="246"/>
                </a:cubicBezTo>
                <a:cubicBezTo>
                  <a:pt x="194" y="244"/>
                  <a:pt x="201" y="235"/>
                  <a:pt x="208" y="229"/>
                </a:cubicBezTo>
                <a:cubicBezTo>
                  <a:pt x="216" y="222"/>
                  <a:pt x="224" y="210"/>
                  <a:pt x="228" y="201"/>
                </a:cubicBezTo>
                <a:cubicBezTo>
                  <a:pt x="233" y="192"/>
                  <a:pt x="234" y="181"/>
                  <a:pt x="238" y="171"/>
                </a:cubicBezTo>
                <a:cubicBezTo>
                  <a:pt x="240" y="164"/>
                  <a:pt x="248" y="154"/>
                  <a:pt x="248" y="147"/>
                </a:cubicBezTo>
                <a:cubicBezTo>
                  <a:pt x="249" y="126"/>
                  <a:pt x="230" y="138"/>
                  <a:pt x="220" y="143"/>
                </a:cubicBezTo>
                <a:cubicBezTo>
                  <a:pt x="215" y="136"/>
                  <a:pt x="214" y="132"/>
                  <a:pt x="214" y="123"/>
                </a:cubicBezTo>
                <a:cubicBezTo>
                  <a:pt x="215" y="115"/>
                  <a:pt x="220" y="103"/>
                  <a:pt x="214" y="96"/>
                </a:cubicBezTo>
                <a:cubicBezTo>
                  <a:pt x="202" y="82"/>
                  <a:pt x="188" y="86"/>
                  <a:pt x="173" y="89"/>
                </a:cubicBezTo>
                <a:cubicBezTo>
                  <a:pt x="166" y="90"/>
                  <a:pt x="151" y="90"/>
                  <a:pt x="146" y="84"/>
                </a:cubicBezTo>
                <a:cubicBezTo>
                  <a:pt x="142" y="77"/>
                  <a:pt x="147" y="59"/>
                  <a:pt x="147" y="50"/>
                </a:cubicBezTo>
                <a:cubicBezTo>
                  <a:pt x="148" y="40"/>
                  <a:pt x="151" y="24"/>
                  <a:pt x="143" y="17"/>
                </a:cubicBezTo>
                <a:lnTo>
                  <a:pt x="139" y="1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54" name="Freeform 387"/>
          <p:cNvSpPr>
            <a:spLocks/>
          </p:cNvSpPr>
          <p:nvPr userDrawn="1"/>
        </p:nvSpPr>
        <p:spPr bwMode="auto">
          <a:xfrm>
            <a:off x="4174034" y="6034829"/>
            <a:ext cx="140708" cy="139033"/>
          </a:xfrm>
          <a:custGeom>
            <a:avLst/>
            <a:gdLst>
              <a:gd name="T0" fmla="*/ 2147483646 w 150"/>
              <a:gd name="T1" fmla="*/ 0 h 150"/>
              <a:gd name="T2" fmla="*/ 2147483646 w 150"/>
              <a:gd name="T3" fmla="*/ 2147483646 h 150"/>
              <a:gd name="T4" fmla="*/ 2147483646 w 150"/>
              <a:gd name="T5" fmla="*/ 2147483646 h 150"/>
              <a:gd name="T6" fmla="*/ 2147483646 w 150"/>
              <a:gd name="T7" fmla="*/ 2147483646 h 150"/>
              <a:gd name="T8" fmla="*/ 2147483646 w 150"/>
              <a:gd name="T9" fmla="*/ 2147483646 h 150"/>
              <a:gd name="T10" fmla="*/ 2147483646 w 150"/>
              <a:gd name="T11" fmla="*/ 2147483646 h 150"/>
              <a:gd name="T12" fmla="*/ 2147483646 w 150"/>
              <a:gd name="T13" fmla="*/ 2147483646 h 150"/>
              <a:gd name="T14" fmla="*/ 2147483646 w 150"/>
              <a:gd name="T15" fmla="*/ 2147483646 h 150"/>
              <a:gd name="T16" fmla="*/ 2147483646 w 150"/>
              <a:gd name="T17" fmla="*/ 2147483646 h 150"/>
              <a:gd name="T18" fmla="*/ 2147483646 w 150"/>
              <a:gd name="T19" fmla="*/ 2147483646 h 150"/>
              <a:gd name="T20" fmla="*/ 2147483646 w 150"/>
              <a:gd name="T21" fmla="*/ 2147483646 h 150"/>
              <a:gd name="T22" fmla="*/ 2147483646 w 150"/>
              <a:gd name="T23" fmla="*/ 2147483646 h 150"/>
              <a:gd name="T24" fmla="*/ 2147483646 w 150"/>
              <a:gd name="T25" fmla="*/ 2147483646 h 150"/>
              <a:gd name="T26" fmla="*/ 2147483646 w 150"/>
              <a:gd name="T27" fmla="*/ 2147483646 h 150"/>
              <a:gd name="T28" fmla="*/ 2147483646 w 150"/>
              <a:gd name="T29" fmla="*/ 2147483646 h 150"/>
              <a:gd name="T30" fmla="*/ 0 w 150"/>
              <a:gd name="T31" fmla="*/ 2147483646 h 150"/>
              <a:gd name="T32" fmla="*/ 0 w 150"/>
              <a:gd name="T33" fmla="*/ 2147483646 h 150"/>
              <a:gd name="T34" fmla="*/ 0 w 150"/>
              <a:gd name="T35" fmla="*/ 2147483646 h 150"/>
              <a:gd name="T36" fmla="*/ 2147483646 w 150"/>
              <a:gd name="T37" fmla="*/ 2147483646 h 150"/>
              <a:gd name="T38" fmla="*/ 2147483646 w 150"/>
              <a:gd name="T39" fmla="*/ 2147483646 h 150"/>
              <a:gd name="T40" fmla="*/ 2147483646 w 150"/>
              <a:gd name="T41" fmla="*/ 2147483646 h 150"/>
              <a:gd name="T42" fmla="*/ 2147483646 w 150"/>
              <a:gd name="T43" fmla="*/ 0 h 150"/>
              <a:gd name="T44" fmla="*/ 2147483646 w 150"/>
              <a:gd name="T45" fmla="*/ 0 h 15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50"/>
              <a:gd name="T70" fmla="*/ 0 h 150"/>
              <a:gd name="T71" fmla="*/ 150 w 150"/>
              <a:gd name="T72" fmla="*/ 150 h 15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50" h="150">
                <a:moveTo>
                  <a:pt x="50" y="0"/>
                </a:moveTo>
                <a:cubicBezTo>
                  <a:pt x="56" y="1"/>
                  <a:pt x="60" y="0"/>
                  <a:pt x="65" y="7"/>
                </a:cubicBezTo>
                <a:cubicBezTo>
                  <a:pt x="70" y="14"/>
                  <a:pt x="73" y="30"/>
                  <a:pt x="81" y="34"/>
                </a:cubicBezTo>
                <a:cubicBezTo>
                  <a:pt x="85" y="36"/>
                  <a:pt x="90" y="34"/>
                  <a:pt x="94" y="35"/>
                </a:cubicBezTo>
                <a:cubicBezTo>
                  <a:pt x="97" y="37"/>
                  <a:pt x="99" y="38"/>
                  <a:pt x="102" y="40"/>
                </a:cubicBezTo>
                <a:cubicBezTo>
                  <a:pt x="112" y="45"/>
                  <a:pt x="121" y="50"/>
                  <a:pt x="129" y="58"/>
                </a:cubicBezTo>
                <a:cubicBezTo>
                  <a:pt x="136" y="63"/>
                  <a:pt x="150" y="74"/>
                  <a:pt x="148" y="83"/>
                </a:cubicBezTo>
                <a:cubicBezTo>
                  <a:pt x="146" y="88"/>
                  <a:pt x="141" y="93"/>
                  <a:pt x="139" y="98"/>
                </a:cubicBezTo>
                <a:cubicBezTo>
                  <a:pt x="137" y="102"/>
                  <a:pt x="137" y="107"/>
                  <a:pt x="138" y="112"/>
                </a:cubicBezTo>
                <a:cubicBezTo>
                  <a:pt x="137" y="113"/>
                  <a:pt x="137" y="113"/>
                  <a:pt x="137" y="113"/>
                </a:cubicBezTo>
                <a:cubicBezTo>
                  <a:pt x="134" y="117"/>
                  <a:pt x="130" y="122"/>
                  <a:pt x="127" y="123"/>
                </a:cubicBezTo>
                <a:cubicBezTo>
                  <a:pt x="122" y="124"/>
                  <a:pt x="112" y="135"/>
                  <a:pt x="104" y="140"/>
                </a:cubicBezTo>
                <a:cubicBezTo>
                  <a:pt x="95" y="145"/>
                  <a:pt x="69" y="150"/>
                  <a:pt x="56" y="147"/>
                </a:cubicBezTo>
                <a:cubicBezTo>
                  <a:pt x="44" y="145"/>
                  <a:pt x="47" y="146"/>
                  <a:pt x="40" y="140"/>
                </a:cubicBezTo>
                <a:cubicBezTo>
                  <a:pt x="33" y="133"/>
                  <a:pt x="28" y="136"/>
                  <a:pt x="17" y="127"/>
                </a:cubicBezTo>
                <a:cubicBezTo>
                  <a:pt x="8" y="119"/>
                  <a:pt x="4" y="120"/>
                  <a:pt x="0" y="122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20"/>
                  <a:pt x="0" y="119"/>
                  <a:pt x="0" y="119"/>
                </a:cubicBezTo>
                <a:cubicBezTo>
                  <a:pt x="0" y="111"/>
                  <a:pt x="5" y="106"/>
                  <a:pt x="7" y="98"/>
                </a:cubicBezTo>
                <a:cubicBezTo>
                  <a:pt x="12" y="85"/>
                  <a:pt x="13" y="69"/>
                  <a:pt x="15" y="54"/>
                </a:cubicBezTo>
                <a:cubicBezTo>
                  <a:pt x="18" y="40"/>
                  <a:pt x="21" y="29"/>
                  <a:pt x="30" y="17"/>
                </a:cubicBezTo>
                <a:cubicBezTo>
                  <a:pt x="36" y="11"/>
                  <a:pt x="42" y="6"/>
                  <a:pt x="49" y="0"/>
                </a:cubicBezTo>
                <a:lnTo>
                  <a:pt x="5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55" name="Freeform 388"/>
          <p:cNvSpPr>
            <a:spLocks/>
          </p:cNvSpPr>
          <p:nvPr userDrawn="1"/>
        </p:nvSpPr>
        <p:spPr bwMode="auto">
          <a:xfrm>
            <a:off x="3772012" y="5034799"/>
            <a:ext cx="1144088" cy="1103885"/>
          </a:xfrm>
          <a:custGeom>
            <a:avLst/>
            <a:gdLst>
              <a:gd name="T0" fmla="*/ 2147483646 w 1226"/>
              <a:gd name="T1" fmla="*/ 2147483646 h 1183"/>
              <a:gd name="T2" fmla="*/ 2147483646 w 1226"/>
              <a:gd name="T3" fmla="*/ 2147483646 h 1183"/>
              <a:gd name="T4" fmla="*/ 2147483646 w 1226"/>
              <a:gd name="T5" fmla="*/ 2147483646 h 1183"/>
              <a:gd name="T6" fmla="*/ 2147483646 w 1226"/>
              <a:gd name="T7" fmla="*/ 2147483646 h 1183"/>
              <a:gd name="T8" fmla="*/ 2147483646 w 1226"/>
              <a:gd name="T9" fmla="*/ 2147483646 h 1183"/>
              <a:gd name="T10" fmla="*/ 2147483646 w 1226"/>
              <a:gd name="T11" fmla="*/ 2147483646 h 1183"/>
              <a:gd name="T12" fmla="*/ 2147483646 w 1226"/>
              <a:gd name="T13" fmla="*/ 2147483646 h 1183"/>
              <a:gd name="T14" fmla="*/ 2147483646 w 1226"/>
              <a:gd name="T15" fmla="*/ 2147483646 h 1183"/>
              <a:gd name="T16" fmla="*/ 2147483646 w 1226"/>
              <a:gd name="T17" fmla="*/ 2147483646 h 1183"/>
              <a:gd name="T18" fmla="*/ 2147483646 w 1226"/>
              <a:gd name="T19" fmla="*/ 2147483646 h 1183"/>
              <a:gd name="T20" fmla="*/ 2147483646 w 1226"/>
              <a:gd name="T21" fmla="*/ 2147483646 h 1183"/>
              <a:gd name="T22" fmla="*/ 2147483646 w 1226"/>
              <a:gd name="T23" fmla="*/ 2147483646 h 1183"/>
              <a:gd name="T24" fmla="*/ 2147483646 w 1226"/>
              <a:gd name="T25" fmla="*/ 2147483646 h 1183"/>
              <a:gd name="T26" fmla="*/ 2147483646 w 1226"/>
              <a:gd name="T27" fmla="*/ 2147483646 h 1183"/>
              <a:gd name="T28" fmla="*/ 2147483646 w 1226"/>
              <a:gd name="T29" fmla="*/ 2147483646 h 1183"/>
              <a:gd name="T30" fmla="*/ 2147483646 w 1226"/>
              <a:gd name="T31" fmla="*/ 2147483646 h 1183"/>
              <a:gd name="T32" fmla="*/ 2147483646 w 1226"/>
              <a:gd name="T33" fmla="*/ 2147483646 h 1183"/>
              <a:gd name="T34" fmla="*/ 2147483646 w 1226"/>
              <a:gd name="T35" fmla="*/ 2147483646 h 1183"/>
              <a:gd name="T36" fmla="*/ 2147483646 w 1226"/>
              <a:gd name="T37" fmla="*/ 2147483646 h 1183"/>
              <a:gd name="T38" fmla="*/ 2147483646 w 1226"/>
              <a:gd name="T39" fmla="*/ 2147483646 h 1183"/>
              <a:gd name="T40" fmla="*/ 2147483646 w 1226"/>
              <a:gd name="T41" fmla="*/ 2147483646 h 1183"/>
              <a:gd name="T42" fmla="*/ 2147483646 w 1226"/>
              <a:gd name="T43" fmla="*/ 2147483646 h 1183"/>
              <a:gd name="T44" fmla="*/ 2147483646 w 1226"/>
              <a:gd name="T45" fmla="*/ 2147483646 h 1183"/>
              <a:gd name="T46" fmla="*/ 2147483646 w 1226"/>
              <a:gd name="T47" fmla="*/ 2147483646 h 1183"/>
              <a:gd name="T48" fmla="*/ 2147483646 w 1226"/>
              <a:gd name="T49" fmla="*/ 2147483646 h 1183"/>
              <a:gd name="T50" fmla="*/ 2147483646 w 1226"/>
              <a:gd name="T51" fmla="*/ 2147483646 h 1183"/>
              <a:gd name="T52" fmla="*/ 2147483646 w 1226"/>
              <a:gd name="T53" fmla="*/ 2147483646 h 1183"/>
              <a:gd name="T54" fmla="*/ 2147483646 w 1226"/>
              <a:gd name="T55" fmla="*/ 2147483646 h 1183"/>
              <a:gd name="T56" fmla="*/ 2147483646 w 1226"/>
              <a:gd name="T57" fmla="*/ 2147483646 h 1183"/>
              <a:gd name="T58" fmla="*/ 2147483646 w 1226"/>
              <a:gd name="T59" fmla="*/ 2147483646 h 1183"/>
              <a:gd name="T60" fmla="*/ 2147483646 w 1226"/>
              <a:gd name="T61" fmla="*/ 2147483646 h 1183"/>
              <a:gd name="T62" fmla="*/ 2147483646 w 1226"/>
              <a:gd name="T63" fmla="*/ 2147483646 h 1183"/>
              <a:gd name="T64" fmla="*/ 2147483646 w 1226"/>
              <a:gd name="T65" fmla="*/ 2147483646 h 1183"/>
              <a:gd name="T66" fmla="*/ 2147483646 w 1226"/>
              <a:gd name="T67" fmla="*/ 2147483646 h 1183"/>
              <a:gd name="T68" fmla="*/ 2147483646 w 1226"/>
              <a:gd name="T69" fmla="*/ 2147483646 h 1183"/>
              <a:gd name="T70" fmla="*/ 2147483646 w 1226"/>
              <a:gd name="T71" fmla="*/ 2147483646 h 1183"/>
              <a:gd name="T72" fmla="*/ 2147483646 w 1226"/>
              <a:gd name="T73" fmla="*/ 2147483646 h 1183"/>
              <a:gd name="T74" fmla="*/ 2147483646 w 1226"/>
              <a:gd name="T75" fmla="*/ 2147483646 h 1183"/>
              <a:gd name="T76" fmla="*/ 2147483646 w 1226"/>
              <a:gd name="T77" fmla="*/ 2147483646 h 1183"/>
              <a:gd name="T78" fmla="*/ 2147483646 w 1226"/>
              <a:gd name="T79" fmla="*/ 2147483646 h 1183"/>
              <a:gd name="T80" fmla="*/ 2147483646 w 1226"/>
              <a:gd name="T81" fmla="*/ 2147483646 h 1183"/>
              <a:gd name="T82" fmla="*/ 2147483646 w 1226"/>
              <a:gd name="T83" fmla="*/ 2147483646 h 1183"/>
              <a:gd name="T84" fmla="*/ 2147483646 w 1226"/>
              <a:gd name="T85" fmla="*/ 2147483646 h 1183"/>
              <a:gd name="T86" fmla="*/ 2147483646 w 1226"/>
              <a:gd name="T87" fmla="*/ 2147483646 h 1183"/>
              <a:gd name="T88" fmla="*/ 2147483646 w 1226"/>
              <a:gd name="T89" fmla="*/ 2147483646 h 1183"/>
              <a:gd name="T90" fmla="*/ 2147483646 w 1226"/>
              <a:gd name="T91" fmla="*/ 2147483646 h 1183"/>
              <a:gd name="T92" fmla="*/ 2147483646 w 1226"/>
              <a:gd name="T93" fmla="*/ 2147483646 h 1183"/>
              <a:gd name="T94" fmla="*/ 2147483646 w 1226"/>
              <a:gd name="T95" fmla="*/ 2147483646 h 1183"/>
              <a:gd name="T96" fmla="*/ 2147483646 w 1226"/>
              <a:gd name="T97" fmla="*/ 2147483646 h 1183"/>
              <a:gd name="T98" fmla="*/ 2147483646 w 1226"/>
              <a:gd name="T99" fmla="*/ 2147483646 h 1183"/>
              <a:gd name="T100" fmla="*/ 2147483646 w 1226"/>
              <a:gd name="T101" fmla="*/ 2147483646 h 1183"/>
              <a:gd name="T102" fmla="*/ 2147483646 w 1226"/>
              <a:gd name="T103" fmla="*/ 2147483646 h 1183"/>
              <a:gd name="T104" fmla="*/ 2147483646 w 1226"/>
              <a:gd name="T105" fmla="*/ 2147483646 h 1183"/>
              <a:gd name="T106" fmla="*/ 2147483646 w 1226"/>
              <a:gd name="T107" fmla="*/ 2147483646 h 118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226"/>
              <a:gd name="T163" fmla="*/ 0 h 1183"/>
              <a:gd name="T164" fmla="*/ 1226 w 1226"/>
              <a:gd name="T165" fmla="*/ 1183 h 118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226" h="1183">
                <a:moveTo>
                  <a:pt x="569" y="1182"/>
                </a:moveTo>
                <a:cubicBezTo>
                  <a:pt x="568" y="1177"/>
                  <a:pt x="569" y="1173"/>
                  <a:pt x="571" y="1169"/>
                </a:cubicBezTo>
                <a:cubicBezTo>
                  <a:pt x="572" y="1163"/>
                  <a:pt x="578" y="1159"/>
                  <a:pt x="579" y="1154"/>
                </a:cubicBezTo>
                <a:cubicBezTo>
                  <a:pt x="582" y="1144"/>
                  <a:pt x="567" y="1134"/>
                  <a:pt x="561" y="1128"/>
                </a:cubicBezTo>
                <a:cubicBezTo>
                  <a:pt x="552" y="1121"/>
                  <a:pt x="543" y="1116"/>
                  <a:pt x="533" y="1111"/>
                </a:cubicBezTo>
                <a:cubicBezTo>
                  <a:pt x="531" y="1109"/>
                  <a:pt x="529" y="1107"/>
                  <a:pt x="526" y="1106"/>
                </a:cubicBezTo>
                <a:cubicBezTo>
                  <a:pt x="522" y="1105"/>
                  <a:pt x="516" y="1106"/>
                  <a:pt x="513" y="1105"/>
                </a:cubicBezTo>
                <a:cubicBezTo>
                  <a:pt x="505" y="1101"/>
                  <a:pt x="502" y="1085"/>
                  <a:pt x="496" y="1077"/>
                </a:cubicBezTo>
                <a:cubicBezTo>
                  <a:pt x="492" y="1071"/>
                  <a:pt x="488" y="1071"/>
                  <a:pt x="482" y="1071"/>
                </a:cubicBezTo>
                <a:cubicBezTo>
                  <a:pt x="481" y="1071"/>
                  <a:pt x="481" y="1071"/>
                  <a:pt x="481" y="1071"/>
                </a:cubicBezTo>
                <a:cubicBezTo>
                  <a:pt x="486" y="1067"/>
                  <a:pt x="491" y="1063"/>
                  <a:pt x="495" y="1059"/>
                </a:cubicBezTo>
                <a:cubicBezTo>
                  <a:pt x="506" y="1048"/>
                  <a:pt x="516" y="1038"/>
                  <a:pt x="529" y="1030"/>
                </a:cubicBezTo>
                <a:cubicBezTo>
                  <a:pt x="543" y="1020"/>
                  <a:pt x="556" y="1011"/>
                  <a:pt x="569" y="999"/>
                </a:cubicBezTo>
                <a:cubicBezTo>
                  <a:pt x="577" y="992"/>
                  <a:pt x="589" y="988"/>
                  <a:pt x="592" y="978"/>
                </a:cubicBezTo>
                <a:cubicBezTo>
                  <a:pt x="597" y="967"/>
                  <a:pt x="593" y="954"/>
                  <a:pt x="593" y="942"/>
                </a:cubicBezTo>
                <a:cubicBezTo>
                  <a:pt x="588" y="942"/>
                  <a:pt x="583" y="941"/>
                  <a:pt x="578" y="941"/>
                </a:cubicBezTo>
                <a:cubicBezTo>
                  <a:pt x="575" y="941"/>
                  <a:pt x="575" y="941"/>
                  <a:pt x="572" y="941"/>
                </a:cubicBezTo>
                <a:cubicBezTo>
                  <a:pt x="571" y="940"/>
                  <a:pt x="571" y="940"/>
                  <a:pt x="571" y="940"/>
                </a:cubicBezTo>
                <a:cubicBezTo>
                  <a:pt x="572" y="935"/>
                  <a:pt x="573" y="931"/>
                  <a:pt x="575" y="927"/>
                </a:cubicBezTo>
                <a:cubicBezTo>
                  <a:pt x="577" y="920"/>
                  <a:pt x="585" y="911"/>
                  <a:pt x="586" y="903"/>
                </a:cubicBezTo>
                <a:cubicBezTo>
                  <a:pt x="586" y="882"/>
                  <a:pt x="567" y="895"/>
                  <a:pt x="557" y="899"/>
                </a:cubicBezTo>
                <a:cubicBezTo>
                  <a:pt x="553" y="892"/>
                  <a:pt x="551" y="888"/>
                  <a:pt x="552" y="879"/>
                </a:cubicBezTo>
                <a:cubicBezTo>
                  <a:pt x="552" y="871"/>
                  <a:pt x="557" y="860"/>
                  <a:pt x="551" y="853"/>
                </a:cubicBezTo>
                <a:cubicBezTo>
                  <a:pt x="539" y="838"/>
                  <a:pt x="526" y="842"/>
                  <a:pt x="511" y="845"/>
                </a:cubicBezTo>
                <a:cubicBezTo>
                  <a:pt x="504" y="847"/>
                  <a:pt x="489" y="847"/>
                  <a:pt x="484" y="840"/>
                </a:cubicBezTo>
                <a:cubicBezTo>
                  <a:pt x="479" y="833"/>
                  <a:pt x="484" y="815"/>
                  <a:pt x="485" y="806"/>
                </a:cubicBezTo>
                <a:cubicBezTo>
                  <a:pt x="485" y="796"/>
                  <a:pt x="488" y="780"/>
                  <a:pt x="480" y="773"/>
                </a:cubicBezTo>
                <a:cubicBezTo>
                  <a:pt x="481" y="772"/>
                  <a:pt x="481" y="772"/>
                  <a:pt x="481" y="772"/>
                </a:cubicBezTo>
                <a:cubicBezTo>
                  <a:pt x="487" y="765"/>
                  <a:pt x="490" y="756"/>
                  <a:pt x="492" y="747"/>
                </a:cubicBezTo>
                <a:cubicBezTo>
                  <a:pt x="493" y="741"/>
                  <a:pt x="494" y="735"/>
                  <a:pt x="495" y="729"/>
                </a:cubicBezTo>
                <a:cubicBezTo>
                  <a:pt x="496" y="723"/>
                  <a:pt x="500" y="718"/>
                  <a:pt x="500" y="711"/>
                </a:cubicBezTo>
                <a:cubicBezTo>
                  <a:pt x="499" y="700"/>
                  <a:pt x="489" y="702"/>
                  <a:pt x="483" y="695"/>
                </a:cubicBezTo>
                <a:cubicBezTo>
                  <a:pt x="476" y="688"/>
                  <a:pt x="483" y="676"/>
                  <a:pt x="482" y="668"/>
                </a:cubicBezTo>
                <a:cubicBezTo>
                  <a:pt x="473" y="668"/>
                  <a:pt x="463" y="667"/>
                  <a:pt x="454" y="666"/>
                </a:cubicBezTo>
                <a:cubicBezTo>
                  <a:pt x="444" y="664"/>
                  <a:pt x="431" y="668"/>
                  <a:pt x="425" y="657"/>
                </a:cubicBezTo>
                <a:cubicBezTo>
                  <a:pt x="422" y="652"/>
                  <a:pt x="424" y="641"/>
                  <a:pt x="424" y="635"/>
                </a:cubicBezTo>
                <a:cubicBezTo>
                  <a:pt x="424" y="626"/>
                  <a:pt x="424" y="616"/>
                  <a:pt x="422" y="607"/>
                </a:cubicBezTo>
                <a:cubicBezTo>
                  <a:pt x="420" y="602"/>
                  <a:pt x="417" y="594"/>
                  <a:pt x="411" y="592"/>
                </a:cubicBezTo>
                <a:cubicBezTo>
                  <a:pt x="406" y="589"/>
                  <a:pt x="400" y="593"/>
                  <a:pt x="395" y="591"/>
                </a:cubicBezTo>
                <a:cubicBezTo>
                  <a:pt x="391" y="590"/>
                  <a:pt x="385" y="584"/>
                  <a:pt x="381" y="582"/>
                </a:cubicBezTo>
                <a:cubicBezTo>
                  <a:pt x="372" y="577"/>
                  <a:pt x="365" y="574"/>
                  <a:pt x="356" y="571"/>
                </a:cubicBezTo>
                <a:cubicBezTo>
                  <a:pt x="348" y="568"/>
                  <a:pt x="340" y="564"/>
                  <a:pt x="331" y="564"/>
                </a:cubicBezTo>
                <a:cubicBezTo>
                  <a:pt x="325" y="565"/>
                  <a:pt x="319" y="568"/>
                  <a:pt x="313" y="567"/>
                </a:cubicBezTo>
                <a:cubicBezTo>
                  <a:pt x="306" y="566"/>
                  <a:pt x="297" y="559"/>
                  <a:pt x="292" y="555"/>
                </a:cubicBezTo>
                <a:cubicBezTo>
                  <a:pt x="289" y="552"/>
                  <a:pt x="287" y="549"/>
                  <a:pt x="283" y="547"/>
                </a:cubicBezTo>
                <a:cubicBezTo>
                  <a:pt x="282" y="546"/>
                  <a:pt x="277" y="546"/>
                  <a:pt x="276" y="545"/>
                </a:cubicBezTo>
                <a:cubicBezTo>
                  <a:pt x="271" y="540"/>
                  <a:pt x="271" y="524"/>
                  <a:pt x="271" y="517"/>
                </a:cubicBezTo>
                <a:cubicBezTo>
                  <a:pt x="270" y="506"/>
                  <a:pt x="271" y="495"/>
                  <a:pt x="272" y="483"/>
                </a:cubicBezTo>
                <a:cubicBezTo>
                  <a:pt x="274" y="466"/>
                  <a:pt x="262" y="468"/>
                  <a:pt x="247" y="471"/>
                </a:cubicBezTo>
                <a:cubicBezTo>
                  <a:pt x="226" y="477"/>
                  <a:pt x="214" y="489"/>
                  <a:pt x="196" y="500"/>
                </a:cubicBezTo>
                <a:cubicBezTo>
                  <a:pt x="184" y="508"/>
                  <a:pt x="178" y="520"/>
                  <a:pt x="162" y="518"/>
                </a:cubicBezTo>
                <a:cubicBezTo>
                  <a:pt x="155" y="517"/>
                  <a:pt x="122" y="513"/>
                  <a:pt x="113" y="513"/>
                </a:cubicBezTo>
                <a:cubicBezTo>
                  <a:pt x="111" y="512"/>
                  <a:pt x="111" y="512"/>
                  <a:pt x="111" y="512"/>
                </a:cubicBezTo>
                <a:cubicBezTo>
                  <a:pt x="104" y="499"/>
                  <a:pt x="110" y="475"/>
                  <a:pt x="109" y="462"/>
                </a:cubicBezTo>
                <a:cubicBezTo>
                  <a:pt x="95" y="468"/>
                  <a:pt x="85" y="485"/>
                  <a:pt x="68" y="485"/>
                </a:cubicBezTo>
                <a:cubicBezTo>
                  <a:pt x="59" y="485"/>
                  <a:pt x="60" y="481"/>
                  <a:pt x="56" y="474"/>
                </a:cubicBezTo>
                <a:cubicBezTo>
                  <a:pt x="54" y="472"/>
                  <a:pt x="51" y="467"/>
                  <a:pt x="47" y="467"/>
                </a:cubicBezTo>
                <a:cubicBezTo>
                  <a:pt x="44" y="466"/>
                  <a:pt x="43" y="470"/>
                  <a:pt x="40" y="470"/>
                </a:cubicBezTo>
                <a:cubicBezTo>
                  <a:pt x="32" y="470"/>
                  <a:pt x="34" y="463"/>
                  <a:pt x="31" y="458"/>
                </a:cubicBezTo>
                <a:cubicBezTo>
                  <a:pt x="28" y="450"/>
                  <a:pt x="22" y="445"/>
                  <a:pt x="18" y="439"/>
                </a:cubicBezTo>
                <a:cubicBezTo>
                  <a:pt x="11" y="426"/>
                  <a:pt x="0" y="410"/>
                  <a:pt x="9" y="397"/>
                </a:cubicBezTo>
                <a:cubicBezTo>
                  <a:pt x="13" y="392"/>
                  <a:pt x="23" y="388"/>
                  <a:pt x="25" y="384"/>
                </a:cubicBezTo>
                <a:cubicBezTo>
                  <a:pt x="26" y="382"/>
                  <a:pt x="26" y="373"/>
                  <a:pt x="25" y="371"/>
                </a:cubicBezTo>
                <a:cubicBezTo>
                  <a:pt x="24" y="365"/>
                  <a:pt x="22" y="362"/>
                  <a:pt x="26" y="356"/>
                </a:cubicBezTo>
                <a:cubicBezTo>
                  <a:pt x="30" y="349"/>
                  <a:pt x="39" y="343"/>
                  <a:pt x="45" y="338"/>
                </a:cubicBezTo>
                <a:cubicBezTo>
                  <a:pt x="53" y="332"/>
                  <a:pt x="62" y="328"/>
                  <a:pt x="71" y="323"/>
                </a:cubicBezTo>
                <a:cubicBezTo>
                  <a:pt x="76" y="320"/>
                  <a:pt x="81" y="316"/>
                  <a:pt x="86" y="314"/>
                </a:cubicBezTo>
                <a:cubicBezTo>
                  <a:pt x="93" y="311"/>
                  <a:pt x="102" y="306"/>
                  <a:pt x="109" y="306"/>
                </a:cubicBezTo>
                <a:cubicBezTo>
                  <a:pt x="114" y="305"/>
                  <a:pt x="120" y="308"/>
                  <a:pt x="124" y="305"/>
                </a:cubicBezTo>
                <a:cubicBezTo>
                  <a:pt x="126" y="303"/>
                  <a:pt x="126" y="303"/>
                  <a:pt x="126" y="303"/>
                </a:cubicBezTo>
                <a:cubicBezTo>
                  <a:pt x="127" y="304"/>
                  <a:pt x="127" y="305"/>
                  <a:pt x="128" y="306"/>
                </a:cubicBezTo>
                <a:cubicBezTo>
                  <a:pt x="131" y="303"/>
                  <a:pt x="131" y="289"/>
                  <a:pt x="132" y="283"/>
                </a:cubicBezTo>
                <a:cubicBezTo>
                  <a:pt x="134" y="271"/>
                  <a:pt x="137" y="259"/>
                  <a:pt x="139" y="246"/>
                </a:cubicBezTo>
                <a:cubicBezTo>
                  <a:pt x="141" y="237"/>
                  <a:pt x="142" y="228"/>
                  <a:pt x="145" y="219"/>
                </a:cubicBezTo>
                <a:cubicBezTo>
                  <a:pt x="146" y="213"/>
                  <a:pt x="148" y="205"/>
                  <a:pt x="145" y="199"/>
                </a:cubicBezTo>
                <a:cubicBezTo>
                  <a:pt x="138" y="186"/>
                  <a:pt x="121" y="183"/>
                  <a:pt x="124" y="165"/>
                </a:cubicBezTo>
                <a:cubicBezTo>
                  <a:pt x="126" y="152"/>
                  <a:pt x="140" y="153"/>
                  <a:pt x="150" y="159"/>
                </a:cubicBezTo>
                <a:cubicBezTo>
                  <a:pt x="150" y="155"/>
                  <a:pt x="149" y="151"/>
                  <a:pt x="147" y="148"/>
                </a:cubicBezTo>
                <a:cubicBezTo>
                  <a:pt x="143" y="143"/>
                  <a:pt x="138" y="145"/>
                  <a:pt x="134" y="142"/>
                </a:cubicBezTo>
                <a:cubicBezTo>
                  <a:pt x="123" y="134"/>
                  <a:pt x="137" y="118"/>
                  <a:pt x="149" y="119"/>
                </a:cubicBezTo>
                <a:cubicBezTo>
                  <a:pt x="156" y="120"/>
                  <a:pt x="165" y="125"/>
                  <a:pt x="173" y="125"/>
                </a:cubicBezTo>
                <a:cubicBezTo>
                  <a:pt x="176" y="124"/>
                  <a:pt x="178" y="124"/>
                  <a:pt x="180" y="123"/>
                </a:cubicBezTo>
                <a:cubicBezTo>
                  <a:pt x="182" y="123"/>
                  <a:pt x="183" y="120"/>
                  <a:pt x="186" y="120"/>
                </a:cubicBezTo>
                <a:cubicBezTo>
                  <a:pt x="187" y="120"/>
                  <a:pt x="188" y="121"/>
                  <a:pt x="189" y="121"/>
                </a:cubicBezTo>
                <a:cubicBezTo>
                  <a:pt x="199" y="120"/>
                  <a:pt x="205" y="114"/>
                  <a:pt x="212" y="110"/>
                </a:cubicBezTo>
                <a:cubicBezTo>
                  <a:pt x="215" y="108"/>
                  <a:pt x="215" y="108"/>
                  <a:pt x="215" y="108"/>
                </a:cubicBezTo>
                <a:cubicBezTo>
                  <a:pt x="215" y="109"/>
                  <a:pt x="215" y="110"/>
                  <a:pt x="216" y="111"/>
                </a:cubicBezTo>
                <a:cubicBezTo>
                  <a:pt x="218" y="116"/>
                  <a:pt x="220" y="121"/>
                  <a:pt x="222" y="126"/>
                </a:cubicBezTo>
                <a:cubicBezTo>
                  <a:pt x="223" y="130"/>
                  <a:pt x="224" y="135"/>
                  <a:pt x="227" y="137"/>
                </a:cubicBezTo>
                <a:cubicBezTo>
                  <a:pt x="232" y="140"/>
                  <a:pt x="235" y="137"/>
                  <a:pt x="239" y="136"/>
                </a:cubicBezTo>
                <a:cubicBezTo>
                  <a:pt x="249" y="136"/>
                  <a:pt x="250" y="149"/>
                  <a:pt x="260" y="143"/>
                </a:cubicBezTo>
                <a:cubicBezTo>
                  <a:pt x="263" y="141"/>
                  <a:pt x="264" y="137"/>
                  <a:pt x="268" y="140"/>
                </a:cubicBezTo>
                <a:cubicBezTo>
                  <a:pt x="271" y="141"/>
                  <a:pt x="271" y="146"/>
                  <a:pt x="272" y="149"/>
                </a:cubicBezTo>
                <a:cubicBezTo>
                  <a:pt x="277" y="144"/>
                  <a:pt x="281" y="136"/>
                  <a:pt x="287" y="132"/>
                </a:cubicBezTo>
                <a:cubicBezTo>
                  <a:pt x="293" y="127"/>
                  <a:pt x="299" y="125"/>
                  <a:pt x="305" y="122"/>
                </a:cubicBezTo>
                <a:cubicBezTo>
                  <a:pt x="315" y="115"/>
                  <a:pt x="320" y="104"/>
                  <a:pt x="331" y="100"/>
                </a:cubicBezTo>
                <a:cubicBezTo>
                  <a:pt x="330" y="93"/>
                  <a:pt x="313" y="90"/>
                  <a:pt x="307" y="88"/>
                </a:cubicBezTo>
                <a:cubicBezTo>
                  <a:pt x="319" y="86"/>
                  <a:pt x="305" y="76"/>
                  <a:pt x="301" y="70"/>
                </a:cubicBezTo>
                <a:cubicBezTo>
                  <a:pt x="296" y="62"/>
                  <a:pt x="290" y="49"/>
                  <a:pt x="291" y="39"/>
                </a:cubicBezTo>
                <a:cubicBezTo>
                  <a:pt x="293" y="18"/>
                  <a:pt x="322" y="54"/>
                  <a:pt x="323" y="39"/>
                </a:cubicBezTo>
                <a:cubicBezTo>
                  <a:pt x="327" y="41"/>
                  <a:pt x="328" y="46"/>
                  <a:pt x="330" y="50"/>
                </a:cubicBezTo>
                <a:cubicBezTo>
                  <a:pt x="333" y="49"/>
                  <a:pt x="336" y="44"/>
                  <a:pt x="340" y="44"/>
                </a:cubicBezTo>
                <a:cubicBezTo>
                  <a:pt x="344" y="45"/>
                  <a:pt x="348" y="53"/>
                  <a:pt x="351" y="56"/>
                </a:cubicBezTo>
                <a:cubicBezTo>
                  <a:pt x="354" y="50"/>
                  <a:pt x="355" y="36"/>
                  <a:pt x="362" y="33"/>
                </a:cubicBezTo>
                <a:cubicBezTo>
                  <a:pt x="367" y="31"/>
                  <a:pt x="368" y="34"/>
                  <a:pt x="373" y="36"/>
                </a:cubicBezTo>
                <a:cubicBezTo>
                  <a:pt x="381" y="38"/>
                  <a:pt x="390" y="31"/>
                  <a:pt x="396" y="25"/>
                </a:cubicBezTo>
                <a:cubicBezTo>
                  <a:pt x="401" y="21"/>
                  <a:pt x="408" y="18"/>
                  <a:pt x="412" y="13"/>
                </a:cubicBezTo>
                <a:cubicBezTo>
                  <a:pt x="414" y="10"/>
                  <a:pt x="414" y="5"/>
                  <a:pt x="415" y="1"/>
                </a:cubicBezTo>
                <a:cubicBezTo>
                  <a:pt x="416" y="2"/>
                  <a:pt x="416" y="2"/>
                  <a:pt x="416" y="2"/>
                </a:cubicBezTo>
                <a:cubicBezTo>
                  <a:pt x="417" y="3"/>
                  <a:pt x="418" y="4"/>
                  <a:pt x="419" y="5"/>
                </a:cubicBezTo>
                <a:cubicBezTo>
                  <a:pt x="425" y="5"/>
                  <a:pt x="432" y="0"/>
                  <a:pt x="437" y="7"/>
                </a:cubicBezTo>
                <a:cubicBezTo>
                  <a:pt x="439" y="11"/>
                  <a:pt x="437" y="15"/>
                  <a:pt x="437" y="19"/>
                </a:cubicBezTo>
                <a:cubicBezTo>
                  <a:pt x="437" y="23"/>
                  <a:pt x="439" y="26"/>
                  <a:pt x="440" y="30"/>
                </a:cubicBezTo>
                <a:cubicBezTo>
                  <a:pt x="447" y="30"/>
                  <a:pt x="452" y="34"/>
                  <a:pt x="450" y="42"/>
                </a:cubicBezTo>
                <a:cubicBezTo>
                  <a:pt x="449" y="47"/>
                  <a:pt x="447" y="47"/>
                  <a:pt x="443" y="51"/>
                </a:cubicBezTo>
                <a:cubicBezTo>
                  <a:pt x="440" y="55"/>
                  <a:pt x="439" y="59"/>
                  <a:pt x="438" y="64"/>
                </a:cubicBezTo>
                <a:cubicBezTo>
                  <a:pt x="436" y="73"/>
                  <a:pt x="444" y="75"/>
                  <a:pt x="446" y="84"/>
                </a:cubicBezTo>
                <a:cubicBezTo>
                  <a:pt x="448" y="90"/>
                  <a:pt x="451" y="99"/>
                  <a:pt x="455" y="105"/>
                </a:cubicBezTo>
                <a:cubicBezTo>
                  <a:pt x="458" y="109"/>
                  <a:pt x="464" y="115"/>
                  <a:pt x="468" y="117"/>
                </a:cubicBezTo>
                <a:cubicBezTo>
                  <a:pt x="474" y="121"/>
                  <a:pt x="485" y="114"/>
                  <a:pt x="491" y="110"/>
                </a:cubicBezTo>
                <a:cubicBezTo>
                  <a:pt x="498" y="107"/>
                  <a:pt x="504" y="102"/>
                  <a:pt x="511" y="100"/>
                </a:cubicBezTo>
                <a:cubicBezTo>
                  <a:pt x="514" y="99"/>
                  <a:pt x="518" y="99"/>
                  <a:pt x="521" y="98"/>
                </a:cubicBezTo>
                <a:cubicBezTo>
                  <a:pt x="525" y="97"/>
                  <a:pt x="527" y="93"/>
                  <a:pt x="531" y="92"/>
                </a:cubicBezTo>
                <a:cubicBezTo>
                  <a:pt x="534" y="91"/>
                  <a:pt x="539" y="91"/>
                  <a:pt x="541" y="89"/>
                </a:cubicBezTo>
                <a:cubicBezTo>
                  <a:pt x="541" y="88"/>
                  <a:pt x="541" y="88"/>
                  <a:pt x="541" y="88"/>
                </a:cubicBezTo>
                <a:cubicBezTo>
                  <a:pt x="546" y="92"/>
                  <a:pt x="556" y="102"/>
                  <a:pt x="560" y="94"/>
                </a:cubicBezTo>
                <a:cubicBezTo>
                  <a:pt x="564" y="88"/>
                  <a:pt x="561" y="82"/>
                  <a:pt x="561" y="76"/>
                </a:cubicBezTo>
                <a:cubicBezTo>
                  <a:pt x="567" y="77"/>
                  <a:pt x="571" y="73"/>
                  <a:pt x="577" y="74"/>
                </a:cubicBezTo>
                <a:cubicBezTo>
                  <a:pt x="581" y="74"/>
                  <a:pt x="583" y="75"/>
                  <a:pt x="586" y="74"/>
                </a:cubicBezTo>
                <a:cubicBezTo>
                  <a:pt x="588" y="74"/>
                  <a:pt x="591" y="70"/>
                  <a:pt x="592" y="70"/>
                </a:cubicBezTo>
                <a:cubicBezTo>
                  <a:pt x="597" y="69"/>
                  <a:pt x="596" y="72"/>
                  <a:pt x="599" y="73"/>
                </a:cubicBezTo>
                <a:cubicBezTo>
                  <a:pt x="602" y="75"/>
                  <a:pt x="606" y="74"/>
                  <a:pt x="608" y="77"/>
                </a:cubicBezTo>
                <a:cubicBezTo>
                  <a:pt x="608" y="79"/>
                  <a:pt x="608" y="79"/>
                  <a:pt x="608" y="79"/>
                </a:cubicBezTo>
                <a:cubicBezTo>
                  <a:pt x="610" y="80"/>
                  <a:pt x="613" y="82"/>
                  <a:pt x="614" y="82"/>
                </a:cubicBezTo>
                <a:cubicBezTo>
                  <a:pt x="618" y="83"/>
                  <a:pt x="617" y="82"/>
                  <a:pt x="620" y="80"/>
                </a:cubicBezTo>
                <a:cubicBezTo>
                  <a:pt x="625" y="78"/>
                  <a:pt x="631" y="72"/>
                  <a:pt x="635" y="72"/>
                </a:cubicBezTo>
                <a:cubicBezTo>
                  <a:pt x="639" y="72"/>
                  <a:pt x="643" y="76"/>
                  <a:pt x="647" y="74"/>
                </a:cubicBezTo>
                <a:cubicBezTo>
                  <a:pt x="650" y="73"/>
                  <a:pt x="650" y="71"/>
                  <a:pt x="652" y="70"/>
                </a:cubicBezTo>
                <a:cubicBezTo>
                  <a:pt x="655" y="69"/>
                  <a:pt x="657" y="72"/>
                  <a:pt x="660" y="71"/>
                </a:cubicBezTo>
                <a:cubicBezTo>
                  <a:pt x="665" y="70"/>
                  <a:pt x="666" y="59"/>
                  <a:pt x="668" y="55"/>
                </a:cubicBezTo>
                <a:cubicBezTo>
                  <a:pt x="671" y="47"/>
                  <a:pt x="676" y="41"/>
                  <a:pt x="680" y="34"/>
                </a:cubicBezTo>
                <a:cubicBezTo>
                  <a:pt x="684" y="26"/>
                  <a:pt x="693" y="16"/>
                  <a:pt x="694" y="7"/>
                </a:cubicBezTo>
                <a:cubicBezTo>
                  <a:pt x="695" y="7"/>
                  <a:pt x="695" y="7"/>
                  <a:pt x="695" y="7"/>
                </a:cubicBezTo>
                <a:cubicBezTo>
                  <a:pt x="705" y="4"/>
                  <a:pt x="715" y="44"/>
                  <a:pt x="716" y="51"/>
                </a:cubicBezTo>
                <a:cubicBezTo>
                  <a:pt x="718" y="58"/>
                  <a:pt x="720" y="71"/>
                  <a:pt x="732" y="79"/>
                </a:cubicBezTo>
                <a:cubicBezTo>
                  <a:pt x="743" y="87"/>
                  <a:pt x="748" y="99"/>
                  <a:pt x="747" y="103"/>
                </a:cubicBezTo>
                <a:cubicBezTo>
                  <a:pt x="747" y="107"/>
                  <a:pt x="733" y="124"/>
                  <a:pt x="728" y="131"/>
                </a:cubicBezTo>
                <a:cubicBezTo>
                  <a:pt x="722" y="138"/>
                  <a:pt x="714" y="145"/>
                  <a:pt x="710" y="148"/>
                </a:cubicBezTo>
                <a:cubicBezTo>
                  <a:pt x="706" y="151"/>
                  <a:pt x="700" y="157"/>
                  <a:pt x="692" y="175"/>
                </a:cubicBezTo>
                <a:cubicBezTo>
                  <a:pt x="683" y="193"/>
                  <a:pt x="669" y="196"/>
                  <a:pt x="669" y="196"/>
                </a:cubicBezTo>
                <a:cubicBezTo>
                  <a:pt x="681" y="199"/>
                  <a:pt x="707" y="182"/>
                  <a:pt x="713" y="179"/>
                </a:cubicBezTo>
                <a:cubicBezTo>
                  <a:pt x="719" y="176"/>
                  <a:pt x="723" y="178"/>
                  <a:pt x="725" y="175"/>
                </a:cubicBezTo>
                <a:cubicBezTo>
                  <a:pt x="728" y="172"/>
                  <a:pt x="725" y="162"/>
                  <a:pt x="725" y="162"/>
                </a:cubicBezTo>
                <a:cubicBezTo>
                  <a:pt x="725" y="162"/>
                  <a:pt x="727" y="153"/>
                  <a:pt x="734" y="145"/>
                </a:cubicBezTo>
                <a:cubicBezTo>
                  <a:pt x="741" y="138"/>
                  <a:pt x="745" y="146"/>
                  <a:pt x="754" y="144"/>
                </a:cubicBezTo>
                <a:cubicBezTo>
                  <a:pt x="762" y="142"/>
                  <a:pt x="768" y="141"/>
                  <a:pt x="787" y="141"/>
                </a:cubicBezTo>
                <a:cubicBezTo>
                  <a:pt x="807" y="142"/>
                  <a:pt x="787" y="155"/>
                  <a:pt x="787" y="164"/>
                </a:cubicBezTo>
                <a:cubicBezTo>
                  <a:pt x="787" y="174"/>
                  <a:pt x="765" y="187"/>
                  <a:pt x="765" y="191"/>
                </a:cubicBezTo>
                <a:cubicBezTo>
                  <a:pt x="765" y="194"/>
                  <a:pt x="778" y="192"/>
                  <a:pt x="788" y="186"/>
                </a:cubicBezTo>
                <a:cubicBezTo>
                  <a:pt x="798" y="180"/>
                  <a:pt x="795" y="175"/>
                  <a:pt x="798" y="162"/>
                </a:cubicBezTo>
                <a:cubicBezTo>
                  <a:pt x="801" y="149"/>
                  <a:pt x="817" y="150"/>
                  <a:pt x="829" y="146"/>
                </a:cubicBezTo>
                <a:cubicBezTo>
                  <a:pt x="842" y="143"/>
                  <a:pt x="860" y="153"/>
                  <a:pt x="878" y="164"/>
                </a:cubicBezTo>
                <a:cubicBezTo>
                  <a:pt x="896" y="176"/>
                  <a:pt x="896" y="178"/>
                  <a:pt x="902" y="177"/>
                </a:cubicBezTo>
                <a:cubicBezTo>
                  <a:pt x="908" y="176"/>
                  <a:pt x="909" y="178"/>
                  <a:pt x="913" y="181"/>
                </a:cubicBezTo>
                <a:cubicBezTo>
                  <a:pt x="917" y="184"/>
                  <a:pt x="911" y="195"/>
                  <a:pt x="910" y="198"/>
                </a:cubicBezTo>
                <a:cubicBezTo>
                  <a:pt x="909" y="202"/>
                  <a:pt x="912" y="216"/>
                  <a:pt x="914" y="210"/>
                </a:cubicBezTo>
                <a:cubicBezTo>
                  <a:pt x="916" y="205"/>
                  <a:pt x="915" y="213"/>
                  <a:pt x="915" y="213"/>
                </a:cubicBezTo>
                <a:cubicBezTo>
                  <a:pt x="915" y="213"/>
                  <a:pt x="928" y="208"/>
                  <a:pt x="938" y="198"/>
                </a:cubicBezTo>
                <a:cubicBezTo>
                  <a:pt x="948" y="189"/>
                  <a:pt x="959" y="193"/>
                  <a:pt x="963" y="193"/>
                </a:cubicBezTo>
                <a:cubicBezTo>
                  <a:pt x="967" y="192"/>
                  <a:pt x="972" y="198"/>
                  <a:pt x="981" y="203"/>
                </a:cubicBezTo>
                <a:cubicBezTo>
                  <a:pt x="990" y="208"/>
                  <a:pt x="998" y="207"/>
                  <a:pt x="1011" y="205"/>
                </a:cubicBezTo>
                <a:cubicBezTo>
                  <a:pt x="1024" y="204"/>
                  <a:pt x="1024" y="198"/>
                  <a:pt x="1042" y="198"/>
                </a:cubicBezTo>
                <a:cubicBezTo>
                  <a:pt x="1059" y="198"/>
                  <a:pt x="1095" y="225"/>
                  <a:pt x="1110" y="240"/>
                </a:cubicBezTo>
                <a:cubicBezTo>
                  <a:pt x="1125" y="254"/>
                  <a:pt x="1148" y="255"/>
                  <a:pt x="1164" y="254"/>
                </a:cubicBezTo>
                <a:cubicBezTo>
                  <a:pt x="1180" y="252"/>
                  <a:pt x="1185" y="254"/>
                  <a:pt x="1196" y="287"/>
                </a:cubicBezTo>
                <a:cubicBezTo>
                  <a:pt x="1226" y="373"/>
                  <a:pt x="1169" y="409"/>
                  <a:pt x="1163" y="415"/>
                </a:cubicBezTo>
                <a:cubicBezTo>
                  <a:pt x="1158" y="422"/>
                  <a:pt x="1155" y="428"/>
                  <a:pt x="1145" y="437"/>
                </a:cubicBezTo>
                <a:cubicBezTo>
                  <a:pt x="1135" y="445"/>
                  <a:pt x="1130" y="449"/>
                  <a:pt x="1123" y="465"/>
                </a:cubicBezTo>
                <a:cubicBezTo>
                  <a:pt x="1117" y="481"/>
                  <a:pt x="1104" y="502"/>
                  <a:pt x="1098" y="514"/>
                </a:cubicBezTo>
                <a:cubicBezTo>
                  <a:pt x="1091" y="526"/>
                  <a:pt x="1091" y="523"/>
                  <a:pt x="1081" y="516"/>
                </a:cubicBezTo>
                <a:cubicBezTo>
                  <a:pt x="1070" y="510"/>
                  <a:pt x="1075" y="525"/>
                  <a:pt x="1067" y="533"/>
                </a:cubicBezTo>
                <a:cubicBezTo>
                  <a:pt x="1058" y="541"/>
                  <a:pt x="1063" y="566"/>
                  <a:pt x="1065" y="583"/>
                </a:cubicBezTo>
                <a:cubicBezTo>
                  <a:pt x="1067" y="601"/>
                  <a:pt x="1068" y="616"/>
                  <a:pt x="1065" y="622"/>
                </a:cubicBezTo>
                <a:cubicBezTo>
                  <a:pt x="1062" y="628"/>
                  <a:pt x="1061" y="635"/>
                  <a:pt x="1058" y="661"/>
                </a:cubicBezTo>
                <a:cubicBezTo>
                  <a:pt x="1055" y="687"/>
                  <a:pt x="1050" y="680"/>
                  <a:pt x="1038" y="689"/>
                </a:cubicBezTo>
                <a:cubicBezTo>
                  <a:pt x="1026" y="697"/>
                  <a:pt x="1036" y="702"/>
                  <a:pt x="1031" y="729"/>
                </a:cubicBezTo>
                <a:cubicBezTo>
                  <a:pt x="1026" y="757"/>
                  <a:pt x="1009" y="766"/>
                  <a:pt x="995" y="783"/>
                </a:cubicBezTo>
                <a:cubicBezTo>
                  <a:pt x="982" y="799"/>
                  <a:pt x="992" y="789"/>
                  <a:pt x="988" y="794"/>
                </a:cubicBezTo>
                <a:cubicBezTo>
                  <a:pt x="985" y="799"/>
                  <a:pt x="985" y="806"/>
                  <a:pt x="985" y="808"/>
                </a:cubicBezTo>
                <a:cubicBezTo>
                  <a:pt x="985" y="811"/>
                  <a:pt x="975" y="816"/>
                  <a:pt x="965" y="819"/>
                </a:cubicBezTo>
                <a:cubicBezTo>
                  <a:pt x="956" y="821"/>
                  <a:pt x="955" y="824"/>
                  <a:pt x="949" y="839"/>
                </a:cubicBezTo>
                <a:cubicBezTo>
                  <a:pt x="944" y="853"/>
                  <a:pt x="906" y="848"/>
                  <a:pt x="900" y="845"/>
                </a:cubicBezTo>
                <a:cubicBezTo>
                  <a:pt x="894" y="842"/>
                  <a:pt x="885" y="848"/>
                  <a:pt x="882" y="851"/>
                </a:cubicBezTo>
                <a:cubicBezTo>
                  <a:pt x="878" y="854"/>
                  <a:pt x="874" y="861"/>
                  <a:pt x="869" y="860"/>
                </a:cubicBezTo>
                <a:cubicBezTo>
                  <a:pt x="863" y="859"/>
                  <a:pt x="859" y="863"/>
                  <a:pt x="855" y="869"/>
                </a:cubicBezTo>
                <a:cubicBezTo>
                  <a:pt x="850" y="875"/>
                  <a:pt x="841" y="877"/>
                  <a:pt x="829" y="879"/>
                </a:cubicBezTo>
                <a:cubicBezTo>
                  <a:pt x="818" y="881"/>
                  <a:pt x="788" y="907"/>
                  <a:pt x="776" y="915"/>
                </a:cubicBezTo>
                <a:cubicBezTo>
                  <a:pt x="764" y="923"/>
                  <a:pt x="764" y="918"/>
                  <a:pt x="757" y="925"/>
                </a:cubicBezTo>
                <a:cubicBezTo>
                  <a:pt x="751" y="932"/>
                  <a:pt x="757" y="931"/>
                  <a:pt x="745" y="941"/>
                </a:cubicBezTo>
                <a:cubicBezTo>
                  <a:pt x="733" y="950"/>
                  <a:pt x="741" y="957"/>
                  <a:pt x="739" y="977"/>
                </a:cubicBezTo>
                <a:cubicBezTo>
                  <a:pt x="737" y="997"/>
                  <a:pt x="736" y="1014"/>
                  <a:pt x="736" y="1016"/>
                </a:cubicBezTo>
                <a:cubicBezTo>
                  <a:pt x="735" y="1018"/>
                  <a:pt x="729" y="1023"/>
                  <a:pt x="725" y="1026"/>
                </a:cubicBezTo>
                <a:cubicBezTo>
                  <a:pt x="721" y="1028"/>
                  <a:pt x="714" y="1037"/>
                  <a:pt x="706" y="1041"/>
                </a:cubicBezTo>
                <a:cubicBezTo>
                  <a:pt x="698" y="1045"/>
                  <a:pt x="695" y="1053"/>
                  <a:pt x="691" y="1053"/>
                </a:cubicBezTo>
                <a:cubicBezTo>
                  <a:pt x="687" y="1054"/>
                  <a:pt x="682" y="1069"/>
                  <a:pt x="680" y="1071"/>
                </a:cubicBezTo>
                <a:cubicBezTo>
                  <a:pt x="678" y="1073"/>
                  <a:pt x="686" y="1064"/>
                  <a:pt x="671" y="1089"/>
                </a:cubicBezTo>
                <a:cubicBezTo>
                  <a:pt x="656" y="1113"/>
                  <a:pt x="636" y="1118"/>
                  <a:pt x="636" y="1118"/>
                </a:cubicBezTo>
                <a:cubicBezTo>
                  <a:pt x="650" y="1110"/>
                  <a:pt x="665" y="1082"/>
                  <a:pt x="665" y="1079"/>
                </a:cubicBezTo>
                <a:cubicBezTo>
                  <a:pt x="665" y="1076"/>
                  <a:pt x="663" y="1080"/>
                  <a:pt x="656" y="1080"/>
                </a:cubicBezTo>
                <a:cubicBezTo>
                  <a:pt x="650" y="1081"/>
                  <a:pt x="653" y="1073"/>
                  <a:pt x="650" y="1074"/>
                </a:cubicBezTo>
                <a:cubicBezTo>
                  <a:pt x="646" y="1075"/>
                  <a:pt x="652" y="1080"/>
                  <a:pt x="650" y="1083"/>
                </a:cubicBezTo>
                <a:cubicBezTo>
                  <a:pt x="649" y="1087"/>
                  <a:pt x="643" y="1092"/>
                  <a:pt x="640" y="1095"/>
                </a:cubicBezTo>
                <a:cubicBezTo>
                  <a:pt x="637" y="1098"/>
                  <a:pt x="629" y="1105"/>
                  <a:pt x="624" y="1113"/>
                </a:cubicBezTo>
                <a:cubicBezTo>
                  <a:pt x="619" y="1120"/>
                  <a:pt x="621" y="1127"/>
                  <a:pt x="621" y="1127"/>
                </a:cubicBezTo>
                <a:cubicBezTo>
                  <a:pt x="621" y="1127"/>
                  <a:pt x="613" y="1130"/>
                  <a:pt x="606" y="1146"/>
                </a:cubicBezTo>
                <a:cubicBezTo>
                  <a:pt x="599" y="1162"/>
                  <a:pt x="603" y="1156"/>
                  <a:pt x="594" y="1164"/>
                </a:cubicBezTo>
                <a:cubicBezTo>
                  <a:pt x="584" y="1172"/>
                  <a:pt x="579" y="1176"/>
                  <a:pt x="574" y="1178"/>
                </a:cubicBezTo>
                <a:cubicBezTo>
                  <a:pt x="572" y="1179"/>
                  <a:pt x="571" y="1181"/>
                  <a:pt x="569" y="1183"/>
                </a:cubicBezTo>
                <a:lnTo>
                  <a:pt x="569" y="118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56" name="Freeform 389"/>
          <p:cNvSpPr>
            <a:spLocks/>
          </p:cNvSpPr>
          <p:nvPr userDrawn="1"/>
        </p:nvSpPr>
        <p:spPr bwMode="auto">
          <a:xfrm>
            <a:off x="3758611" y="5818742"/>
            <a:ext cx="571207" cy="802369"/>
          </a:xfrm>
          <a:custGeom>
            <a:avLst/>
            <a:gdLst>
              <a:gd name="T0" fmla="*/ 2147483646 w 613"/>
              <a:gd name="T1" fmla="*/ 2147483646 h 860"/>
              <a:gd name="T2" fmla="*/ 2147483646 w 613"/>
              <a:gd name="T3" fmla="*/ 2147483646 h 860"/>
              <a:gd name="T4" fmla="*/ 2147483646 w 613"/>
              <a:gd name="T5" fmla="*/ 2147483646 h 860"/>
              <a:gd name="T6" fmla="*/ 2147483646 w 613"/>
              <a:gd name="T7" fmla="*/ 2147483646 h 860"/>
              <a:gd name="T8" fmla="*/ 2147483646 w 613"/>
              <a:gd name="T9" fmla="*/ 2147483646 h 860"/>
              <a:gd name="T10" fmla="*/ 2147483646 w 613"/>
              <a:gd name="T11" fmla="*/ 2147483646 h 860"/>
              <a:gd name="T12" fmla="*/ 2147483646 w 613"/>
              <a:gd name="T13" fmla="*/ 2147483646 h 860"/>
              <a:gd name="T14" fmla="*/ 2147483646 w 613"/>
              <a:gd name="T15" fmla="*/ 2147483646 h 860"/>
              <a:gd name="T16" fmla="*/ 2147483646 w 613"/>
              <a:gd name="T17" fmla="*/ 2147483646 h 860"/>
              <a:gd name="T18" fmla="*/ 2147483646 w 613"/>
              <a:gd name="T19" fmla="*/ 2147483646 h 860"/>
              <a:gd name="T20" fmla="*/ 2147483646 w 613"/>
              <a:gd name="T21" fmla="*/ 2147483646 h 860"/>
              <a:gd name="T22" fmla="*/ 2147483646 w 613"/>
              <a:gd name="T23" fmla="*/ 2147483646 h 860"/>
              <a:gd name="T24" fmla="*/ 2147483646 w 613"/>
              <a:gd name="T25" fmla="*/ 2147483646 h 860"/>
              <a:gd name="T26" fmla="*/ 2147483646 w 613"/>
              <a:gd name="T27" fmla="*/ 2147483646 h 860"/>
              <a:gd name="T28" fmla="*/ 2147483646 w 613"/>
              <a:gd name="T29" fmla="*/ 2147483646 h 860"/>
              <a:gd name="T30" fmla="*/ 2147483646 w 613"/>
              <a:gd name="T31" fmla="*/ 2147483646 h 860"/>
              <a:gd name="T32" fmla="*/ 2147483646 w 613"/>
              <a:gd name="T33" fmla="*/ 2147483646 h 860"/>
              <a:gd name="T34" fmla="*/ 2147483646 w 613"/>
              <a:gd name="T35" fmla="*/ 2147483646 h 860"/>
              <a:gd name="T36" fmla="*/ 2147483646 w 613"/>
              <a:gd name="T37" fmla="*/ 2147483646 h 860"/>
              <a:gd name="T38" fmla="*/ 2147483646 w 613"/>
              <a:gd name="T39" fmla="*/ 2147483646 h 860"/>
              <a:gd name="T40" fmla="*/ 2147483646 w 613"/>
              <a:gd name="T41" fmla="*/ 2147483646 h 860"/>
              <a:gd name="T42" fmla="*/ 2147483646 w 613"/>
              <a:gd name="T43" fmla="*/ 2147483646 h 860"/>
              <a:gd name="T44" fmla="*/ 2147483646 w 613"/>
              <a:gd name="T45" fmla="*/ 2147483646 h 860"/>
              <a:gd name="T46" fmla="*/ 2147483646 w 613"/>
              <a:gd name="T47" fmla="*/ 2147483646 h 860"/>
              <a:gd name="T48" fmla="*/ 2147483646 w 613"/>
              <a:gd name="T49" fmla="*/ 2147483646 h 860"/>
              <a:gd name="T50" fmla="*/ 2147483646 w 613"/>
              <a:gd name="T51" fmla="*/ 2147483646 h 860"/>
              <a:gd name="T52" fmla="*/ 2147483646 w 613"/>
              <a:gd name="T53" fmla="*/ 2147483646 h 860"/>
              <a:gd name="T54" fmla="*/ 2147483646 w 613"/>
              <a:gd name="T55" fmla="*/ 2147483646 h 860"/>
              <a:gd name="T56" fmla="*/ 2147483646 w 613"/>
              <a:gd name="T57" fmla="*/ 2147483646 h 860"/>
              <a:gd name="T58" fmla="*/ 2147483646 w 613"/>
              <a:gd name="T59" fmla="*/ 2147483646 h 860"/>
              <a:gd name="T60" fmla="*/ 2147483646 w 613"/>
              <a:gd name="T61" fmla="*/ 2147483646 h 860"/>
              <a:gd name="T62" fmla="*/ 2147483646 w 613"/>
              <a:gd name="T63" fmla="*/ 2147483646 h 860"/>
              <a:gd name="T64" fmla="*/ 2147483646 w 613"/>
              <a:gd name="T65" fmla="*/ 2147483646 h 860"/>
              <a:gd name="T66" fmla="*/ 2147483646 w 613"/>
              <a:gd name="T67" fmla="*/ 2147483646 h 860"/>
              <a:gd name="T68" fmla="*/ 2147483646 w 613"/>
              <a:gd name="T69" fmla="*/ 2147483646 h 860"/>
              <a:gd name="T70" fmla="*/ 2147483646 w 613"/>
              <a:gd name="T71" fmla="*/ 2147483646 h 860"/>
              <a:gd name="T72" fmla="*/ 2147483646 w 613"/>
              <a:gd name="T73" fmla="*/ 2147483646 h 860"/>
              <a:gd name="T74" fmla="*/ 2147483646 w 613"/>
              <a:gd name="T75" fmla="*/ 2147483646 h 860"/>
              <a:gd name="T76" fmla="*/ 2147483646 w 613"/>
              <a:gd name="T77" fmla="*/ 2147483646 h 860"/>
              <a:gd name="T78" fmla="*/ 2147483646 w 613"/>
              <a:gd name="T79" fmla="*/ 2147483646 h 860"/>
              <a:gd name="T80" fmla="*/ 2147483646 w 613"/>
              <a:gd name="T81" fmla="*/ 2147483646 h 860"/>
              <a:gd name="T82" fmla="*/ 2147483646 w 613"/>
              <a:gd name="T83" fmla="*/ 2147483646 h 860"/>
              <a:gd name="T84" fmla="*/ 2147483646 w 613"/>
              <a:gd name="T85" fmla="*/ 2147483646 h 860"/>
              <a:gd name="T86" fmla="*/ 2147483646 w 613"/>
              <a:gd name="T87" fmla="*/ 2147483646 h 860"/>
              <a:gd name="T88" fmla="*/ 2147483646 w 613"/>
              <a:gd name="T89" fmla="*/ 2147483646 h 860"/>
              <a:gd name="T90" fmla="*/ 2147483646 w 613"/>
              <a:gd name="T91" fmla="*/ 2147483646 h 860"/>
              <a:gd name="T92" fmla="*/ 2147483646 w 613"/>
              <a:gd name="T93" fmla="*/ 2147483646 h 860"/>
              <a:gd name="T94" fmla="*/ 2147483646 w 613"/>
              <a:gd name="T95" fmla="*/ 2147483646 h 860"/>
              <a:gd name="T96" fmla="*/ 2147483646 w 613"/>
              <a:gd name="T97" fmla="*/ 2147483646 h 860"/>
              <a:gd name="T98" fmla="*/ 2147483646 w 613"/>
              <a:gd name="T99" fmla="*/ 2147483646 h 860"/>
              <a:gd name="T100" fmla="*/ 2147483646 w 613"/>
              <a:gd name="T101" fmla="*/ 2147483646 h 860"/>
              <a:gd name="T102" fmla="*/ 2147483646 w 613"/>
              <a:gd name="T103" fmla="*/ 2147483646 h 860"/>
              <a:gd name="T104" fmla="*/ 2147483646 w 613"/>
              <a:gd name="T105" fmla="*/ 2147483646 h 860"/>
              <a:gd name="T106" fmla="*/ 2147483646 w 613"/>
              <a:gd name="T107" fmla="*/ 2147483646 h 860"/>
              <a:gd name="T108" fmla="*/ 2147483646 w 613"/>
              <a:gd name="T109" fmla="*/ 2147483646 h 860"/>
              <a:gd name="T110" fmla="*/ 2147483646 w 613"/>
              <a:gd name="T111" fmla="*/ 2147483646 h 860"/>
              <a:gd name="T112" fmla="*/ 2147483646 w 613"/>
              <a:gd name="T113" fmla="*/ 2147483646 h 860"/>
              <a:gd name="T114" fmla="*/ 2147483646 w 613"/>
              <a:gd name="T115" fmla="*/ 2147483646 h 860"/>
              <a:gd name="T116" fmla="*/ 2147483646 w 613"/>
              <a:gd name="T117" fmla="*/ 2147483646 h 860"/>
              <a:gd name="T118" fmla="*/ 2147483646 w 613"/>
              <a:gd name="T119" fmla="*/ 2147483646 h 860"/>
              <a:gd name="T120" fmla="*/ 2147483646 w 613"/>
              <a:gd name="T121" fmla="*/ 2147483646 h 860"/>
              <a:gd name="T122" fmla="*/ 2147483646 w 613"/>
              <a:gd name="T123" fmla="*/ 2147483646 h 860"/>
              <a:gd name="T124" fmla="*/ 2147483646 w 613"/>
              <a:gd name="T125" fmla="*/ 2147483646 h 86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13"/>
              <a:gd name="T190" fmla="*/ 0 h 860"/>
              <a:gd name="T191" fmla="*/ 613 w 613"/>
              <a:gd name="T192" fmla="*/ 860 h 86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13" h="860">
                <a:moveTo>
                  <a:pt x="222" y="22"/>
                </a:moveTo>
                <a:cubicBezTo>
                  <a:pt x="222" y="25"/>
                  <a:pt x="221" y="31"/>
                  <a:pt x="220" y="42"/>
                </a:cubicBezTo>
                <a:cubicBezTo>
                  <a:pt x="219" y="60"/>
                  <a:pt x="218" y="65"/>
                  <a:pt x="199" y="74"/>
                </a:cubicBezTo>
                <a:cubicBezTo>
                  <a:pt x="181" y="83"/>
                  <a:pt x="173" y="71"/>
                  <a:pt x="177" y="88"/>
                </a:cubicBezTo>
                <a:cubicBezTo>
                  <a:pt x="180" y="105"/>
                  <a:pt x="185" y="119"/>
                  <a:pt x="182" y="126"/>
                </a:cubicBezTo>
                <a:cubicBezTo>
                  <a:pt x="180" y="133"/>
                  <a:pt x="172" y="140"/>
                  <a:pt x="174" y="143"/>
                </a:cubicBezTo>
                <a:cubicBezTo>
                  <a:pt x="177" y="146"/>
                  <a:pt x="187" y="145"/>
                  <a:pt x="182" y="151"/>
                </a:cubicBezTo>
                <a:cubicBezTo>
                  <a:pt x="178" y="157"/>
                  <a:pt x="160" y="163"/>
                  <a:pt x="154" y="169"/>
                </a:cubicBezTo>
                <a:cubicBezTo>
                  <a:pt x="147" y="175"/>
                  <a:pt x="149" y="182"/>
                  <a:pt x="146" y="189"/>
                </a:cubicBezTo>
                <a:cubicBezTo>
                  <a:pt x="143" y="196"/>
                  <a:pt x="126" y="230"/>
                  <a:pt x="127" y="234"/>
                </a:cubicBezTo>
                <a:cubicBezTo>
                  <a:pt x="129" y="238"/>
                  <a:pt x="132" y="251"/>
                  <a:pt x="125" y="256"/>
                </a:cubicBezTo>
                <a:cubicBezTo>
                  <a:pt x="117" y="261"/>
                  <a:pt x="107" y="267"/>
                  <a:pt x="110" y="277"/>
                </a:cubicBezTo>
                <a:cubicBezTo>
                  <a:pt x="114" y="288"/>
                  <a:pt x="129" y="324"/>
                  <a:pt x="129" y="332"/>
                </a:cubicBezTo>
                <a:cubicBezTo>
                  <a:pt x="128" y="340"/>
                  <a:pt x="127" y="349"/>
                  <a:pt x="123" y="359"/>
                </a:cubicBezTo>
                <a:cubicBezTo>
                  <a:pt x="118" y="369"/>
                  <a:pt x="106" y="371"/>
                  <a:pt x="105" y="383"/>
                </a:cubicBezTo>
                <a:cubicBezTo>
                  <a:pt x="104" y="395"/>
                  <a:pt x="107" y="398"/>
                  <a:pt x="105" y="410"/>
                </a:cubicBezTo>
                <a:cubicBezTo>
                  <a:pt x="102" y="421"/>
                  <a:pt x="103" y="408"/>
                  <a:pt x="92" y="428"/>
                </a:cubicBezTo>
                <a:cubicBezTo>
                  <a:pt x="80" y="448"/>
                  <a:pt x="82" y="455"/>
                  <a:pt x="83" y="463"/>
                </a:cubicBezTo>
                <a:cubicBezTo>
                  <a:pt x="84" y="471"/>
                  <a:pt x="85" y="472"/>
                  <a:pt x="86" y="477"/>
                </a:cubicBezTo>
                <a:cubicBezTo>
                  <a:pt x="88" y="482"/>
                  <a:pt x="99" y="480"/>
                  <a:pt x="86" y="489"/>
                </a:cubicBezTo>
                <a:cubicBezTo>
                  <a:pt x="74" y="499"/>
                  <a:pt x="66" y="496"/>
                  <a:pt x="63" y="505"/>
                </a:cubicBezTo>
                <a:cubicBezTo>
                  <a:pt x="60" y="514"/>
                  <a:pt x="62" y="505"/>
                  <a:pt x="62" y="520"/>
                </a:cubicBezTo>
                <a:cubicBezTo>
                  <a:pt x="61" y="536"/>
                  <a:pt x="60" y="533"/>
                  <a:pt x="60" y="551"/>
                </a:cubicBezTo>
                <a:cubicBezTo>
                  <a:pt x="60" y="568"/>
                  <a:pt x="58" y="571"/>
                  <a:pt x="54" y="579"/>
                </a:cubicBezTo>
                <a:cubicBezTo>
                  <a:pt x="51" y="586"/>
                  <a:pt x="38" y="594"/>
                  <a:pt x="40" y="601"/>
                </a:cubicBezTo>
                <a:cubicBezTo>
                  <a:pt x="43" y="608"/>
                  <a:pt x="55" y="607"/>
                  <a:pt x="52" y="620"/>
                </a:cubicBezTo>
                <a:cubicBezTo>
                  <a:pt x="48" y="633"/>
                  <a:pt x="46" y="633"/>
                  <a:pt x="53" y="638"/>
                </a:cubicBezTo>
                <a:cubicBezTo>
                  <a:pt x="61" y="643"/>
                  <a:pt x="70" y="643"/>
                  <a:pt x="68" y="647"/>
                </a:cubicBezTo>
                <a:cubicBezTo>
                  <a:pt x="67" y="651"/>
                  <a:pt x="58" y="661"/>
                  <a:pt x="54" y="661"/>
                </a:cubicBezTo>
                <a:cubicBezTo>
                  <a:pt x="50" y="662"/>
                  <a:pt x="42" y="664"/>
                  <a:pt x="45" y="666"/>
                </a:cubicBezTo>
                <a:cubicBezTo>
                  <a:pt x="49" y="667"/>
                  <a:pt x="60" y="665"/>
                  <a:pt x="59" y="673"/>
                </a:cubicBezTo>
                <a:cubicBezTo>
                  <a:pt x="59" y="680"/>
                  <a:pt x="45" y="684"/>
                  <a:pt x="47" y="691"/>
                </a:cubicBezTo>
                <a:cubicBezTo>
                  <a:pt x="49" y="698"/>
                  <a:pt x="51" y="697"/>
                  <a:pt x="50" y="702"/>
                </a:cubicBezTo>
                <a:cubicBezTo>
                  <a:pt x="49" y="706"/>
                  <a:pt x="44" y="709"/>
                  <a:pt x="44" y="714"/>
                </a:cubicBezTo>
                <a:cubicBezTo>
                  <a:pt x="45" y="720"/>
                  <a:pt x="44" y="721"/>
                  <a:pt x="39" y="729"/>
                </a:cubicBezTo>
                <a:cubicBezTo>
                  <a:pt x="34" y="737"/>
                  <a:pt x="27" y="740"/>
                  <a:pt x="28" y="746"/>
                </a:cubicBezTo>
                <a:cubicBezTo>
                  <a:pt x="28" y="752"/>
                  <a:pt x="0" y="774"/>
                  <a:pt x="1" y="784"/>
                </a:cubicBezTo>
                <a:cubicBezTo>
                  <a:pt x="1" y="793"/>
                  <a:pt x="3" y="803"/>
                  <a:pt x="9" y="807"/>
                </a:cubicBezTo>
                <a:cubicBezTo>
                  <a:pt x="15" y="810"/>
                  <a:pt x="22" y="795"/>
                  <a:pt x="26" y="806"/>
                </a:cubicBezTo>
                <a:cubicBezTo>
                  <a:pt x="30" y="816"/>
                  <a:pt x="20" y="810"/>
                  <a:pt x="25" y="825"/>
                </a:cubicBezTo>
                <a:cubicBezTo>
                  <a:pt x="30" y="840"/>
                  <a:pt x="26" y="840"/>
                  <a:pt x="39" y="843"/>
                </a:cubicBezTo>
                <a:cubicBezTo>
                  <a:pt x="52" y="846"/>
                  <a:pt x="82" y="837"/>
                  <a:pt x="87" y="848"/>
                </a:cubicBezTo>
                <a:cubicBezTo>
                  <a:pt x="88" y="848"/>
                  <a:pt x="88" y="848"/>
                  <a:pt x="88" y="848"/>
                </a:cubicBezTo>
                <a:cubicBezTo>
                  <a:pt x="89" y="847"/>
                  <a:pt x="91" y="847"/>
                  <a:pt x="94" y="850"/>
                </a:cubicBezTo>
                <a:cubicBezTo>
                  <a:pt x="101" y="857"/>
                  <a:pt x="111" y="860"/>
                  <a:pt x="112" y="858"/>
                </a:cubicBezTo>
                <a:cubicBezTo>
                  <a:pt x="113" y="857"/>
                  <a:pt x="101" y="842"/>
                  <a:pt x="100" y="840"/>
                </a:cubicBezTo>
                <a:cubicBezTo>
                  <a:pt x="99" y="839"/>
                  <a:pt x="99" y="836"/>
                  <a:pt x="96" y="836"/>
                </a:cubicBezTo>
                <a:cubicBezTo>
                  <a:pt x="93" y="837"/>
                  <a:pt x="96" y="818"/>
                  <a:pt x="96" y="816"/>
                </a:cubicBezTo>
                <a:cubicBezTo>
                  <a:pt x="97" y="814"/>
                  <a:pt x="100" y="803"/>
                  <a:pt x="105" y="804"/>
                </a:cubicBezTo>
                <a:cubicBezTo>
                  <a:pt x="111" y="805"/>
                  <a:pt x="115" y="795"/>
                  <a:pt x="117" y="797"/>
                </a:cubicBezTo>
                <a:cubicBezTo>
                  <a:pt x="119" y="798"/>
                  <a:pt x="127" y="800"/>
                  <a:pt x="130" y="794"/>
                </a:cubicBezTo>
                <a:cubicBezTo>
                  <a:pt x="133" y="789"/>
                  <a:pt x="133" y="785"/>
                  <a:pt x="135" y="782"/>
                </a:cubicBezTo>
                <a:cubicBezTo>
                  <a:pt x="136" y="779"/>
                  <a:pt x="144" y="768"/>
                  <a:pt x="147" y="766"/>
                </a:cubicBezTo>
                <a:cubicBezTo>
                  <a:pt x="151" y="764"/>
                  <a:pt x="160" y="759"/>
                  <a:pt x="165" y="756"/>
                </a:cubicBezTo>
                <a:cubicBezTo>
                  <a:pt x="169" y="752"/>
                  <a:pt x="188" y="743"/>
                  <a:pt x="183" y="739"/>
                </a:cubicBezTo>
                <a:cubicBezTo>
                  <a:pt x="179" y="734"/>
                  <a:pt x="199" y="720"/>
                  <a:pt x="190" y="716"/>
                </a:cubicBezTo>
                <a:cubicBezTo>
                  <a:pt x="182" y="713"/>
                  <a:pt x="160" y="706"/>
                  <a:pt x="158" y="702"/>
                </a:cubicBezTo>
                <a:cubicBezTo>
                  <a:pt x="155" y="698"/>
                  <a:pt x="154" y="683"/>
                  <a:pt x="158" y="679"/>
                </a:cubicBezTo>
                <a:cubicBezTo>
                  <a:pt x="161" y="674"/>
                  <a:pt x="175" y="665"/>
                  <a:pt x="179" y="665"/>
                </a:cubicBezTo>
                <a:cubicBezTo>
                  <a:pt x="183" y="664"/>
                  <a:pt x="199" y="662"/>
                  <a:pt x="204" y="658"/>
                </a:cubicBezTo>
                <a:cubicBezTo>
                  <a:pt x="210" y="654"/>
                  <a:pt x="217" y="643"/>
                  <a:pt x="218" y="640"/>
                </a:cubicBezTo>
                <a:cubicBezTo>
                  <a:pt x="219" y="638"/>
                  <a:pt x="219" y="633"/>
                  <a:pt x="220" y="626"/>
                </a:cubicBezTo>
                <a:cubicBezTo>
                  <a:pt x="220" y="619"/>
                  <a:pt x="219" y="613"/>
                  <a:pt x="225" y="612"/>
                </a:cubicBezTo>
                <a:cubicBezTo>
                  <a:pt x="231" y="610"/>
                  <a:pt x="233" y="608"/>
                  <a:pt x="237" y="608"/>
                </a:cubicBezTo>
                <a:cubicBezTo>
                  <a:pt x="241" y="608"/>
                  <a:pt x="245" y="607"/>
                  <a:pt x="245" y="605"/>
                </a:cubicBezTo>
                <a:cubicBezTo>
                  <a:pt x="244" y="602"/>
                  <a:pt x="240" y="595"/>
                  <a:pt x="240" y="595"/>
                </a:cubicBezTo>
                <a:cubicBezTo>
                  <a:pt x="247" y="590"/>
                  <a:pt x="247" y="590"/>
                  <a:pt x="247" y="590"/>
                </a:cubicBezTo>
                <a:cubicBezTo>
                  <a:pt x="247" y="590"/>
                  <a:pt x="242" y="583"/>
                  <a:pt x="239" y="580"/>
                </a:cubicBezTo>
                <a:cubicBezTo>
                  <a:pt x="236" y="576"/>
                  <a:pt x="238" y="567"/>
                  <a:pt x="238" y="563"/>
                </a:cubicBezTo>
                <a:cubicBezTo>
                  <a:pt x="238" y="558"/>
                  <a:pt x="233" y="552"/>
                  <a:pt x="238" y="545"/>
                </a:cubicBezTo>
                <a:cubicBezTo>
                  <a:pt x="242" y="538"/>
                  <a:pt x="250" y="532"/>
                  <a:pt x="254" y="541"/>
                </a:cubicBezTo>
                <a:cubicBezTo>
                  <a:pt x="257" y="550"/>
                  <a:pt x="260" y="552"/>
                  <a:pt x="268" y="554"/>
                </a:cubicBezTo>
                <a:cubicBezTo>
                  <a:pt x="277" y="556"/>
                  <a:pt x="284" y="552"/>
                  <a:pt x="284" y="552"/>
                </a:cubicBezTo>
                <a:cubicBezTo>
                  <a:pt x="284" y="552"/>
                  <a:pt x="312" y="543"/>
                  <a:pt x="309" y="539"/>
                </a:cubicBezTo>
                <a:cubicBezTo>
                  <a:pt x="305" y="534"/>
                  <a:pt x="306" y="530"/>
                  <a:pt x="310" y="528"/>
                </a:cubicBezTo>
                <a:cubicBezTo>
                  <a:pt x="313" y="525"/>
                  <a:pt x="321" y="519"/>
                  <a:pt x="322" y="516"/>
                </a:cubicBezTo>
                <a:cubicBezTo>
                  <a:pt x="323" y="512"/>
                  <a:pt x="319" y="509"/>
                  <a:pt x="316" y="503"/>
                </a:cubicBezTo>
                <a:cubicBezTo>
                  <a:pt x="314" y="497"/>
                  <a:pt x="316" y="486"/>
                  <a:pt x="320" y="487"/>
                </a:cubicBezTo>
                <a:cubicBezTo>
                  <a:pt x="323" y="488"/>
                  <a:pt x="324" y="486"/>
                  <a:pt x="331" y="493"/>
                </a:cubicBezTo>
                <a:cubicBezTo>
                  <a:pt x="338" y="501"/>
                  <a:pt x="338" y="493"/>
                  <a:pt x="350" y="494"/>
                </a:cubicBezTo>
                <a:cubicBezTo>
                  <a:pt x="361" y="494"/>
                  <a:pt x="369" y="492"/>
                  <a:pt x="375" y="490"/>
                </a:cubicBezTo>
                <a:cubicBezTo>
                  <a:pt x="381" y="488"/>
                  <a:pt x="382" y="483"/>
                  <a:pt x="393" y="484"/>
                </a:cubicBezTo>
                <a:cubicBezTo>
                  <a:pt x="403" y="484"/>
                  <a:pt x="463" y="460"/>
                  <a:pt x="470" y="446"/>
                </a:cubicBezTo>
                <a:cubicBezTo>
                  <a:pt x="476" y="433"/>
                  <a:pt x="483" y="427"/>
                  <a:pt x="477" y="423"/>
                </a:cubicBezTo>
                <a:cubicBezTo>
                  <a:pt x="471" y="420"/>
                  <a:pt x="466" y="423"/>
                  <a:pt x="464" y="416"/>
                </a:cubicBezTo>
                <a:cubicBezTo>
                  <a:pt x="461" y="410"/>
                  <a:pt x="461" y="404"/>
                  <a:pt x="466" y="401"/>
                </a:cubicBezTo>
                <a:cubicBezTo>
                  <a:pt x="472" y="399"/>
                  <a:pt x="482" y="391"/>
                  <a:pt x="474" y="388"/>
                </a:cubicBezTo>
                <a:cubicBezTo>
                  <a:pt x="465" y="384"/>
                  <a:pt x="462" y="382"/>
                  <a:pt x="462" y="382"/>
                </a:cubicBezTo>
                <a:cubicBezTo>
                  <a:pt x="462" y="382"/>
                  <a:pt x="444" y="379"/>
                  <a:pt x="443" y="373"/>
                </a:cubicBezTo>
                <a:cubicBezTo>
                  <a:pt x="442" y="366"/>
                  <a:pt x="441" y="359"/>
                  <a:pt x="444" y="356"/>
                </a:cubicBezTo>
                <a:cubicBezTo>
                  <a:pt x="445" y="355"/>
                  <a:pt x="446" y="354"/>
                  <a:pt x="447" y="354"/>
                </a:cubicBezTo>
                <a:cubicBezTo>
                  <a:pt x="447" y="350"/>
                  <a:pt x="447" y="350"/>
                  <a:pt x="447" y="350"/>
                </a:cubicBezTo>
                <a:cubicBezTo>
                  <a:pt x="448" y="342"/>
                  <a:pt x="452" y="337"/>
                  <a:pt x="455" y="330"/>
                </a:cubicBezTo>
                <a:cubicBezTo>
                  <a:pt x="459" y="316"/>
                  <a:pt x="460" y="300"/>
                  <a:pt x="463" y="286"/>
                </a:cubicBezTo>
                <a:cubicBezTo>
                  <a:pt x="465" y="272"/>
                  <a:pt x="468" y="260"/>
                  <a:pt x="478" y="249"/>
                </a:cubicBezTo>
                <a:cubicBezTo>
                  <a:pt x="487" y="238"/>
                  <a:pt x="500" y="230"/>
                  <a:pt x="511" y="220"/>
                </a:cubicBezTo>
                <a:cubicBezTo>
                  <a:pt x="522" y="209"/>
                  <a:pt x="532" y="199"/>
                  <a:pt x="545" y="190"/>
                </a:cubicBezTo>
                <a:cubicBezTo>
                  <a:pt x="559" y="181"/>
                  <a:pt x="572" y="171"/>
                  <a:pt x="585" y="160"/>
                </a:cubicBezTo>
                <a:cubicBezTo>
                  <a:pt x="593" y="153"/>
                  <a:pt x="605" y="149"/>
                  <a:pt x="608" y="139"/>
                </a:cubicBezTo>
                <a:cubicBezTo>
                  <a:pt x="613" y="127"/>
                  <a:pt x="609" y="115"/>
                  <a:pt x="609" y="103"/>
                </a:cubicBezTo>
                <a:cubicBezTo>
                  <a:pt x="604" y="103"/>
                  <a:pt x="599" y="101"/>
                  <a:pt x="594" y="101"/>
                </a:cubicBezTo>
                <a:cubicBezTo>
                  <a:pt x="593" y="101"/>
                  <a:pt x="591" y="101"/>
                  <a:pt x="589" y="101"/>
                </a:cubicBezTo>
                <a:cubicBezTo>
                  <a:pt x="587" y="101"/>
                  <a:pt x="587" y="101"/>
                  <a:pt x="587" y="101"/>
                </a:cubicBezTo>
                <a:cubicBezTo>
                  <a:pt x="586" y="107"/>
                  <a:pt x="585" y="112"/>
                  <a:pt x="582" y="118"/>
                </a:cubicBezTo>
                <a:cubicBezTo>
                  <a:pt x="577" y="127"/>
                  <a:pt x="569" y="139"/>
                  <a:pt x="561" y="146"/>
                </a:cubicBezTo>
                <a:cubicBezTo>
                  <a:pt x="555" y="151"/>
                  <a:pt x="547" y="161"/>
                  <a:pt x="539" y="162"/>
                </a:cubicBezTo>
                <a:cubicBezTo>
                  <a:pt x="529" y="164"/>
                  <a:pt x="514" y="159"/>
                  <a:pt x="503" y="157"/>
                </a:cubicBezTo>
                <a:cubicBezTo>
                  <a:pt x="489" y="155"/>
                  <a:pt x="474" y="157"/>
                  <a:pt x="461" y="154"/>
                </a:cubicBezTo>
                <a:cubicBezTo>
                  <a:pt x="467" y="147"/>
                  <a:pt x="472" y="137"/>
                  <a:pt x="478" y="130"/>
                </a:cubicBezTo>
                <a:cubicBezTo>
                  <a:pt x="484" y="120"/>
                  <a:pt x="496" y="111"/>
                  <a:pt x="500" y="100"/>
                </a:cubicBezTo>
                <a:cubicBezTo>
                  <a:pt x="506" y="80"/>
                  <a:pt x="483" y="74"/>
                  <a:pt x="467" y="69"/>
                </a:cubicBezTo>
                <a:cubicBezTo>
                  <a:pt x="460" y="67"/>
                  <a:pt x="452" y="65"/>
                  <a:pt x="445" y="65"/>
                </a:cubicBezTo>
                <a:cubicBezTo>
                  <a:pt x="440" y="64"/>
                  <a:pt x="436" y="66"/>
                  <a:pt x="431" y="66"/>
                </a:cubicBezTo>
                <a:cubicBezTo>
                  <a:pt x="422" y="65"/>
                  <a:pt x="414" y="59"/>
                  <a:pt x="406" y="56"/>
                </a:cubicBezTo>
                <a:cubicBezTo>
                  <a:pt x="397" y="53"/>
                  <a:pt x="389" y="52"/>
                  <a:pt x="382" y="45"/>
                </a:cubicBezTo>
                <a:cubicBezTo>
                  <a:pt x="371" y="34"/>
                  <a:pt x="363" y="18"/>
                  <a:pt x="353" y="5"/>
                </a:cubicBezTo>
                <a:cubicBezTo>
                  <a:pt x="353" y="5"/>
                  <a:pt x="353" y="5"/>
                  <a:pt x="353" y="5"/>
                </a:cubicBezTo>
                <a:cubicBezTo>
                  <a:pt x="350" y="6"/>
                  <a:pt x="345" y="4"/>
                  <a:pt x="342" y="3"/>
                </a:cubicBezTo>
                <a:cubicBezTo>
                  <a:pt x="336" y="2"/>
                  <a:pt x="328" y="0"/>
                  <a:pt x="323" y="1"/>
                </a:cubicBezTo>
                <a:cubicBezTo>
                  <a:pt x="316" y="2"/>
                  <a:pt x="317" y="3"/>
                  <a:pt x="313" y="8"/>
                </a:cubicBezTo>
                <a:cubicBezTo>
                  <a:pt x="306" y="16"/>
                  <a:pt x="305" y="25"/>
                  <a:pt x="296" y="18"/>
                </a:cubicBezTo>
                <a:cubicBezTo>
                  <a:pt x="292" y="16"/>
                  <a:pt x="290" y="11"/>
                  <a:pt x="285" y="9"/>
                </a:cubicBezTo>
                <a:cubicBezTo>
                  <a:pt x="281" y="8"/>
                  <a:pt x="274" y="9"/>
                  <a:pt x="269" y="8"/>
                </a:cubicBezTo>
                <a:cubicBezTo>
                  <a:pt x="264" y="7"/>
                  <a:pt x="258" y="8"/>
                  <a:pt x="254" y="6"/>
                </a:cubicBezTo>
                <a:cubicBezTo>
                  <a:pt x="248" y="3"/>
                  <a:pt x="249" y="0"/>
                  <a:pt x="242" y="3"/>
                </a:cubicBezTo>
                <a:cubicBezTo>
                  <a:pt x="234" y="8"/>
                  <a:pt x="230" y="17"/>
                  <a:pt x="222" y="21"/>
                </a:cubicBezTo>
                <a:lnTo>
                  <a:pt x="222" y="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57" name="Freeform 390"/>
          <p:cNvSpPr>
            <a:spLocks/>
          </p:cNvSpPr>
          <p:nvPr userDrawn="1"/>
        </p:nvSpPr>
        <p:spPr bwMode="auto">
          <a:xfrm>
            <a:off x="3840691" y="6626137"/>
            <a:ext cx="80404" cy="58628"/>
          </a:xfrm>
          <a:custGeom>
            <a:avLst/>
            <a:gdLst>
              <a:gd name="T0" fmla="*/ 2147483646 w 87"/>
              <a:gd name="T1" fmla="*/ 2147483646 h 64"/>
              <a:gd name="T2" fmla="*/ 2147483646 w 87"/>
              <a:gd name="T3" fmla="*/ 2147483646 h 64"/>
              <a:gd name="T4" fmla="*/ 2147483646 w 87"/>
              <a:gd name="T5" fmla="*/ 2147483646 h 64"/>
              <a:gd name="T6" fmla="*/ 2147483646 w 87"/>
              <a:gd name="T7" fmla="*/ 2147483646 h 64"/>
              <a:gd name="T8" fmla="*/ 2147483646 w 87"/>
              <a:gd name="T9" fmla="*/ 2147483646 h 64"/>
              <a:gd name="T10" fmla="*/ 2147483646 w 87"/>
              <a:gd name="T11" fmla="*/ 2147483646 h 64"/>
              <a:gd name="T12" fmla="*/ 2147483646 w 87"/>
              <a:gd name="T13" fmla="*/ 0 h 64"/>
              <a:gd name="T14" fmla="*/ 2147483646 w 87"/>
              <a:gd name="T15" fmla="*/ 2147483646 h 64"/>
              <a:gd name="T16" fmla="*/ 2147483646 w 87"/>
              <a:gd name="T17" fmla="*/ 2147483646 h 64"/>
              <a:gd name="T18" fmla="*/ 2147483646 w 87"/>
              <a:gd name="T19" fmla="*/ 2147483646 h 64"/>
              <a:gd name="T20" fmla="*/ 2147483646 w 87"/>
              <a:gd name="T21" fmla="*/ 2147483646 h 64"/>
              <a:gd name="T22" fmla="*/ 2147483646 w 87"/>
              <a:gd name="T23" fmla="*/ 2147483646 h 6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7"/>
              <a:gd name="T37" fmla="*/ 0 h 64"/>
              <a:gd name="T38" fmla="*/ 87 w 87"/>
              <a:gd name="T39" fmla="*/ 64 h 6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7" h="64">
                <a:moveTo>
                  <a:pt x="60" y="64"/>
                </a:moveTo>
                <a:cubicBezTo>
                  <a:pt x="64" y="63"/>
                  <a:pt x="72" y="61"/>
                  <a:pt x="75" y="62"/>
                </a:cubicBezTo>
                <a:cubicBezTo>
                  <a:pt x="78" y="62"/>
                  <a:pt x="87" y="53"/>
                  <a:pt x="78" y="50"/>
                </a:cubicBezTo>
                <a:cubicBezTo>
                  <a:pt x="69" y="47"/>
                  <a:pt x="61" y="46"/>
                  <a:pt x="56" y="43"/>
                </a:cubicBezTo>
                <a:cubicBezTo>
                  <a:pt x="51" y="40"/>
                  <a:pt x="44" y="35"/>
                  <a:pt x="35" y="27"/>
                </a:cubicBezTo>
                <a:cubicBezTo>
                  <a:pt x="27" y="19"/>
                  <a:pt x="20" y="16"/>
                  <a:pt x="19" y="7"/>
                </a:cubicBezTo>
                <a:cubicBezTo>
                  <a:pt x="19" y="4"/>
                  <a:pt x="17" y="1"/>
                  <a:pt x="14" y="0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2"/>
                  <a:pt x="14" y="22"/>
                  <a:pt x="13" y="31"/>
                </a:cubicBezTo>
                <a:cubicBezTo>
                  <a:pt x="11" y="41"/>
                  <a:pt x="0" y="56"/>
                  <a:pt x="11" y="56"/>
                </a:cubicBezTo>
                <a:cubicBezTo>
                  <a:pt x="22" y="57"/>
                  <a:pt x="50" y="55"/>
                  <a:pt x="59" y="63"/>
                </a:cubicBezTo>
                <a:lnTo>
                  <a:pt x="60" y="6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58" name="Freeform 391"/>
          <p:cNvSpPr>
            <a:spLocks/>
          </p:cNvSpPr>
          <p:nvPr userDrawn="1"/>
        </p:nvSpPr>
        <p:spPr bwMode="auto">
          <a:xfrm>
            <a:off x="3708358" y="5698135"/>
            <a:ext cx="256289" cy="1003380"/>
          </a:xfrm>
          <a:custGeom>
            <a:avLst/>
            <a:gdLst>
              <a:gd name="T0" fmla="*/ 2147483646 w 275"/>
              <a:gd name="T1" fmla="*/ 2147483646 h 1075"/>
              <a:gd name="T2" fmla="*/ 2147483646 w 275"/>
              <a:gd name="T3" fmla="*/ 2147483646 h 1075"/>
              <a:gd name="T4" fmla="*/ 2147483646 w 275"/>
              <a:gd name="T5" fmla="*/ 2147483646 h 1075"/>
              <a:gd name="T6" fmla="*/ 2147483646 w 275"/>
              <a:gd name="T7" fmla="*/ 2147483646 h 1075"/>
              <a:gd name="T8" fmla="*/ 2147483646 w 275"/>
              <a:gd name="T9" fmla="*/ 2147483646 h 1075"/>
              <a:gd name="T10" fmla="*/ 2147483646 w 275"/>
              <a:gd name="T11" fmla="*/ 2147483646 h 1075"/>
              <a:gd name="T12" fmla="*/ 2147483646 w 275"/>
              <a:gd name="T13" fmla="*/ 2147483646 h 1075"/>
              <a:gd name="T14" fmla="*/ 2147483646 w 275"/>
              <a:gd name="T15" fmla="*/ 2147483646 h 1075"/>
              <a:gd name="T16" fmla="*/ 2147483646 w 275"/>
              <a:gd name="T17" fmla="*/ 2147483646 h 1075"/>
              <a:gd name="T18" fmla="*/ 2147483646 w 275"/>
              <a:gd name="T19" fmla="*/ 2147483646 h 1075"/>
              <a:gd name="T20" fmla="*/ 2147483646 w 275"/>
              <a:gd name="T21" fmla="*/ 2147483646 h 1075"/>
              <a:gd name="T22" fmla="*/ 2147483646 w 275"/>
              <a:gd name="T23" fmla="*/ 2147483646 h 1075"/>
              <a:gd name="T24" fmla="*/ 2147483646 w 275"/>
              <a:gd name="T25" fmla="*/ 2147483646 h 1075"/>
              <a:gd name="T26" fmla="*/ 2147483646 w 275"/>
              <a:gd name="T27" fmla="*/ 2147483646 h 1075"/>
              <a:gd name="T28" fmla="*/ 2147483646 w 275"/>
              <a:gd name="T29" fmla="*/ 2147483646 h 1075"/>
              <a:gd name="T30" fmla="*/ 2147483646 w 275"/>
              <a:gd name="T31" fmla="*/ 2147483646 h 1075"/>
              <a:gd name="T32" fmla="*/ 2147483646 w 275"/>
              <a:gd name="T33" fmla="*/ 2147483646 h 1075"/>
              <a:gd name="T34" fmla="*/ 2147483646 w 275"/>
              <a:gd name="T35" fmla="*/ 2147483646 h 1075"/>
              <a:gd name="T36" fmla="*/ 2147483646 w 275"/>
              <a:gd name="T37" fmla="*/ 2147483646 h 1075"/>
              <a:gd name="T38" fmla="*/ 2147483646 w 275"/>
              <a:gd name="T39" fmla="*/ 2147483646 h 1075"/>
              <a:gd name="T40" fmla="*/ 2147483646 w 275"/>
              <a:gd name="T41" fmla="*/ 2147483646 h 1075"/>
              <a:gd name="T42" fmla="*/ 2147483646 w 275"/>
              <a:gd name="T43" fmla="*/ 2147483646 h 1075"/>
              <a:gd name="T44" fmla="*/ 2147483646 w 275"/>
              <a:gd name="T45" fmla="*/ 2147483646 h 1075"/>
              <a:gd name="T46" fmla="*/ 2147483646 w 275"/>
              <a:gd name="T47" fmla="*/ 2147483646 h 1075"/>
              <a:gd name="T48" fmla="*/ 2147483646 w 275"/>
              <a:gd name="T49" fmla="*/ 2147483646 h 1075"/>
              <a:gd name="T50" fmla="*/ 2147483646 w 275"/>
              <a:gd name="T51" fmla="*/ 2147483646 h 1075"/>
              <a:gd name="T52" fmla="*/ 2147483646 w 275"/>
              <a:gd name="T53" fmla="*/ 2147483646 h 1075"/>
              <a:gd name="T54" fmla="*/ 2147483646 w 275"/>
              <a:gd name="T55" fmla="*/ 2147483646 h 1075"/>
              <a:gd name="T56" fmla="*/ 2147483646 w 275"/>
              <a:gd name="T57" fmla="*/ 2147483646 h 1075"/>
              <a:gd name="T58" fmla="*/ 2147483646 w 275"/>
              <a:gd name="T59" fmla="*/ 2147483646 h 1075"/>
              <a:gd name="T60" fmla="*/ 2147483646 w 275"/>
              <a:gd name="T61" fmla="*/ 2147483646 h 1075"/>
              <a:gd name="T62" fmla="*/ 2147483646 w 275"/>
              <a:gd name="T63" fmla="*/ 2147483646 h 1075"/>
              <a:gd name="T64" fmla="*/ 2147483646 w 275"/>
              <a:gd name="T65" fmla="*/ 2147483646 h 1075"/>
              <a:gd name="T66" fmla="*/ 2147483646 w 275"/>
              <a:gd name="T67" fmla="*/ 2147483646 h 1075"/>
              <a:gd name="T68" fmla="*/ 2147483646 w 275"/>
              <a:gd name="T69" fmla="*/ 2147483646 h 1075"/>
              <a:gd name="T70" fmla="*/ 2147483646 w 275"/>
              <a:gd name="T71" fmla="*/ 2147483646 h 1075"/>
              <a:gd name="T72" fmla="*/ 2147483646 w 275"/>
              <a:gd name="T73" fmla="*/ 2147483646 h 1075"/>
              <a:gd name="T74" fmla="*/ 2147483646 w 275"/>
              <a:gd name="T75" fmla="*/ 2147483646 h 1075"/>
              <a:gd name="T76" fmla="*/ 2147483646 w 275"/>
              <a:gd name="T77" fmla="*/ 2147483646 h 1075"/>
              <a:gd name="T78" fmla="*/ 2147483646 w 275"/>
              <a:gd name="T79" fmla="*/ 2147483646 h 1075"/>
              <a:gd name="T80" fmla="*/ 2147483646 w 275"/>
              <a:gd name="T81" fmla="*/ 2147483646 h 1075"/>
              <a:gd name="T82" fmla="*/ 2147483646 w 275"/>
              <a:gd name="T83" fmla="*/ 2147483646 h 1075"/>
              <a:gd name="T84" fmla="*/ 2147483646 w 275"/>
              <a:gd name="T85" fmla="*/ 2147483646 h 1075"/>
              <a:gd name="T86" fmla="*/ 2147483646 w 275"/>
              <a:gd name="T87" fmla="*/ 2147483646 h 1075"/>
              <a:gd name="T88" fmla="*/ 2147483646 w 275"/>
              <a:gd name="T89" fmla="*/ 2147483646 h 1075"/>
              <a:gd name="T90" fmla="*/ 2147483646 w 275"/>
              <a:gd name="T91" fmla="*/ 2147483646 h 1075"/>
              <a:gd name="T92" fmla="*/ 2147483646 w 275"/>
              <a:gd name="T93" fmla="*/ 2147483646 h 1075"/>
              <a:gd name="T94" fmla="*/ 2147483646 w 275"/>
              <a:gd name="T95" fmla="*/ 2147483646 h 1075"/>
              <a:gd name="T96" fmla="*/ 2147483646 w 275"/>
              <a:gd name="T97" fmla="*/ 2147483646 h 1075"/>
              <a:gd name="T98" fmla="*/ 2147483646 w 275"/>
              <a:gd name="T99" fmla="*/ 2147483646 h 1075"/>
              <a:gd name="T100" fmla="*/ 2147483646 w 275"/>
              <a:gd name="T101" fmla="*/ 2147483646 h 1075"/>
              <a:gd name="T102" fmla="*/ 2147483646 w 275"/>
              <a:gd name="T103" fmla="*/ 2147483646 h 107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75"/>
              <a:gd name="T157" fmla="*/ 0 h 1075"/>
              <a:gd name="T158" fmla="*/ 275 w 275"/>
              <a:gd name="T159" fmla="*/ 1075 h 107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75" h="1075">
                <a:moveTo>
                  <a:pt x="200" y="1056"/>
                </a:moveTo>
                <a:cubicBezTo>
                  <a:pt x="191" y="1049"/>
                  <a:pt x="163" y="1050"/>
                  <a:pt x="152" y="1050"/>
                </a:cubicBezTo>
                <a:cubicBezTo>
                  <a:pt x="141" y="1049"/>
                  <a:pt x="152" y="1034"/>
                  <a:pt x="154" y="1025"/>
                </a:cubicBezTo>
                <a:cubicBezTo>
                  <a:pt x="155" y="1015"/>
                  <a:pt x="155" y="995"/>
                  <a:pt x="155" y="995"/>
                </a:cubicBezTo>
                <a:cubicBezTo>
                  <a:pt x="155" y="993"/>
                  <a:pt x="155" y="993"/>
                  <a:pt x="155" y="993"/>
                </a:cubicBezTo>
                <a:cubicBezTo>
                  <a:pt x="151" y="990"/>
                  <a:pt x="145" y="988"/>
                  <a:pt x="143" y="986"/>
                </a:cubicBezTo>
                <a:cubicBezTo>
                  <a:pt x="141" y="984"/>
                  <a:pt x="139" y="979"/>
                  <a:pt x="140" y="977"/>
                </a:cubicBezTo>
                <a:cubicBezTo>
                  <a:pt x="140" y="976"/>
                  <a:pt x="140" y="976"/>
                  <a:pt x="140" y="976"/>
                </a:cubicBezTo>
                <a:cubicBezTo>
                  <a:pt x="134" y="965"/>
                  <a:pt x="105" y="974"/>
                  <a:pt x="92" y="971"/>
                </a:cubicBezTo>
                <a:cubicBezTo>
                  <a:pt x="79" y="968"/>
                  <a:pt x="83" y="968"/>
                  <a:pt x="78" y="953"/>
                </a:cubicBezTo>
                <a:cubicBezTo>
                  <a:pt x="73" y="938"/>
                  <a:pt x="83" y="945"/>
                  <a:pt x="79" y="934"/>
                </a:cubicBezTo>
                <a:cubicBezTo>
                  <a:pt x="75" y="923"/>
                  <a:pt x="68" y="939"/>
                  <a:pt x="62" y="935"/>
                </a:cubicBezTo>
                <a:cubicBezTo>
                  <a:pt x="56" y="931"/>
                  <a:pt x="54" y="922"/>
                  <a:pt x="54" y="912"/>
                </a:cubicBezTo>
                <a:cubicBezTo>
                  <a:pt x="53" y="902"/>
                  <a:pt x="81" y="880"/>
                  <a:pt x="81" y="874"/>
                </a:cubicBezTo>
                <a:cubicBezTo>
                  <a:pt x="80" y="868"/>
                  <a:pt x="86" y="865"/>
                  <a:pt x="92" y="857"/>
                </a:cubicBezTo>
                <a:cubicBezTo>
                  <a:pt x="97" y="849"/>
                  <a:pt x="98" y="848"/>
                  <a:pt x="97" y="843"/>
                </a:cubicBezTo>
                <a:cubicBezTo>
                  <a:pt x="97" y="837"/>
                  <a:pt x="102" y="834"/>
                  <a:pt x="103" y="830"/>
                </a:cubicBezTo>
                <a:cubicBezTo>
                  <a:pt x="104" y="826"/>
                  <a:pt x="102" y="826"/>
                  <a:pt x="100" y="819"/>
                </a:cubicBezTo>
                <a:cubicBezTo>
                  <a:pt x="98" y="812"/>
                  <a:pt x="111" y="808"/>
                  <a:pt x="112" y="801"/>
                </a:cubicBezTo>
                <a:cubicBezTo>
                  <a:pt x="113" y="793"/>
                  <a:pt x="102" y="796"/>
                  <a:pt x="98" y="794"/>
                </a:cubicBezTo>
                <a:cubicBezTo>
                  <a:pt x="94" y="792"/>
                  <a:pt x="102" y="790"/>
                  <a:pt x="107" y="789"/>
                </a:cubicBezTo>
                <a:cubicBezTo>
                  <a:pt x="111" y="789"/>
                  <a:pt x="120" y="780"/>
                  <a:pt x="121" y="775"/>
                </a:cubicBezTo>
                <a:cubicBezTo>
                  <a:pt x="123" y="771"/>
                  <a:pt x="114" y="771"/>
                  <a:pt x="106" y="766"/>
                </a:cubicBezTo>
                <a:cubicBezTo>
                  <a:pt x="99" y="761"/>
                  <a:pt x="101" y="761"/>
                  <a:pt x="105" y="748"/>
                </a:cubicBezTo>
                <a:cubicBezTo>
                  <a:pt x="108" y="735"/>
                  <a:pt x="95" y="736"/>
                  <a:pt x="93" y="729"/>
                </a:cubicBezTo>
                <a:cubicBezTo>
                  <a:pt x="91" y="723"/>
                  <a:pt x="104" y="715"/>
                  <a:pt x="107" y="707"/>
                </a:cubicBezTo>
                <a:cubicBezTo>
                  <a:pt x="110" y="700"/>
                  <a:pt x="113" y="696"/>
                  <a:pt x="113" y="679"/>
                </a:cubicBezTo>
                <a:cubicBezTo>
                  <a:pt x="113" y="662"/>
                  <a:pt x="114" y="664"/>
                  <a:pt x="115" y="648"/>
                </a:cubicBezTo>
                <a:cubicBezTo>
                  <a:pt x="115" y="633"/>
                  <a:pt x="113" y="642"/>
                  <a:pt x="116" y="633"/>
                </a:cubicBezTo>
                <a:cubicBezTo>
                  <a:pt x="119" y="624"/>
                  <a:pt x="127" y="627"/>
                  <a:pt x="139" y="617"/>
                </a:cubicBezTo>
                <a:cubicBezTo>
                  <a:pt x="152" y="608"/>
                  <a:pt x="141" y="610"/>
                  <a:pt x="139" y="605"/>
                </a:cubicBezTo>
                <a:cubicBezTo>
                  <a:pt x="138" y="600"/>
                  <a:pt x="137" y="599"/>
                  <a:pt x="136" y="591"/>
                </a:cubicBezTo>
                <a:cubicBezTo>
                  <a:pt x="134" y="583"/>
                  <a:pt x="133" y="576"/>
                  <a:pt x="145" y="556"/>
                </a:cubicBezTo>
                <a:cubicBezTo>
                  <a:pt x="156" y="536"/>
                  <a:pt x="155" y="549"/>
                  <a:pt x="157" y="538"/>
                </a:cubicBezTo>
                <a:cubicBezTo>
                  <a:pt x="160" y="527"/>
                  <a:pt x="157" y="523"/>
                  <a:pt x="158" y="511"/>
                </a:cubicBezTo>
                <a:cubicBezTo>
                  <a:pt x="159" y="499"/>
                  <a:pt x="171" y="497"/>
                  <a:pt x="176" y="487"/>
                </a:cubicBezTo>
                <a:cubicBezTo>
                  <a:pt x="180" y="477"/>
                  <a:pt x="181" y="468"/>
                  <a:pt x="181" y="460"/>
                </a:cubicBezTo>
                <a:cubicBezTo>
                  <a:pt x="182" y="452"/>
                  <a:pt x="166" y="416"/>
                  <a:pt x="163" y="406"/>
                </a:cubicBezTo>
                <a:cubicBezTo>
                  <a:pt x="160" y="395"/>
                  <a:pt x="170" y="389"/>
                  <a:pt x="178" y="384"/>
                </a:cubicBezTo>
                <a:cubicBezTo>
                  <a:pt x="185" y="379"/>
                  <a:pt x="182" y="367"/>
                  <a:pt x="180" y="362"/>
                </a:cubicBezTo>
                <a:cubicBezTo>
                  <a:pt x="179" y="358"/>
                  <a:pt x="196" y="324"/>
                  <a:pt x="199" y="317"/>
                </a:cubicBezTo>
                <a:cubicBezTo>
                  <a:pt x="202" y="311"/>
                  <a:pt x="200" y="304"/>
                  <a:pt x="206" y="297"/>
                </a:cubicBezTo>
                <a:cubicBezTo>
                  <a:pt x="213" y="291"/>
                  <a:pt x="231" y="285"/>
                  <a:pt x="235" y="279"/>
                </a:cubicBezTo>
                <a:cubicBezTo>
                  <a:pt x="240" y="273"/>
                  <a:pt x="230" y="274"/>
                  <a:pt x="227" y="271"/>
                </a:cubicBezTo>
                <a:cubicBezTo>
                  <a:pt x="225" y="268"/>
                  <a:pt x="233" y="261"/>
                  <a:pt x="235" y="254"/>
                </a:cubicBezTo>
                <a:cubicBezTo>
                  <a:pt x="238" y="248"/>
                  <a:pt x="233" y="233"/>
                  <a:pt x="229" y="216"/>
                </a:cubicBezTo>
                <a:cubicBezTo>
                  <a:pt x="226" y="199"/>
                  <a:pt x="234" y="211"/>
                  <a:pt x="252" y="202"/>
                </a:cubicBezTo>
                <a:cubicBezTo>
                  <a:pt x="271" y="194"/>
                  <a:pt x="272" y="188"/>
                  <a:pt x="273" y="170"/>
                </a:cubicBezTo>
                <a:cubicBezTo>
                  <a:pt x="274" y="158"/>
                  <a:pt x="275" y="152"/>
                  <a:pt x="275" y="150"/>
                </a:cubicBezTo>
                <a:cubicBezTo>
                  <a:pt x="275" y="149"/>
                  <a:pt x="275" y="149"/>
                  <a:pt x="275" y="149"/>
                </a:cubicBezTo>
                <a:cubicBezTo>
                  <a:pt x="275" y="149"/>
                  <a:pt x="274" y="150"/>
                  <a:pt x="273" y="150"/>
                </a:cubicBezTo>
                <a:cubicBezTo>
                  <a:pt x="268" y="152"/>
                  <a:pt x="256" y="152"/>
                  <a:pt x="254" y="158"/>
                </a:cubicBezTo>
                <a:cubicBezTo>
                  <a:pt x="247" y="146"/>
                  <a:pt x="247" y="127"/>
                  <a:pt x="241" y="113"/>
                </a:cubicBezTo>
                <a:cubicBezTo>
                  <a:pt x="238" y="103"/>
                  <a:pt x="236" y="92"/>
                  <a:pt x="230" y="84"/>
                </a:cubicBezTo>
                <a:cubicBezTo>
                  <a:pt x="225" y="76"/>
                  <a:pt x="221" y="74"/>
                  <a:pt x="225" y="64"/>
                </a:cubicBezTo>
                <a:cubicBezTo>
                  <a:pt x="228" y="57"/>
                  <a:pt x="233" y="55"/>
                  <a:pt x="231" y="47"/>
                </a:cubicBezTo>
                <a:cubicBezTo>
                  <a:pt x="229" y="42"/>
                  <a:pt x="222" y="37"/>
                  <a:pt x="219" y="32"/>
                </a:cubicBezTo>
                <a:cubicBezTo>
                  <a:pt x="215" y="23"/>
                  <a:pt x="215" y="6"/>
                  <a:pt x="208" y="0"/>
                </a:cubicBezTo>
                <a:cubicBezTo>
                  <a:pt x="208" y="0"/>
                  <a:pt x="208" y="0"/>
                  <a:pt x="208" y="0"/>
                </a:cubicBezTo>
                <a:cubicBezTo>
                  <a:pt x="204" y="8"/>
                  <a:pt x="195" y="24"/>
                  <a:pt x="184" y="25"/>
                </a:cubicBezTo>
                <a:cubicBezTo>
                  <a:pt x="184" y="28"/>
                  <a:pt x="184" y="28"/>
                  <a:pt x="184" y="28"/>
                </a:cubicBezTo>
                <a:cubicBezTo>
                  <a:pt x="184" y="41"/>
                  <a:pt x="184" y="76"/>
                  <a:pt x="186" y="86"/>
                </a:cubicBezTo>
                <a:cubicBezTo>
                  <a:pt x="188" y="99"/>
                  <a:pt x="173" y="157"/>
                  <a:pt x="173" y="179"/>
                </a:cubicBezTo>
                <a:cubicBezTo>
                  <a:pt x="173" y="201"/>
                  <a:pt x="173" y="220"/>
                  <a:pt x="171" y="230"/>
                </a:cubicBezTo>
                <a:cubicBezTo>
                  <a:pt x="169" y="241"/>
                  <a:pt x="167" y="252"/>
                  <a:pt x="164" y="265"/>
                </a:cubicBezTo>
                <a:cubicBezTo>
                  <a:pt x="160" y="278"/>
                  <a:pt x="153" y="302"/>
                  <a:pt x="149" y="316"/>
                </a:cubicBezTo>
                <a:cubicBezTo>
                  <a:pt x="146" y="331"/>
                  <a:pt x="138" y="342"/>
                  <a:pt x="140" y="355"/>
                </a:cubicBezTo>
                <a:cubicBezTo>
                  <a:pt x="142" y="368"/>
                  <a:pt x="146" y="386"/>
                  <a:pt x="136" y="386"/>
                </a:cubicBezTo>
                <a:cubicBezTo>
                  <a:pt x="127" y="386"/>
                  <a:pt x="127" y="371"/>
                  <a:pt x="127" y="386"/>
                </a:cubicBezTo>
                <a:cubicBezTo>
                  <a:pt x="127" y="401"/>
                  <a:pt x="131" y="434"/>
                  <a:pt x="129" y="446"/>
                </a:cubicBezTo>
                <a:cubicBezTo>
                  <a:pt x="127" y="459"/>
                  <a:pt x="116" y="478"/>
                  <a:pt x="114" y="485"/>
                </a:cubicBezTo>
                <a:cubicBezTo>
                  <a:pt x="113" y="492"/>
                  <a:pt x="109" y="509"/>
                  <a:pt x="107" y="514"/>
                </a:cubicBezTo>
                <a:cubicBezTo>
                  <a:pt x="105" y="520"/>
                  <a:pt x="91" y="538"/>
                  <a:pt x="87" y="547"/>
                </a:cubicBezTo>
                <a:cubicBezTo>
                  <a:pt x="83" y="556"/>
                  <a:pt x="76" y="565"/>
                  <a:pt x="76" y="565"/>
                </a:cubicBezTo>
                <a:cubicBezTo>
                  <a:pt x="76" y="565"/>
                  <a:pt x="67" y="567"/>
                  <a:pt x="65" y="573"/>
                </a:cubicBezTo>
                <a:cubicBezTo>
                  <a:pt x="63" y="578"/>
                  <a:pt x="65" y="609"/>
                  <a:pt x="69" y="618"/>
                </a:cubicBezTo>
                <a:cubicBezTo>
                  <a:pt x="72" y="628"/>
                  <a:pt x="74" y="635"/>
                  <a:pt x="65" y="646"/>
                </a:cubicBezTo>
                <a:cubicBezTo>
                  <a:pt x="56" y="657"/>
                  <a:pt x="52" y="681"/>
                  <a:pt x="52" y="681"/>
                </a:cubicBezTo>
                <a:cubicBezTo>
                  <a:pt x="52" y="681"/>
                  <a:pt x="53" y="693"/>
                  <a:pt x="56" y="697"/>
                </a:cubicBezTo>
                <a:cubicBezTo>
                  <a:pt x="59" y="702"/>
                  <a:pt x="67" y="705"/>
                  <a:pt x="70" y="702"/>
                </a:cubicBezTo>
                <a:cubicBezTo>
                  <a:pt x="72" y="700"/>
                  <a:pt x="77" y="693"/>
                  <a:pt x="80" y="695"/>
                </a:cubicBezTo>
                <a:cubicBezTo>
                  <a:pt x="82" y="696"/>
                  <a:pt x="82" y="711"/>
                  <a:pt x="80" y="715"/>
                </a:cubicBezTo>
                <a:cubicBezTo>
                  <a:pt x="78" y="720"/>
                  <a:pt x="82" y="723"/>
                  <a:pt x="79" y="726"/>
                </a:cubicBezTo>
                <a:cubicBezTo>
                  <a:pt x="76" y="729"/>
                  <a:pt x="70" y="738"/>
                  <a:pt x="71" y="741"/>
                </a:cubicBezTo>
                <a:cubicBezTo>
                  <a:pt x="72" y="744"/>
                  <a:pt x="77" y="751"/>
                  <a:pt x="75" y="756"/>
                </a:cubicBezTo>
                <a:cubicBezTo>
                  <a:pt x="72" y="761"/>
                  <a:pt x="68" y="764"/>
                  <a:pt x="70" y="767"/>
                </a:cubicBezTo>
                <a:cubicBezTo>
                  <a:pt x="71" y="770"/>
                  <a:pt x="75" y="771"/>
                  <a:pt x="75" y="773"/>
                </a:cubicBezTo>
                <a:cubicBezTo>
                  <a:pt x="74" y="775"/>
                  <a:pt x="65" y="781"/>
                  <a:pt x="64" y="783"/>
                </a:cubicBezTo>
                <a:cubicBezTo>
                  <a:pt x="61" y="791"/>
                  <a:pt x="63" y="794"/>
                  <a:pt x="62" y="798"/>
                </a:cubicBezTo>
                <a:cubicBezTo>
                  <a:pt x="60" y="802"/>
                  <a:pt x="60" y="804"/>
                  <a:pt x="59" y="808"/>
                </a:cubicBezTo>
                <a:cubicBezTo>
                  <a:pt x="59" y="813"/>
                  <a:pt x="59" y="812"/>
                  <a:pt x="57" y="815"/>
                </a:cubicBezTo>
                <a:cubicBezTo>
                  <a:pt x="56" y="817"/>
                  <a:pt x="51" y="826"/>
                  <a:pt x="48" y="824"/>
                </a:cubicBezTo>
                <a:cubicBezTo>
                  <a:pt x="45" y="821"/>
                  <a:pt x="43" y="815"/>
                  <a:pt x="43" y="815"/>
                </a:cubicBezTo>
                <a:cubicBezTo>
                  <a:pt x="43" y="815"/>
                  <a:pt x="40" y="810"/>
                  <a:pt x="38" y="807"/>
                </a:cubicBezTo>
                <a:cubicBezTo>
                  <a:pt x="36" y="804"/>
                  <a:pt x="35" y="797"/>
                  <a:pt x="31" y="808"/>
                </a:cubicBezTo>
                <a:cubicBezTo>
                  <a:pt x="27" y="819"/>
                  <a:pt x="26" y="818"/>
                  <a:pt x="20" y="821"/>
                </a:cubicBezTo>
                <a:cubicBezTo>
                  <a:pt x="13" y="825"/>
                  <a:pt x="12" y="824"/>
                  <a:pt x="11" y="829"/>
                </a:cubicBezTo>
                <a:cubicBezTo>
                  <a:pt x="11" y="833"/>
                  <a:pt x="4" y="827"/>
                  <a:pt x="6" y="833"/>
                </a:cubicBezTo>
                <a:cubicBezTo>
                  <a:pt x="8" y="838"/>
                  <a:pt x="12" y="836"/>
                  <a:pt x="17" y="836"/>
                </a:cubicBezTo>
                <a:cubicBezTo>
                  <a:pt x="22" y="836"/>
                  <a:pt x="28" y="832"/>
                  <a:pt x="30" y="835"/>
                </a:cubicBezTo>
                <a:cubicBezTo>
                  <a:pt x="31" y="839"/>
                  <a:pt x="33" y="838"/>
                  <a:pt x="36" y="840"/>
                </a:cubicBezTo>
                <a:cubicBezTo>
                  <a:pt x="40" y="842"/>
                  <a:pt x="45" y="845"/>
                  <a:pt x="40" y="849"/>
                </a:cubicBezTo>
                <a:cubicBezTo>
                  <a:pt x="35" y="853"/>
                  <a:pt x="36" y="860"/>
                  <a:pt x="40" y="861"/>
                </a:cubicBezTo>
                <a:cubicBezTo>
                  <a:pt x="44" y="862"/>
                  <a:pt x="51" y="861"/>
                  <a:pt x="50" y="866"/>
                </a:cubicBezTo>
                <a:cubicBezTo>
                  <a:pt x="49" y="871"/>
                  <a:pt x="40" y="878"/>
                  <a:pt x="38" y="879"/>
                </a:cubicBezTo>
                <a:cubicBezTo>
                  <a:pt x="36" y="880"/>
                  <a:pt x="43" y="883"/>
                  <a:pt x="34" y="888"/>
                </a:cubicBezTo>
                <a:cubicBezTo>
                  <a:pt x="26" y="893"/>
                  <a:pt x="22" y="884"/>
                  <a:pt x="21" y="893"/>
                </a:cubicBezTo>
                <a:cubicBezTo>
                  <a:pt x="21" y="902"/>
                  <a:pt x="28" y="901"/>
                  <a:pt x="19" y="904"/>
                </a:cubicBezTo>
                <a:cubicBezTo>
                  <a:pt x="10" y="908"/>
                  <a:pt x="9" y="903"/>
                  <a:pt x="5" y="911"/>
                </a:cubicBezTo>
                <a:cubicBezTo>
                  <a:pt x="0" y="920"/>
                  <a:pt x="2" y="924"/>
                  <a:pt x="8" y="924"/>
                </a:cubicBezTo>
                <a:cubicBezTo>
                  <a:pt x="15" y="924"/>
                  <a:pt x="17" y="913"/>
                  <a:pt x="22" y="917"/>
                </a:cubicBezTo>
                <a:cubicBezTo>
                  <a:pt x="27" y="920"/>
                  <a:pt x="30" y="916"/>
                  <a:pt x="31" y="911"/>
                </a:cubicBezTo>
                <a:cubicBezTo>
                  <a:pt x="31" y="907"/>
                  <a:pt x="36" y="899"/>
                  <a:pt x="38" y="903"/>
                </a:cubicBezTo>
                <a:cubicBezTo>
                  <a:pt x="39" y="906"/>
                  <a:pt x="43" y="908"/>
                  <a:pt x="38" y="916"/>
                </a:cubicBezTo>
                <a:cubicBezTo>
                  <a:pt x="33" y="923"/>
                  <a:pt x="25" y="915"/>
                  <a:pt x="29" y="925"/>
                </a:cubicBezTo>
                <a:cubicBezTo>
                  <a:pt x="33" y="935"/>
                  <a:pt x="33" y="937"/>
                  <a:pt x="29" y="940"/>
                </a:cubicBezTo>
                <a:cubicBezTo>
                  <a:pt x="24" y="943"/>
                  <a:pt x="18" y="941"/>
                  <a:pt x="21" y="945"/>
                </a:cubicBezTo>
                <a:cubicBezTo>
                  <a:pt x="23" y="950"/>
                  <a:pt x="30" y="948"/>
                  <a:pt x="32" y="947"/>
                </a:cubicBezTo>
                <a:cubicBezTo>
                  <a:pt x="34" y="945"/>
                  <a:pt x="36" y="934"/>
                  <a:pt x="36" y="944"/>
                </a:cubicBezTo>
                <a:cubicBezTo>
                  <a:pt x="35" y="954"/>
                  <a:pt x="30" y="956"/>
                  <a:pt x="35" y="958"/>
                </a:cubicBezTo>
                <a:cubicBezTo>
                  <a:pt x="40" y="961"/>
                  <a:pt x="43" y="959"/>
                  <a:pt x="47" y="956"/>
                </a:cubicBezTo>
                <a:cubicBezTo>
                  <a:pt x="50" y="953"/>
                  <a:pt x="55" y="959"/>
                  <a:pt x="52" y="965"/>
                </a:cubicBezTo>
                <a:cubicBezTo>
                  <a:pt x="49" y="971"/>
                  <a:pt x="43" y="966"/>
                  <a:pt x="48" y="972"/>
                </a:cubicBezTo>
                <a:cubicBezTo>
                  <a:pt x="53" y="979"/>
                  <a:pt x="57" y="977"/>
                  <a:pt x="59" y="975"/>
                </a:cubicBezTo>
                <a:cubicBezTo>
                  <a:pt x="62" y="972"/>
                  <a:pt x="69" y="967"/>
                  <a:pt x="69" y="969"/>
                </a:cubicBezTo>
                <a:cubicBezTo>
                  <a:pt x="69" y="971"/>
                  <a:pt x="52" y="986"/>
                  <a:pt x="52" y="992"/>
                </a:cubicBezTo>
                <a:cubicBezTo>
                  <a:pt x="51" y="998"/>
                  <a:pt x="56" y="1001"/>
                  <a:pt x="58" y="1002"/>
                </a:cubicBezTo>
                <a:cubicBezTo>
                  <a:pt x="59" y="1003"/>
                  <a:pt x="49" y="1006"/>
                  <a:pt x="48" y="1011"/>
                </a:cubicBezTo>
                <a:cubicBezTo>
                  <a:pt x="47" y="1017"/>
                  <a:pt x="42" y="1015"/>
                  <a:pt x="48" y="1019"/>
                </a:cubicBezTo>
                <a:cubicBezTo>
                  <a:pt x="54" y="1023"/>
                  <a:pt x="61" y="1021"/>
                  <a:pt x="61" y="1021"/>
                </a:cubicBezTo>
                <a:cubicBezTo>
                  <a:pt x="73" y="1011"/>
                  <a:pt x="73" y="1011"/>
                  <a:pt x="73" y="1011"/>
                </a:cubicBezTo>
                <a:cubicBezTo>
                  <a:pt x="73" y="1011"/>
                  <a:pt x="72" y="1002"/>
                  <a:pt x="76" y="1003"/>
                </a:cubicBezTo>
                <a:cubicBezTo>
                  <a:pt x="80" y="1005"/>
                  <a:pt x="72" y="999"/>
                  <a:pt x="82" y="1000"/>
                </a:cubicBezTo>
                <a:cubicBezTo>
                  <a:pt x="93" y="1002"/>
                  <a:pt x="94" y="1006"/>
                  <a:pt x="88" y="1010"/>
                </a:cubicBezTo>
                <a:cubicBezTo>
                  <a:pt x="82" y="1014"/>
                  <a:pt x="75" y="1016"/>
                  <a:pt x="77" y="1021"/>
                </a:cubicBezTo>
                <a:cubicBezTo>
                  <a:pt x="79" y="1025"/>
                  <a:pt x="75" y="1027"/>
                  <a:pt x="80" y="1029"/>
                </a:cubicBezTo>
                <a:cubicBezTo>
                  <a:pt x="85" y="1031"/>
                  <a:pt x="94" y="1029"/>
                  <a:pt x="98" y="1026"/>
                </a:cubicBezTo>
                <a:cubicBezTo>
                  <a:pt x="101" y="1024"/>
                  <a:pt x="107" y="1018"/>
                  <a:pt x="106" y="1015"/>
                </a:cubicBezTo>
                <a:cubicBezTo>
                  <a:pt x="105" y="1012"/>
                  <a:pt x="102" y="1000"/>
                  <a:pt x="108" y="1001"/>
                </a:cubicBezTo>
                <a:cubicBezTo>
                  <a:pt x="114" y="1002"/>
                  <a:pt x="109" y="996"/>
                  <a:pt x="116" y="998"/>
                </a:cubicBezTo>
                <a:cubicBezTo>
                  <a:pt x="122" y="1000"/>
                  <a:pt x="116" y="1004"/>
                  <a:pt x="116" y="1008"/>
                </a:cubicBezTo>
                <a:cubicBezTo>
                  <a:pt x="117" y="1013"/>
                  <a:pt x="118" y="1009"/>
                  <a:pt x="123" y="1011"/>
                </a:cubicBezTo>
                <a:cubicBezTo>
                  <a:pt x="128" y="1012"/>
                  <a:pt x="134" y="1004"/>
                  <a:pt x="135" y="1010"/>
                </a:cubicBezTo>
                <a:cubicBezTo>
                  <a:pt x="135" y="1016"/>
                  <a:pt x="136" y="1018"/>
                  <a:pt x="131" y="1021"/>
                </a:cubicBezTo>
                <a:cubicBezTo>
                  <a:pt x="127" y="1023"/>
                  <a:pt x="122" y="1020"/>
                  <a:pt x="120" y="1024"/>
                </a:cubicBezTo>
                <a:cubicBezTo>
                  <a:pt x="118" y="1028"/>
                  <a:pt x="125" y="1034"/>
                  <a:pt x="125" y="1034"/>
                </a:cubicBezTo>
                <a:cubicBezTo>
                  <a:pt x="125" y="1034"/>
                  <a:pt x="135" y="1030"/>
                  <a:pt x="131" y="1036"/>
                </a:cubicBezTo>
                <a:cubicBezTo>
                  <a:pt x="127" y="1043"/>
                  <a:pt x="113" y="1042"/>
                  <a:pt x="111" y="1043"/>
                </a:cubicBezTo>
                <a:cubicBezTo>
                  <a:pt x="108" y="1044"/>
                  <a:pt x="104" y="1035"/>
                  <a:pt x="104" y="1044"/>
                </a:cubicBezTo>
                <a:cubicBezTo>
                  <a:pt x="105" y="1053"/>
                  <a:pt x="127" y="1039"/>
                  <a:pt x="127" y="1052"/>
                </a:cubicBezTo>
                <a:cubicBezTo>
                  <a:pt x="126" y="1064"/>
                  <a:pt x="123" y="1062"/>
                  <a:pt x="130" y="1066"/>
                </a:cubicBezTo>
                <a:cubicBezTo>
                  <a:pt x="137" y="1069"/>
                  <a:pt x="132" y="1071"/>
                  <a:pt x="143" y="1066"/>
                </a:cubicBezTo>
                <a:cubicBezTo>
                  <a:pt x="154" y="1060"/>
                  <a:pt x="162" y="1046"/>
                  <a:pt x="164" y="1059"/>
                </a:cubicBezTo>
                <a:cubicBezTo>
                  <a:pt x="166" y="1072"/>
                  <a:pt x="157" y="1075"/>
                  <a:pt x="175" y="1069"/>
                </a:cubicBezTo>
                <a:cubicBezTo>
                  <a:pt x="192" y="1063"/>
                  <a:pt x="198" y="1058"/>
                  <a:pt x="198" y="1058"/>
                </a:cubicBezTo>
                <a:cubicBezTo>
                  <a:pt x="198" y="1058"/>
                  <a:pt x="199" y="1058"/>
                  <a:pt x="201" y="1057"/>
                </a:cubicBezTo>
                <a:lnTo>
                  <a:pt x="200" y="105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59" name="Freeform 392"/>
          <p:cNvSpPr>
            <a:spLocks/>
          </p:cNvSpPr>
          <p:nvPr userDrawn="1"/>
        </p:nvSpPr>
        <p:spPr bwMode="auto">
          <a:xfrm>
            <a:off x="3832315" y="4612675"/>
            <a:ext cx="93805" cy="73704"/>
          </a:xfrm>
          <a:custGeom>
            <a:avLst/>
            <a:gdLst>
              <a:gd name="T0" fmla="*/ 0 w 101"/>
              <a:gd name="T1" fmla="*/ 2147483646 h 79"/>
              <a:gd name="T2" fmla="*/ 0 w 101"/>
              <a:gd name="T3" fmla="*/ 2147483646 h 79"/>
              <a:gd name="T4" fmla="*/ 2147483646 w 101"/>
              <a:gd name="T5" fmla="*/ 2147483646 h 79"/>
              <a:gd name="T6" fmla="*/ 2147483646 w 101"/>
              <a:gd name="T7" fmla="*/ 2147483646 h 79"/>
              <a:gd name="T8" fmla="*/ 2147483646 w 101"/>
              <a:gd name="T9" fmla="*/ 2147483646 h 79"/>
              <a:gd name="T10" fmla="*/ 2147483646 w 101"/>
              <a:gd name="T11" fmla="*/ 2147483646 h 79"/>
              <a:gd name="T12" fmla="*/ 2147483646 w 101"/>
              <a:gd name="T13" fmla="*/ 2147483646 h 79"/>
              <a:gd name="T14" fmla="*/ 2147483646 w 101"/>
              <a:gd name="T15" fmla="*/ 2147483646 h 79"/>
              <a:gd name="T16" fmla="*/ 2147483646 w 101"/>
              <a:gd name="T17" fmla="*/ 2147483646 h 79"/>
              <a:gd name="T18" fmla="*/ 2147483646 w 101"/>
              <a:gd name="T19" fmla="*/ 2147483646 h 79"/>
              <a:gd name="T20" fmla="*/ 2147483646 w 101"/>
              <a:gd name="T21" fmla="*/ 2147483646 h 79"/>
              <a:gd name="T22" fmla="*/ 2147483646 w 101"/>
              <a:gd name="T23" fmla="*/ 2147483646 h 79"/>
              <a:gd name="T24" fmla="*/ 0 w 101"/>
              <a:gd name="T25" fmla="*/ 2147483646 h 7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1"/>
              <a:gd name="T40" fmla="*/ 0 h 79"/>
              <a:gd name="T41" fmla="*/ 101 w 101"/>
              <a:gd name="T42" fmla="*/ 79 h 7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1" h="79">
                <a:moveTo>
                  <a:pt x="0" y="12"/>
                </a:moveTo>
                <a:cubicBezTo>
                  <a:pt x="0" y="12"/>
                  <a:pt x="0" y="12"/>
                  <a:pt x="0" y="12"/>
                </a:cubicBezTo>
                <a:cubicBezTo>
                  <a:pt x="5" y="13"/>
                  <a:pt x="11" y="12"/>
                  <a:pt x="16" y="7"/>
                </a:cubicBezTo>
                <a:cubicBezTo>
                  <a:pt x="25" y="0"/>
                  <a:pt x="34" y="13"/>
                  <a:pt x="40" y="10"/>
                </a:cubicBezTo>
                <a:cubicBezTo>
                  <a:pt x="45" y="7"/>
                  <a:pt x="46" y="28"/>
                  <a:pt x="58" y="30"/>
                </a:cubicBezTo>
                <a:cubicBezTo>
                  <a:pt x="70" y="31"/>
                  <a:pt x="75" y="32"/>
                  <a:pt x="88" y="31"/>
                </a:cubicBezTo>
                <a:cubicBezTo>
                  <a:pt x="101" y="30"/>
                  <a:pt x="98" y="47"/>
                  <a:pt x="91" y="53"/>
                </a:cubicBezTo>
                <a:cubicBezTo>
                  <a:pt x="83" y="60"/>
                  <a:pt x="85" y="60"/>
                  <a:pt x="49" y="62"/>
                </a:cubicBezTo>
                <a:cubicBezTo>
                  <a:pt x="33" y="64"/>
                  <a:pt x="33" y="65"/>
                  <a:pt x="26" y="62"/>
                </a:cubicBezTo>
                <a:cubicBezTo>
                  <a:pt x="15" y="58"/>
                  <a:pt x="21" y="79"/>
                  <a:pt x="17" y="78"/>
                </a:cubicBezTo>
                <a:cubicBezTo>
                  <a:pt x="13" y="77"/>
                  <a:pt x="15" y="70"/>
                  <a:pt x="8" y="64"/>
                </a:cubicBezTo>
                <a:cubicBezTo>
                  <a:pt x="7" y="63"/>
                  <a:pt x="4" y="62"/>
                  <a:pt x="1" y="62"/>
                </a:cubicBezTo>
                <a:lnTo>
                  <a:pt x="0" y="1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60" name="Freeform 393"/>
          <p:cNvSpPr>
            <a:spLocks/>
          </p:cNvSpPr>
          <p:nvPr userDrawn="1"/>
        </p:nvSpPr>
        <p:spPr bwMode="auto">
          <a:xfrm>
            <a:off x="3753586" y="4616026"/>
            <a:ext cx="80404" cy="61977"/>
          </a:xfrm>
          <a:custGeom>
            <a:avLst/>
            <a:gdLst>
              <a:gd name="T0" fmla="*/ 2147483646 w 85"/>
              <a:gd name="T1" fmla="*/ 2147483646 h 67"/>
              <a:gd name="T2" fmla="*/ 2147483646 w 85"/>
              <a:gd name="T3" fmla="*/ 2147483646 h 67"/>
              <a:gd name="T4" fmla="*/ 2147483646 w 85"/>
              <a:gd name="T5" fmla="*/ 2147483646 h 67"/>
              <a:gd name="T6" fmla="*/ 2147483646 w 85"/>
              <a:gd name="T7" fmla="*/ 2147483646 h 67"/>
              <a:gd name="T8" fmla="*/ 2147483646 w 85"/>
              <a:gd name="T9" fmla="*/ 2147483646 h 67"/>
              <a:gd name="T10" fmla="*/ 2147483646 w 85"/>
              <a:gd name="T11" fmla="*/ 2147483646 h 67"/>
              <a:gd name="T12" fmla="*/ 2147483646 w 85"/>
              <a:gd name="T13" fmla="*/ 2147483646 h 67"/>
              <a:gd name="T14" fmla="*/ 2147483646 w 85"/>
              <a:gd name="T15" fmla="*/ 0 h 67"/>
              <a:gd name="T16" fmla="*/ 2147483646 w 85"/>
              <a:gd name="T17" fmla="*/ 2147483646 h 67"/>
              <a:gd name="T18" fmla="*/ 2147483646 w 85"/>
              <a:gd name="T19" fmla="*/ 2147483646 h 67"/>
              <a:gd name="T20" fmla="*/ 2147483646 w 85"/>
              <a:gd name="T21" fmla="*/ 2147483646 h 6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5"/>
              <a:gd name="T34" fmla="*/ 0 h 67"/>
              <a:gd name="T35" fmla="*/ 85 w 85"/>
              <a:gd name="T36" fmla="*/ 67 h 6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5" h="67">
                <a:moveTo>
                  <a:pt x="85" y="57"/>
                </a:moveTo>
                <a:cubicBezTo>
                  <a:pt x="70" y="56"/>
                  <a:pt x="38" y="62"/>
                  <a:pt x="21" y="65"/>
                </a:cubicBezTo>
                <a:cubicBezTo>
                  <a:pt x="0" y="67"/>
                  <a:pt x="4" y="57"/>
                  <a:pt x="4" y="42"/>
                </a:cubicBezTo>
                <a:cubicBezTo>
                  <a:pt x="4" y="28"/>
                  <a:pt x="13" y="46"/>
                  <a:pt x="20" y="46"/>
                </a:cubicBezTo>
                <a:cubicBezTo>
                  <a:pt x="26" y="46"/>
                  <a:pt x="68" y="50"/>
                  <a:pt x="62" y="45"/>
                </a:cubicBezTo>
                <a:cubicBezTo>
                  <a:pt x="55" y="40"/>
                  <a:pt x="55" y="37"/>
                  <a:pt x="59" y="31"/>
                </a:cubicBezTo>
                <a:cubicBezTo>
                  <a:pt x="63" y="24"/>
                  <a:pt x="51" y="23"/>
                  <a:pt x="37" y="16"/>
                </a:cubicBezTo>
                <a:cubicBezTo>
                  <a:pt x="22" y="10"/>
                  <a:pt x="43" y="0"/>
                  <a:pt x="51" y="0"/>
                </a:cubicBezTo>
                <a:cubicBezTo>
                  <a:pt x="51" y="0"/>
                  <a:pt x="66" y="0"/>
                  <a:pt x="72" y="4"/>
                </a:cubicBezTo>
                <a:cubicBezTo>
                  <a:pt x="75" y="6"/>
                  <a:pt x="79" y="8"/>
                  <a:pt x="84" y="8"/>
                </a:cubicBezTo>
                <a:lnTo>
                  <a:pt x="85" y="57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61" name="Freeform 394"/>
          <p:cNvSpPr>
            <a:spLocks/>
          </p:cNvSpPr>
          <p:nvPr userDrawn="1"/>
        </p:nvSpPr>
        <p:spPr bwMode="auto">
          <a:xfrm>
            <a:off x="3341513" y="4656229"/>
            <a:ext cx="45227" cy="78729"/>
          </a:xfrm>
          <a:custGeom>
            <a:avLst/>
            <a:gdLst>
              <a:gd name="T0" fmla="*/ 2147483646 w 49"/>
              <a:gd name="T1" fmla="*/ 2147483646 h 84"/>
              <a:gd name="T2" fmla="*/ 2147483646 w 49"/>
              <a:gd name="T3" fmla="*/ 2147483646 h 84"/>
              <a:gd name="T4" fmla="*/ 2147483646 w 49"/>
              <a:gd name="T5" fmla="*/ 2147483646 h 84"/>
              <a:gd name="T6" fmla="*/ 2147483646 w 49"/>
              <a:gd name="T7" fmla="*/ 2147483646 h 84"/>
              <a:gd name="T8" fmla="*/ 2147483646 w 49"/>
              <a:gd name="T9" fmla="*/ 2147483646 h 84"/>
              <a:gd name="T10" fmla="*/ 2147483646 w 49"/>
              <a:gd name="T11" fmla="*/ 2147483646 h 84"/>
              <a:gd name="T12" fmla="*/ 2147483646 w 49"/>
              <a:gd name="T13" fmla="*/ 2147483646 h 84"/>
              <a:gd name="T14" fmla="*/ 2147483646 w 49"/>
              <a:gd name="T15" fmla="*/ 2147483646 h 84"/>
              <a:gd name="T16" fmla="*/ 2147483646 w 49"/>
              <a:gd name="T17" fmla="*/ 2147483646 h 84"/>
              <a:gd name="T18" fmla="*/ 2147483646 w 49"/>
              <a:gd name="T19" fmla="*/ 2147483646 h 84"/>
              <a:gd name="T20" fmla="*/ 2147483646 w 49"/>
              <a:gd name="T21" fmla="*/ 2147483646 h 84"/>
              <a:gd name="T22" fmla="*/ 2147483646 w 49"/>
              <a:gd name="T23" fmla="*/ 2147483646 h 84"/>
              <a:gd name="T24" fmla="*/ 2147483646 w 49"/>
              <a:gd name="T25" fmla="*/ 2147483646 h 84"/>
              <a:gd name="T26" fmla="*/ 2147483646 w 49"/>
              <a:gd name="T27" fmla="*/ 2147483646 h 84"/>
              <a:gd name="T28" fmla="*/ 2147483646 w 49"/>
              <a:gd name="T29" fmla="*/ 2147483646 h 8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9"/>
              <a:gd name="T46" fmla="*/ 0 h 84"/>
              <a:gd name="T47" fmla="*/ 49 w 49"/>
              <a:gd name="T48" fmla="*/ 84 h 8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9" h="84">
                <a:moveTo>
                  <a:pt x="16" y="76"/>
                </a:moveTo>
                <a:cubicBezTo>
                  <a:pt x="23" y="68"/>
                  <a:pt x="35" y="58"/>
                  <a:pt x="35" y="58"/>
                </a:cubicBezTo>
                <a:cubicBezTo>
                  <a:pt x="35" y="58"/>
                  <a:pt x="37" y="48"/>
                  <a:pt x="36" y="38"/>
                </a:cubicBezTo>
                <a:cubicBezTo>
                  <a:pt x="36" y="27"/>
                  <a:pt x="37" y="20"/>
                  <a:pt x="37" y="20"/>
                </a:cubicBezTo>
                <a:cubicBezTo>
                  <a:pt x="37" y="20"/>
                  <a:pt x="45" y="15"/>
                  <a:pt x="49" y="12"/>
                </a:cubicBezTo>
                <a:cubicBezTo>
                  <a:pt x="49" y="10"/>
                  <a:pt x="49" y="10"/>
                  <a:pt x="49" y="10"/>
                </a:cubicBezTo>
                <a:cubicBezTo>
                  <a:pt x="49" y="10"/>
                  <a:pt x="43" y="1"/>
                  <a:pt x="40" y="1"/>
                </a:cubicBezTo>
                <a:cubicBezTo>
                  <a:pt x="37" y="0"/>
                  <a:pt x="32" y="0"/>
                  <a:pt x="28" y="2"/>
                </a:cubicBezTo>
                <a:cubicBezTo>
                  <a:pt x="25" y="5"/>
                  <a:pt x="19" y="12"/>
                  <a:pt x="18" y="15"/>
                </a:cubicBezTo>
                <a:cubicBezTo>
                  <a:pt x="16" y="17"/>
                  <a:pt x="10" y="22"/>
                  <a:pt x="9" y="28"/>
                </a:cubicBezTo>
                <a:cubicBezTo>
                  <a:pt x="7" y="34"/>
                  <a:pt x="6" y="33"/>
                  <a:pt x="7" y="43"/>
                </a:cubicBezTo>
                <a:cubicBezTo>
                  <a:pt x="8" y="53"/>
                  <a:pt x="8" y="42"/>
                  <a:pt x="5" y="60"/>
                </a:cubicBezTo>
                <a:cubicBezTo>
                  <a:pt x="1" y="77"/>
                  <a:pt x="0" y="80"/>
                  <a:pt x="3" y="82"/>
                </a:cubicBezTo>
                <a:cubicBezTo>
                  <a:pt x="6" y="84"/>
                  <a:pt x="14" y="79"/>
                  <a:pt x="14" y="79"/>
                </a:cubicBezTo>
                <a:lnTo>
                  <a:pt x="16" y="7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62" name="Line 395"/>
          <p:cNvSpPr>
            <a:spLocks noChangeShapeType="1"/>
          </p:cNvSpPr>
          <p:nvPr userDrawn="1"/>
        </p:nvSpPr>
        <p:spPr bwMode="auto">
          <a:xfrm>
            <a:off x="3426943" y="4882365"/>
            <a:ext cx="1676" cy="16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63" name="Line 396"/>
          <p:cNvSpPr>
            <a:spLocks noChangeShapeType="1"/>
          </p:cNvSpPr>
          <p:nvPr userDrawn="1"/>
        </p:nvSpPr>
        <p:spPr bwMode="auto">
          <a:xfrm>
            <a:off x="3426943" y="4882365"/>
            <a:ext cx="1676" cy="1676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64" name="Line 397"/>
          <p:cNvSpPr>
            <a:spLocks noChangeShapeType="1"/>
          </p:cNvSpPr>
          <p:nvPr userDrawn="1"/>
        </p:nvSpPr>
        <p:spPr bwMode="auto">
          <a:xfrm>
            <a:off x="3465469" y="4981195"/>
            <a:ext cx="1675" cy="1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65" name="Line 398"/>
          <p:cNvSpPr>
            <a:spLocks noChangeShapeType="1"/>
          </p:cNvSpPr>
          <p:nvPr userDrawn="1"/>
        </p:nvSpPr>
        <p:spPr bwMode="auto">
          <a:xfrm>
            <a:off x="3465469" y="4981195"/>
            <a:ext cx="1675" cy="1675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66" name="Freeform 399"/>
          <p:cNvSpPr>
            <a:spLocks/>
          </p:cNvSpPr>
          <p:nvPr userDrawn="1"/>
        </p:nvSpPr>
        <p:spPr bwMode="auto">
          <a:xfrm>
            <a:off x="3462120" y="4523896"/>
            <a:ext cx="298167" cy="100505"/>
          </a:xfrm>
          <a:custGeom>
            <a:avLst/>
            <a:gdLst>
              <a:gd name="T0" fmla="*/ 2147483646 w 319"/>
              <a:gd name="T1" fmla="*/ 2147483646 h 107"/>
              <a:gd name="T2" fmla="*/ 2147483646 w 319"/>
              <a:gd name="T3" fmla="*/ 2147483646 h 107"/>
              <a:gd name="T4" fmla="*/ 2147483646 w 319"/>
              <a:gd name="T5" fmla="*/ 2147483646 h 107"/>
              <a:gd name="T6" fmla="*/ 2147483646 w 319"/>
              <a:gd name="T7" fmla="*/ 2147483646 h 107"/>
              <a:gd name="T8" fmla="*/ 2147483646 w 319"/>
              <a:gd name="T9" fmla="*/ 2147483646 h 107"/>
              <a:gd name="T10" fmla="*/ 2147483646 w 319"/>
              <a:gd name="T11" fmla="*/ 2147483646 h 107"/>
              <a:gd name="T12" fmla="*/ 2147483646 w 319"/>
              <a:gd name="T13" fmla="*/ 2147483646 h 107"/>
              <a:gd name="T14" fmla="*/ 2147483646 w 319"/>
              <a:gd name="T15" fmla="*/ 2147483646 h 107"/>
              <a:gd name="T16" fmla="*/ 2147483646 w 319"/>
              <a:gd name="T17" fmla="*/ 2147483646 h 107"/>
              <a:gd name="T18" fmla="*/ 2147483646 w 319"/>
              <a:gd name="T19" fmla="*/ 2147483646 h 107"/>
              <a:gd name="T20" fmla="*/ 2147483646 w 319"/>
              <a:gd name="T21" fmla="*/ 2147483646 h 107"/>
              <a:gd name="T22" fmla="*/ 2147483646 w 319"/>
              <a:gd name="T23" fmla="*/ 2147483646 h 107"/>
              <a:gd name="T24" fmla="*/ 2147483646 w 319"/>
              <a:gd name="T25" fmla="*/ 2147483646 h 107"/>
              <a:gd name="T26" fmla="*/ 2147483646 w 319"/>
              <a:gd name="T27" fmla="*/ 2147483646 h 107"/>
              <a:gd name="T28" fmla="*/ 2147483646 w 319"/>
              <a:gd name="T29" fmla="*/ 2147483646 h 107"/>
              <a:gd name="T30" fmla="*/ 2147483646 w 319"/>
              <a:gd name="T31" fmla="*/ 2147483646 h 107"/>
              <a:gd name="T32" fmla="*/ 2147483646 w 319"/>
              <a:gd name="T33" fmla="*/ 2147483646 h 107"/>
              <a:gd name="T34" fmla="*/ 2147483646 w 319"/>
              <a:gd name="T35" fmla="*/ 2147483646 h 107"/>
              <a:gd name="T36" fmla="*/ 2147483646 w 319"/>
              <a:gd name="T37" fmla="*/ 2147483646 h 107"/>
              <a:gd name="T38" fmla="*/ 2147483646 w 319"/>
              <a:gd name="T39" fmla="*/ 2147483646 h 107"/>
              <a:gd name="T40" fmla="*/ 2147483646 w 319"/>
              <a:gd name="T41" fmla="*/ 2147483646 h 107"/>
              <a:gd name="T42" fmla="*/ 2147483646 w 319"/>
              <a:gd name="T43" fmla="*/ 2147483646 h 107"/>
              <a:gd name="T44" fmla="*/ 2147483646 w 319"/>
              <a:gd name="T45" fmla="*/ 2147483646 h 107"/>
              <a:gd name="T46" fmla="*/ 2147483646 w 319"/>
              <a:gd name="T47" fmla="*/ 2147483646 h 107"/>
              <a:gd name="T48" fmla="*/ 2147483646 w 319"/>
              <a:gd name="T49" fmla="*/ 2147483646 h 107"/>
              <a:gd name="T50" fmla="*/ 2147483646 w 319"/>
              <a:gd name="T51" fmla="*/ 2147483646 h 107"/>
              <a:gd name="T52" fmla="*/ 2147483646 w 319"/>
              <a:gd name="T53" fmla="*/ 2147483646 h 107"/>
              <a:gd name="T54" fmla="*/ 2147483646 w 319"/>
              <a:gd name="T55" fmla="*/ 2147483646 h 107"/>
              <a:gd name="T56" fmla="*/ 2147483646 w 319"/>
              <a:gd name="T57" fmla="*/ 2147483646 h 10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19"/>
              <a:gd name="T88" fmla="*/ 0 h 107"/>
              <a:gd name="T89" fmla="*/ 319 w 319"/>
              <a:gd name="T90" fmla="*/ 107 h 10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19" h="107">
                <a:moveTo>
                  <a:pt x="109" y="6"/>
                </a:moveTo>
                <a:cubicBezTo>
                  <a:pt x="84" y="5"/>
                  <a:pt x="76" y="0"/>
                  <a:pt x="65" y="5"/>
                </a:cubicBezTo>
                <a:cubicBezTo>
                  <a:pt x="53" y="10"/>
                  <a:pt x="45" y="5"/>
                  <a:pt x="40" y="15"/>
                </a:cubicBezTo>
                <a:cubicBezTo>
                  <a:pt x="34" y="26"/>
                  <a:pt x="40" y="27"/>
                  <a:pt x="30" y="32"/>
                </a:cubicBezTo>
                <a:cubicBezTo>
                  <a:pt x="21" y="38"/>
                  <a:pt x="0" y="44"/>
                  <a:pt x="19" y="43"/>
                </a:cubicBezTo>
                <a:cubicBezTo>
                  <a:pt x="37" y="41"/>
                  <a:pt x="49" y="36"/>
                  <a:pt x="57" y="32"/>
                </a:cubicBezTo>
                <a:cubicBezTo>
                  <a:pt x="65" y="28"/>
                  <a:pt x="62" y="17"/>
                  <a:pt x="70" y="19"/>
                </a:cubicBezTo>
                <a:cubicBezTo>
                  <a:pt x="78" y="22"/>
                  <a:pt x="83" y="10"/>
                  <a:pt x="88" y="18"/>
                </a:cubicBezTo>
                <a:cubicBezTo>
                  <a:pt x="93" y="26"/>
                  <a:pt x="109" y="6"/>
                  <a:pt x="108" y="19"/>
                </a:cubicBezTo>
                <a:cubicBezTo>
                  <a:pt x="106" y="32"/>
                  <a:pt x="92" y="22"/>
                  <a:pt x="96" y="28"/>
                </a:cubicBezTo>
                <a:cubicBezTo>
                  <a:pt x="100" y="35"/>
                  <a:pt x="106" y="30"/>
                  <a:pt x="118" y="36"/>
                </a:cubicBezTo>
                <a:cubicBezTo>
                  <a:pt x="130" y="43"/>
                  <a:pt x="146" y="23"/>
                  <a:pt x="151" y="36"/>
                </a:cubicBezTo>
                <a:cubicBezTo>
                  <a:pt x="156" y="49"/>
                  <a:pt x="155" y="49"/>
                  <a:pt x="164" y="52"/>
                </a:cubicBezTo>
                <a:cubicBezTo>
                  <a:pt x="173" y="55"/>
                  <a:pt x="176" y="44"/>
                  <a:pt x="186" y="53"/>
                </a:cubicBezTo>
                <a:cubicBezTo>
                  <a:pt x="197" y="62"/>
                  <a:pt x="207" y="44"/>
                  <a:pt x="203" y="61"/>
                </a:cubicBezTo>
                <a:cubicBezTo>
                  <a:pt x="199" y="78"/>
                  <a:pt x="211" y="73"/>
                  <a:pt x="222" y="82"/>
                </a:cubicBezTo>
                <a:cubicBezTo>
                  <a:pt x="232" y="91"/>
                  <a:pt x="218" y="83"/>
                  <a:pt x="219" y="95"/>
                </a:cubicBezTo>
                <a:cubicBezTo>
                  <a:pt x="220" y="107"/>
                  <a:pt x="207" y="103"/>
                  <a:pt x="235" y="103"/>
                </a:cubicBezTo>
                <a:cubicBezTo>
                  <a:pt x="262" y="103"/>
                  <a:pt x="300" y="106"/>
                  <a:pt x="306" y="104"/>
                </a:cubicBezTo>
                <a:cubicBezTo>
                  <a:pt x="311" y="103"/>
                  <a:pt x="317" y="100"/>
                  <a:pt x="317" y="100"/>
                </a:cubicBezTo>
                <a:cubicBezTo>
                  <a:pt x="317" y="100"/>
                  <a:pt x="319" y="78"/>
                  <a:pt x="308" y="82"/>
                </a:cubicBezTo>
                <a:cubicBezTo>
                  <a:pt x="298" y="86"/>
                  <a:pt x="296" y="73"/>
                  <a:pt x="287" y="77"/>
                </a:cubicBezTo>
                <a:cubicBezTo>
                  <a:pt x="278" y="81"/>
                  <a:pt x="282" y="57"/>
                  <a:pt x="271" y="60"/>
                </a:cubicBezTo>
                <a:cubicBezTo>
                  <a:pt x="261" y="62"/>
                  <a:pt x="247" y="59"/>
                  <a:pt x="239" y="53"/>
                </a:cubicBezTo>
                <a:cubicBezTo>
                  <a:pt x="231" y="48"/>
                  <a:pt x="220" y="45"/>
                  <a:pt x="214" y="43"/>
                </a:cubicBezTo>
                <a:cubicBezTo>
                  <a:pt x="207" y="40"/>
                  <a:pt x="205" y="34"/>
                  <a:pt x="196" y="30"/>
                </a:cubicBezTo>
                <a:cubicBezTo>
                  <a:pt x="186" y="26"/>
                  <a:pt x="175" y="24"/>
                  <a:pt x="168" y="23"/>
                </a:cubicBezTo>
                <a:cubicBezTo>
                  <a:pt x="161" y="22"/>
                  <a:pt x="141" y="6"/>
                  <a:pt x="135" y="6"/>
                </a:cubicBezTo>
                <a:cubicBezTo>
                  <a:pt x="130" y="6"/>
                  <a:pt x="109" y="6"/>
                  <a:pt x="109" y="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67" name="Freeform 400"/>
          <p:cNvSpPr>
            <a:spLocks/>
          </p:cNvSpPr>
          <p:nvPr userDrawn="1"/>
        </p:nvSpPr>
        <p:spPr bwMode="auto">
          <a:xfrm>
            <a:off x="3947897" y="4639476"/>
            <a:ext cx="61977" cy="31827"/>
          </a:xfrm>
          <a:custGeom>
            <a:avLst/>
            <a:gdLst>
              <a:gd name="T0" fmla="*/ 2147483646 w 67"/>
              <a:gd name="T1" fmla="*/ 2147483646 h 33"/>
              <a:gd name="T2" fmla="*/ 2147483646 w 67"/>
              <a:gd name="T3" fmla="*/ 2147483646 h 33"/>
              <a:gd name="T4" fmla="*/ 2147483646 w 67"/>
              <a:gd name="T5" fmla="*/ 2147483646 h 33"/>
              <a:gd name="T6" fmla="*/ 2147483646 w 67"/>
              <a:gd name="T7" fmla="*/ 2147483646 h 33"/>
              <a:gd name="T8" fmla="*/ 2147483646 w 67"/>
              <a:gd name="T9" fmla="*/ 2147483646 h 33"/>
              <a:gd name="T10" fmla="*/ 2147483646 w 67"/>
              <a:gd name="T11" fmla="*/ 2147483646 h 33"/>
              <a:gd name="T12" fmla="*/ 2147483646 w 67"/>
              <a:gd name="T13" fmla="*/ 2147483646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7"/>
              <a:gd name="T22" fmla="*/ 0 h 33"/>
              <a:gd name="T23" fmla="*/ 67 w 6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7" h="33">
                <a:moveTo>
                  <a:pt x="33" y="14"/>
                </a:moveTo>
                <a:cubicBezTo>
                  <a:pt x="25" y="17"/>
                  <a:pt x="7" y="0"/>
                  <a:pt x="6" y="12"/>
                </a:cubicBezTo>
                <a:cubicBezTo>
                  <a:pt x="4" y="24"/>
                  <a:pt x="0" y="33"/>
                  <a:pt x="11" y="33"/>
                </a:cubicBezTo>
                <a:cubicBezTo>
                  <a:pt x="21" y="33"/>
                  <a:pt x="40" y="28"/>
                  <a:pt x="46" y="28"/>
                </a:cubicBezTo>
                <a:cubicBezTo>
                  <a:pt x="53" y="28"/>
                  <a:pt x="67" y="17"/>
                  <a:pt x="63" y="17"/>
                </a:cubicBezTo>
                <a:cubicBezTo>
                  <a:pt x="59" y="17"/>
                  <a:pt x="49" y="10"/>
                  <a:pt x="44" y="13"/>
                </a:cubicBezTo>
                <a:cubicBezTo>
                  <a:pt x="38" y="16"/>
                  <a:pt x="33" y="14"/>
                  <a:pt x="33" y="1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68" name="Freeform 401"/>
          <p:cNvSpPr>
            <a:spLocks/>
          </p:cNvSpPr>
          <p:nvPr userDrawn="1"/>
        </p:nvSpPr>
        <p:spPr bwMode="auto">
          <a:xfrm>
            <a:off x="3648056" y="4659577"/>
            <a:ext cx="56953" cy="31827"/>
          </a:xfrm>
          <a:custGeom>
            <a:avLst/>
            <a:gdLst>
              <a:gd name="T0" fmla="*/ 2147483646 w 62"/>
              <a:gd name="T1" fmla="*/ 2147483646 h 34"/>
              <a:gd name="T2" fmla="*/ 0 w 62"/>
              <a:gd name="T3" fmla="*/ 2147483646 h 34"/>
              <a:gd name="T4" fmla="*/ 2147483646 w 62"/>
              <a:gd name="T5" fmla="*/ 2147483646 h 34"/>
              <a:gd name="T6" fmla="*/ 2147483646 w 62"/>
              <a:gd name="T7" fmla="*/ 2147483646 h 34"/>
              <a:gd name="T8" fmla="*/ 2147483646 w 62"/>
              <a:gd name="T9" fmla="*/ 2147483646 h 34"/>
              <a:gd name="T10" fmla="*/ 2147483646 w 62"/>
              <a:gd name="T11" fmla="*/ 2147483646 h 3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2"/>
              <a:gd name="T19" fmla="*/ 0 h 34"/>
              <a:gd name="T20" fmla="*/ 62 w 62"/>
              <a:gd name="T21" fmla="*/ 34 h 3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2" h="34">
                <a:moveTo>
                  <a:pt x="27" y="1"/>
                </a:moveTo>
                <a:cubicBezTo>
                  <a:pt x="17" y="3"/>
                  <a:pt x="0" y="0"/>
                  <a:pt x="0" y="8"/>
                </a:cubicBezTo>
                <a:cubicBezTo>
                  <a:pt x="0" y="16"/>
                  <a:pt x="7" y="26"/>
                  <a:pt x="20" y="30"/>
                </a:cubicBezTo>
                <a:cubicBezTo>
                  <a:pt x="33" y="34"/>
                  <a:pt x="44" y="25"/>
                  <a:pt x="52" y="25"/>
                </a:cubicBezTo>
                <a:cubicBezTo>
                  <a:pt x="59" y="25"/>
                  <a:pt x="62" y="18"/>
                  <a:pt x="62" y="18"/>
                </a:cubicBezTo>
                <a:lnTo>
                  <a:pt x="27" y="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69" name="Freeform 402"/>
          <p:cNvSpPr>
            <a:spLocks/>
          </p:cNvSpPr>
          <p:nvPr userDrawn="1"/>
        </p:nvSpPr>
        <p:spPr bwMode="auto">
          <a:xfrm>
            <a:off x="4123782" y="4865613"/>
            <a:ext cx="25127" cy="31827"/>
          </a:xfrm>
          <a:custGeom>
            <a:avLst/>
            <a:gdLst>
              <a:gd name="T0" fmla="*/ 2147483646 w 26"/>
              <a:gd name="T1" fmla="*/ 2147483646 h 33"/>
              <a:gd name="T2" fmla="*/ 2147483646 w 26"/>
              <a:gd name="T3" fmla="*/ 2147483646 h 33"/>
              <a:gd name="T4" fmla="*/ 2147483646 w 26"/>
              <a:gd name="T5" fmla="*/ 2147483646 h 33"/>
              <a:gd name="T6" fmla="*/ 2147483646 w 26"/>
              <a:gd name="T7" fmla="*/ 2147483646 h 33"/>
              <a:gd name="T8" fmla="*/ 2147483646 w 26"/>
              <a:gd name="T9" fmla="*/ 2147483646 h 33"/>
              <a:gd name="T10" fmla="*/ 2147483646 w 26"/>
              <a:gd name="T11" fmla="*/ 2147483646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33"/>
              <a:gd name="T20" fmla="*/ 26 w 26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33">
                <a:moveTo>
                  <a:pt x="13" y="8"/>
                </a:moveTo>
                <a:cubicBezTo>
                  <a:pt x="9" y="11"/>
                  <a:pt x="0" y="19"/>
                  <a:pt x="3" y="24"/>
                </a:cubicBezTo>
                <a:cubicBezTo>
                  <a:pt x="6" y="29"/>
                  <a:pt x="15" y="33"/>
                  <a:pt x="19" y="29"/>
                </a:cubicBezTo>
                <a:cubicBezTo>
                  <a:pt x="23" y="25"/>
                  <a:pt x="26" y="13"/>
                  <a:pt x="26" y="13"/>
                </a:cubicBezTo>
                <a:cubicBezTo>
                  <a:pt x="26" y="13"/>
                  <a:pt x="24" y="0"/>
                  <a:pt x="19" y="4"/>
                </a:cubicBezTo>
                <a:cubicBezTo>
                  <a:pt x="13" y="8"/>
                  <a:pt x="13" y="8"/>
                  <a:pt x="13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70" name="Freeform 403"/>
          <p:cNvSpPr>
            <a:spLocks/>
          </p:cNvSpPr>
          <p:nvPr userDrawn="1"/>
        </p:nvSpPr>
        <p:spPr bwMode="auto">
          <a:xfrm>
            <a:off x="3254408" y="5187231"/>
            <a:ext cx="33501" cy="36852"/>
          </a:xfrm>
          <a:custGeom>
            <a:avLst/>
            <a:gdLst>
              <a:gd name="T0" fmla="*/ 2147483646 w 36"/>
              <a:gd name="T1" fmla="*/ 0 h 38"/>
              <a:gd name="T2" fmla="*/ 2147483646 w 36"/>
              <a:gd name="T3" fmla="*/ 2147483646 h 38"/>
              <a:gd name="T4" fmla="*/ 2147483646 w 36"/>
              <a:gd name="T5" fmla="*/ 2147483646 h 38"/>
              <a:gd name="T6" fmla="*/ 2147483646 w 36"/>
              <a:gd name="T7" fmla="*/ 2147483646 h 38"/>
              <a:gd name="T8" fmla="*/ 2147483646 w 36"/>
              <a:gd name="T9" fmla="*/ 2147483646 h 38"/>
              <a:gd name="T10" fmla="*/ 2147483646 w 36"/>
              <a:gd name="T11" fmla="*/ 2147483646 h 38"/>
              <a:gd name="T12" fmla="*/ 2147483646 w 36"/>
              <a:gd name="T13" fmla="*/ 2147483646 h 38"/>
              <a:gd name="T14" fmla="*/ 2147483646 w 36"/>
              <a:gd name="T15" fmla="*/ 2147483646 h 38"/>
              <a:gd name="T16" fmla="*/ 2147483646 w 36"/>
              <a:gd name="T17" fmla="*/ 2147483646 h 38"/>
              <a:gd name="T18" fmla="*/ 2147483646 w 36"/>
              <a:gd name="T19" fmla="*/ 0 h 3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6"/>
              <a:gd name="T31" fmla="*/ 0 h 38"/>
              <a:gd name="T32" fmla="*/ 36 w 36"/>
              <a:gd name="T33" fmla="*/ 38 h 3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6" h="38">
                <a:moveTo>
                  <a:pt x="15" y="0"/>
                </a:moveTo>
                <a:cubicBezTo>
                  <a:pt x="12" y="1"/>
                  <a:pt x="11" y="16"/>
                  <a:pt x="11" y="16"/>
                </a:cubicBezTo>
                <a:cubicBezTo>
                  <a:pt x="11" y="16"/>
                  <a:pt x="0" y="11"/>
                  <a:pt x="2" y="17"/>
                </a:cubicBezTo>
                <a:cubicBezTo>
                  <a:pt x="4" y="22"/>
                  <a:pt x="14" y="18"/>
                  <a:pt x="18" y="20"/>
                </a:cubicBezTo>
                <a:cubicBezTo>
                  <a:pt x="21" y="22"/>
                  <a:pt x="13" y="30"/>
                  <a:pt x="13" y="30"/>
                </a:cubicBezTo>
                <a:cubicBezTo>
                  <a:pt x="13" y="30"/>
                  <a:pt x="10" y="35"/>
                  <a:pt x="15" y="37"/>
                </a:cubicBezTo>
                <a:cubicBezTo>
                  <a:pt x="20" y="38"/>
                  <a:pt x="27" y="38"/>
                  <a:pt x="30" y="38"/>
                </a:cubicBezTo>
                <a:cubicBezTo>
                  <a:pt x="33" y="37"/>
                  <a:pt x="36" y="28"/>
                  <a:pt x="36" y="28"/>
                </a:cubicBezTo>
                <a:cubicBezTo>
                  <a:pt x="34" y="17"/>
                  <a:pt x="34" y="17"/>
                  <a:pt x="34" y="17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71" name="Freeform 404"/>
          <p:cNvSpPr>
            <a:spLocks/>
          </p:cNvSpPr>
          <p:nvPr userDrawn="1"/>
        </p:nvSpPr>
        <p:spPr bwMode="auto">
          <a:xfrm>
            <a:off x="4019926" y="6589285"/>
            <a:ext cx="72029" cy="38527"/>
          </a:xfrm>
          <a:custGeom>
            <a:avLst/>
            <a:gdLst>
              <a:gd name="T0" fmla="*/ 2147483646 w 77"/>
              <a:gd name="T1" fmla="*/ 2147483646 h 40"/>
              <a:gd name="T2" fmla="*/ 2147483646 w 77"/>
              <a:gd name="T3" fmla="*/ 2147483646 h 40"/>
              <a:gd name="T4" fmla="*/ 2147483646 w 77"/>
              <a:gd name="T5" fmla="*/ 2147483646 h 40"/>
              <a:gd name="T6" fmla="*/ 2147483646 w 77"/>
              <a:gd name="T7" fmla="*/ 2147483646 h 40"/>
              <a:gd name="T8" fmla="*/ 2147483646 w 77"/>
              <a:gd name="T9" fmla="*/ 2147483646 h 40"/>
              <a:gd name="T10" fmla="*/ 2147483646 w 77"/>
              <a:gd name="T11" fmla="*/ 2147483646 h 40"/>
              <a:gd name="T12" fmla="*/ 2147483646 w 77"/>
              <a:gd name="T13" fmla="*/ 2147483646 h 40"/>
              <a:gd name="T14" fmla="*/ 2147483646 w 77"/>
              <a:gd name="T15" fmla="*/ 2147483646 h 40"/>
              <a:gd name="T16" fmla="*/ 2147483646 w 77"/>
              <a:gd name="T17" fmla="*/ 2147483646 h 40"/>
              <a:gd name="T18" fmla="*/ 2147483646 w 77"/>
              <a:gd name="T19" fmla="*/ 2147483646 h 40"/>
              <a:gd name="T20" fmla="*/ 2147483646 w 77"/>
              <a:gd name="T21" fmla="*/ 2147483646 h 4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7"/>
              <a:gd name="T34" fmla="*/ 0 h 40"/>
              <a:gd name="T35" fmla="*/ 77 w 77"/>
              <a:gd name="T36" fmla="*/ 40 h 4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7" h="40">
                <a:moveTo>
                  <a:pt x="36" y="9"/>
                </a:moveTo>
                <a:cubicBezTo>
                  <a:pt x="36" y="9"/>
                  <a:pt x="31" y="4"/>
                  <a:pt x="26" y="7"/>
                </a:cubicBezTo>
                <a:cubicBezTo>
                  <a:pt x="21" y="11"/>
                  <a:pt x="17" y="14"/>
                  <a:pt x="13" y="17"/>
                </a:cubicBezTo>
                <a:cubicBezTo>
                  <a:pt x="10" y="21"/>
                  <a:pt x="0" y="15"/>
                  <a:pt x="2" y="22"/>
                </a:cubicBezTo>
                <a:cubicBezTo>
                  <a:pt x="5" y="28"/>
                  <a:pt x="22" y="28"/>
                  <a:pt x="25" y="30"/>
                </a:cubicBezTo>
                <a:cubicBezTo>
                  <a:pt x="29" y="33"/>
                  <a:pt x="31" y="26"/>
                  <a:pt x="35" y="33"/>
                </a:cubicBezTo>
                <a:cubicBezTo>
                  <a:pt x="38" y="40"/>
                  <a:pt x="42" y="34"/>
                  <a:pt x="49" y="28"/>
                </a:cubicBezTo>
                <a:cubicBezTo>
                  <a:pt x="56" y="22"/>
                  <a:pt x="58" y="16"/>
                  <a:pt x="64" y="17"/>
                </a:cubicBezTo>
                <a:cubicBezTo>
                  <a:pt x="70" y="17"/>
                  <a:pt x="77" y="11"/>
                  <a:pt x="75" y="9"/>
                </a:cubicBezTo>
                <a:cubicBezTo>
                  <a:pt x="74" y="6"/>
                  <a:pt x="70" y="0"/>
                  <a:pt x="67" y="1"/>
                </a:cubicBezTo>
                <a:cubicBezTo>
                  <a:pt x="63" y="3"/>
                  <a:pt x="36" y="9"/>
                  <a:pt x="36" y="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72" name="Freeform 405"/>
          <p:cNvSpPr>
            <a:spLocks/>
          </p:cNvSpPr>
          <p:nvPr userDrawn="1"/>
        </p:nvSpPr>
        <p:spPr bwMode="auto">
          <a:xfrm>
            <a:off x="3740186" y="6358122"/>
            <a:ext cx="28476" cy="41877"/>
          </a:xfrm>
          <a:custGeom>
            <a:avLst/>
            <a:gdLst>
              <a:gd name="T0" fmla="*/ 2147483646 w 31"/>
              <a:gd name="T1" fmla="*/ 2147483646 h 44"/>
              <a:gd name="T2" fmla="*/ 2147483646 w 31"/>
              <a:gd name="T3" fmla="*/ 2147483646 h 44"/>
              <a:gd name="T4" fmla="*/ 2147483646 w 31"/>
              <a:gd name="T5" fmla="*/ 2147483646 h 44"/>
              <a:gd name="T6" fmla="*/ 2147483646 w 31"/>
              <a:gd name="T7" fmla="*/ 2147483646 h 44"/>
              <a:gd name="T8" fmla="*/ 2147483646 w 31"/>
              <a:gd name="T9" fmla="*/ 2147483646 h 44"/>
              <a:gd name="T10" fmla="*/ 2147483646 w 31"/>
              <a:gd name="T11" fmla="*/ 2147483646 h 44"/>
              <a:gd name="T12" fmla="*/ 2147483646 w 31"/>
              <a:gd name="T13" fmla="*/ 2147483646 h 44"/>
              <a:gd name="T14" fmla="*/ 2147483646 w 31"/>
              <a:gd name="T15" fmla="*/ 2147483646 h 4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1"/>
              <a:gd name="T25" fmla="*/ 0 h 44"/>
              <a:gd name="T26" fmla="*/ 31 w 31"/>
              <a:gd name="T27" fmla="*/ 44 h 4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1" h="44">
                <a:moveTo>
                  <a:pt x="19" y="1"/>
                </a:moveTo>
                <a:cubicBezTo>
                  <a:pt x="14" y="1"/>
                  <a:pt x="11" y="0"/>
                  <a:pt x="10" y="8"/>
                </a:cubicBezTo>
                <a:cubicBezTo>
                  <a:pt x="9" y="15"/>
                  <a:pt x="12" y="13"/>
                  <a:pt x="12" y="20"/>
                </a:cubicBezTo>
                <a:cubicBezTo>
                  <a:pt x="12" y="27"/>
                  <a:pt x="4" y="26"/>
                  <a:pt x="4" y="31"/>
                </a:cubicBezTo>
                <a:cubicBezTo>
                  <a:pt x="3" y="36"/>
                  <a:pt x="0" y="36"/>
                  <a:pt x="10" y="40"/>
                </a:cubicBezTo>
                <a:cubicBezTo>
                  <a:pt x="20" y="44"/>
                  <a:pt x="25" y="36"/>
                  <a:pt x="27" y="35"/>
                </a:cubicBezTo>
                <a:cubicBezTo>
                  <a:pt x="29" y="34"/>
                  <a:pt x="31" y="21"/>
                  <a:pt x="31" y="17"/>
                </a:cubicBezTo>
                <a:cubicBezTo>
                  <a:pt x="31" y="13"/>
                  <a:pt x="19" y="1"/>
                  <a:pt x="19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73" name="Freeform 406"/>
          <p:cNvSpPr>
            <a:spLocks/>
          </p:cNvSpPr>
          <p:nvPr userDrawn="1"/>
        </p:nvSpPr>
        <p:spPr bwMode="auto">
          <a:xfrm>
            <a:off x="3705009" y="6507205"/>
            <a:ext cx="25127" cy="25127"/>
          </a:xfrm>
          <a:custGeom>
            <a:avLst/>
            <a:gdLst>
              <a:gd name="T0" fmla="*/ 2147483646 w 28"/>
              <a:gd name="T1" fmla="*/ 2147483646 h 28"/>
              <a:gd name="T2" fmla="*/ 2147483646 w 28"/>
              <a:gd name="T3" fmla="*/ 2147483646 h 28"/>
              <a:gd name="T4" fmla="*/ 2147483646 w 28"/>
              <a:gd name="T5" fmla="*/ 2147483646 h 28"/>
              <a:gd name="T6" fmla="*/ 2147483646 w 28"/>
              <a:gd name="T7" fmla="*/ 2147483646 h 28"/>
              <a:gd name="T8" fmla="*/ 2147483646 w 28"/>
              <a:gd name="T9" fmla="*/ 2147483646 h 28"/>
              <a:gd name="T10" fmla="*/ 2147483646 w 28"/>
              <a:gd name="T11" fmla="*/ 2147483646 h 28"/>
              <a:gd name="T12" fmla="*/ 2147483646 w 28"/>
              <a:gd name="T13" fmla="*/ 2147483646 h 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28"/>
              <a:gd name="T23" fmla="*/ 28 w 28"/>
              <a:gd name="T24" fmla="*/ 28 h 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28">
                <a:moveTo>
                  <a:pt x="20" y="1"/>
                </a:moveTo>
                <a:cubicBezTo>
                  <a:pt x="18" y="0"/>
                  <a:pt x="11" y="0"/>
                  <a:pt x="9" y="5"/>
                </a:cubicBezTo>
                <a:cubicBezTo>
                  <a:pt x="8" y="10"/>
                  <a:pt x="11" y="11"/>
                  <a:pt x="9" y="17"/>
                </a:cubicBezTo>
                <a:cubicBezTo>
                  <a:pt x="8" y="23"/>
                  <a:pt x="0" y="22"/>
                  <a:pt x="6" y="25"/>
                </a:cubicBezTo>
                <a:cubicBezTo>
                  <a:pt x="11" y="28"/>
                  <a:pt x="20" y="18"/>
                  <a:pt x="22" y="16"/>
                </a:cubicBezTo>
                <a:cubicBezTo>
                  <a:pt x="24" y="14"/>
                  <a:pt x="28" y="7"/>
                  <a:pt x="28" y="7"/>
                </a:cubicBezTo>
                <a:lnTo>
                  <a:pt x="20" y="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74" name="Freeform 407"/>
          <p:cNvSpPr>
            <a:spLocks/>
          </p:cNvSpPr>
          <p:nvPr userDrawn="1"/>
        </p:nvSpPr>
        <p:spPr bwMode="auto">
          <a:xfrm>
            <a:off x="3711708" y="6587609"/>
            <a:ext cx="10051" cy="15076"/>
          </a:xfrm>
          <a:custGeom>
            <a:avLst/>
            <a:gdLst>
              <a:gd name="T0" fmla="*/ 2147483646 w 11"/>
              <a:gd name="T1" fmla="*/ 0 h 16"/>
              <a:gd name="T2" fmla="*/ 2147483646 w 11"/>
              <a:gd name="T3" fmla="*/ 2147483646 h 16"/>
              <a:gd name="T4" fmla="*/ 2147483646 w 11"/>
              <a:gd name="T5" fmla="*/ 2147483646 h 16"/>
              <a:gd name="T6" fmla="*/ 2147483646 w 11"/>
              <a:gd name="T7" fmla="*/ 2147483646 h 16"/>
              <a:gd name="T8" fmla="*/ 2147483646 w 11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16"/>
              <a:gd name="T17" fmla="*/ 11 w 11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16">
                <a:moveTo>
                  <a:pt x="3" y="0"/>
                </a:moveTo>
                <a:cubicBezTo>
                  <a:pt x="0" y="2"/>
                  <a:pt x="0" y="12"/>
                  <a:pt x="4" y="14"/>
                </a:cubicBezTo>
                <a:cubicBezTo>
                  <a:pt x="8" y="16"/>
                  <a:pt x="9" y="10"/>
                  <a:pt x="9" y="8"/>
                </a:cubicBezTo>
                <a:cubicBezTo>
                  <a:pt x="10" y="7"/>
                  <a:pt x="11" y="2"/>
                  <a:pt x="10" y="2"/>
                </a:cubicBezTo>
                <a:cubicBezTo>
                  <a:pt x="9" y="2"/>
                  <a:pt x="3" y="0"/>
                  <a:pt x="3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75" name="Freeform 408"/>
          <p:cNvSpPr>
            <a:spLocks/>
          </p:cNvSpPr>
          <p:nvPr userDrawn="1"/>
        </p:nvSpPr>
        <p:spPr bwMode="auto">
          <a:xfrm>
            <a:off x="3730135" y="6607710"/>
            <a:ext cx="10051" cy="13401"/>
          </a:xfrm>
          <a:custGeom>
            <a:avLst/>
            <a:gdLst>
              <a:gd name="T0" fmla="*/ 2147483646 w 10"/>
              <a:gd name="T1" fmla="*/ 2147483646 h 14"/>
              <a:gd name="T2" fmla="*/ 2147483646 w 10"/>
              <a:gd name="T3" fmla="*/ 2147483646 h 14"/>
              <a:gd name="T4" fmla="*/ 2147483646 w 10"/>
              <a:gd name="T5" fmla="*/ 2147483646 h 14"/>
              <a:gd name="T6" fmla="*/ 2147483646 w 10"/>
              <a:gd name="T7" fmla="*/ 2147483646 h 14"/>
              <a:gd name="T8" fmla="*/ 2147483646 w 10"/>
              <a:gd name="T9" fmla="*/ 2147483646 h 14"/>
              <a:gd name="T10" fmla="*/ 2147483646 w 10"/>
              <a:gd name="T11" fmla="*/ 2147483646 h 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"/>
              <a:gd name="T19" fmla="*/ 0 h 14"/>
              <a:gd name="T20" fmla="*/ 10 w 10"/>
              <a:gd name="T21" fmla="*/ 14 h 1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" h="14">
                <a:moveTo>
                  <a:pt x="4" y="4"/>
                </a:moveTo>
                <a:cubicBezTo>
                  <a:pt x="4" y="4"/>
                  <a:pt x="7" y="0"/>
                  <a:pt x="9" y="7"/>
                </a:cubicBezTo>
                <a:cubicBezTo>
                  <a:pt x="10" y="13"/>
                  <a:pt x="10" y="12"/>
                  <a:pt x="7" y="13"/>
                </a:cubicBezTo>
                <a:cubicBezTo>
                  <a:pt x="5" y="14"/>
                  <a:pt x="1" y="13"/>
                  <a:pt x="1" y="11"/>
                </a:cubicBezTo>
                <a:cubicBezTo>
                  <a:pt x="0" y="10"/>
                  <a:pt x="2" y="6"/>
                  <a:pt x="2" y="6"/>
                </a:cubicBezTo>
                <a:lnTo>
                  <a:pt x="4" y="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76" name="Freeform 409"/>
          <p:cNvSpPr>
            <a:spLocks/>
          </p:cNvSpPr>
          <p:nvPr userDrawn="1"/>
        </p:nvSpPr>
        <p:spPr bwMode="auto">
          <a:xfrm>
            <a:off x="3730135" y="6632836"/>
            <a:ext cx="16751" cy="10051"/>
          </a:xfrm>
          <a:custGeom>
            <a:avLst/>
            <a:gdLst>
              <a:gd name="T0" fmla="*/ 2147483646 w 18"/>
              <a:gd name="T1" fmla="*/ 2147483646 h 10"/>
              <a:gd name="T2" fmla="*/ 0 w 18"/>
              <a:gd name="T3" fmla="*/ 2147483646 h 10"/>
              <a:gd name="T4" fmla="*/ 2147483646 w 18"/>
              <a:gd name="T5" fmla="*/ 2147483646 h 10"/>
              <a:gd name="T6" fmla="*/ 2147483646 w 18"/>
              <a:gd name="T7" fmla="*/ 2147483646 h 10"/>
              <a:gd name="T8" fmla="*/ 2147483646 w 18"/>
              <a:gd name="T9" fmla="*/ 0 h 10"/>
              <a:gd name="T10" fmla="*/ 2147483646 w 18"/>
              <a:gd name="T11" fmla="*/ 2147483646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0"/>
              <a:gd name="T20" fmla="*/ 18 w 18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0">
                <a:moveTo>
                  <a:pt x="6" y="2"/>
                </a:moveTo>
                <a:cubicBezTo>
                  <a:pt x="4" y="2"/>
                  <a:pt x="0" y="2"/>
                  <a:pt x="0" y="4"/>
                </a:cubicBezTo>
                <a:cubicBezTo>
                  <a:pt x="1" y="6"/>
                  <a:pt x="7" y="10"/>
                  <a:pt x="8" y="10"/>
                </a:cubicBezTo>
                <a:cubicBezTo>
                  <a:pt x="10" y="10"/>
                  <a:pt x="15" y="5"/>
                  <a:pt x="15" y="5"/>
                </a:cubicBezTo>
                <a:cubicBezTo>
                  <a:pt x="15" y="5"/>
                  <a:pt x="18" y="0"/>
                  <a:pt x="16" y="0"/>
                </a:cubicBezTo>
                <a:cubicBezTo>
                  <a:pt x="15" y="0"/>
                  <a:pt x="6" y="2"/>
                  <a:pt x="6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77" name="Freeform 410"/>
          <p:cNvSpPr>
            <a:spLocks/>
          </p:cNvSpPr>
          <p:nvPr userDrawn="1"/>
        </p:nvSpPr>
        <p:spPr bwMode="auto">
          <a:xfrm>
            <a:off x="2237627" y="2455156"/>
            <a:ext cx="738716" cy="713589"/>
          </a:xfrm>
          <a:custGeom>
            <a:avLst/>
            <a:gdLst>
              <a:gd name="T0" fmla="*/ 2147483646 w 792"/>
              <a:gd name="T1" fmla="*/ 2147483646 h 764"/>
              <a:gd name="T2" fmla="*/ 2147483646 w 792"/>
              <a:gd name="T3" fmla="*/ 2147483646 h 764"/>
              <a:gd name="T4" fmla="*/ 2147483646 w 792"/>
              <a:gd name="T5" fmla="*/ 2147483646 h 764"/>
              <a:gd name="T6" fmla="*/ 2147483646 w 792"/>
              <a:gd name="T7" fmla="*/ 2147483646 h 764"/>
              <a:gd name="T8" fmla="*/ 2147483646 w 792"/>
              <a:gd name="T9" fmla="*/ 2147483646 h 764"/>
              <a:gd name="T10" fmla="*/ 2147483646 w 792"/>
              <a:gd name="T11" fmla="*/ 2147483646 h 764"/>
              <a:gd name="T12" fmla="*/ 2147483646 w 792"/>
              <a:gd name="T13" fmla="*/ 2147483646 h 764"/>
              <a:gd name="T14" fmla="*/ 2147483646 w 792"/>
              <a:gd name="T15" fmla="*/ 2147483646 h 764"/>
              <a:gd name="T16" fmla="*/ 2147483646 w 792"/>
              <a:gd name="T17" fmla="*/ 2147483646 h 764"/>
              <a:gd name="T18" fmla="*/ 2147483646 w 792"/>
              <a:gd name="T19" fmla="*/ 2147483646 h 764"/>
              <a:gd name="T20" fmla="*/ 2147483646 w 792"/>
              <a:gd name="T21" fmla="*/ 2147483646 h 764"/>
              <a:gd name="T22" fmla="*/ 2147483646 w 792"/>
              <a:gd name="T23" fmla="*/ 2147483646 h 764"/>
              <a:gd name="T24" fmla="*/ 2147483646 w 792"/>
              <a:gd name="T25" fmla="*/ 2147483646 h 764"/>
              <a:gd name="T26" fmla="*/ 2147483646 w 792"/>
              <a:gd name="T27" fmla="*/ 2147483646 h 764"/>
              <a:gd name="T28" fmla="*/ 2147483646 w 792"/>
              <a:gd name="T29" fmla="*/ 2147483646 h 764"/>
              <a:gd name="T30" fmla="*/ 2147483646 w 792"/>
              <a:gd name="T31" fmla="*/ 2147483646 h 764"/>
              <a:gd name="T32" fmla="*/ 2147483646 w 792"/>
              <a:gd name="T33" fmla="*/ 2147483646 h 764"/>
              <a:gd name="T34" fmla="*/ 2147483646 w 792"/>
              <a:gd name="T35" fmla="*/ 2147483646 h 764"/>
              <a:gd name="T36" fmla="*/ 2147483646 w 792"/>
              <a:gd name="T37" fmla="*/ 2147483646 h 764"/>
              <a:gd name="T38" fmla="*/ 2147483646 w 792"/>
              <a:gd name="T39" fmla="*/ 2147483646 h 764"/>
              <a:gd name="T40" fmla="*/ 2147483646 w 792"/>
              <a:gd name="T41" fmla="*/ 2147483646 h 764"/>
              <a:gd name="T42" fmla="*/ 2147483646 w 792"/>
              <a:gd name="T43" fmla="*/ 2147483646 h 764"/>
              <a:gd name="T44" fmla="*/ 2147483646 w 792"/>
              <a:gd name="T45" fmla="*/ 2147483646 h 764"/>
              <a:gd name="T46" fmla="*/ 2147483646 w 792"/>
              <a:gd name="T47" fmla="*/ 2147483646 h 764"/>
              <a:gd name="T48" fmla="*/ 2147483646 w 792"/>
              <a:gd name="T49" fmla="*/ 2147483646 h 764"/>
              <a:gd name="T50" fmla="*/ 2147483646 w 792"/>
              <a:gd name="T51" fmla="*/ 2147483646 h 764"/>
              <a:gd name="T52" fmla="*/ 2147483646 w 792"/>
              <a:gd name="T53" fmla="*/ 2147483646 h 764"/>
              <a:gd name="T54" fmla="*/ 2147483646 w 792"/>
              <a:gd name="T55" fmla="*/ 2147483646 h 764"/>
              <a:gd name="T56" fmla="*/ 2147483646 w 792"/>
              <a:gd name="T57" fmla="*/ 2147483646 h 764"/>
              <a:gd name="T58" fmla="*/ 2147483646 w 792"/>
              <a:gd name="T59" fmla="*/ 2147483646 h 764"/>
              <a:gd name="T60" fmla="*/ 2147483646 w 792"/>
              <a:gd name="T61" fmla="*/ 2147483646 h 764"/>
              <a:gd name="T62" fmla="*/ 2147483646 w 792"/>
              <a:gd name="T63" fmla="*/ 2147483646 h 764"/>
              <a:gd name="T64" fmla="*/ 2147483646 w 792"/>
              <a:gd name="T65" fmla="*/ 2147483646 h 764"/>
              <a:gd name="T66" fmla="*/ 2147483646 w 792"/>
              <a:gd name="T67" fmla="*/ 2147483646 h 764"/>
              <a:gd name="T68" fmla="*/ 2147483646 w 792"/>
              <a:gd name="T69" fmla="*/ 2147483646 h 764"/>
              <a:gd name="T70" fmla="*/ 2147483646 w 792"/>
              <a:gd name="T71" fmla="*/ 2147483646 h 764"/>
              <a:gd name="T72" fmla="*/ 2147483646 w 792"/>
              <a:gd name="T73" fmla="*/ 2147483646 h 764"/>
              <a:gd name="T74" fmla="*/ 2147483646 w 792"/>
              <a:gd name="T75" fmla="*/ 2147483646 h 764"/>
              <a:gd name="T76" fmla="*/ 2147483646 w 792"/>
              <a:gd name="T77" fmla="*/ 2147483646 h 764"/>
              <a:gd name="T78" fmla="*/ 2147483646 w 792"/>
              <a:gd name="T79" fmla="*/ 2147483646 h 764"/>
              <a:gd name="T80" fmla="*/ 2147483646 w 792"/>
              <a:gd name="T81" fmla="*/ 2147483646 h 764"/>
              <a:gd name="T82" fmla="*/ 2147483646 w 792"/>
              <a:gd name="T83" fmla="*/ 2147483646 h 764"/>
              <a:gd name="T84" fmla="*/ 2147483646 w 792"/>
              <a:gd name="T85" fmla="*/ 2147483646 h 764"/>
              <a:gd name="T86" fmla="*/ 2147483646 w 792"/>
              <a:gd name="T87" fmla="*/ 2147483646 h 764"/>
              <a:gd name="T88" fmla="*/ 2147483646 w 792"/>
              <a:gd name="T89" fmla="*/ 2147483646 h 764"/>
              <a:gd name="T90" fmla="*/ 2147483646 w 792"/>
              <a:gd name="T91" fmla="*/ 2147483646 h 764"/>
              <a:gd name="T92" fmla="*/ 2147483646 w 792"/>
              <a:gd name="T93" fmla="*/ 2147483646 h 764"/>
              <a:gd name="T94" fmla="*/ 2147483646 w 792"/>
              <a:gd name="T95" fmla="*/ 2147483646 h 764"/>
              <a:gd name="T96" fmla="*/ 2147483646 w 792"/>
              <a:gd name="T97" fmla="*/ 2147483646 h 764"/>
              <a:gd name="T98" fmla="*/ 2147483646 w 792"/>
              <a:gd name="T99" fmla="*/ 2147483646 h 764"/>
              <a:gd name="T100" fmla="*/ 2147483646 w 792"/>
              <a:gd name="T101" fmla="*/ 2147483646 h 764"/>
              <a:gd name="T102" fmla="*/ 2147483646 w 792"/>
              <a:gd name="T103" fmla="*/ 2147483646 h 764"/>
              <a:gd name="T104" fmla="*/ 2147483646 w 792"/>
              <a:gd name="T105" fmla="*/ 2147483646 h 764"/>
              <a:gd name="T106" fmla="*/ 2147483646 w 792"/>
              <a:gd name="T107" fmla="*/ 2147483646 h 764"/>
              <a:gd name="T108" fmla="*/ 2147483646 w 792"/>
              <a:gd name="T109" fmla="*/ 2147483646 h 764"/>
              <a:gd name="T110" fmla="*/ 2147483646 w 792"/>
              <a:gd name="T111" fmla="*/ 2147483646 h 764"/>
              <a:gd name="T112" fmla="*/ 2147483646 w 792"/>
              <a:gd name="T113" fmla="*/ 2147483646 h 764"/>
              <a:gd name="T114" fmla="*/ 2147483646 w 792"/>
              <a:gd name="T115" fmla="*/ 2147483646 h 764"/>
              <a:gd name="T116" fmla="*/ 2147483646 w 792"/>
              <a:gd name="T117" fmla="*/ 2147483646 h 764"/>
              <a:gd name="T118" fmla="*/ 2147483646 w 792"/>
              <a:gd name="T119" fmla="*/ 2147483646 h 764"/>
              <a:gd name="T120" fmla="*/ 2147483646 w 792"/>
              <a:gd name="T121" fmla="*/ 2147483646 h 76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792"/>
              <a:gd name="T184" fmla="*/ 0 h 764"/>
              <a:gd name="T185" fmla="*/ 792 w 792"/>
              <a:gd name="T186" fmla="*/ 764 h 76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792" h="764">
                <a:moveTo>
                  <a:pt x="791" y="221"/>
                </a:moveTo>
                <a:cubicBezTo>
                  <a:pt x="790" y="218"/>
                  <a:pt x="792" y="208"/>
                  <a:pt x="789" y="201"/>
                </a:cubicBezTo>
                <a:cubicBezTo>
                  <a:pt x="787" y="194"/>
                  <a:pt x="780" y="189"/>
                  <a:pt x="777" y="185"/>
                </a:cubicBezTo>
                <a:cubicBezTo>
                  <a:pt x="774" y="182"/>
                  <a:pt x="766" y="170"/>
                  <a:pt x="766" y="170"/>
                </a:cubicBezTo>
                <a:cubicBezTo>
                  <a:pt x="766" y="170"/>
                  <a:pt x="766" y="160"/>
                  <a:pt x="765" y="152"/>
                </a:cubicBezTo>
                <a:cubicBezTo>
                  <a:pt x="763" y="144"/>
                  <a:pt x="756" y="142"/>
                  <a:pt x="753" y="136"/>
                </a:cubicBezTo>
                <a:cubicBezTo>
                  <a:pt x="749" y="130"/>
                  <a:pt x="747" y="128"/>
                  <a:pt x="748" y="121"/>
                </a:cubicBezTo>
                <a:cubicBezTo>
                  <a:pt x="749" y="115"/>
                  <a:pt x="745" y="119"/>
                  <a:pt x="745" y="115"/>
                </a:cubicBezTo>
                <a:cubicBezTo>
                  <a:pt x="745" y="111"/>
                  <a:pt x="756" y="94"/>
                  <a:pt x="756" y="94"/>
                </a:cubicBezTo>
                <a:cubicBezTo>
                  <a:pt x="756" y="94"/>
                  <a:pt x="756" y="94"/>
                  <a:pt x="749" y="88"/>
                </a:cubicBezTo>
                <a:cubicBezTo>
                  <a:pt x="743" y="82"/>
                  <a:pt x="744" y="72"/>
                  <a:pt x="744" y="72"/>
                </a:cubicBezTo>
                <a:cubicBezTo>
                  <a:pt x="744" y="72"/>
                  <a:pt x="738" y="66"/>
                  <a:pt x="745" y="66"/>
                </a:cubicBezTo>
                <a:cubicBezTo>
                  <a:pt x="752" y="65"/>
                  <a:pt x="755" y="60"/>
                  <a:pt x="755" y="60"/>
                </a:cubicBezTo>
                <a:cubicBezTo>
                  <a:pt x="749" y="56"/>
                  <a:pt x="749" y="56"/>
                  <a:pt x="749" y="56"/>
                </a:cubicBezTo>
                <a:cubicBezTo>
                  <a:pt x="742" y="52"/>
                  <a:pt x="742" y="52"/>
                  <a:pt x="742" y="52"/>
                </a:cubicBezTo>
                <a:cubicBezTo>
                  <a:pt x="725" y="51"/>
                  <a:pt x="725" y="51"/>
                  <a:pt x="725" y="51"/>
                </a:cubicBezTo>
                <a:cubicBezTo>
                  <a:pt x="725" y="51"/>
                  <a:pt x="718" y="37"/>
                  <a:pt x="716" y="39"/>
                </a:cubicBezTo>
                <a:cubicBezTo>
                  <a:pt x="714" y="40"/>
                  <a:pt x="701" y="30"/>
                  <a:pt x="695" y="35"/>
                </a:cubicBezTo>
                <a:cubicBezTo>
                  <a:pt x="689" y="39"/>
                  <a:pt x="680" y="34"/>
                  <a:pt x="680" y="34"/>
                </a:cubicBezTo>
                <a:cubicBezTo>
                  <a:pt x="672" y="20"/>
                  <a:pt x="672" y="20"/>
                  <a:pt x="672" y="20"/>
                </a:cubicBezTo>
                <a:cubicBezTo>
                  <a:pt x="658" y="25"/>
                  <a:pt x="658" y="25"/>
                  <a:pt x="658" y="25"/>
                </a:cubicBezTo>
                <a:cubicBezTo>
                  <a:pt x="658" y="25"/>
                  <a:pt x="652" y="18"/>
                  <a:pt x="644" y="20"/>
                </a:cubicBezTo>
                <a:cubicBezTo>
                  <a:pt x="637" y="22"/>
                  <a:pt x="629" y="28"/>
                  <a:pt x="623" y="25"/>
                </a:cubicBezTo>
                <a:cubicBezTo>
                  <a:pt x="618" y="23"/>
                  <a:pt x="604" y="3"/>
                  <a:pt x="591" y="6"/>
                </a:cubicBezTo>
                <a:cubicBezTo>
                  <a:pt x="577" y="9"/>
                  <a:pt x="577" y="0"/>
                  <a:pt x="571" y="12"/>
                </a:cubicBezTo>
                <a:cubicBezTo>
                  <a:pt x="565" y="24"/>
                  <a:pt x="570" y="18"/>
                  <a:pt x="559" y="35"/>
                </a:cubicBezTo>
                <a:cubicBezTo>
                  <a:pt x="548" y="52"/>
                  <a:pt x="542" y="48"/>
                  <a:pt x="539" y="58"/>
                </a:cubicBezTo>
                <a:cubicBezTo>
                  <a:pt x="537" y="68"/>
                  <a:pt x="550" y="75"/>
                  <a:pt x="544" y="79"/>
                </a:cubicBezTo>
                <a:cubicBezTo>
                  <a:pt x="539" y="83"/>
                  <a:pt x="529" y="86"/>
                  <a:pt x="529" y="86"/>
                </a:cubicBezTo>
                <a:cubicBezTo>
                  <a:pt x="529" y="86"/>
                  <a:pt x="533" y="101"/>
                  <a:pt x="524" y="103"/>
                </a:cubicBezTo>
                <a:cubicBezTo>
                  <a:pt x="515" y="105"/>
                  <a:pt x="512" y="125"/>
                  <a:pt x="503" y="101"/>
                </a:cubicBezTo>
                <a:cubicBezTo>
                  <a:pt x="495" y="78"/>
                  <a:pt x="503" y="72"/>
                  <a:pt x="506" y="70"/>
                </a:cubicBezTo>
                <a:cubicBezTo>
                  <a:pt x="509" y="69"/>
                  <a:pt x="510" y="62"/>
                  <a:pt x="506" y="60"/>
                </a:cubicBezTo>
                <a:cubicBezTo>
                  <a:pt x="501" y="58"/>
                  <a:pt x="494" y="49"/>
                  <a:pt x="489" y="51"/>
                </a:cubicBezTo>
                <a:cubicBezTo>
                  <a:pt x="484" y="53"/>
                  <a:pt x="475" y="48"/>
                  <a:pt x="475" y="48"/>
                </a:cubicBezTo>
                <a:cubicBezTo>
                  <a:pt x="460" y="39"/>
                  <a:pt x="460" y="39"/>
                  <a:pt x="460" y="39"/>
                </a:cubicBezTo>
                <a:cubicBezTo>
                  <a:pt x="448" y="42"/>
                  <a:pt x="448" y="42"/>
                  <a:pt x="448" y="42"/>
                </a:cubicBezTo>
                <a:cubicBezTo>
                  <a:pt x="438" y="47"/>
                  <a:pt x="448" y="62"/>
                  <a:pt x="435" y="66"/>
                </a:cubicBezTo>
                <a:cubicBezTo>
                  <a:pt x="423" y="69"/>
                  <a:pt x="412" y="61"/>
                  <a:pt x="409" y="69"/>
                </a:cubicBezTo>
                <a:cubicBezTo>
                  <a:pt x="406" y="76"/>
                  <a:pt x="410" y="107"/>
                  <a:pt x="410" y="107"/>
                </a:cubicBezTo>
                <a:cubicBezTo>
                  <a:pt x="424" y="129"/>
                  <a:pt x="445" y="134"/>
                  <a:pt x="445" y="134"/>
                </a:cubicBezTo>
                <a:cubicBezTo>
                  <a:pt x="445" y="134"/>
                  <a:pt x="438" y="140"/>
                  <a:pt x="426" y="146"/>
                </a:cubicBezTo>
                <a:cubicBezTo>
                  <a:pt x="414" y="152"/>
                  <a:pt x="406" y="134"/>
                  <a:pt x="398" y="146"/>
                </a:cubicBezTo>
                <a:cubicBezTo>
                  <a:pt x="390" y="159"/>
                  <a:pt x="379" y="160"/>
                  <a:pt x="375" y="154"/>
                </a:cubicBezTo>
                <a:cubicBezTo>
                  <a:pt x="370" y="148"/>
                  <a:pt x="373" y="140"/>
                  <a:pt x="366" y="137"/>
                </a:cubicBezTo>
                <a:cubicBezTo>
                  <a:pt x="358" y="134"/>
                  <a:pt x="358" y="131"/>
                  <a:pt x="348" y="132"/>
                </a:cubicBezTo>
                <a:cubicBezTo>
                  <a:pt x="339" y="134"/>
                  <a:pt x="339" y="112"/>
                  <a:pt x="328" y="128"/>
                </a:cubicBezTo>
                <a:cubicBezTo>
                  <a:pt x="317" y="143"/>
                  <a:pt x="310" y="148"/>
                  <a:pt x="297" y="146"/>
                </a:cubicBezTo>
                <a:cubicBezTo>
                  <a:pt x="285" y="145"/>
                  <a:pt x="299" y="142"/>
                  <a:pt x="285" y="145"/>
                </a:cubicBezTo>
                <a:cubicBezTo>
                  <a:pt x="271" y="148"/>
                  <a:pt x="252" y="159"/>
                  <a:pt x="254" y="169"/>
                </a:cubicBezTo>
                <a:cubicBezTo>
                  <a:pt x="255" y="180"/>
                  <a:pt x="259" y="183"/>
                  <a:pt x="242" y="191"/>
                </a:cubicBezTo>
                <a:cubicBezTo>
                  <a:pt x="224" y="199"/>
                  <a:pt x="209" y="210"/>
                  <a:pt x="217" y="217"/>
                </a:cubicBezTo>
                <a:cubicBezTo>
                  <a:pt x="224" y="225"/>
                  <a:pt x="232" y="210"/>
                  <a:pt x="242" y="214"/>
                </a:cubicBezTo>
                <a:cubicBezTo>
                  <a:pt x="251" y="219"/>
                  <a:pt x="217" y="242"/>
                  <a:pt x="209" y="252"/>
                </a:cubicBezTo>
                <a:cubicBezTo>
                  <a:pt x="201" y="261"/>
                  <a:pt x="201" y="256"/>
                  <a:pt x="195" y="265"/>
                </a:cubicBezTo>
                <a:cubicBezTo>
                  <a:pt x="189" y="275"/>
                  <a:pt x="170" y="244"/>
                  <a:pt x="180" y="269"/>
                </a:cubicBezTo>
                <a:cubicBezTo>
                  <a:pt x="189" y="293"/>
                  <a:pt x="198" y="284"/>
                  <a:pt x="206" y="301"/>
                </a:cubicBezTo>
                <a:cubicBezTo>
                  <a:pt x="214" y="318"/>
                  <a:pt x="198" y="321"/>
                  <a:pt x="203" y="326"/>
                </a:cubicBezTo>
                <a:cubicBezTo>
                  <a:pt x="207" y="331"/>
                  <a:pt x="187" y="343"/>
                  <a:pt x="175" y="345"/>
                </a:cubicBezTo>
                <a:cubicBezTo>
                  <a:pt x="163" y="346"/>
                  <a:pt x="144" y="348"/>
                  <a:pt x="135" y="349"/>
                </a:cubicBezTo>
                <a:cubicBezTo>
                  <a:pt x="125" y="351"/>
                  <a:pt x="110" y="352"/>
                  <a:pt x="97" y="345"/>
                </a:cubicBezTo>
                <a:cubicBezTo>
                  <a:pt x="85" y="337"/>
                  <a:pt x="87" y="337"/>
                  <a:pt x="65" y="346"/>
                </a:cubicBezTo>
                <a:cubicBezTo>
                  <a:pt x="43" y="355"/>
                  <a:pt x="35" y="349"/>
                  <a:pt x="26" y="348"/>
                </a:cubicBezTo>
                <a:cubicBezTo>
                  <a:pt x="17" y="346"/>
                  <a:pt x="15" y="326"/>
                  <a:pt x="11" y="334"/>
                </a:cubicBezTo>
                <a:cubicBezTo>
                  <a:pt x="6" y="341"/>
                  <a:pt x="0" y="360"/>
                  <a:pt x="23" y="362"/>
                </a:cubicBezTo>
                <a:cubicBezTo>
                  <a:pt x="46" y="363"/>
                  <a:pt x="63" y="369"/>
                  <a:pt x="68" y="374"/>
                </a:cubicBezTo>
                <a:cubicBezTo>
                  <a:pt x="73" y="379"/>
                  <a:pt x="80" y="351"/>
                  <a:pt x="90" y="365"/>
                </a:cubicBezTo>
                <a:cubicBezTo>
                  <a:pt x="99" y="379"/>
                  <a:pt x="91" y="372"/>
                  <a:pt x="107" y="383"/>
                </a:cubicBezTo>
                <a:cubicBezTo>
                  <a:pt x="122" y="394"/>
                  <a:pt x="133" y="385"/>
                  <a:pt x="159" y="380"/>
                </a:cubicBezTo>
                <a:cubicBezTo>
                  <a:pt x="186" y="376"/>
                  <a:pt x="204" y="360"/>
                  <a:pt x="215" y="369"/>
                </a:cubicBezTo>
                <a:cubicBezTo>
                  <a:pt x="226" y="379"/>
                  <a:pt x="228" y="380"/>
                  <a:pt x="238" y="379"/>
                </a:cubicBezTo>
                <a:cubicBezTo>
                  <a:pt x="249" y="377"/>
                  <a:pt x="245" y="365"/>
                  <a:pt x="257" y="369"/>
                </a:cubicBezTo>
                <a:cubicBezTo>
                  <a:pt x="269" y="374"/>
                  <a:pt x="260" y="366"/>
                  <a:pt x="273" y="362"/>
                </a:cubicBezTo>
                <a:cubicBezTo>
                  <a:pt x="285" y="357"/>
                  <a:pt x="280" y="362"/>
                  <a:pt x="297" y="358"/>
                </a:cubicBezTo>
                <a:cubicBezTo>
                  <a:pt x="314" y="355"/>
                  <a:pt x="314" y="352"/>
                  <a:pt x="328" y="352"/>
                </a:cubicBezTo>
                <a:cubicBezTo>
                  <a:pt x="342" y="352"/>
                  <a:pt x="339" y="348"/>
                  <a:pt x="350" y="348"/>
                </a:cubicBezTo>
                <a:cubicBezTo>
                  <a:pt x="361" y="348"/>
                  <a:pt x="356" y="341"/>
                  <a:pt x="369" y="346"/>
                </a:cubicBezTo>
                <a:cubicBezTo>
                  <a:pt x="381" y="351"/>
                  <a:pt x="383" y="349"/>
                  <a:pt x="386" y="355"/>
                </a:cubicBezTo>
                <a:cubicBezTo>
                  <a:pt x="389" y="362"/>
                  <a:pt x="369" y="357"/>
                  <a:pt x="358" y="360"/>
                </a:cubicBezTo>
                <a:cubicBezTo>
                  <a:pt x="347" y="363"/>
                  <a:pt x="345" y="348"/>
                  <a:pt x="338" y="360"/>
                </a:cubicBezTo>
                <a:cubicBezTo>
                  <a:pt x="330" y="372"/>
                  <a:pt x="322" y="372"/>
                  <a:pt x="322" y="377"/>
                </a:cubicBezTo>
                <a:cubicBezTo>
                  <a:pt x="322" y="382"/>
                  <a:pt x="293" y="377"/>
                  <a:pt x="300" y="385"/>
                </a:cubicBezTo>
                <a:cubicBezTo>
                  <a:pt x="308" y="393"/>
                  <a:pt x="333" y="399"/>
                  <a:pt x="342" y="397"/>
                </a:cubicBezTo>
                <a:cubicBezTo>
                  <a:pt x="352" y="396"/>
                  <a:pt x="364" y="410"/>
                  <a:pt x="373" y="407"/>
                </a:cubicBezTo>
                <a:cubicBezTo>
                  <a:pt x="383" y="403"/>
                  <a:pt x="393" y="396"/>
                  <a:pt x="398" y="389"/>
                </a:cubicBezTo>
                <a:cubicBezTo>
                  <a:pt x="403" y="383"/>
                  <a:pt x="417" y="385"/>
                  <a:pt x="418" y="394"/>
                </a:cubicBezTo>
                <a:cubicBezTo>
                  <a:pt x="420" y="403"/>
                  <a:pt x="420" y="400"/>
                  <a:pt x="415" y="413"/>
                </a:cubicBezTo>
                <a:cubicBezTo>
                  <a:pt x="410" y="425"/>
                  <a:pt x="415" y="431"/>
                  <a:pt x="418" y="438"/>
                </a:cubicBezTo>
                <a:cubicBezTo>
                  <a:pt x="421" y="444"/>
                  <a:pt x="412" y="455"/>
                  <a:pt x="418" y="461"/>
                </a:cubicBezTo>
                <a:cubicBezTo>
                  <a:pt x="424" y="467"/>
                  <a:pt x="431" y="469"/>
                  <a:pt x="438" y="473"/>
                </a:cubicBezTo>
                <a:cubicBezTo>
                  <a:pt x="446" y="478"/>
                  <a:pt x="451" y="470"/>
                  <a:pt x="452" y="482"/>
                </a:cubicBezTo>
                <a:cubicBezTo>
                  <a:pt x="454" y="495"/>
                  <a:pt x="441" y="496"/>
                  <a:pt x="454" y="504"/>
                </a:cubicBezTo>
                <a:cubicBezTo>
                  <a:pt x="466" y="512"/>
                  <a:pt x="476" y="503"/>
                  <a:pt x="476" y="512"/>
                </a:cubicBezTo>
                <a:cubicBezTo>
                  <a:pt x="476" y="521"/>
                  <a:pt x="468" y="526"/>
                  <a:pt x="465" y="534"/>
                </a:cubicBezTo>
                <a:cubicBezTo>
                  <a:pt x="462" y="541"/>
                  <a:pt x="451" y="552"/>
                  <a:pt x="457" y="558"/>
                </a:cubicBezTo>
                <a:cubicBezTo>
                  <a:pt x="463" y="565"/>
                  <a:pt x="465" y="568"/>
                  <a:pt x="469" y="572"/>
                </a:cubicBezTo>
                <a:cubicBezTo>
                  <a:pt x="474" y="577"/>
                  <a:pt x="476" y="574"/>
                  <a:pt x="480" y="574"/>
                </a:cubicBezTo>
                <a:cubicBezTo>
                  <a:pt x="485" y="574"/>
                  <a:pt x="491" y="583"/>
                  <a:pt x="486" y="591"/>
                </a:cubicBezTo>
                <a:cubicBezTo>
                  <a:pt x="482" y="599"/>
                  <a:pt x="474" y="603"/>
                  <a:pt x="482" y="606"/>
                </a:cubicBezTo>
                <a:cubicBezTo>
                  <a:pt x="489" y="610"/>
                  <a:pt x="493" y="603"/>
                  <a:pt x="494" y="611"/>
                </a:cubicBezTo>
                <a:cubicBezTo>
                  <a:pt x="496" y="619"/>
                  <a:pt x="497" y="625"/>
                  <a:pt x="489" y="633"/>
                </a:cubicBezTo>
                <a:cubicBezTo>
                  <a:pt x="482" y="641"/>
                  <a:pt x="480" y="628"/>
                  <a:pt x="482" y="641"/>
                </a:cubicBezTo>
                <a:cubicBezTo>
                  <a:pt x="483" y="653"/>
                  <a:pt x="468" y="673"/>
                  <a:pt x="469" y="679"/>
                </a:cubicBezTo>
                <a:cubicBezTo>
                  <a:pt x="474" y="698"/>
                  <a:pt x="477" y="709"/>
                  <a:pt x="472" y="712"/>
                </a:cubicBezTo>
                <a:cubicBezTo>
                  <a:pt x="468" y="715"/>
                  <a:pt x="448" y="716"/>
                  <a:pt x="452" y="721"/>
                </a:cubicBezTo>
                <a:cubicBezTo>
                  <a:pt x="457" y="726"/>
                  <a:pt x="457" y="729"/>
                  <a:pt x="465" y="724"/>
                </a:cubicBezTo>
                <a:cubicBezTo>
                  <a:pt x="472" y="720"/>
                  <a:pt x="482" y="704"/>
                  <a:pt x="483" y="712"/>
                </a:cubicBezTo>
                <a:cubicBezTo>
                  <a:pt x="485" y="720"/>
                  <a:pt x="488" y="718"/>
                  <a:pt x="485" y="724"/>
                </a:cubicBezTo>
                <a:cubicBezTo>
                  <a:pt x="482" y="730"/>
                  <a:pt x="474" y="746"/>
                  <a:pt x="466" y="747"/>
                </a:cubicBezTo>
                <a:cubicBezTo>
                  <a:pt x="461" y="750"/>
                  <a:pt x="461" y="750"/>
                  <a:pt x="461" y="750"/>
                </a:cubicBezTo>
                <a:cubicBezTo>
                  <a:pt x="461" y="750"/>
                  <a:pt x="482" y="764"/>
                  <a:pt x="490" y="750"/>
                </a:cubicBezTo>
                <a:cubicBezTo>
                  <a:pt x="499" y="736"/>
                  <a:pt x="509" y="728"/>
                  <a:pt x="512" y="721"/>
                </a:cubicBezTo>
                <a:cubicBezTo>
                  <a:pt x="516" y="714"/>
                  <a:pt x="514" y="699"/>
                  <a:pt x="507" y="688"/>
                </a:cubicBezTo>
                <a:cubicBezTo>
                  <a:pt x="500" y="678"/>
                  <a:pt x="497" y="678"/>
                  <a:pt x="504" y="664"/>
                </a:cubicBezTo>
                <a:cubicBezTo>
                  <a:pt x="511" y="651"/>
                  <a:pt x="509" y="651"/>
                  <a:pt x="514" y="634"/>
                </a:cubicBezTo>
                <a:cubicBezTo>
                  <a:pt x="519" y="617"/>
                  <a:pt x="523" y="575"/>
                  <a:pt x="526" y="562"/>
                </a:cubicBezTo>
                <a:cubicBezTo>
                  <a:pt x="529" y="548"/>
                  <a:pt x="514" y="529"/>
                  <a:pt x="507" y="540"/>
                </a:cubicBezTo>
                <a:cubicBezTo>
                  <a:pt x="500" y="550"/>
                  <a:pt x="488" y="557"/>
                  <a:pt x="485" y="545"/>
                </a:cubicBezTo>
                <a:cubicBezTo>
                  <a:pt x="482" y="533"/>
                  <a:pt x="494" y="528"/>
                  <a:pt x="499" y="519"/>
                </a:cubicBezTo>
                <a:cubicBezTo>
                  <a:pt x="504" y="510"/>
                  <a:pt x="511" y="500"/>
                  <a:pt x="504" y="493"/>
                </a:cubicBezTo>
                <a:cubicBezTo>
                  <a:pt x="497" y="487"/>
                  <a:pt x="494" y="480"/>
                  <a:pt x="488" y="475"/>
                </a:cubicBezTo>
                <a:cubicBezTo>
                  <a:pt x="483" y="469"/>
                  <a:pt x="475" y="469"/>
                  <a:pt x="480" y="461"/>
                </a:cubicBezTo>
                <a:cubicBezTo>
                  <a:pt x="485" y="452"/>
                  <a:pt x="766" y="235"/>
                  <a:pt x="791" y="22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78" name="Freeform 411"/>
          <p:cNvSpPr>
            <a:spLocks/>
          </p:cNvSpPr>
          <p:nvPr userDrawn="1"/>
        </p:nvSpPr>
        <p:spPr bwMode="auto">
          <a:xfrm>
            <a:off x="2567621" y="4018018"/>
            <a:ext cx="793993" cy="752117"/>
          </a:xfrm>
          <a:custGeom>
            <a:avLst/>
            <a:gdLst>
              <a:gd name="T0" fmla="*/ 2147483646 w 852"/>
              <a:gd name="T1" fmla="*/ 2147483646 h 807"/>
              <a:gd name="T2" fmla="*/ 2147483646 w 852"/>
              <a:gd name="T3" fmla="*/ 2147483646 h 807"/>
              <a:gd name="T4" fmla="*/ 2147483646 w 852"/>
              <a:gd name="T5" fmla="*/ 2147483646 h 807"/>
              <a:gd name="T6" fmla="*/ 2147483646 w 852"/>
              <a:gd name="T7" fmla="*/ 2147483646 h 807"/>
              <a:gd name="T8" fmla="*/ 2147483646 w 852"/>
              <a:gd name="T9" fmla="*/ 2147483646 h 807"/>
              <a:gd name="T10" fmla="*/ 2147483646 w 852"/>
              <a:gd name="T11" fmla="*/ 2147483646 h 807"/>
              <a:gd name="T12" fmla="*/ 2147483646 w 852"/>
              <a:gd name="T13" fmla="*/ 2147483646 h 807"/>
              <a:gd name="T14" fmla="*/ 2147483646 w 852"/>
              <a:gd name="T15" fmla="*/ 2147483646 h 807"/>
              <a:gd name="T16" fmla="*/ 2147483646 w 852"/>
              <a:gd name="T17" fmla="*/ 2147483646 h 807"/>
              <a:gd name="T18" fmla="*/ 2147483646 w 852"/>
              <a:gd name="T19" fmla="*/ 2147483646 h 807"/>
              <a:gd name="T20" fmla="*/ 2147483646 w 852"/>
              <a:gd name="T21" fmla="*/ 2147483646 h 807"/>
              <a:gd name="T22" fmla="*/ 2147483646 w 852"/>
              <a:gd name="T23" fmla="*/ 2147483646 h 807"/>
              <a:gd name="T24" fmla="*/ 2147483646 w 852"/>
              <a:gd name="T25" fmla="*/ 2147483646 h 807"/>
              <a:gd name="T26" fmla="*/ 2147483646 w 852"/>
              <a:gd name="T27" fmla="*/ 2147483646 h 807"/>
              <a:gd name="T28" fmla="*/ 2147483646 w 852"/>
              <a:gd name="T29" fmla="*/ 2147483646 h 807"/>
              <a:gd name="T30" fmla="*/ 2147483646 w 852"/>
              <a:gd name="T31" fmla="*/ 2147483646 h 807"/>
              <a:gd name="T32" fmla="*/ 2147483646 w 852"/>
              <a:gd name="T33" fmla="*/ 2147483646 h 807"/>
              <a:gd name="T34" fmla="*/ 2147483646 w 852"/>
              <a:gd name="T35" fmla="*/ 2147483646 h 807"/>
              <a:gd name="T36" fmla="*/ 2147483646 w 852"/>
              <a:gd name="T37" fmla="*/ 2147483646 h 807"/>
              <a:gd name="T38" fmla="*/ 2147483646 w 852"/>
              <a:gd name="T39" fmla="*/ 2147483646 h 807"/>
              <a:gd name="T40" fmla="*/ 2147483646 w 852"/>
              <a:gd name="T41" fmla="*/ 2147483646 h 807"/>
              <a:gd name="T42" fmla="*/ 2147483646 w 852"/>
              <a:gd name="T43" fmla="*/ 2147483646 h 807"/>
              <a:gd name="T44" fmla="*/ 2147483646 w 852"/>
              <a:gd name="T45" fmla="*/ 2147483646 h 807"/>
              <a:gd name="T46" fmla="*/ 2147483646 w 852"/>
              <a:gd name="T47" fmla="*/ 2147483646 h 807"/>
              <a:gd name="T48" fmla="*/ 2147483646 w 852"/>
              <a:gd name="T49" fmla="*/ 2147483646 h 807"/>
              <a:gd name="T50" fmla="*/ 2147483646 w 852"/>
              <a:gd name="T51" fmla="*/ 2147483646 h 807"/>
              <a:gd name="T52" fmla="*/ 2147483646 w 852"/>
              <a:gd name="T53" fmla="*/ 2147483646 h 807"/>
              <a:gd name="T54" fmla="*/ 2147483646 w 852"/>
              <a:gd name="T55" fmla="*/ 2147483646 h 807"/>
              <a:gd name="T56" fmla="*/ 2147483646 w 852"/>
              <a:gd name="T57" fmla="*/ 2147483646 h 807"/>
              <a:gd name="T58" fmla="*/ 2147483646 w 852"/>
              <a:gd name="T59" fmla="*/ 2147483646 h 807"/>
              <a:gd name="T60" fmla="*/ 2147483646 w 852"/>
              <a:gd name="T61" fmla="*/ 2147483646 h 807"/>
              <a:gd name="T62" fmla="*/ 2147483646 w 852"/>
              <a:gd name="T63" fmla="*/ 2147483646 h 807"/>
              <a:gd name="T64" fmla="*/ 2147483646 w 852"/>
              <a:gd name="T65" fmla="*/ 2147483646 h 807"/>
              <a:gd name="T66" fmla="*/ 2147483646 w 852"/>
              <a:gd name="T67" fmla="*/ 2147483646 h 807"/>
              <a:gd name="T68" fmla="*/ 2147483646 w 852"/>
              <a:gd name="T69" fmla="*/ 2147483646 h 807"/>
              <a:gd name="T70" fmla="*/ 2147483646 w 852"/>
              <a:gd name="T71" fmla="*/ 2147483646 h 807"/>
              <a:gd name="T72" fmla="*/ 2147483646 w 852"/>
              <a:gd name="T73" fmla="*/ 2147483646 h 807"/>
              <a:gd name="T74" fmla="*/ 2147483646 w 852"/>
              <a:gd name="T75" fmla="*/ 2147483646 h 807"/>
              <a:gd name="T76" fmla="*/ 2147483646 w 852"/>
              <a:gd name="T77" fmla="*/ 2147483646 h 807"/>
              <a:gd name="T78" fmla="*/ 2147483646 w 852"/>
              <a:gd name="T79" fmla="*/ 2147483646 h 807"/>
              <a:gd name="T80" fmla="*/ 2147483646 w 852"/>
              <a:gd name="T81" fmla="*/ 2147483646 h 807"/>
              <a:gd name="T82" fmla="*/ 2147483646 w 852"/>
              <a:gd name="T83" fmla="*/ 2147483646 h 807"/>
              <a:gd name="T84" fmla="*/ 2147483646 w 852"/>
              <a:gd name="T85" fmla="*/ 2147483646 h 807"/>
              <a:gd name="T86" fmla="*/ 2147483646 w 852"/>
              <a:gd name="T87" fmla="*/ 2147483646 h 807"/>
              <a:gd name="T88" fmla="*/ 2147483646 w 852"/>
              <a:gd name="T89" fmla="*/ 2147483646 h 807"/>
              <a:gd name="T90" fmla="*/ 2147483646 w 852"/>
              <a:gd name="T91" fmla="*/ 2147483646 h 807"/>
              <a:gd name="T92" fmla="*/ 2147483646 w 852"/>
              <a:gd name="T93" fmla="*/ 2147483646 h 807"/>
              <a:gd name="T94" fmla="*/ 2147483646 w 852"/>
              <a:gd name="T95" fmla="*/ 2147483646 h 807"/>
              <a:gd name="T96" fmla="*/ 2147483646 w 852"/>
              <a:gd name="T97" fmla="*/ 2147483646 h 807"/>
              <a:gd name="T98" fmla="*/ 2147483646 w 852"/>
              <a:gd name="T99" fmla="*/ 2147483646 h 807"/>
              <a:gd name="T100" fmla="*/ 2147483646 w 852"/>
              <a:gd name="T101" fmla="*/ 2147483646 h 807"/>
              <a:gd name="T102" fmla="*/ 2147483646 w 852"/>
              <a:gd name="T103" fmla="*/ 2147483646 h 807"/>
              <a:gd name="T104" fmla="*/ 2147483646 w 852"/>
              <a:gd name="T105" fmla="*/ 2147483646 h 807"/>
              <a:gd name="T106" fmla="*/ 2147483646 w 852"/>
              <a:gd name="T107" fmla="*/ 2147483646 h 807"/>
              <a:gd name="T108" fmla="*/ 2147483646 w 852"/>
              <a:gd name="T109" fmla="*/ 2147483646 h 807"/>
              <a:gd name="T110" fmla="*/ 2147483646 w 852"/>
              <a:gd name="T111" fmla="*/ 2147483646 h 80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852"/>
              <a:gd name="T169" fmla="*/ 0 h 807"/>
              <a:gd name="T170" fmla="*/ 852 w 852"/>
              <a:gd name="T171" fmla="*/ 807 h 80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852" h="807">
                <a:moveTo>
                  <a:pt x="845" y="701"/>
                </a:moveTo>
                <a:cubicBezTo>
                  <a:pt x="841" y="699"/>
                  <a:pt x="833" y="697"/>
                  <a:pt x="830" y="698"/>
                </a:cubicBezTo>
                <a:cubicBezTo>
                  <a:pt x="824" y="698"/>
                  <a:pt x="830" y="698"/>
                  <a:pt x="819" y="699"/>
                </a:cubicBezTo>
                <a:cubicBezTo>
                  <a:pt x="808" y="700"/>
                  <a:pt x="812" y="704"/>
                  <a:pt x="801" y="698"/>
                </a:cubicBezTo>
                <a:cubicBezTo>
                  <a:pt x="789" y="691"/>
                  <a:pt x="794" y="704"/>
                  <a:pt x="791" y="707"/>
                </a:cubicBezTo>
                <a:cubicBezTo>
                  <a:pt x="788" y="709"/>
                  <a:pt x="783" y="719"/>
                  <a:pt x="779" y="722"/>
                </a:cubicBezTo>
                <a:cubicBezTo>
                  <a:pt x="775" y="726"/>
                  <a:pt x="785" y="729"/>
                  <a:pt x="793" y="734"/>
                </a:cubicBezTo>
                <a:cubicBezTo>
                  <a:pt x="800" y="738"/>
                  <a:pt x="798" y="752"/>
                  <a:pt x="797" y="755"/>
                </a:cubicBezTo>
                <a:cubicBezTo>
                  <a:pt x="795" y="758"/>
                  <a:pt x="782" y="757"/>
                  <a:pt x="768" y="755"/>
                </a:cubicBezTo>
                <a:cubicBezTo>
                  <a:pt x="755" y="752"/>
                  <a:pt x="761" y="759"/>
                  <a:pt x="754" y="763"/>
                </a:cubicBezTo>
                <a:cubicBezTo>
                  <a:pt x="748" y="767"/>
                  <a:pt x="746" y="772"/>
                  <a:pt x="745" y="780"/>
                </a:cubicBezTo>
                <a:cubicBezTo>
                  <a:pt x="744" y="786"/>
                  <a:pt x="744" y="798"/>
                  <a:pt x="743" y="803"/>
                </a:cubicBezTo>
                <a:cubicBezTo>
                  <a:pt x="743" y="804"/>
                  <a:pt x="743" y="804"/>
                  <a:pt x="743" y="804"/>
                </a:cubicBezTo>
                <a:cubicBezTo>
                  <a:pt x="743" y="804"/>
                  <a:pt x="726" y="807"/>
                  <a:pt x="724" y="803"/>
                </a:cubicBezTo>
                <a:cubicBezTo>
                  <a:pt x="721" y="800"/>
                  <a:pt x="716" y="789"/>
                  <a:pt x="711" y="789"/>
                </a:cubicBezTo>
                <a:cubicBezTo>
                  <a:pt x="706" y="788"/>
                  <a:pt x="697" y="789"/>
                  <a:pt x="692" y="779"/>
                </a:cubicBezTo>
                <a:cubicBezTo>
                  <a:pt x="688" y="770"/>
                  <a:pt x="680" y="775"/>
                  <a:pt x="674" y="765"/>
                </a:cubicBezTo>
                <a:cubicBezTo>
                  <a:pt x="668" y="756"/>
                  <a:pt x="660" y="753"/>
                  <a:pt x="649" y="755"/>
                </a:cubicBezTo>
                <a:cubicBezTo>
                  <a:pt x="638" y="756"/>
                  <a:pt x="621" y="761"/>
                  <a:pt x="612" y="765"/>
                </a:cubicBezTo>
                <a:cubicBezTo>
                  <a:pt x="602" y="770"/>
                  <a:pt x="593" y="770"/>
                  <a:pt x="587" y="765"/>
                </a:cubicBezTo>
                <a:cubicBezTo>
                  <a:pt x="581" y="761"/>
                  <a:pt x="567" y="762"/>
                  <a:pt x="561" y="759"/>
                </a:cubicBezTo>
                <a:cubicBezTo>
                  <a:pt x="554" y="756"/>
                  <a:pt x="536" y="750"/>
                  <a:pt x="528" y="744"/>
                </a:cubicBezTo>
                <a:cubicBezTo>
                  <a:pt x="520" y="738"/>
                  <a:pt x="492" y="731"/>
                  <a:pt x="486" y="724"/>
                </a:cubicBezTo>
                <a:cubicBezTo>
                  <a:pt x="480" y="716"/>
                  <a:pt x="474" y="725"/>
                  <a:pt x="461" y="716"/>
                </a:cubicBezTo>
                <a:cubicBezTo>
                  <a:pt x="449" y="707"/>
                  <a:pt x="443" y="708"/>
                  <a:pt x="434" y="700"/>
                </a:cubicBezTo>
                <a:cubicBezTo>
                  <a:pt x="424" y="693"/>
                  <a:pt x="420" y="690"/>
                  <a:pt x="418" y="683"/>
                </a:cubicBezTo>
                <a:cubicBezTo>
                  <a:pt x="416" y="677"/>
                  <a:pt x="403" y="668"/>
                  <a:pt x="393" y="666"/>
                </a:cubicBezTo>
                <a:cubicBezTo>
                  <a:pt x="384" y="665"/>
                  <a:pt x="373" y="648"/>
                  <a:pt x="358" y="645"/>
                </a:cubicBezTo>
                <a:cubicBezTo>
                  <a:pt x="342" y="642"/>
                  <a:pt x="328" y="628"/>
                  <a:pt x="327" y="611"/>
                </a:cubicBezTo>
                <a:cubicBezTo>
                  <a:pt x="325" y="593"/>
                  <a:pt x="306" y="598"/>
                  <a:pt x="294" y="592"/>
                </a:cubicBezTo>
                <a:cubicBezTo>
                  <a:pt x="282" y="586"/>
                  <a:pt x="277" y="569"/>
                  <a:pt x="274" y="558"/>
                </a:cubicBezTo>
                <a:cubicBezTo>
                  <a:pt x="271" y="547"/>
                  <a:pt x="286" y="527"/>
                  <a:pt x="289" y="508"/>
                </a:cubicBezTo>
                <a:cubicBezTo>
                  <a:pt x="293" y="490"/>
                  <a:pt x="286" y="493"/>
                  <a:pt x="279" y="480"/>
                </a:cubicBezTo>
                <a:cubicBezTo>
                  <a:pt x="271" y="468"/>
                  <a:pt x="277" y="462"/>
                  <a:pt x="277" y="451"/>
                </a:cubicBezTo>
                <a:cubicBezTo>
                  <a:pt x="277" y="440"/>
                  <a:pt x="265" y="423"/>
                  <a:pt x="258" y="417"/>
                </a:cubicBezTo>
                <a:cubicBezTo>
                  <a:pt x="252" y="411"/>
                  <a:pt x="238" y="395"/>
                  <a:pt x="235" y="389"/>
                </a:cubicBezTo>
                <a:cubicBezTo>
                  <a:pt x="232" y="383"/>
                  <a:pt x="229" y="373"/>
                  <a:pt x="223" y="358"/>
                </a:cubicBezTo>
                <a:cubicBezTo>
                  <a:pt x="217" y="342"/>
                  <a:pt x="209" y="352"/>
                  <a:pt x="190" y="338"/>
                </a:cubicBezTo>
                <a:cubicBezTo>
                  <a:pt x="172" y="324"/>
                  <a:pt x="189" y="325"/>
                  <a:pt x="200" y="319"/>
                </a:cubicBezTo>
                <a:cubicBezTo>
                  <a:pt x="210" y="313"/>
                  <a:pt x="204" y="304"/>
                  <a:pt x="201" y="290"/>
                </a:cubicBezTo>
                <a:cubicBezTo>
                  <a:pt x="198" y="276"/>
                  <a:pt x="182" y="282"/>
                  <a:pt x="179" y="268"/>
                </a:cubicBezTo>
                <a:cubicBezTo>
                  <a:pt x="176" y="254"/>
                  <a:pt x="164" y="249"/>
                  <a:pt x="158" y="243"/>
                </a:cubicBezTo>
                <a:cubicBezTo>
                  <a:pt x="151" y="237"/>
                  <a:pt x="148" y="236"/>
                  <a:pt x="145" y="226"/>
                </a:cubicBezTo>
                <a:cubicBezTo>
                  <a:pt x="142" y="217"/>
                  <a:pt x="141" y="201"/>
                  <a:pt x="138" y="192"/>
                </a:cubicBezTo>
                <a:cubicBezTo>
                  <a:pt x="134" y="183"/>
                  <a:pt x="125" y="180"/>
                  <a:pt x="122" y="167"/>
                </a:cubicBezTo>
                <a:cubicBezTo>
                  <a:pt x="119" y="155"/>
                  <a:pt x="120" y="149"/>
                  <a:pt x="125" y="129"/>
                </a:cubicBezTo>
                <a:cubicBezTo>
                  <a:pt x="130" y="108"/>
                  <a:pt x="119" y="110"/>
                  <a:pt x="114" y="98"/>
                </a:cubicBezTo>
                <a:cubicBezTo>
                  <a:pt x="110" y="85"/>
                  <a:pt x="116" y="85"/>
                  <a:pt x="114" y="71"/>
                </a:cubicBezTo>
                <a:cubicBezTo>
                  <a:pt x="113" y="57"/>
                  <a:pt x="100" y="68"/>
                  <a:pt x="90" y="59"/>
                </a:cubicBezTo>
                <a:cubicBezTo>
                  <a:pt x="79" y="50"/>
                  <a:pt x="66" y="39"/>
                  <a:pt x="66" y="39"/>
                </a:cubicBezTo>
                <a:cubicBezTo>
                  <a:pt x="66" y="39"/>
                  <a:pt x="66" y="43"/>
                  <a:pt x="66" y="50"/>
                </a:cubicBezTo>
                <a:cubicBezTo>
                  <a:pt x="66" y="56"/>
                  <a:pt x="66" y="67"/>
                  <a:pt x="66" y="73"/>
                </a:cubicBezTo>
                <a:cubicBezTo>
                  <a:pt x="66" y="79"/>
                  <a:pt x="63" y="88"/>
                  <a:pt x="60" y="94"/>
                </a:cubicBezTo>
                <a:cubicBezTo>
                  <a:pt x="57" y="101"/>
                  <a:pt x="63" y="110"/>
                  <a:pt x="68" y="115"/>
                </a:cubicBezTo>
                <a:cubicBezTo>
                  <a:pt x="72" y="119"/>
                  <a:pt x="69" y="132"/>
                  <a:pt x="71" y="143"/>
                </a:cubicBezTo>
                <a:cubicBezTo>
                  <a:pt x="72" y="153"/>
                  <a:pt x="79" y="158"/>
                  <a:pt x="83" y="161"/>
                </a:cubicBezTo>
                <a:cubicBezTo>
                  <a:pt x="88" y="164"/>
                  <a:pt x="85" y="177"/>
                  <a:pt x="82" y="187"/>
                </a:cubicBezTo>
                <a:cubicBezTo>
                  <a:pt x="79" y="198"/>
                  <a:pt x="82" y="203"/>
                  <a:pt x="90" y="206"/>
                </a:cubicBezTo>
                <a:cubicBezTo>
                  <a:pt x="97" y="209"/>
                  <a:pt x="94" y="220"/>
                  <a:pt x="96" y="228"/>
                </a:cubicBezTo>
                <a:cubicBezTo>
                  <a:pt x="97" y="236"/>
                  <a:pt x="100" y="245"/>
                  <a:pt x="105" y="248"/>
                </a:cubicBezTo>
                <a:cubicBezTo>
                  <a:pt x="110" y="251"/>
                  <a:pt x="114" y="271"/>
                  <a:pt x="119" y="279"/>
                </a:cubicBezTo>
                <a:cubicBezTo>
                  <a:pt x="124" y="287"/>
                  <a:pt x="120" y="302"/>
                  <a:pt x="124" y="307"/>
                </a:cubicBezTo>
                <a:cubicBezTo>
                  <a:pt x="127" y="311"/>
                  <a:pt x="134" y="322"/>
                  <a:pt x="138" y="327"/>
                </a:cubicBezTo>
                <a:cubicBezTo>
                  <a:pt x="141" y="332"/>
                  <a:pt x="133" y="347"/>
                  <a:pt x="128" y="359"/>
                </a:cubicBezTo>
                <a:cubicBezTo>
                  <a:pt x="124" y="372"/>
                  <a:pt x="138" y="378"/>
                  <a:pt x="151" y="377"/>
                </a:cubicBezTo>
                <a:cubicBezTo>
                  <a:pt x="165" y="375"/>
                  <a:pt x="165" y="411"/>
                  <a:pt x="162" y="415"/>
                </a:cubicBezTo>
                <a:cubicBezTo>
                  <a:pt x="159" y="420"/>
                  <a:pt x="153" y="426"/>
                  <a:pt x="142" y="423"/>
                </a:cubicBezTo>
                <a:cubicBezTo>
                  <a:pt x="131" y="420"/>
                  <a:pt x="130" y="404"/>
                  <a:pt x="124" y="395"/>
                </a:cubicBezTo>
                <a:cubicBezTo>
                  <a:pt x="117" y="386"/>
                  <a:pt x="113" y="375"/>
                  <a:pt x="108" y="359"/>
                </a:cubicBezTo>
                <a:cubicBezTo>
                  <a:pt x="103" y="344"/>
                  <a:pt x="97" y="359"/>
                  <a:pt x="83" y="352"/>
                </a:cubicBezTo>
                <a:cubicBezTo>
                  <a:pt x="69" y="344"/>
                  <a:pt x="80" y="346"/>
                  <a:pt x="85" y="335"/>
                </a:cubicBezTo>
                <a:cubicBezTo>
                  <a:pt x="90" y="324"/>
                  <a:pt x="93" y="322"/>
                  <a:pt x="94" y="305"/>
                </a:cubicBezTo>
                <a:cubicBezTo>
                  <a:pt x="96" y="288"/>
                  <a:pt x="77" y="284"/>
                  <a:pt x="72" y="260"/>
                </a:cubicBezTo>
                <a:cubicBezTo>
                  <a:pt x="71" y="253"/>
                  <a:pt x="62" y="257"/>
                  <a:pt x="54" y="248"/>
                </a:cubicBezTo>
                <a:cubicBezTo>
                  <a:pt x="46" y="239"/>
                  <a:pt x="37" y="231"/>
                  <a:pt x="32" y="200"/>
                </a:cubicBezTo>
                <a:cubicBezTo>
                  <a:pt x="31" y="192"/>
                  <a:pt x="46" y="200"/>
                  <a:pt x="52" y="184"/>
                </a:cubicBezTo>
                <a:cubicBezTo>
                  <a:pt x="59" y="169"/>
                  <a:pt x="51" y="169"/>
                  <a:pt x="46" y="153"/>
                </a:cubicBezTo>
                <a:cubicBezTo>
                  <a:pt x="41" y="138"/>
                  <a:pt x="38" y="143"/>
                  <a:pt x="29" y="130"/>
                </a:cubicBezTo>
                <a:cubicBezTo>
                  <a:pt x="20" y="118"/>
                  <a:pt x="23" y="98"/>
                  <a:pt x="23" y="88"/>
                </a:cubicBezTo>
                <a:cubicBezTo>
                  <a:pt x="23" y="79"/>
                  <a:pt x="15" y="51"/>
                  <a:pt x="10" y="36"/>
                </a:cubicBezTo>
                <a:cubicBezTo>
                  <a:pt x="6" y="20"/>
                  <a:pt x="0" y="17"/>
                  <a:pt x="1" y="6"/>
                </a:cubicBezTo>
                <a:cubicBezTo>
                  <a:pt x="1" y="6"/>
                  <a:pt x="12" y="9"/>
                  <a:pt x="31" y="9"/>
                </a:cubicBezTo>
                <a:cubicBezTo>
                  <a:pt x="49" y="9"/>
                  <a:pt x="75" y="0"/>
                  <a:pt x="85" y="14"/>
                </a:cubicBezTo>
                <a:cubicBezTo>
                  <a:pt x="96" y="28"/>
                  <a:pt x="97" y="38"/>
                  <a:pt x="116" y="48"/>
                </a:cubicBezTo>
                <a:cubicBezTo>
                  <a:pt x="135" y="59"/>
                  <a:pt x="161" y="100"/>
                  <a:pt x="212" y="100"/>
                </a:cubicBezTo>
                <a:cubicBezTo>
                  <a:pt x="263" y="100"/>
                  <a:pt x="273" y="115"/>
                  <a:pt x="278" y="101"/>
                </a:cubicBezTo>
                <a:cubicBezTo>
                  <a:pt x="284" y="88"/>
                  <a:pt x="290" y="96"/>
                  <a:pt x="314" y="101"/>
                </a:cubicBezTo>
                <a:cubicBezTo>
                  <a:pt x="338" y="106"/>
                  <a:pt x="338" y="115"/>
                  <a:pt x="355" y="132"/>
                </a:cubicBezTo>
                <a:cubicBezTo>
                  <a:pt x="373" y="149"/>
                  <a:pt x="366" y="153"/>
                  <a:pt x="374" y="178"/>
                </a:cubicBezTo>
                <a:cubicBezTo>
                  <a:pt x="383" y="204"/>
                  <a:pt x="381" y="209"/>
                  <a:pt x="398" y="219"/>
                </a:cubicBezTo>
                <a:cubicBezTo>
                  <a:pt x="415" y="230"/>
                  <a:pt x="431" y="216"/>
                  <a:pt x="446" y="204"/>
                </a:cubicBezTo>
                <a:cubicBezTo>
                  <a:pt x="461" y="192"/>
                  <a:pt x="451" y="182"/>
                  <a:pt x="479" y="204"/>
                </a:cubicBezTo>
                <a:cubicBezTo>
                  <a:pt x="506" y="226"/>
                  <a:pt x="521" y="228"/>
                  <a:pt x="518" y="259"/>
                </a:cubicBezTo>
                <a:cubicBezTo>
                  <a:pt x="514" y="289"/>
                  <a:pt x="533" y="329"/>
                  <a:pt x="533" y="329"/>
                </a:cubicBezTo>
                <a:cubicBezTo>
                  <a:pt x="549" y="353"/>
                  <a:pt x="549" y="359"/>
                  <a:pt x="564" y="365"/>
                </a:cubicBezTo>
                <a:cubicBezTo>
                  <a:pt x="579" y="370"/>
                  <a:pt x="597" y="378"/>
                  <a:pt x="597" y="378"/>
                </a:cubicBezTo>
                <a:cubicBezTo>
                  <a:pt x="597" y="379"/>
                  <a:pt x="597" y="379"/>
                  <a:pt x="597" y="379"/>
                </a:cubicBezTo>
                <a:cubicBezTo>
                  <a:pt x="596" y="384"/>
                  <a:pt x="592" y="387"/>
                  <a:pt x="583" y="397"/>
                </a:cubicBezTo>
                <a:cubicBezTo>
                  <a:pt x="568" y="415"/>
                  <a:pt x="569" y="441"/>
                  <a:pt x="556" y="494"/>
                </a:cubicBezTo>
                <a:cubicBezTo>
                  <a:pt x="543" y="546"/>
                  <a:pt x="580" y="587"/>
                  <a:pt x="585" y="599"/>
                </a:cubicBezTo>
                <a:cubicBezTo>
                  <a:pt x="591" y="612"/>
                  <a:pt x="603" y="633"/>
                  <a:pt x="603" y="633"/>
                </a:cubicBezTo>
                <a:cubicBezTo>
                  <a:pt x="619" y="644"/>
                  <a:pt x="619" y="644"/>
                  <a:pt x="619" y="644"/>
                </a:cubicBezTo>
                <a:cubicBezTo>
                  <a:pt x="619" y="644"/>
                  <a:pt x="629" y="648"/>
                  <a:pt x="637" y="657"/>
                </a:cubicBezTo>
                <a:cubicBezTo>
                  <a:pt x="645" y="665"/>
                  <a:pt x="668" y="669"/>
                  <a:pt x="683" y="673"/>
                </a:cubicBezTo>
                <a:cubicBezTo>
                  <a:pt x="698" y="678"/>
                  <a:pt x="705" y="674"/>
                  <a:pt x="730" y="660"/>
                </a:cubicBezTo>
                <a:cubicBezTo>
                  <a:pt x="754" y="645"/>
                  <a:pt x="739" y="666"/>
                  <a:pt x="751" y="663"/>
                </a:cubicBezTo>
                <a:cubicBezTo>
                  <a:pt x="763" y="660"/>
                  <a:pt x="762" y="662"/>
                  <a:pt x="778" y="653"/>
                </a:cubicBezTo>
                <a:cubicBezTo>
                  <a:pt x="794" y="644"/>
                  <a:pt x="789" y="646"/>
                  <a:pt x="793" y="634"/>
                </a:cubicBezTo>
                <a:cubicBezTo>
                  <a:pt x="793" y="634"/>
                  <a:pt x="802" y="616"/>
                  <a:pt x="811" y="622"/>
                </a:cubicBezTo>
                <a:cubicBezTo>
                  <a:pt x="820" y="628"/>
                  <a:pt x="831" y="633"/>
                  <a:pt x="834" y="635"/>
                </a:cubicBezTo>
                <a:cubicBezTo>
                  <a:pt x="838" y="638"/>
                  <a:pt x="846" y="651"/>
                  <a:pt x="847" y="652"/>
                </a:cubicBezTo>
                <a:cubicBezTo>
                  <a:pt x="847" y="653"/>
                  <a:pt x="852" y="675"/>
                  <a:pt x="852" y="681"/>
                </a:cubicBezTo>
                <a:cubicBezTo>
                  <a:pt x="852" y="686"/>
                  <a:pt x="845" y="701"/>
                  <a:pt x="845" y="70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79" name="Freeform 412"/>
          <p:cNvSpPr>
            <a:spLocks/>
          </p:cNvSpPr>
          <p:nvPr userDrawn="1"/>
        </p:nvSpPr>
        <p:spPr bwMode="auto">
          <a:xfrm>
            <a:off x="3177356" y="2637741"/>
            <a:ext cx="152433" cy="110556"/>
          </a:xfrm>
          <a:custGeom>
            <a:avLst/>
            <a:gdLst>
              <a:gd name="T0" fmla="*/ 2147483646 w 164"/>
              <a:gd name="T1" fmla="*/ 2147483646 h 119"/>
              <a:gd name="T2" fmla="*/ 2147483646 w 164"/>
              <a:gd name="T3" fmla="*/ 2147483646 h 119"/>
              <a:gd name="T4" fmla="*/ 2147483646 w 164"/>
              <a:gd name="T5" fmla="*/ 2147483646 h 119"/>
              <a:gd name="T6" fmla="*/ 2147483646 w 164"/>
              <a:gd name="T7" fmla="*/ 2147483646 h 119"/>
              <a:gd name="T8" fmla="*/ 2147483646 w 164"/>
              <a:gd name="T9" fmla="*/ 2147483646 h 119"/>
              <a:gd name="T10" fmla="*/ 2147483646 w 164"/>
              <a:gd name="T11" fmla="*/ 2147483646 h 119"/>
              <a:gd name="T12" fmla="*/ 2147483646 w 164"/>
              <a:gd name="T13" fmla="*/ 2147483646 h 119"/>
              <a:gd name="T14" fmla="*/ 2147483646 w 164"/>
              <a:gd name="T15" fmla="*/ 2147483646 h 119"/>
              <a:gd name="T16" fmla="*/ 2147483646 w 164"/>
              <a:gd name="T17" fmla="*/ 2147483646 h 119"/>
              <a:gd name="T18" fmla="*/ 2147483646 w 164"/>
              <a:gd name="T19" fmla="*/ 2147483646 h 119"/>
              <a:gd name="T20" fmla="*/ 2147483646 w 164"/>
              <a:gd name="T21" fmla="*/ 2147483646 h 119"/>
              <a:gd name="T22" fmla="*/ 2147483646 w 164"/>
              <a:gd name="T23" fmla="*/ 2147483646 h 119"/>
              <a:gd name="T24" fmla="*/ 2147483646 w 164"/>
              <a:gd name="T25" fmla="*/ 2147483646 h 119"/>
              <a:gd name="T26" fmla="*/ 2147483646 w 164"/>
              <a:gd name="T27" fmla="*/ 2147483646 h 119"/>
              <a:gd name="T28" fmla="*/ 2147483646 w 164"/>
              <a:gd name="T29" fmla="*/ 2147483646 h 119"/>
              <a:gd name="T30" fmla="*/ 2147483646 w 164"/>
              <a:gd name="T31" fmla="*/ 2147483646 h 119"/>
              <a:gd name="T32" fmla="*/ 2147483646 w 164"/>
              <a:gd name="T33" fmla="*/ 2147483646 h 1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64"/>
              <a:gd name="T52" fmla="*/ 0 h 119"/>
              <a:gd name="T53" fmla="*/ 164 w 164"/>
              <a:gd name="T54" fmla="*/ 119 h 1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64" h="119">
                <a:moveTo>
                  <a:pt x="88" y="13"/>
                </a:moveTo>
                <a:cubicBezTo>
                  <a:pt x="80" y="14"/>
                  <a:pt x="81" y="14"/>
                  <a:pt x="74" y="24"/>
                </a:cubicBezTo>
                <a:cubicBezTo>
                  <a:pt x="67" y="35"/>
                  <a:pt x="59" y="39"/>
                  <a:pt x="52" y="42"/>
                </a:cubicBezTo>
                <a:cubicBezTo>
                  <a:pt x="45" y="44"/>
                  <a:pt x="32" y="49"/>
                  <a:pt x="22" y="58"/>
                </a:cubicBezTo>
                <a:cubicBezTo>
                  <a:pt x="12" y="67"/>
                  <a:pt x="13" y="62"/>
                  <a:pt x="9" y="69"/>
                </a:cubicBezTo>
                <a:cubicBezTo>
                  <a:pt x="6" y="76"/>
                  <a:pt x="6" y="79"/>
                  <a:pt x="16" y="92"/>
                </a:cubicBezTo>
                <a:cubicBezTo>
                  <a:pt x="27" y="106"/>
                  <a:pt x="0" y="108"/>
                  <a:pt x="20" y="110"/>
                </a:cubicBezTo>
                <a:cubicBezTo>
                  <a:pt x="39" y="111"/>
                  <a:pt x="23" y="119"/>
                  <a:pt x="60" y="106"/>
                </a:cubicBezTo>
                <a:cubicBezTo>
                  <a:pt x="97" y="94"/>
                  <a:pt x="93" y="69"/>
                  <a:pt x="106" y="75"/>
                </a:cubicBezTo>
                <a:cubicBezTo>
                  <a:pt x="119" y="81"/>
                  <a:pt x="119" y="73"/>
                  <a:pt x="134" y="75"/>
                </a:cubicBezTo>
                <a:cubicBezTo>
                  <a:pt x="149" y="77"/>
                  <a:pt x="145" y="70"/>
                  <a:pt x="152" y="68"/>
                </a:cubicBezTo>
                <a:cubicBezTo>
                  <a:pt x="159" y="66"/>
                  <a:pt x="164" y="54"/>
                  <a:pt x="156" y="49"/>
                </a:cubicBezTo>
                <a:cubicBezTo>
                  <a:pt x="148" y="43"/>
                  <a:pt x="150" y="32"/>
                  <a:pt x="138" y="35"/>
                </a:cubicBezTo>
                <a:cubicBezTo>
                  <a:pt x="127" y="37"/>
                  <a:pt x="126" y="36"/>
                  <a:pt x="121" y="21"/>
                </a:cubicBezTo>
                <a:cubicBezTo>
                  <a:pt x="116" y="6"/>
                  <a:pt x="120" y="0"/>
                  <a:pt x="110" y="5"/>
                </a:cubicBezTo>
                <a:cubicBezTo>
                  <a:pt x="99" y="9"/>
                  <a:pt x="100" y="4"/>
                  <a:pt x="96" y="7"/>
                </a:cubicBezTo>
                <a:cubicBezTo>
                  <a:pt x="91" y="11"/>
                  <a:pt x="88" y="13"/>
                  <a:pt x="88" y="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80" name="Freeform 413"/>
          <p:cNvSpPr>
            <a:spLocks/>
          </p:cNvSpPr>
          <p:nvPr userDrawn="1"/>
        </p:nvSpPr>
        <p:spPr bwMode="auto">
          <a:xfrm>
            <a:off x="3217557" y="2704744"/>
            <a:ext cx="214412" cy="187611"/>
          </a:xfrm>
          <a:custGeom>
            <a:avLst/>
            <a:gdLst>
              <a:gd name="T0" fmla="*/ 2147483646 w 230"/>
              <a:gd name="T1" fmla="*/ 2147483646 h 200"/>
              <a:gd name="T2" fmla="*/ 2147483646 w 230"/>
              <a:gd name="T3" fmla="*/ 2147483646 h 200"/>
              <a:gd name="T4" fmla="*/ 2147483646 w 230"/>
              <a:gd name="T5" fmla="*/ 2147483646 h 200"/>
              <a:gd name="T6" fmla="*/ 2147483646 w 230"/>
              <a:gd name="T7" fmla="*/ 2147483646 h 200"/>
              <a:gd name="T8" fmla="*/ 2147483646 w 230"/>
              <a:gd name="T9" fmla="*/ 2147483646 h 200"/>
              <a:gd name="T10" fmla="*/ 2147483646 w 230"/>
              <a:gd name="T11" fmla="*/ 2147483646 h 200"/>
              <a:gd name="T12" fmla="*/ 2147483646 w 230"/>
              <a:gd name="T13" fmla="*/ 2147483646 h 200"/>
              <a:gd name="T14" fmla="*/ 2147483646 w 230"/>
              <a:gd name="T15" fmla="*/ 2147483646 h 200"/>
              <a:gd name="T16" fmla="*/ 2147483646 w 230"/>
              <a:gd name="T17" fmla="*/ 2147483646 h 200"/>
              <a:gd name="T18" fmla="*/ 2147483646 w 230"/>
              <a:gd name="T19" fmla="*/ 2147483646 h 200"/>
              <a:gd name="T20" fmla="*/ 2147483646 w 230"/>
              <a:gd name="T21" fmla="*/ 2147483646 h 200"/>
              <a:gd name="T22" fmla="*/ 2147483646 w 230"/>
              <a:gd name="T23" fmla="*/ 2147483646 h 200"/>
              <a:gd name="T24" fmla="*/ 2147483646 w 230"/>
              <a:gd name="T25" fmla="*/ 2147483646 h 200"/>
              <a:gd name="T26" fmla="*/ 2147483646 w 230"/>
              <a:gd name="T27" fmla="*/ 2147483646 h 200"/>
              <a:gd name="T28" fmla="*/ 2147483646 w 230"/>
              <a:gd name="T29" fmla="*/ 2147483646 h 200"/>
              <a:gd name="T30" fmla="*/ 2147483646 w 230"/>
              <a:gd name="T31" fmla="*/ 2147483646 h 200"/>
              <a:gd name="T32" fmla="*/ 2147483646 w 230"/>
              <a:gd name="T33" fmla="*/ 2147483646 h 200"/>
              <a:gd name="T34" fmla="*/ 2147483646 w 230"/>
              <a:gd name="T35" fmla="*/ 2147483646 h 200"/>
              <a:gd name="T36" fmla="*/ 2147483646 w 230"/>
              <a:gd name="T37" fmla="*/ 2147483646 h 200"/>
              <a:gd name="T38" fmla="*/ 2147483646 w 230"/>
              <a:gd name="T39" fmla="*/ 2147483646 h 200"/>
              <a:gd name="T40" fmla="*/ 2147483646 w 230"/>
              <a:gd name="T41" fmla="*/ 2147483646 h 200"/>
              <a:gd name="T42" fmla="*/ 2147483646 w 230"/>
              <a:gd name="T43" fmla="*/ 2147483646 h 200"/>
              <a:gd name="T44" fmla="*/ 2147483646 w 230"/>
              <a:gd name="T45" fmla="*/ 2147483646 h 200"/>
              <a:gd name="T46" fmla="*/ 2147483646 w 230"/>
              <a:gd name="T47" fmla="*/ 2147483646 h 200"/>
              <a:gd name="T48" fmla="*/ 2147483646 w 230"/>
              <a:gd name="T49" fmla="*/ 2147483646 h 200"/>
              <a:gd name="T50" fmla="*/ 2147483646 w 230"/>
              <a:gd name="T51" fmla="*/ 2147483646 h 200"/>
              <a:gd name="T52" fmla="*/ 2147483646 w 230"/>
              <a:gd name="T53" fmla="*/ 2147483646 h 200"/>
              <a:gd name="T54" fmla="*/ 2147483646 w 230"/>
              <a:gd name="T55" fmla="*/ 2147483646 h 200"/>
              <a:gd name="T56" fmla="*/ 2147483646 w 230"/>
              <a:gd name="T57" fmla="*/ 2147483646 h 200"/>
              <a:gd name="T58" fmla="*/ 2147483646 w 230"/>
              <a:gd name="T59" fmla="*/ 2147483646 h 200"/>
              <a:gd name="T60" fmla="*/ 2147483646 w 230"/>
              <a:gd name="T61" fmla="*/ 2147483646 h 200"/>
              <a:gd name="T62" fmla="*/ 2147483646 w 230"/>
              <a:gd name="T63" fmla="*/ 2147483646 h 200"/>
              <a:gd name="T64" fmla="*/ 2147483646 w 230"/>
              <a:gd name="T65" fmla="*/ 2147483646 h 200"/>
              <a:gd name="T66" fmla="*/ 2147483646 w 230"/>
              <a:gd name="T67" fmla="*/ 2147483646 h 200"/>
              <a:gd name="T68" fmla="*/ 2147483646 w 230"/>
              <a:gd name="T69" fmla="*/ 2147483646 h 200"/>
              <a:gd name="T70" fmla="*/ 2147483646 w 230"/>
              <a:gd name="T71" fmla="*/ 2147483646 h 200"/>
              <a:gd name="T72" fmla="*/ 2147483646 w 230"/>
              <a:gd name="T73" fmla="*/ 2147483646 h 200"/>
              <a:gd name="T74" fmla="*/ 2147483646 w 230"/>
              <a:gd name="T75" fmla="*/ 2147483646 h 200"/>
              <a:gd name="T76" fmla="*/ 2147483646 w 230"/>
              <a:gd name="T77" fmla="*/ 2147483646 h 200"/>
              <a:gd name="T78" fmla="*/ 2147483646 w 230"/>
              <a:gd name="T79" fmla="*/ 2147483646 h 20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30"/>
              <a:gd name="T121" fmla="*/ 0 h 200"/>
              <a:gd name="T122" fmla="*/ 230 w 230"/>
              <a:gd name="T123" fmla="*/ 200 h 20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30" h="200">
                <a:moveTo>
                  <a:pt x="55" y="25"/>
                </a:moveTo>
                <a:cubicBezTo>
                  <a:pt x="48" y="32"/>
                  <a:pt x="28" y="44"/>
                  <a:pt x="34" y="52"/>
                </a:cubicBezTo>
                <a:cubicBezTo>
                  <a:pt x="41" y="60"/>
                  <a:pt x="41" y="57"/>
                  <a:pt x="48" y="61"/>
                </a:cubicBezTo>
                <a:cubicBezTo>
                  <a:pt x="55" y="64"/>
                  <a:pt x="37" y="72"/>
                  <a:pt x="33" y="71"/>
                </a:cubicBezTo>
                <a:cubicBezTo>
                  <a:pt x="30" y="70"/>
                  <a:pt x="28" y="56"/>
                  <a:pt x="25" y="67"/>
                </a:cubicBezTo>
                <a:cubicBezTo>
                  <a:pt x="23" y="77"/>
                  <a:pt x="19" y="84"/>
                  <a:pt x="31" y="87"/>
                </a:cubicBezTo>
                <a:cubicBezTo>
                  <a:pt x="43" y="91"/>
                  <a:pt x="51" y="89"/>
                  <a:pt x="62" y="94"/>
                </a:cubicBezTo>
                <a:cubicBezTo>
                  <a:pt x="74" y="100"/>
                  <a:pt x="90" y="100"/>
                  <a:pt x="85" y="108"/>
                </a:cubicBezTo>
                <a:cubicBezTo>
                  <a:pt x="81" y="116"/>
                  <a:pt x="64" y="123"/>
                  <a:pt x="55" y="115"/>
                </a:cubicBezTo>
                <a:cubicBezTo>
                  <a:pt x="46" y="107"/>
                  <a:pt x="39" y="100"/>
                  <a:pt x="33" y="101"/>
                </a:cubicBezTo>
                <a:cubicBezTo>
                  <a:pt x="28" y="102"/>
                  <a:pt x="17" y="97"/>
                  <a:pt x="13" y="102"/>
                </a:cubicBezTo>
                <a:cubicBezTo>
                  <a:pt x="8" y="108"/>
                  <a:pt x="0" y="122"/>
                  <a:pt x="15" y="132"/>
                </a:cubicBezTo>
                <a:cubicBezTo>
                  <a:pt x="30" y="143"/>
                  <a:pt x="44" y="133"/>
                  <a:pt x="44" y="145"/>
                </a:cubicBezTo>
                <a:cubicBezTo>
                  <a:pt x="44" y="157"/>
                  <a:pt x="25" y="163"/>
                  <a:pt x="41" y="167"/>
                </a:cubicBezTo>
                <a:cubicBezTo>
                  <a:pt x="58" y="170"/>
                  <a:pt x="69" y="166"/>
                  <a:pt x="87" y="168"/>
                </a:cubicBezTo>
                <a:cubicBezTo>
                  <a:pt x="106" y="170"/>
                  <a:pt x="105" y="158"/>
                  <a:pt x="119" y="166"/>
                </a:cubicBezTo>
                <a:cubicBezTo>
                  <a:pt x="132" y="174"/>
                  <a:pt x="127" y="158"/>
                  <a:pt x="141" y="168"/>
                </a:cubicBezTo>
                <a:cubicBezTo>
                  <a:pt x="154" y="178"/>
                  <a:pt x="151" y="180"/>
                  <a:pt x="170" y="190"/>
                </a:cubicBezTo>
                <a:cubicBezTo>
                  <a:pt x="190" y="200"/>
                  <a:pt x="198" y="198"/>
                  <a:pt x="203" y="195"/>
                </a:cubicBezTo>
                <a:cubicBezTo>
                  <a:pt x="207" y="191"/>
                  <a:pt x="204" y="174"/>
                  <a:pt x="204" y="174"/>
                </a:cubicBezTo>
                <a:cubicBezTo>
                  <a:pt x="204" y="174"/>
                  <a:pt x="206" y="176"/>
                  <a:pt x="218" y="177"/>
                </a:cubicBezTo>
                <a:cubicBezTo>
                  <a:pt x="229" y="178"/>
                  <a:pt x="230" y="165"/>
                  <a:pt x="225" y="163"/>
                </a:cubicBezTo>
                <a:cubicBezTo>
                  <a:pt x="219" y="162"/>
                  <a:pt x="200" y="152"/>
                  <a:pt x="205" y="148"/>
                </a:cubicBezTo>
                <a:cubicBezTo>
                  <a:pt x="210" y="145"/>
                  <a:pt x="203" y="154"/>
                  <a:pt x="204" y="131"/>
                </a:cubicBezTo>
                <a:cubicBezTo>
                  <a:pt x="205" y="108"/>
                  <a:pt x="200" y="120"/>
                  <a:pt x="210" y="106"/>
                </a:cubicBezTo>
                <a:cubicBezTo>
                  <a:pt x="219" y="92"/>
                  <a:pt x="212" y="102"/>
                  <a:pt x="214" y="80"/>
                </a:cubicBezTo>
                <a:cubicBezTo>
                  <a:pt x="217" y="59"/>
                  <a:pt x="222" y="44"/>
                  <a:pt x="213" y="42"/>
                </a:cubicBezTo>
                <a:cubicBezTo>
                  <a:pt x="204" y="41"/>
                  <a:pt x="197" y="26"/>
                  <a:pt x="192" y="35"/>
                </a:cubicBezTo>
                <a:cubicBezTo>
                  <a:pt x="188" y="45"/>
                  <a:pt x="181" y="56"/>
                  <a:pt x="180" y="70"/>
                </a:cubicBezTo>
                <a:cubicBezTo>
                  <a:pt x="179" y="84"/>
                  <a:pt x="176" y="95"/>
                  <a:pt x="169" y="97"/>
                </a:cubicBezTo>
                <a:cubicBezTo>
                  <a:pt x="162" y="98"/>
                  <a:pt x="157" y="78"/>
                  <a:pt x="165" y="71"/>
                </a:cubicBezTo>
                <a:cubicBezTo>
                  <a:pt x="173" y="64"/>
                  <a:pt x="175" y="41"/>
                  <a:pt x="165" y="48"/>
                </a:cubicBezTo>
                <a:cubicBezTo>
                  <a:pt x="154" y="55"/>
                  <a:pt x="122" y="63"/>
                  <a:pt x="130" y="59"/>
                </a:cubicBezTo>
                <a:cubicBezTo>
                  <a:pt x="138" y="54"/>
                  <a:pt x="144" y="53"/>
                  <a:pt x="142" y="45"/>
                </a:cubicBezTo>
                <a:cubicBezTo>
                  <a:pt x="139" y="37"/>
                  <a:pt x="127" y="32"/>
                  <a:pt x="123" y="34"/>
                </a:cubicBezTo>
                <a:cubicBezTo>
                  <a:pt x="120" y="37"/>
                  <a:pt x="89" y="42"/>
                  <a:pt x="105" y="32"/>
                </a:cubicBezTo>
                <a:cubicBezTo>
                  <a:pt x="121" y="22"/>
                  <a:pt x="135" y="0"/>
                  <a:pt x="121" y="6"/>
                </a:cubicBezTo>
                <a:cubicBezTo>
                  <a:pt x="107" y="11"/>
                  <a:pt x="76" y="8"/>
                  <a:pt x="71" y="12"/>
                </a:cubicBezTo>
                <a:cubicBezTo>
                  <a:pt x="67" y="17"/>
                  <a:pt x="62" y="11"/>
                  <a:pt x="60" y="17"/>
                </a:cubicBezTo>
                <a:cubicBezTo>
                  <a:pt x="58" y="23"/>
                  <a:pt x="55" y="25"/>
                  <a:pt x="55" y="2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81" name="Freeform 414"/>
          <p:cNvSpPr>
            <a:spLocks/>
          </p:cNvSpPr>
          <p:nvPr userDrawn="1"/>
        </p:nvSpPr>
        <p:spPr bwMode="auto">
          <a:xfrm>
            <a:off x="3313036" y="2587488"/>
            <a:ext cx="103856" cy="38528"/>
          </a:xfrm>
          <a:custGeom>
            <a:avLst/>
            <a:gdLst>
              <a:gd name="T0" fmla="*/ 2147483646 w 112"/>
              <a:gd name="T1" fmla="*/ 2147483646 h 42"/>
              <a:gd name="T2" fmla="*/ 2147483646 w 112"/>
              <a:gd name="T3" fmla="*/ 2147483646 h 42"/>
              <a:gd name="T4" fmla="*/ 2147483646 w 112"/>
              <a:gd name="T5" fmla="*/ 2147483646 h 42"/>
              <a:gd name="T6" fmla="*/ 2147483646 w 112"/>
              <a:gd name="T7" fmla="*/ 2147483646 h 42"/>
              <a:gd name="T8" fmla="*/ 2147483646 w 112"/>
              <a:gd name="T9" fmla="*/ 2147483646 h 42"/>
              <a:gd name="T10" fmla="*/ 2147483646 w 112"/>
              <a:gd name="T11" fmla="*/ 2147483646 h 42"/>
              <a:gd name="T12" fmla="*/ 2147483646 w 112"/>
              <a:gd name="T13" fmla="*/ 2147483646 h 42"/>
              <a:gd name="T14" fmla="*/ 2147483646 w 112"/>
              <a:gd name="T15" fmla="*/ 2147483646 h 42"/>
              <a:gd name="T16" fmla="*/ 2147483646 w 112"/>
              <a:gd name="T17" fmla="*/ 2147483646 h 42"/>
              <a:gd name="T18" fmla="*/ 2147483646 w 112"/>
              <a:gd name="T19" fmla="*/ 2147483646 h 42"/>
              <a:gd name="T20" fmla="*/ 2147483646 w 112"/>
              <a:gd name="T21" fmla="*/ 2147483646 h 42"/>
              <a:gd name="T22" fmla="*/ 2147483646 w 112"/>
              <a:gd name="T23" fmla="*/ 2147483646 h 42"/>
              <a:gd name="T24" fmla="*/ 2147483646 w 112"/>
              <a:gd name="T25" fmla="*/ 2147483646 h 4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2"/>
              <a:gd name="T40" fmla="*/ 0 h 42"/>
              <a:gd name="T41" fmla="*/ 112 w 112"/>
              <a:gd name="T42" fmla="*/ 42 h 4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2" h="42">
                <a:moveTo>
                  <a:pt x="73" y="1"/>
                </a:moveTo>
                <a:cubicBezTo>
                  <a:pt x="67" y="0"/>
                  <a:pt x="55" y="0"/>
                  <a:pt x="48" y="8"/>
                </a:cubicBezTo>
                <a:cubicBezTo>
                  <a:pt x="41" y="16"/>
                  <a:pt x="36" y="15"/>
                  <a:pt x="30" y="14"/>
                </a:cubicBezTo>
                <a:cubicBezTo>
                  <a:pt x="25" y="13"/>
                  <a:pt x="22" y="12"/>
                  <a:pt x="17" y="15"/>
                </a:cubicBezTo>
                <a:cubicBezTo>
                  <a:pt x="11" y="19"/>
                  <a:pt x="0" y="20"/>
                  <a:pt x="11" y="29"/>
                </a:cubicBezTo>
                <a:cubicBezTo>
                  <a:pt x="21" y="38"/>
                  <a:pt x="29" y="42"/>
                  <a:pt x="37" y="38"/>
                </a:cubicBezTo>
                <a:cubicBezTo>
                  <a:pt x="45" y="35"/>
                  <a:pt x="50" y="12"/>
                  <a:pt x="55" y="25"/>
                </a:cubicBezTo>
                <a:cubicBezTo>
                  <a:pt x="59" y="39"/>
                  <a:pt x="62" y="19"/>
                  <a:pt x="66" y="29"/>
                </a:cubicBezTo>
                <a:cubicBezTo>
                  <a:pt x="71" y="39"/>
                  <a:pt x="75" y="27"/>
                  <a:pt x="80" y="28"/>
                </a:cubicBezTo>
                <a:cubicBezTo>
                  <a:pt x="85" y="29"/>
                  <a:pt x="88" y="29"/>
                  <a:pt x="93" y="30"/>
                </a:cubicBezTo>
                <a:cubicBezTo>
                  <a:pt x="97" y="31"/>
                  <a:pt x="101" y="21"/>
                  <a:pt x="104" y="19"/>
                </a:cubicBezTo>
                <a:cubicBezTo>
                  <a:pt x="108" y="16"/>
                  <a:pt x="112" y="9"/>
                  <a:pt x="108" y="9"/>
                </a:cubicBezTo>
                <a:cubicBezTo>
                  <a:pt x="103" y="9"/>
                  <a:pt x="73" y="1"/>
                  <a:pt x="7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82" name="Freeform 415"/>
          <p:cNvSpPr>
            <a:spLocks/>
          </p:cNvSpPr>
          <p:nvPr userDrawn="1"/>
        </p:nvSpPr>
        <p:spPr bwMode="auto">
          <a:xfrm>
            <a:off x="3349888" y="2631040"/>
            <a:ext cx="115581" cy="61979"/>
          </a:xfrm>
          <a:custGeom>
            <a:avLst/>
            <a:gdLst>
              <a:gd name="T0" fmla="*/ 2147483646 w 124"/>
              <a:gd name="T1" fmla="*/ 2147483646 h 67"/>
              <a:gd name="T2" fmla="*/ 2147483646 w 124"/>
              <a:gd name="T3" fmla="*/ 2147483646 h 67"/>
              <a:gd name="T4" fmla="*/ 0 w 124"/>
              <a:gd name="T5" fmla="*/ 2147483646 h 67"/>
              <a:gd name="T6" fmla="*/ 2147483646 w 124"/>
              <a:gd name="T7" fmla="*/ 2147483646 h 67"/>
              <a:gd name="T8" fmla="*/ 2147483646 w 124"/>
              <a:gd name="T9" fmla="*/ 2147483646 h 67"/>
              <a:gd name="T10" fmla="*/ 2147483646 w 124"/>
              <a:gd name="T11" fmla="*/ 2147483646 h 67"/>
              <a:gd name="T12" fmla="*/ 2147483646 w 124"/>
              <a:gd name="T13" fmla="*/ 2147483646 h 67"/>
              <a:gd name="T14" fmla="*/ 2147483646 w 124"/>
              <a:gd name="T15" fmla="*/ 2147483646 h 67"/>
              <a:gd name="T16" fmla="*/ 2147483646 w 124"/>
              <a:gd name="T17" fmla="*/ 2147483646 h 67"/>
              <a:gd name="T18" fmla="*/ 2147483646 w 124"/>
              <a:gd name="T19" fmla="*/ 2147483646 h 67"/>
              <a:gd name="T20" fmla="*/ 2147483646 w 124"/>
              <a:gd name="T21" fmla="*/ 2147483646 h 67"/>
              <a:gd name="T22" fmla="*/ 2147483646 w 124"/>
              <a:gd name="T23" fmla="*/ 2147483646 h 67"/>
              <a:gd name="T24" fmla="*/ 2147483646 w 124"/>
              <a:gd name="T25" fmla="*/ 2147483646 h 67"/>
              <a:gd name="T26" fmla="*/ 2147483646 w 124"/>
              <a:gd name="T27" fmla="*/ 2147483646 h 67"/>
              <a:gd name="T28" fmla="*/ 2147483646 w 124"/>
              <a:gd name="T29" fmla="*/ 2147483646 h 67"/>
              <a:gd name="T30" fmla="*/ 2147483646 w 124"/>
              <a:gd name="T31" fmla="*/ 2147483646 h 67"/>
              <a:gd name="T32" fmla="*/ 2147483646 w 124"/>
              <a:gd name="T33" fmla="*/ 2147483646 h 67"/>
              <a:gd name="T34" fmla="*/ 2147483646 w 124"/>
              <a:gd name="T35" fmla="*/ 2147483646 h 67"/>
              <a:gd name="T36" fmla="*/ 2147483646 w 124"/>
              <a:gd name="T37" fmla="*/ 2147483646 h 6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24"/>
              <a:gd name="T58" fmla="*/ 0 h 67"/>
              <a:gd name="T59" fmla="*/ 124 w 124"/>
              <a:gd name="T60" fmla="*/ 67 h 6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24" h="67">
                <a:moveTo>
                  <a:pt x="34" y="3"/>
                </a:moveTo>
                <a:cubicBezTo>
                  <a:pt x="30" y="3"/>
                  <a:pt x="15" y="5"/>
                  <a:pt x="17" y="12"/>
                </a:cubicBezTo>
                <a:cubicBezTo>
                  <a:pt x="19" y="19"/>
                  <a:pt x="0" y="28"/>
                  <a:pt x="0" y="28"/>
                </a:cubicBezTo>
                <a:cubicBezTo>
                  <a:pt x="9" y="38"/>
                  <a:pt x="11" y="30"/>
                  <a:pt x="19" y="37"/>
                </a:cubicBezTo>
                <a:cubicBezTo>
                  <a:pt x="27" y="44"/>
                  <a:pt x="19" y="47"/>
                  <a:pt x="24" y="47"/>
                </a:cubicBezTo>
                <a:cubicBezTo>
                  <a:pt x="28" y="47"/>
                  <a:pt x="33" y="28"/>
                  <a:pt x="39" y="38"/>
                </a:cubicBezTo>
                <a:cubicBezTo>
                  <a:pt x="45" y="49"/>
                  <a:pt x="12" y="49"/>
                  <a:pt x="13" y="53"/>
                </a:cubicBezTo>
                <a:cubicBezTo>
                  <a:pt x="15" y="58"/>
                  <a:pt x="56" y="58"/>
                  <a:pt x="64" y="61"/>
                </a:cubicBezTo>
                <a:cubicBezTo>
                  <a:pt x="72" y="65"/>
                  <a:pt x="98" y="62"/>
                  <a:pt x="102" y="65"/>
                </a:cubicBezTo>
                <a:cubicBezTo>
                  <a:pt x="107" y="67"/>
                  <a:pt x="111" y="53"/>
                  <a:pt x="115" y="50"/>
                </a:cubicBezTo>
                <a:cubicBezTo>
                  <a:pt x="118" y="46"/>
                  <a:pt x="113" y="43"/>
                  <a:pt x="110" y="34"/>
                </a:cubicBezTo>
                <a:cubicBezTo>
                  <a:pt x="108" y="24"/>
                  <a:pt x="111" y="26"/>
                  <a:pt x="115" y="21"/>
                </a:cubicBezTo>
                <a:cubicBezTo>
                  <a:pt x="118" y="16"/>
                  <a:pt x="124" y="0"/>
                  <a:pt x="115" y="5"/>
                </a:cubicBezTo>
                <a:cubicBezTo>
                  <a:pt x="106" y="9"/>
                  <a:pt x="92" y="4"/>
                  <a:pt x="91" y="14"/>
                </a:cubicBezTo>
                <a:cubicBezTo>
                  <a:pt x="90" y="24"/>
                  <a:pt x="85" y="33"/>
                  <a:pt x="82" y="31"/>
                </a:cubicBezTo>
                <a:cubicBezTo>
                  <a:pt x="78" y="30"/>
                  <a:pt x="76" y="22"/>
                  <a:pt x="71" y="22"/>
                </a:cubicBezTo>
                <a:cubicBezTo>
                  <a:pt x="67" y="22"/>
                  <a:pt x="61" y="23"/>
                  <a:pt x="58" y="19"/>
                </a:cubicBezTo>
                <a:cubicBezTo>
                  <a:pt x="56" y="14"/>
                  <a:pt x="58" y="1"/>
                  <a:pt x="52" y="1"/>
                </a:cubicBezTo>
                <a:cubicBezTo>
                  <a:pt x="45" y="1"/>
                  <a:pt x="34" y="3"/>
                  <a:pt x="34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83" name="Freeform 416"/>
          <p:cNvSpPr>
            <a:spLocks/>
          </p:cNvSpPr>
          <p:nvPr userDrawn="1"/>
        </p:nvSpPr>
        <p:spPr bwMode="auto">
          <a:xfrm>
            <a:off x="3438669" y="2746623"/>
            <a:ext cx="87105" cy="80404"/>
          </a:xfrm>
          <a:custGeom>
            <a:avLst/>
            <a:gdLst>
              <a:gd name="T0" fmla="*/ 2147483646 w 94"/>
              <a:gd name="T1" fmla="*/ 2147483646 h 86"/>
              <a:gd name="T2" fmla="*/ 2147483646 w 94"/>
              <a:gd name="T3" fmla="*/ 2147483646 h 86"/>
              <a:gd name="T4" fmla="*/ 2147483646 w 94"/>
              <a:gd name="T5" fmla="*/ 2147483646 h 86"/>
              <a:gd name="T6" fmla="*/ 2147483646 w 94"/>
              <a:gd name="T7" fmla="*/ 2147483646 h 86"/>
              <a:gd name="T8" fmla="*/ 2147483646 w 94"/>
              <a:gd name="T9" fmla="*/ 2147483646 h 86"/>
              <a:gd name="T10" fmla="*/ 2147483646 w 94"/>
              <a:gd name="T11" fmla="*/ 2147483646 h 86"/>
              <a:gd name="T12" fmla="*/ 2147483646 w 94"/>
              <a:gd name="T13" fmla="*/ 2147483646 h 86"/>
              <a:gd name="T14" fmla="*/ 2147483646 w 94"/>
              <a:gd name="T15" fmla="*/ 2147483646 h 86"/>
              <a:gd name="T16" fmla="*/ 2147483646 w 94"/>
              <a:gd name="T17" fmla="*/ 2147483646 h 86"/>
              <a:gd name="T18" fmla="*/ 2147483646 w 94"/>
              <a:gd name="T19" fmla="*/ 2147483646 h 86"/>
              <a:gd name="T20" fmla="*/ 2147483646 w 94"/>
              <a:gd name="T21" fmla="*/ 2147483646 h 86"/>
              <a:gd name="T22" fmla="*/ 2147483646 w 94"/>
              <a:gd name="T23" fmla="*/ 2147483646 h 86"/>
              <a:gd name="T24" fmla="*/ 2147483646 w 94"/>
              <a:gd name="T25" fmla="*/ 2147483646 h 86"/>
              <a:gd name="T26" fmla="*/ 2147483646 w 94"/>
              <a:gd name="T27" fmla="*/ 2147483646 h 86"/>
              <a:gd name="T28" fmla="*/ 2147483646 w 94"/>
              <a:gd name="T29" fmla="*/ 2147483646 h 86"/>
              <a:gd name="T30" fmla="*/ 2147483646 w 94"/>
              <a:gd name="T31" fmla="*/ 2147483646 h 86"/>
              <a:gd name="T32" fmla="*/ 2147483646 w 94"/>
              <a:gd name="T33" fmla="*/ 2147483646 h 8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4"/>
              <a:gd name="T52" fmla="*/ 0 h 86"/>
              <a:gd name="T53" fmla="*/ 94 w 94"/>
              <a:gd name="T54" fmla="*/ 86 h 8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4" h="86">
                <a:moveTo>
                  <a:pt x="47" y="4"/>
                </a:moveTo>
                <a:cubicBezTo>
                  <a:pt x="42" y="2"/>
                  <a:pt x="35" y="18"/>
                  <a:pt x="39" y="20"/>
                </a:cubicBezTo>
                <a:cubicBezTo>
                  <a:pt x="44" y="23"/>
                  <a:pt x="53" y="26"/>
                  <a:pt x="45" y="28"/>
                </a:cubicBezTo>
                <a:cubicBezTo>
                  <a:pt x="37" y="31"/>
                  <a:pt x="27" y="32"/>
                  <a:pt x="27" y="32"/>
                </a:cubicBezTo>
                <a:cubicBezTo>
                  <a:pt x="27" y="32"/>
                  <a:pt x="24" y="17"/>
                  <a:pt x="20" y="18"/>
                </a:cubicBezTo>
                <a:cubicBezTo>
                  <a:pt x="15" y="19"/>
                  <a:pt x="0" y="49"/>
                  <a:pt x="12" y="54"/>
                </a:cubicBezTo>
                <a:cubicBezTo>
                  <a:pt x="23" y="58"/>
                  <a:pt x="31" y="47"/>
                  <a:pt x="34" y="58"/>
                </a:cubicBezTo>
                <a:cubicBezTo>
                  <a:pt x="36" y="70"/>
                  <a:pt x="24" y="80"/>
                  <a:pt x="32" y="83"/>
                </a:cubicBezTo>
                <a:cubicBezTo>
                  <a:pt x="41" y="85"/>
                  <a:pt x="49" y="86"/>
                  <a:pt x="53" y="78"/>
                </a:cubicBezTo>
                <a:cubicBezTo>
                  <a:pt x="58" y="70"/>
                  <a:pt x="54" y="58"/>
                  <a:pt x="64" y="64"/>
                </a:cubicBezTo>
                <a:cubicBezTo>
                  <a:pt x="73" y="70"/>
                  <a:pt x="77" y="59"/>
                  <a:pt x="79" y="53"/>
                </a:cubicBezTo>
                <a:cubicBezTo>
                  <a:pt x="80" y="46"/>
                  <a:pt x="79" y="38"/>
                  <a:pt x="79" y="38"/>
                </a:cubicBezTo>
                <a:cubicBezTo>
                  <a:pt x="79" y="38"/>
                  <a:pt x="75" y="21"/>
                  <a:pt x="81" y="20"/>
                </a:cubicBezTo>
                <a:cubicBezTo>
                  <a:pt x="87" y="19"/>
                  <a:pt x="91" y="11"/>
                  <a:pt x="91" y="11"/>
                </a:cubicBezTo>
                <a:cubicBezTo>
                  <a:pt x="91" y="11"/>
                  <a:pt x="94" y="0"/>
                  <a:pt x="88" y="3"/>
                </a:cubicBezTo>
                <a:cubicBezTo>
                  <a:pt x="82" y="6"/>
                  <a:pt x="51" y="3"/>
                  <a:pt x="51" y="3"/>
                </a:cubicBezTo>
                <a:lnTo>
                  <a:pt x="47" y="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84" name="Freeform 417"/>
          <p:cNvSpPr>
            <a:spLocks/>
          </p:cNvSpPr>
          <p:nvPr userDrawn="1"/>
        </p:nvSpPr>
        <p:spPr bwMode="auto">
          <a:xfrm>
            <a:off x="3586077" y="2770073"/>
            <a:ext cx="403697" cy="378571"/>
          </a:xfrm>
          <a:custGeom>
            <a:avLst/>
            <a:gdLst>
              <a:gd name="T0" fmla="*/ 2147483646 w 433"/>
              <a:gd name="T1" fmla="*/ 2147483646 h 406"/>
              <a:gd name="T2" fmla="*/ 2147483646 w 433"/>
              <a:gd name="T3" fmla="*/ 2147483646 h 406"/>
              <a:gd name="T4" fmla="*/ 2147483646 w 433"/>
              <a:gd name="T5" fmla="*/ 2147483646 h 406"/>
              <a:gd name="T6" fmla="*/ 2147483646 w 433"/>
              <a:gd name="T7" fmla="*/ 2147483646 h 406"/>
              <a:gd name="T8" fmla="*/ 2147483646 w 433"/>
              <a:gd name="T9" fmla="*/ 2147483646 h 406"/>
              <a:gd name="T10" fmla="*/ 2147483646 w 433"/>
              <a:gd name="T11" fmla="*/ 2147483646 h 406"/>
              <a:gd name="T12" fmla="*/ 2147483646 w 433"/>
              <a:gd name="T13" fmla="*/ 2147483646 h 406"/>
              <a:gd name="T14" fmla="*/ 2147483646 w 433"/>
              <a:gd name="T15" fmla="*/ 2147483646 h 406"/>
              <a:gd name="T16" fmla="*/ 2147483646 w 433"/>
              <a:gd name="T17" fmla="*/ 2147483646 h 406"/>
              <a:gd name="T18" fmla="*/ 2147483646 w 433"/>
              <a:gd name="T19" fmla="*/ 2147483646 h 406"/>
              <a:gd name="T20" fmla="*/ 2147483646 w 433"/>
              <a:gd name="T21" fmla="*/ 2147483646 h 406"/>
              <a:gd name="T22" fmla="*/ 2147483646 w 433"/>
              <a:gd name="T23" fmla="*/ 2147483646 h 406"/>
              <a:gd name="T24" fmla="*/ 2147483646 w 433"/>
              <a:gd name="T25" fmla="*/ 2147483646 h 406"/>
              <a:gd name="T26" fmla="*/ 2147483646 w 433"/>
              <a:gd name="T27" fmla="*/ 2147483646 h 406"/>
              <a:gd name="T28" fmla="*/ 2147483646 w 433"/>
              <a:gd name="T29" fmla="*/ 2147483646 h 406"/>
              <a:gd name="T30" fmla="*/ 2147483646 w 433"/>
              <a:gd name="T31" fmla="*/ 2147483646 h 406"/>
              <a:gd name="T32" fmla="*/ 2147483646 w 433"/>
              <a:gd name="T33" fmla="*/ 2147483646 h 406"/>
              <a:gd name="T34" fmla="*/ 2147483646 w 433"/>
              <a:gd name="T35" fmla="*/ 2147483646 h 406"/>
              <a:gd name="T36" fmla="*/ 2147483646 w 433"/>
              <a:gd name="T37" fmla="*/ 2147483646 h 406"/>
              <a:gd name="T38" fmla="*/ 2147483646 w 433"/>
              <a:gd name="T39" fmla="*/ 2147483646 h 406"/>
              <a:gd name="T40" fmla="*/ 2147483646 w 433"/>
              <a:gd name="T41" fmla="*/ 2147483646 h 406"/>
              <a:gd name="T42" fmla="*/ 2147483646 w 433"/>
              <a:gd name="T43" fmla="*/ 2147483646 h 406"/>
              <a:gd name="T44" fmla="*/ 2147483646 w 433"/>
              <a:gd name="T45" fmla="*/ 2147483646 h 406"/>
              <a:gd name="T46" fmla="*/ 2147483646 w 433"/>
              <a:gd name="T47" fmla="*/ 2147483646 h 406"/>
              <a:gd name="T48" fmla="*/ 2147483646 w 433"/>
              <a:gd name="T49" fmla="*/ 2147483646 h 406"/>
              <a:gd name="T50" fmla="*/ 2147483646 w 433"/>
              <a:gd name="T51" fmla="*/ 2147483646 h 406"/>
              <a:gd name="T52" fmla="*/ 2147483646 w 433"/>
              <a:gd name="T53" fmla="*/ 2147483646 h 406"/>
              <a:gd name="T54" fmla="*/ 2147483646 w 433"/>
              <a:gd name="T55" fmla="*/ 2147483646 h 406"/>
              <a:gd name="T56" fmla="*/ 2147483646 w 433"/>
              <a:gd name="T57" fmla="*/ 2147483646 h 406"/>
              <a:gd name="T58" fmla="*/ 2147483646 w 433"/>
              <a:gd name="T59" fmla="*/ 2147483646 h 406"/>
              <a:gd name="T60" fmla="*/ 2147483646 w 433"/>
              <a:gd name="T61" fmla="*/ 2147483646 h 406"/>
              <a:gd name="T62" fmla="*/ 2147483646 w 433"/>
              <a:gd name="T63" fmla="*/ 2147483646 h 406"/>
              <a:gd name="T64" fmla="*/ 2147483646 w 433"/>
              <a:gd name="T65" fmla="*/ 2147483646 h 406"/>
              <a:gd name="T66" fmla="*/ 2147483646 w 433"/>
              <a:gd name="T67" fmla="*/ 2147483646 h 406"/>
              <a:gd name="T68" fmla="*/ 2147483646 w 433"/>
              <a:gd name="T69" fmla="*/ 2147483646 h 406"/>
              <a:gd name="T70" fmla="*/ 2147483646 w 433"/>
              <a:gd name="T71" fmla="*/ 2147483646 h 406"/>
              <a:gd name="T72" fmla="*/ 2147483646 w 433"/>
              <a:gd name="T73" fmla="*/ 2147483646 h 406"/>
              <a:gd name="T74" fmla="*/ 2147483646 w 433"/>
              <a:gd name="T75" fmla="*/ 2147483646 h 406"/>
              <a:gd name="T76" fmla="*/ 2147483646 w 433"/>
              <a:gd name="T77" fmla="*/ 2147483646 h 406"/>
              <a:gd name="T78" fmla="*/ 2147483646 w 433"/>
              <a:gd name="T79" fmla="*/ 2147483646 h 406"/>
              <a:gd name="T80" fmla="*/ 2147483646 w 433"/>
              <a:gd name="T81" fmla="*/ 2147483646 h 406"/>
              <a:gd name="T82" fmla="*/ 2147483646 w 433"/>
              <a:gd name="T83" fmla="*/ 2147483646 h 406"/>
              <a:gd name="T84" fmla="*/ 2147483646 w 433"/>
              <a:gd name="T85" fmla="*/ 2147483646 h 406"/>
              <a:gd name="T86" fmla="*/ 2147483646 w 433"/>
              <a:gd name="T87" fmla="*/ 2147483646 h 406"/>
              <a:gd name="T88" fmla="*/ 2147483646 w 433"/>
              <a:gd name="T89" fmla="*/ 2147483646 h 406"/>
              <a:gd name="T90" fmla="*/ 2147483646 w 433"/>
              <a:gd name="T91" fmla="*/ 2147483646 h 406"/>
              <a:gd name="T92" fmla="*/ 2147483646 w 433"/>
              <a:gd name="T93" fmla="*/ 2147483646 h 406"/>
              <a:gd name="T94" fmla="*/ 2147483646 w 433"/>
              <a:gd name="T95" fmla="*/ 2147483646 h 406"/>
              <a:gd name="T96" fmla="*/ 2147483646 w 433"/>
              <a:gd name="T97" fmla="*/ 2147483646 h 406"/>
              <a:gd name="T98" fmla="*/ 2147483646 w 433"/>
              <a:gd name="T99" fmla="*/ 0 h 40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33"/>
              <a:gd name="T151" fmla="*/ 0 h 406"/>
              <a:gd name="T152" fmla="*/ 433 w 433"/>
              <a:gd name="T153" fmla="*/ 406 h 40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33" h="406">
                <a:moveTo>
                  <a:pt x="54" y="0"/>
                </a:moveTo>
                <a:cubicBezTo>
                  <a:pt x="43" y="1"/>
                  <a:pt x="35" y="12"/>
                  <a:pt x="27" y="24"/>
                </a:cubicBezTo>
                <a:cubicBezTo>
                  <a:pt x="19" y="37"/>
                  <a:pt x="7" y="42"/>
                  <a:pt x="7" y="54"/>
                </a:cubicBezTo>
                <a:cubicBezTo>
                  <a:pt x="7" y="67"/>
                  <a:pt x="0" y="70"/>
                  <a:pt x="5" y="76"/>
                </a:cubicBezTo>
                <a:cubicBezTo>
                  <a:pt x="9" y="82"/>
                  <a:pt x="17" y="65"/>
                  <a:pt x="28" y="74"/>
                </a:cubicBezTo>
                <a:cubicBezTo>
                  <a:pt x="38" y="83"/>
                  <a:pt x="42" y="85"/>
                  <a:pt x="31" y="89"/>
                </a:cubicBezTo>
                <a:cubicBezTo>
                  <a:pt x="21" y="92"/>
                  <a:pt x="8" y="98"/>
                  <a:pt x="8" y="98"/>
                </a:cubicBezTo>
                <a:cubicBezTo>
                  <a:pt x="8" y="98"/>
                  <a:pt x="5" y="102"/>
                  <a:pt x="21" y="106"/>
                </a:cubicBezTo>
                <a:cubicBezTo>
                  <a:pt x="37" y="111"/>
                  <a:pt x="43" y="92"/>
                  <a:pt x="46" y="103"/>
                </a:cubicBezTo>
                <a:cubicBezTo>
                  <a:pt x="50" y="113"/>
                  <a:pt x="44" y="116"/>
                  <a:pt x="55" y="116"/>
                </a:cubicBezTo>
                <a:cubicBezTo>
                  <a:pt x="67" y="116"/>
                  <a:pt x="67" y="108"/>
                  <a:pt x="77" y="116"/>
                </a:cubicBezTo>
                <a:cubicBezTo>
                  <a:pt x="88" y="125"/>
                  <a:pt x="97" y="121"/>
                  <a:pt x="112" y="125"/>
                </a:cubicBezTo>
                <a:cubicBezTo>
                  <a:pt x="127" y="128"/>
                  <a:pt x="138" y="119"/>
                  <a:pt x="138" y="119"/>
                </a:cubicBezTo>
                <a:cubicBezTo>
                  <a:pt x="138" y="119"/>
                  <a:pt x="138" y="96"/>
                  <a:pt x="149" y="111"/>
                </a:cubicBezTo>
                <a:cubicBezTo>
                  <a:pt x="159" y="126"/>
                  <a:pt x="153" y="128"/>
                  <a:pt x="165" y="133"/>
                </a:cubicBezTo>
                <a:cubicBezTo>
                  <a:pt x="176" y="137"/>
                  <a:pt x="195" y="149"/>
                  <a:pt x="208" y="163"/>
                </a:cubicBezTo>
                <a:cubicBezTo>
                  <a:pt x="220" y="176"/>
                  <a:pt x="218" y="171"/>
                  <a:pt x="220" y="176"/>
                </a:cubicBezTo>
                <a:cubicBezTo>
                  <a:pt x="223" y="182"/>
                  <a:pt x="206" y="193"/>
                  <a:pt x="216" y="190"/>
                </a:cubicBezTo>
                <a:cubicBezTo>
                  <a:pt x="225" y="188"/>
                  <a:pt x="227" y="185"/>
                  <a:pt x="232" y="188"/>
                </a:cubicBezTo>
                <a:cubicBezTo>
                  <a:pt x="236" y="191"/>
                  <a:pt x="241" y="194"/>
                  <a:pt x="240" y="199"/>
                </a:cubicBezTo>
                <a:cubicBezTo>
                  <a:pt x="239" y="205"/>
                  <a:pt x="229" y="218"/>
                  <a:pt x="240" y="212"/>
                </a:cubicBezTo>
                <a:cubicBezTo>
                  <a:pt x="250" y="206"/>
                  <a:pt x="255" y="190"/>
                  <a:pt x="255" y="204"/>
                </a:cubicBezTo>
                <a:cubicBezTo>
                  <a:pt x="255" y="218"/>
                  <a:pt x="249" y="220"/>
                  <a:pt x="254" y="224"/>
                </a:cubicBezTo>
                <a:cubicBezTo>
                  <a:pt x="258" y="227"/>
                  <a:pt x="269" y="232"/>
                  <a:pt x="261" y="235"/>
                </a:cubicBezTo>
                <a:cubicBezTo>
                  <a:pt x="253" y="239"/>
                  <a:pt x="256" y="242"/>
                  <a:pt x="251" y="244"/>
                </a:cubicBezTo>
                <a:cubicBezTo>
                  <a:pt x="247" y="247"/>
                  <a:pt x="242" y="241"/>
                  <a:pt x="238" y="251"/>
                </a:cubicBezTo>
                <a:cubicBezTo>
                  <a:pt x="233" y="262"/>
                  <a:pt x="233" y="265"/>
                  <a:pt x="236" y="272"/>
                </a:cubicBezTo>
                <a:cubicBezTo>
                  <a:pt x="240" y="279"/>
                  <a:pt x="210" y="292"/>
                  <a:pt x="201" y="288"/>
                </a:cubicBezTo>
                <a:cubicBezTo>
                  <a:pt x="191" y="285"/>
                  <a:pt x="182" y="274"/>
                  <a:pt x="178" y="278"/>
                </a:cubicBezTo>
                <a:cubicBezTo>
                  <a:pt x="173" y="281"/>
                  <a:pt x="155" y="302"/>
                  <a:pt x="160" y="314"/>
                </a:cubicBezTo>
                <a:cubicBezTo>
                  <a:pt x="166" y="325"/>
                  <a:pt x="171" y="340"/>
                  <a:pt x="188" y="339"/>
                </a:cubicBezTo>
                <a:cubicBezTo>
                  <a:pt x="205" y="338"/>
                  <a:pt x="206" y="318"/>
                  <a:pt x="212" y="322"/>
                </a:cubicBezTo>
                <a:cubicBezTo>
                  <a:pt x="218" y="325"/>
                  <a:pt x="234" y="310"/>
                  <a:pt x="240" y="314"/>
                </a:cubicBezTo>
                <a:cubicBezTo>
                  <a:pt x="246" y="317"/>
                  <a:pt x="256" y="304"/>
                  <a:pt x="263" y="325"/>
                </a:cubicBezTo>
                <a:cubicBezTo>
                  <a:pt x="270" y="346"/>
                  <a:pt x="280" y="350"/>
                  <a:pt x="288" y="355"/>
                </a:cubicBezTo>
                <a:cubicBezTo>
                  <a:pt x="296" y="360"/>
                  <a:pt x="310" y="339"/>
                  <a:pt x="304" y="359"/>
                </a:cubicBezTo>
                <a:cubicBezTo>
                  <a:pt x="299" y="378"/>
                  <a:pt x="329" y="372"/>
                  <a:pt x="339" y="383"/>
                </a:cubicBezTo>
                <a:cubicBezTo>
                  <a:pt x="349" y="393"/>
                  <a:pt x="348" y="371"/>
                  <a:pt x="361" y="389"/>
                </a:cubicBezTo>
                <a:cubicBezTo>
                  <a:pt x="374" y="406"/>
                  <a:pt x="379" y="391"/>
                  <a:pt x="386" y="397"/>
                </a:cubicBezTo>
                <a:cubicBezTo>
                  <a:pt x="393" y="402"/>
                  <a:pt x="401" y="389"/>
                  <a:pt x="404" y="393"/>
                </a:cubicBezTo>
                <a:cubicBezTo>
                  <a:pt x="406" y="398"/>
                  <a:pt x="348" y="356"/>
                  <a:pt x="344" y="354"/>
                </a:cubicBezTo>
                <a:cubicBezTo>
                  <a:pt x="339" y="352"/>
                  <a:pt x="330" y="340"/>
                  <a:pt x="339" y="340"/>
                </a:cubicBezTo>
                <a:cubicBezTo>
                  <a:pt x="348" y="340"/>
                  <a:pt x="359" y="336"/>
                  <a:pt x="367" y="349"/>
                </a:cubicBezTo>
                <a:cubicBezTo>
                  <a:pt x="375" y="363"/>
                  <a:pt x="377" y="352"/>
                  <a:pt x="385" y="359"/>
                </a:cubicBezTo>
                <a:cubicBezTo>
                  <a:pt x="393" y="365"/>
                  <a:pt x="399" y="354"/>
                  <a:pt x="405" y="361"/>
                </a:cubicBezTo>
                <a:cubicBezTo>
                  <a:pt x="410" y="368"/>
                  <a:pt x="414" y="357"/>
                  <a:pt x="415" y="354"/>
                </a:cubicBezTo>
                <a:cubicBezTo>
                  <a:pt x="416" y="350"/>
                  <a:pt x="413" y="330"/>
                  <a:pt x="413" y="330"/>
                </a:cubicBezTo>
                <a:cubicBezTo>
                  <a:pt x="413" y="330"/>
                  <a:pt x="406" y="302"/>
                  <a:pt x="398" y="310"/>
                </a:cubicBezTo>
                <a:cubicBezTo>
                  <a:pt x="390" y="318"/>
                  <a:pt x="389" y="289"/>
                  <a:pt x="376" y="293"/>
                </a:cubicBezTo>
                <a:cubicBezTo>
                  <a:pt x="363" y="296"/>
                  <a:pt x="368" y="281"/>
                  <a:pt x="352" y="276"/>
                </a:cubicBezTo>
                <a:cubicBezTo>
                  <a:pt x="336" y="270"/>
                  <a:pt x="325" y="246"/>
                  <a:pt x="322" y="249"/>
                </a:cubicBezTo>
                <a:cubicBezTo>
                  <a:pt x="318" y="253"/>
                  <a:pt x="314" y="233"/>
                  <a:pt x="309" y="244"/>
                </a:cubicBezTo>
                <a:cubicBezTo>
                  <a:pt x="304" y="256"/>
                  <a:pt x="334" y="228"/>
                  <a:pt x="339" y="235"/>
                </a:cubicBezTo>
                <a:cubicBezTo>
                  <a:pt x="344" y="242"/>
                  <a:pt x="354" y="248"/>
                  <a:pt x="359" y="253"/>
                </a:cubicBezTo>
                <a:cubicBezTo>
                  <a:pt x="363" y="257"/>
                  <a:pt x="370" y="243"/>
                  <a:pt x="382" y="258"/>
                </a:cubicBezTo>
                <a:cubicBezTo>
                  <a:pt x="393" y="273"/>
                  <a:pt x="401" y="267"/>
                  <a:pt x="412" y="279"/>
                </a:cubicBezTo>
                <a:cubicBezTo>
                  <a:pt x="422" y="291"/>
                  <a:pt x="428" y="279"/>
                  <a:pt x="428" y="267"/>
                </a:cubicBezTo>
                <a:cubicBezTo>
                  <a:pt x="428" y="256"/>
                  <a:pt x="433" y="228"/>
                  <a:pt x="430" y="234"/>
                </a:cubicBezTo>
                <a:cubicBezTo>
                  <a:pt x="427" y="240"/>
                  <a:pt x="421" y="204"/>
                  <a:pt x="409" y="217"/>
                </a:cubicBezTo>
                <a:cubicBezTo>
                  <a:pt x="398" y="229"/>
                  <a:pt x="391" y="196"/>
                  <a:pt x="378" y="199"/>
                </a:cubicBezTo>
                <a:cubicBezTo>
                  <a:pt x="365" y="203"/>
                  <a:pt x="362" y="187"/>
                  <a:pt x="355" y="183"/>
                </a:cubicBezTo>
                <a:cubicBezTo>
                  <a:pt x="348" y="180"/>
                  <a:pt x="340" y="161"/>
                  <a:pt x="336" y="164"/>
                </a:cubicBezTo>
                <a:cubicBezTo>
                  <a:pt x="331" y="166"/>
                  <a:pt x="323" y="143"/>
                  <a:pt x="318" y="143"/>
                </a:cubicBezTo>
                <a:cubicBezTo>
                  <a:pt x="314" y="143"/>
                  <a:pt x="333" y="156"/>
                  <a:pt x="333" y="149"/>
                </a:cubicBezTo>
                <a:cubicBezTo>
                  <a:pt x="333" y="142"/>
                  <a:pt x="326" y="122"/>
                  <a:pt x="319" y="127"/>
                </a:cubicBezTo>
                <a:cubicBezTo>
                  <a:pt x="312" y="131"/>
                  <a:pt x="302" y="135"/>
                  <a:pt x="301" y="140"/>
                </a:cubicBezTo>
                <a:cubicBezTo>
                  <a:pt x="300" y="144"/>
                  <a:pt x="297" y="143"/>
                  <a:pt x="294" y="140"/>
                </a:cubicBezTo>
                <a:cubicBezTo>
                  <a:pt x="291" y="136"/>
                  <a:pt x="291" y="111"/>
                  <a:pt x="299" y="114"/>
                </a:cubicBezTo>
                <a:cubicBezTo>
                  <a:pt x="307" y="118"/>
                  <a:pt x="289" y="108"/>
                  <a:pt x="289" y="108"/>
                </a:cubicBezTo>
                <a:cubicBezTo>
                  <a:pt x="289" y="108"/>
                  <a:pt x="284" y="118"/>
                  <a:pt x="279" y="125"/>
                </a:cubicBezTo>
                <a:cubicBezTo>
                  <a:pt x="274" y="131"/>
                  <a:pt x="278" y="91"/>
                  <a:pt x="281" y="91"/>
                </a:cubicBezTo>
                <a:cubicBezTo>
                  <a:pt x="285" y="91"/>
                  <a:pt x="259" y="87"/>
                  <a:pt x="257" y="99"/>
                </a:cubicBezTo>
                <a:cubicBezTo>
                  <a:pt x="255" y="112"/>
                  <a:pt x="246" y="89"/>
                  <a:pt x="247" y="85"/>
                </a:cubicBezTo>
                <a:cubicBezTo>
                  <a:pt x="248" y="82"/>
                  <a:pt x="236" y="74"/>
                  <a:pt x="236" y="74"/>
                </a:cubicBezTo>
                <a:cubicBezTo>
                  <a:pt x="236" y="74"/>
                  <a:pt x="229" y="88"/>
                  <a:pt x="232" y="92"/>
                </a:cubicBezTo>
                <a:cubicBezTo>
                  <a:pt x="234" y="97"/>
                  <a:pt x="219" y="90"/>
                  <a:pt x="217" y="87"/>
                </a:cubicBezTo>
                <a:cubicBezTo>
                  <a:pt x="214" y="83"/>
                  <a:pt x="211" y="74"/>
                  <a:pt x="213" y="68"/>
                </a:cubicBezTo>
                <a:cubicBezTo>
                  <a:pt x="216" y="62"/>
                  <a:pt x="208" y="52"/>
                  <a:pt x="203" y="53"/>
                </a:cubicBezTo>
                <a:cubicBezTo>
                  <a:pt x="198" y="54"/>
                  <a:pt x="183" y="48"/>
                  <a:pt x="187" y="59"/>
                </a:cubicBezTo>
                <a:cubicBezTo>
                  <a:pt x="190" y="69"/>
                  <a:pt x="197" y="88"/>
                  <a:pt x="187" y="78"/>
                </a:cubicBezTo>
                <a:cubicBezTo>
                  <a:pt x="176" y="69"/>
                  <a:pt x="163" y="55"/>
                  <a:pt x="161" y="52"/>
                </a:cubicBezTo>
                <a:cubicBezTo>
                  <a:pt x="160" y="48"/>
                  <a:pt x="144" y="40"/>
                  <a:pt x="144" y="40"/>
                </a:cubicBezTo>
                <a:cubicBezTo>
                  <a:pt x="144" y="40"/>
                  <a:pt x="140" y="50"/>
                  <a:pt x="138" y="53"/>
                </a:cubicBezTo>
                <a:cubicBezTo>
                  <a:pt x="137" y="57"/>
                  <a:pt x="130" y="54"/>
                  <a:pt x="127" y="57"/>
                </a:cubicBezTo>
                <a:cubicBezTo>
                  <a:pt x="123" y="59"/>
                  <a:pt x="117" y="54"/>
                  <a:pt x="122" y="46"/>
                </a:cubicBezTo>
                <a:cubicBezTo>
                  <a:pt x="128" y="38"/>
                  <a:pt x="133" y="23"/>
                  <a:pt x="129" y="22"/>
                </a:cubicBezTo>
                <a:cubicBezTo>
                  <a:pt x="126" y="21"/>
                  <a:pt x="123" y="6"/>
                  <a:pt x="113" y="7"/>
                </a:cubicBezTo>
                <a:cubicBezTo>
                  <a:pt x="103" y="8"/>
                  <a:pt x="92" y="30"/>
                  <a:pt x="85" y="31"/>
                </a:cubicBezTo>
                <a:cubicBezTo>
                  <a:pt x="78" y="32"/>
                  <a:pt x="58" y="20"/>
                  <a:pt x="63" y="28"/>
                </a:cubicBezTo>
                <a:cubicBezTo>
                  <a:pt x="69" y="36"/>
                  <a:pt x="63" y="42"/>
                  <a:pt x="73" y="43"/>
                </a:cubicBezTo>
                <a:cubicBezTo>
                  <a:pt x="82" y="44"/>
                  <a:pt x="88" y="57"/>
                  <a:pt x="84" y="57"/>
                </a:cubicBezTo>
                <a:cubicBezTo>
                  <a:pt x="81" y="57"/>
                  <a:pt x="77" y="53"/>
                  <a:pt x="74" y="54"/>
                </a:cubicBezTo>
                <a:cubicBezTo>
                  <a:pt x="70" y="55"/>
                  <a:pt x="70" y="40"/>
                  <a:pt x="66" y="46"/>
                </a:cubicBezTo>
                <a:cubicBezTo>
                  <a:pt x="61" y="52"/>
                  <a:pt x="63" y="53"/>
                  <a:pt x="68" y="60"/>
                </a:cubicBezTo>
                <a:cubicBezTo>
                  <a:pt x="73" y="67"/>
                  <a:pt x="85" y="65"/>
                  <a:pt x="84" y="68"/>
                </a:cubicBezTo>
                <a:cubicBezTo>
                  <a:pt x="83" y="72"/>
                  <a:pt x="81" y="75"/>
                  <a:pt x="73" y="77"/>
                </a:cubicBezTo>
                <a:cubicBezTo>
                  <a:pt x="65" y="80"/>
                  <a:pt x="68" y="73"/>
                  <a:pt x="61" y="77"/>
                </a:cubicBezTo>
                <a:cubicBezTo>
                  <a:pt x="54" y="82"/>
                  <a:pt x="45" y="75"/>
                  <a:pt x="46" y="68"/>
                </a:cubicBezTo>
                <a:cubicBezTo>
                  <a:pt x="47" y="61"/>
                  <a:pt x="51" y="19"/>
                  <a:pt x="68" y="13"/>
                </a:cubicBezTo>
                <a:cubicBezTo>
                  <a:pt x="85" y="7"/>
                  <a:pt x="54" y="0"/>
                  <a:pt x="5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85" name="Freeform 418"/>
          <p:cNvSpPr>
            <a:spLocks/>
          </p:cNvSpPr>
          <p:nvPr userDrawn="1"/>
        </p:nvSpPr>
        <p:spPr bwMode="auto">
          <a:xfrm>
            <a:off x="3713384" y="2771748"/>
            <a:ext cx="55277" cy="33501"/>
          </a:xfrm>
          <a:custGeom>
            <a:avLst/>
            <a:gdLst>
              <a:gd name="T0" fmla="*/ 2147483646 w 60"/>
              <a:gd name="T1" fmla="*/ 2147483646 h 36"/>
              <a:gd name="T2" fmla="*/ 2147483646 w 60"/>
              <a:gd name="T3" fmla="*/ 2147483646 h 36"/>
              <a:gd name="T4" fmla="*/ 2147483646 w 60"/>
              <a:gd name="T5" fmla="*/ 2147483646 h 36"/>
              <a:gd name="T6" fmla="*/ 2147483646 w 60"/>
              <a:gd name="T7" fmla="*/ 2147483646 h 36"/>
              <a:gd name="T8" fmla="*/ 2147483646 w 60"/>
              <a:gd name="T9" fmla="*/ 2147483646 h 36"/>
              <a:gd name="T10" fmla="*/ 2147483646 w 60"/>
              <a:gd name="T11" fmla="*/ 2147483646 h 36"/>
              <a:gd name="T12" fmla="*/ 2147483646 w 60"/>
              <a:gd name="T13" fmla="*/ 2147483646 h 36"/>
              <a:gd name="T14" fmla="*/ 2147483646 w 60"/>
              <a:gd name="T15" fmla="*/ 2147483646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0"/>
              <a:gd name="T25" fmla="*/ 0 h 36"/>
              <a:gd name="T26" fmla="*/ 60 w 60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0" h="36">
                <a:moveTo>
                  <a:pt x="18" y="4"/>
                </a:moveTo>
                <a:cubicBezTo>
                  <a:pt x="9" y="0"/>
                  <a:pt x="1" y="6"/>
                  <a:pt x="1" y="13"/>
                </a:cubicBezTo>
                <a:cubicBezTo>
                  <a:pt x="1" y="20"/>
                  <a:pt x="0" y="22"/>
                  <a:pt x="7" y="27"/>
                </a:cubicBezTo>
                <a:cubicBezTo>
                  <a:pt x="14" y="32"/>
                  <a:pt x="21" y="32"/>
                  <a:pt x="28" y="34"/>
                </a:cubicBezTo>
                <a:cubicBezTo>
                  <a:pt x="35" y="36"/>
                  <a:pt x="41" y="23"/>
                  <a:pt x="45" y="27"/>
                </a:cubicBezTo>
                <a:cubicBezTo>
                  <a:pt x="50" y="30"/>
                  <a:pt x="60" y="19"/>
                  <a:pt x="56" y="18"/>
                </a:cubicBezTo>
                <a:cubicBezTo>
                  <a:pt x="51" y="17"/>
                  <a:pt x="38" y="5"/>
                  <a:pt x="35" y="5"/>
                </a:cubicBezTo>
                <a:cubicBezTo>
                  <a:pt x="31" y="5"/>
                  <a:pt x="18" y="4"/>
                  <a:pt x="18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86" name="Freeform 419"/>
          <p:cNvSpPr>
            <a:spLocks/>
          </p:cNvSpPr>
          <p:nvPr userDrawn="1"/>
        </p:nvSpPr>
        <p:spPr bwMode="auto">
          <a:xfrm>
            <a:off x="3581051" y="3023013"/>
            <a:ext cx="113907" cy="85431"/>
          </a:xfrm>
          <a:custGeom>
            <a:avLst/>
            <a:gdLst>
              <a:gd name="T0" fmla="*/ 2147483646 w 123"/>
              <a:gd name="T1" fmla="*/ 0 h 92"/>
              <a:gd name="T2" fmla="*/ 2147483646 w 123"/>
              <a:gd name="T3" fmla="*/ 2147483646 h 92"/>
              <a:gd name="T4" fmla="*/ 2147483646 w 123"/>
              <a:gd name="T5" fmla="*/ 2147483646 h 92"/>
              <a:gd name="T6" fmla="*/ 2147483646 w 123"/>
              <a:gd name="T7" fmla="*/ 2147483646 h 92"/>
              <a:gd name="T8" fmla="*/ 2147483646 w 123"/>
              <a:gd name="T9" fmla="*/ 2147483646 h 92"/>
              <a:gd name="T10" fmla="*/ 2147483646 w 123"/>
              <a:gd name="T11" fmla="*/ 2147483646 h 92"/>
              <a:gd name="T12" fmla="*/ 2147483646 w 123"/>
              <a:gd name="T13" fmla="*/ 2147483646 h 92"/>
              <a:gd name="T14" fmla="*/ 2147483646 w 123"/>
              <a:gd name="T15" fmla="*/ 2147483646 h 92"/>
              <a:gd name="T16" fmla="*/ 2147483646 w 123"/>
              <a:gd name="T17" fmla="*/ 2147483646 h 92"/>
              <a:gd name="T18" fmla="*/ 2147483646 w 123"/>
              <a:gd name="T19" fmla="*/ 2147483646 h 92"/>
              <a:gd name="T20" fmla="*/ 2147483646 w 123"/>
              <a:gd name="T21" fmla="*/ 2147483646 h 92"/>
              <a:gd name="T22" fmla="*/ 2147483646 w 123"/>
              <a:gd name="T23" fmla="*/ 2147483646 h 92"/>
              <a:gd name="T24" fmla="*/ 2147483646 w 123"/>
              <a:gd name="T25" fmla="*/ 2147483646 h 92"/>
              <a:gd name="T26" fmla="*/ 2147483646 w 123"/>
              <a:gd name="T27" fmla="*/ 2147483646 h 92"/>
              <a:gd name="T28" fmla="*/ 2147483646 w 123"/>
              <a:gd name="T29" fmla="*/ 2147483646 h 92"/>
              <a:gd name="T30" fmla="*/ 2147483646 w 123"/>
              <a:gd name="T31" fmla="*/ 0 h 9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23"/>
              <a:gd name="T49" fmla="*/ 0 h 92"/>
              <a:gd name="T50" fmla="*/ 123 w 123"/>
              <a:gd name="T51" fmla="*/ 92 h 9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23" h="92">
                <a:moveTo>
                  <a:pt x="47" y="0"/>
                </a:moveTo>
                <a:cubicBezTo>
                  <a:pt x="47" y="0"/>
                  <a:pt x="30" y="3"/>
                  <a:pt x="30" y="11"/>
                </a:cubicBezTo>
                <a:cubicBezTo>
                  <a:pt x="30" y="20"/>
                  <a:pt x="30" y="25"/>
                  <a:pt x="29" y="35"/>
                </a:cubicBezTo>
                <a:cubicBezTo>
                  <a:pt x="28" y="44"/>
                  <a:pt x="5" y="67"/>
                  <a:pt x="3" y="71"/>
                </a:cubicBezTo>
                <a:cubicBezTo>
                  <a:pt x="0" y="76"/>
                  <a:pt x="14" y="69"/>
                  <a:pt x="20" y="70"/>
                </a:cubicBezTo>
                <a:cubicBezTo>
                  <a:pt x="26" y="71"/>
                  <a:pt x="41" y="56"/>
                  <a:pt x="35" y="71"/>
                </a:cubicBezTo>
                <a:cubicBezTo>
                  <a:pt x="29" y="86"/>
                  <a:pt x="20" y="92"/>
                  <a:pt x="32" y="91"/>
                </a:cubicBezTo>
                <a:cubicBezTo>
                  <a:pt x="43" y="90"/>
                  <a:pt x="47" y="71"/>
                  <a:pt x="54" y="70"/>
                </a:cubicBezTo>
                <a:cubicBezTo>
                  <a:pt x="60" y="69"/>
                  <a:pt x="65" y="51"/>
                  <a:pt x="71" y="65"/>
                </a:cubicBezTo>
                <a:cubicBezTo>
                  <a:pt x="77" y="78"/>
                  <a:pt x="78" y="67"/>
                  <a:pt x="90" y="76"/>
                </a:cubicBezTo>
                <a:cubicBezTo>
                  <a:pt x="103" y="85"/>
                  <a:pt x="113" y="75"/>
                  <a:pt x="118" y="76"/>
                </a:cubicBezTo>
                <a:cubicBezTo>
                  <a:pt x="123" y="77"/>
                  <a:pt x="119" y="56"/>
                  <a:pt x="111" y="56"/>
                </a:cubicBezTo>
                <a:cubicBezTo>
                  <a:pt x="103" y="56"/>
                  <a:pt x="89" y="46"/>
                  <a:pt x="85" y="40"/>
                </a:cubicBezTo>
                <a:cubicBezTo>
                  <a:pt x="80" y="35"/>
                  <a:pt x="80" y="23"/>
                  <a:pt x="74" y="21"/>
                </a:cubicBezTo>
                <a:cubicBezTo>
                  <a:pt x="68" y="18"/>
                  <a:pt x="60" y="11"/>
                  <a:pt x="60" y="11"/>
                </a:cubicBezTo>
                <a:lnTo>
                  <a:pt x="4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87" name="Freeform 420"/>
          <p:cNvSpPr>
            <a:spLocks/>
          </p:cNvSpPr>
          <p:nvPr userDrawn="1"/>
        </p:nvSpPr>
        <p:spPr bwMode="auto">
          <a:xfrm>
            <a:off x="3626279" y="3116817"/>
            <a:ext cx="38527" cy="31827"/>
          </a:xfrm>
          <a:custGeom>
            <a:avLst/>
            <a:gdLst>
              <a:gd name="T0" fmla="*/ 2147483646 w 41"/>
              <a:gd name="T1" fmla="*/ 0 h 34"/>
              <a:gd name="T2" fmla="*/ 2147483646 w 41"/>
              <a:gd name="T3" fmla="*/ 2147483646 h 34"/>
              <a:gd name="T4" fmla="*/ 2147483646 w 41"/>
              <a:gd name="T5" fmla="*/ 2147483646 h 34"/>
              <a:gd name="T6" fmla="*/ 2147483646 w 41"/>
              <a:gd name="T7" fmla="*/ 2147483646 h 34"/>
              <a:gd name="T8" fmla="*/ 2147483646 w 41"/>
              <a:gd name="T9" fmla="*/ 0 h 3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1"/>
              <a:gd name="T16" fmla="*/ 0 h 34"/>
              <a:gd name="T17" fmla="*/ 41 w 41"/>
              <a:gd name="T18" fmla="*/ 34 h 3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1" h="34">
                <a:moveTo>
                  <a:pt x="24" y="0"/>
                </a:moveTo>
                <a:cubicBezTo>
                  <a:pt x="18" y="4"/>
                  <a:pt x="0" y="4"/>
                  <a:pt x="8" y="19"/>
                </a:cubicBezTo>
                <a:cubicBezTo>
                  <a:pt x="16" y="34"/>
                  <a:pt x="21" y="23"/>
                  <a:pt x="26" y="23"/>
                </a:cubicBezTo>
                <a:cubicBezTo>
                  <a:pt x="32" y="23"/>
                  <a:pt x="37" y="19"/>
                  <a:pt x="39" y="15"/>
                </a:cubicBezTo>
                <a:cubicBezTo>
                  <a:pt x="41" y="12"/>
                  <a:pt x="24" y="0"/>
                  <a:pt x="2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88" name="Freeform 421"/>
          <p:cNvSpPr>
            <a:spLocks/>
          </p:cNvSpPr>
          <p:nvPr userDrawn="1"/>
        </p:nvSpPr>
        <p:spPr bwMode="auto">
          <a:xfrm>
            <a:off x="3694957" y="3136919"/>
            <a:ext cx="23451" cy="28477"/>
          </a:xfrm>
          <a:custGeom>
            <a:avLst/>
            <a:gdLst>
              <a:gd name="T0" fmla="*/ 2147483646 w 26"/>
              <a:gd name="T1" fmla="*/ 0 h 30"/>
              <a:gd name="T2" fmla="*/ 2147483646 w 26"/>
              <a:gd name="T3" fmla="*/ 2147483646 h 30"/>
              <a:gd name="T4" fmla="*/ 2147483646 w 26"/>
              <a:gd name="T5" fmla="*/ 2147483646 h 30"/>
              <a:gd name="T6" fmla="*/ 2147483646 w 26"/>
              <a:gd name="T7" fmla="*/ 2147483646 h 30"/>
              <a:gd name="T8" fmla="*/ 2147483646 w 26"/>
              <a:gd name="T9" fmla="*/ 0 h 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30"/>
              <a:gd name="T17" fmla="*/ 26 w 26"/>
              <a:gd name="T18" fmla="*/ 30 h 3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30">
                <a:moveTo>
                  <a:pt x="17" y="0"/>
                </a:moveTo>
                <a:cubicBezTo>
                  <a:pt x="10" y="0"/>
                  <a:pt x="0" y="2"/>
                  <a:pt x="3" y="14"/>
                </a:cubicBezTo>
                <a:cubicBezTo>
                  <a:pt x="6" y="25"/>
                  <a:pt x="8" y="30"/>
                  <a:pt x="14" y="28"/>
                </a:cubicBezTo>
                <a:cubicBezTo>
                  <a:pt x="21" y="25"/>
                  <a:pt x="26" y="15"/>
                  <a:pt x="26" y="15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89" name="Freeform 422"/>
          <p:cNvSpPr>
            <a:spLocks/>
          </p:cNvSpPr>
          <p:nvPr userDrawn="1"/>
        </p:nvSpPr>
        <p:spPr bwMode="auto">
          <a:xfrm>
            <a:off x="3745210" y="2944283"/>
            <a:ext cx="45228" cy="40203"/>
          </a:xfrm>
          <a:custGeom>
            <a:avLst/>
            <a:gdLst>
              <a:gd name="T0" fmla="*/ 2147483646 w 49"/>
              <a:gd name="T1" fmla="*/ 2147483646 h 42"/>
              <a:gd name="T2" fmla="*/ 2147483646 w 49"/>
              <a:gd name="T3" fmla="*/ 2147483646 h 42"/>
              <a:gd name="T4" fmla="*/ 2147483646 w 49"/>
              <a:gd name="T5" fmla="*/ 2147483646 h 42"/>
              <a:gd name="T6" fmla="*/ 2147483646 w 49"/>
              <a:gd name="T7" fmla="*/ 2147483646 h 42"/>
              <a:gd name="T8" fmla="*/ 2147483646 w 49"/>
              <a:gd name="T9" fmla="*/ 2147483646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9"/>
              <a:gd name="T16" fmla="*/ 0 h 42"/>
              <a:gd name="T17" fmla="*/ 49 w 49"/>
              <a:gd name="T18" fmla="*/ 42 h 4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9" h="42">
                <a:moveTo>
                  <a:pt x="29" y="4"/>
                </a:moveTo>
                <a:cubicBezTo>
                  <a:pt x="24" y="3"/>
                  <a:pt x="11" y="0"/>
                  <a:pt x="8" y="14"/>
                </a:cubicBezTo>
                <a:cubicBezTo>
                  <a:pt x="4" y="27"/>
                  <a:pt x="0" y="19"/>
                  <a:pt x="9" y="31"/>
                </a:cubicBezTo>
                <a:cubicBezTo>
                  <a:pt x="18" y="42"/>
                  <a:pt x="33" y="39"/>
                  <a:pt x="37" y="36"/>
                </a:cubicBezTo>
                <a:cubicBezTo>
                  <a:pt x="40" y="32"/>
                  <a:pt x="49" y="9"/>
                  <a:pt x="29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90" name="Freeform 423"/>
          <p:cNvSpPr>
            <a:spLocks/>
          </p:cNvSpPr>
          <p:nvPr userDrawn="1"/>
        </p:nvSpPr>
        <p:spPr bwMode="auto">
          <a:xfrm>
            <a:off x="3611203" y="2480282"/>
            <a:ext cx="224463" cy="226137"/>
          </a:xfrm>
          <a:custGeom>
            <a:avLst/>
            <a:gdLst>
              <a:gd name="T0" fmla="*/ 2147483646 w 242"/>
              <a:gd name="T1" fmla="*/ 2147483646 h 241"/>
              <a:gd name="T2" fmla="*/ 2147483646 w 242"/>
              <a:gd name="T3" fmla="*/ 2147483646 h 241"/>
              <a:gd name="T4" fmla="*/ 2147483646 w 242"/>
              <a:gd name="T5" fmla="*/ 2147483646 h 241"/>
              <a:gd name="T6" fmla="*/ 2147483646 w 242"/>
              <a:gd name="T7" fmla="*/ 2147483646 h 241"/>
              <a:gd name="T8" fmla="*/ 2147483646 w 242"/>
              <a:gd name="T9" fmla="*/ 2147483646 h 241"/>
              <a:gd name="T10" fmla="*/ 2147483646 w 242"/>
              <a:gd name="T11" fmla="*/ 2147483646 h 241"/>
              <a:gd name="T12" fmla="*/ 2147483646 w 242"/>
              <a:gd name="T13" fmla="*/ 2147483646 h 241"/>
              <a:gd name="T14" fmla="*/ 2147483646 w 242"/>
              <a:gd name="T15" fmla="*/ 2147483646 h 241"/>
              <a:gd name="T16" fmla="*/ 2147483646 w 242"/>
              <a:gd name="T17" fmla="*/ 2147483646 h 241"/>
              <a:gd name="T18" fmla="*/ 2147483646 w 242"/>
              <a:gd name="T19" fmla="*/ 2147483646 h 241"/>
              <a:gd name="T20" fmla="*/ 2147483646 w 242"/>
              <a:gd name="T21" fmla="*/ 2147483646 h 241"/>
              <a:gd name="T22" fmla="*/ 2147483646 w 242"/>
              <a:gd name="T23" fmla="*/ 2147483646 h 241"/>
              <a:gd name="T24" fmla="*/ 2147483646 w 242"/>
              <a:gd name="T25" fmla="*/ 2147483646 h 241"/>
              <a:gd name="T26" fmla="*/ 2147483646 w 242"/>
              <a:gd name="T27" fmla="*/ 2147483646 h 241"/>
              <a:gd name="T28" fmla="*/ 2147483646 w 242"/>
              <a:gd name="T29" fmla="*/ 2147483646 h 241"/>
              <a:gd name="T30" fmla="*/ 2147483646 w 242"/>
              <a:gd name="T31" fmla="*/ 2147483646 h 241"/>
              <a:gd name="T32" fmla="*/ 2147483646 w 242"/>
              <a:gd name="T33" fmla="*/ 2147483646 h 241"/>
              <a:gd name="T34" fmla="*/ 2147483646 w 242"/>
              <a:gd name="T35" fmla="*/ 2147483646 h 241"/>
              <a:gd name="T36" fmla="*/ 2147483646 w 242"/>
              <a:gd name="T37" fmla="*/ 2147483646 h 241"/>
              <a:gd name="T38" fmla="*/ 2147483646 w 242"/>
              <a:gd name="T39" fmla="*/ 2147483646 h 241"/>
              <a:gd name="T40" fmla="*/ 2147483646 w 242"/>
              <a:gd name="T41" fmla="*/ 2147483646 h 241"/>
              <a:gd name="T42" fmla="*/ 2147483646 w 242"/>
              <a:gd name="T43" fmla="*/ 2147483646 h 241"/>
              <a:gd name="T44" fmla="*/ 2147483646 w 242"/>
              <a:gd name="T45" fmla="*/ 2147483646 h 241"/>
              <a:gd name="T46" fmla="*/ 2147483646 w 242"/>
              <a:gd name="T47" fmla="*/ 2147483646 h 241"/>
              <a:gd name="T48" fmla="*/ 2147483646 w 242"/>
              <a:gd name="T49" fmla="*/ 2147483646 h 241"/>
              <a:gd name="T50" fmla="*/ 2147483646 w 242"/>
              <a:gd name="T51" fmla="*/ 2147483646 h 241"/>
              <a:gd name="T52" fmla="*/ 2147483646 w 242"/>
              <a:gd name="T53" fmla="*/ 2147483646 h 241"/>
              <a:gd name="T54" fmla="*/ 2147483646 w 242"/>
              <a:gd name="T55" fmla="*/ 2147483646 h 241"/>
              <a:gd name="T56" fmla="*/ 2147483646 w 242"/>
              <a:gd name="T57" fmla="*/ 2147483646 h 241"/>
              <a:gd name="T58" fmla="*/ 2147483646 w 242"/>
              <a:gd name="T59" fmla="*/ 2147483646 h 241"/>
              <a:gd name="T60" fmla="*/ 2147483646 w 242"/>
              <a:gd name="T61" fmla="*/ 2147483646 h 241"/>
              <a:gd name="T62" fmla="*/ 2147483646 w 242"/>
              <a:gd name="T63" fmla="*/ 2147483646 h 241"/>
              <a:gd name="T64" fmla="*/ 2147483646 w 242"/>
              <a:gd name="T65" fmla="*/ 2147483646 h 241"/>
              <a:gd name="T66" fmla="*/ 2147483646 w 242"/>
              <a:gd name="T67" fmla="*/ 2147483646 h 24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42"/>
              <a:gd name="T103" fmla="*/ 0 h 241"/>
              <a:gd name="T104" fmla="*/ 242 w 242"/>
              <a:gd name="T105" fmla="*/ 241 h 24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42" h="241">
                <a:moveTo>
                  <a:pt x="228" y="17"/>
                </a:moveTo>
                <a:cubicBezTo>
                  <a:pt x="219" y="16"/>
                  <a:pt x="213" y="9"/>
                  <a:pt x="204" y="14"/>
                </a:cubicBezTo>
                <a:cubicBezTo>
                  <a:pt x="194" y="18"/>
                  <a:pt x="192" y="17"/>
                  <a:pt x="186" y="15"/>
                </a:cubicBezTo>
                <a:cubicBezTo>
                  <a:pt x="181" y="13"/>
                  <a:pt x="181" y="0"/>
                  <a:pt x="169" y="5"/>
                </a:cubicBezTo>
                <a:cubicBezTo>
                  <a:pt x="158" y="9"/>
                  <a:pt x="139" y="14"/>
                  <a:pt x="141" y="20"/>
                </a:cubicBezTo>
                <a:cubicBezTo>
                  <a:pt x="144" y="25"/>
                  <a:pt x="139" y="29"/>
                  <a:pt x="129" y="25"/>
                </a:cubicBezTo>
                <a:cubicBezTo>
                  <a:pt x="118" y="22"/>
                  <a:pt x="110" y="10"/>
                  <a:pt x="114" y="21"/>
                </a:cubicBezTo>
                <a:cubicBezTo>
                  <a:pt x="117" y="31"/>
                  <a:pt x="92" y="22"/>
                  <a:pt x="88" y="28"/>
                </a:cubicBezTo>
                <a:cubicBezTo>
                  <a:pt x="85" y="33"/>
                  <a:pt x="75" y="40"/>
                  <a:pt x="79" y="45"/>
                </a:cubicBezTo>
                <a:cubicBezTo>
                  <a:pt x="84" y="50"/>
                  <a:pt x="79" y="42"/>
                  <a:pt x="66" y="48"/>
                </a:cubicBezTo>
                <a:cubicBezTo>
                  <a:pt x="54" y="55"/>
                  <a:pt x="55" y="58"/>
                  <a:pt x="68" y="65"/>
                </a:cubicBezTo>
                <a:cubicBezTo>
                  <a:pt x="80" y="71"/>
                  <a:pt x="92" y="58"/>
                  <a:pt x="85" y="70"/>
                </a:cubicBezTo>
                <a:cubicBezTo>
                  <a:pt x="78" y="83"/>
                  <a:pt x="71" y="88"/>
                  <a:pt x="81" y="85"/>
                </a:cubicBezTo>
                <a:cubicBezTo>
                  <a:pt x="92" y="83"/>
                  <a:pt x="92" y="71"/>
                  <a:pt x="98" y="71"/>
                </a:cubicBezTo>
                <a:cubicBezTo>
                  <a:pt x="103" y="71"/>
                  <a:pt x="114" y="81"/>
                  <a:pt x="121" y="77"/>
                </a:cubicBezTo>
                <a:cubicBezTo>
                  <a:pt x="128" y="74"/>
                  <a:pt x="124" y="61"/>
                  <a:pt x="130" y="67"/>
                </a:cubicBezTo>
                <a:cubicBezTo>
                  <a:pt x="136" y="73"/>
                  <a:pt x="113" y="92"/>
                  <a:pt x="117" y="96"/>
                </a:cubicBezTo>
                <a:cubicBezTo>
                  <a:pt x="122" y="99"/>
                  <a:pt x="103" y="99"/>
                  <a:pt x="102" y="96"/>
                </a:cubicBezTo>
                <a:cubicBezTo>
                  <a:pt x="101" y="92"/>
                  <a:pt x="87" y="88"/>
                  <a:pt x="95" y="96"/>
                </a:cubicBezTo>
                <a:cubicBezTo>
                  <a:pt x="103" y="104"/>
                  <a:pt x="113" y="98"/>
                  <a:pt x="115" y="111"/>
                </a:cubicBezTo>
                <a:cubicBezTo>
                  <a:pt x="117" y="123"/>
                  <a:pt x="99" y="125"/>
                  <a:pt x="96" y="120"/>
                </a:cubicBezTo>
                <a:cubicBezTo>
                  <a:pt x="94" y="115"/>
                  <a:pt x="91" y="104"/>
                  <a:pt x="91" y="104"/>
                </a:cubicBezTo>
                <a:cubicBezTo>
                  <a:pt x="91" y="104"/>
                  <a:pt x="71" y="106"/>
                  <a:pt x="75" y="115"/>
                </a:cubicBezTo>
                <a:cubicBezTo>
                  <a:pt x="78" y="125"/>
                  <a:pt x="84" y="128"/>
                  <a:pt x="88" y="131"/>
                </a:cubicBezTo>
                <a:cubicBezTo>
                  <a:pt x="93" y="135"/>
                  <a:pt x="108" y="128"/>
                  <a:pt x="101" y="141"/>
                </a:cubicBezTo>
                <a:cubicBezTo>
                  <a:pt x="94" y="153"/>
                  <a:pt x="87" y="149"/>
                  <a:pt x="83" y="149"/>
                </a:cubicBezTo>
                <a:cubicBezTo>
                  <a:pt x="78" y="149"/>
                  <a:pt x="78" y="133"/>
                  <a:pt x="72" y="141"/>
                </a:cubicBezTo>
                <a:cubicBezTo>
                  <a:pt x="66" y="149"/>
                  <a:pt x="72" y="158"/>
                  <a:pt x="66" y="159"/>
                </a:cubicBezTo>
                <a:cubicBezTo>
                  <a:pt x="61" y="160"/>
                  <a:pt x="50" y="160"/>
                  <a:pt x="50" y="160"/>
                </a:cubicBezTo>
                <a:cubicBezTo>
                  <a:pt x="50" y="160"/>
                  <a:pt x="38" y="167"/>
                  <a:pt x="50" y="172"/>
                </a:cubicBezTo>
                <a:cubicBezTo>
                  <a:pt x="53" y="173"/>
                  <a:pt x="56" y="173"/>
                  <a:pt x="58" y="173"/>
                </a:cubicBezTo>
                <a:cubicBezTo>
                  <a:pt x="65" y="174"/>
                  <a:pt x="68" y="170"/>
                  <a:pt x="71" y="173"/>
                </a:cubicBezTo>
                <a:cubicBezTo>
                  <a:pt x="75" y="176"/>
                  <a:pt x="72" y="183"/>
                  <a:pt x="75" y="189"/>
                </a:cubicBezTo>
                <a:cubicBezTo>
                  <a:pt x="77" y="195"/>
                  <a:pt x="85" y="188"/>
                  <a:pt x="85" y="188"/>
                </a:cubicBezTo>
                <a:cubicBezTo>
                  <a:pt x="85" y="188"/>
                  <a:pt x="70" y="198"/>
                  <a:pt x="66" y="191"/>
                </a:cubicBezTo>
                <a:cubicBezTo>
                  <a:pt x="63" y="184"/>
                  <a:pt x="44" y="179"/>
                  <a:pt x="45" y="183"/>
                </a:cubicBezTo>
                <a:cubicBezTo>
                  <a:pt x="46" y="198"/>
                  <a:pt x="26" y="194"/>
                  <a:pt x="23" y="198"/>
                </a:cubicBezTo>
                <a:cubicBezTo>
                  <a:pt x="19" y="203"/>
                  <a:pt x="0" y="207"/>
                  <a:pt x="19" y="214"/>
                </a:cubicBezTo>
                <a:cubicBezTo>
                  <a:pt x="39" y="221"/>
                  <a:pt x="39" y="210"/>
                  <a:pt x="51" y="213"/>
                </a:cubicBezTo>
                <a:cubicBezTo>
                  <a:pt x="64" y="217"/>
                  <a:pt x="66" y="222"/>
                  <a:pt x="72" y="219"/>
                </a:cubicBezTo>
                <a:cubicBezTo>
                  <a:pt x="78" y="216"/>
                  <a:pt x="78" y="198"/>
                  <a:pt x="84" y="209"/>
                </a:cubicBezTo>
                <a:cubicBezTo>
                  <a:pt x="90" y="219"/>
                  <a:pt x="80" y="221"/>
                  <a:pt x="87" y="224"/>
                </a:cubicBezTo>
                <a:cubicBezTo>
                  <a:pt x="94" y="226"/>
                  <a:pt x="99" y="216"/>
                  <a:pt x="102" y="222"/>
                </a:cubicBezTo>
                <a:cubicBezTo>
                  <a:pt x="106" y="229"/>
                  <a:pt x="99" y="241"/>
                  <a:pt x="109" y="239"/>
                </a:cubicBezTo>
                <a:cubicBezTo>
                  <a:pt x="119" y="236"/>
                  <a:pt x="115" y="218"/>
                  <a:pt x="126" y="222"/>
                </a:cubicBezTo>
                <a:cubicBezTo>
                  <a:pt x="138" y="227"/>
                  <a:pt x="140" y="217"/>
                  <a:pt x="140" y="217"/>
                </a:cubicBezTo>
                <a:cubicBezTo>
                  <a:pt x="140" y="217"/>
                  <a:pt x="140" y="205"/>
                  <a:pt x="136" y="206"/>
                </a:cubicBezTo>
                <a:cubicBezTo>
                  <a:pt x="131" y="207"/>
                  <a:pt x="126" y="203"/>
                  <a:pt x="126" y="199"/>
                </a:cubicBezTo>
                <a:cubicBezTo>
                  <a:pt x="126" y="196"/>
                  <a:pt x="133" y="201"/>
                  <a:pt x="139" y="196"/>
                </a:cubicBezTo>
                <a:cubicBezTo>
                  <a:pt x="145" y="191"/>
                  <a:pt x="137" y="177"/>
                  <a:pt x="140" y="178"/>
                </a:cubicBezTo>
                <a:cubicBezTo>
                  <a:pt x="156" y="181"/>
                  <a:pt x="156" y="176"/>
                  <a:pt x="160" y="173"/>
                </a:cubicBezTo>
                <a:cubicBezTo>
                  <a:pt x="163" y="169"/>
                  <a:pt x="164" y="151"/>
                  <a:pt x="164" y="151"/>
                </a:cubicBezTo>
                <a:cubicBezTo>
                  <a:pt x="164" y="151"/>
                  <a:pt x="158" y="141"/>
                  <a:pt x="153" y="145"/>
                </a:cubicBezTo>
                <a:cubicBezTo>
                  <a:pt x="148" y="150"/>
                  <a:pt x="147" y="136"/>
                  <a:pt x="147" y="136"/>
                </a:cubicBezTo>
                <a:cubicBezTo>
                  <a:pt x="147" y="136"/>
                  <a:pt x="136" y="143"/>
                  <a:pt x="140" y="134"/>
                </a:cubicBezTo>
                <a:cubicBezTo>
                  <a:pt x="145" y="125"/>
                  <a:pt x="155" y="114"/>
                  <a:pt x="161" y="123"/>
                </a:cubicBezTo>
                <a:cubicBezTo>
                  <a:pt x="167" y="133"/>
                  <a:pt x="158" y="127"/>
                  <a:pt x="167" y="130"/>
                </a:cubicBezTo>
                <a:cubicBezTo>
                  <a:pt x="176" y="134"/>
                  <a:pt x="172" y="130"/>
                  <a:pt x="179" y="122"/>
                </a:cubicBezTo>
                <a:cubicBezTo>
                  <a:pt x="186" y="114"/>
                  <a:pt x="191" y="108"/>
                  <a:pt x="186" y="110"/>
                </a:cubicBezTo>
                <a:cubicBezTo>
                  <a:pt x="182" y="111"/>
                  <a:pt x="174" y="110"/>
                  <a:pt x="176" y="105"/>
                </a:cubicBezTo>
                <a:cubicBezTo>
                  <a:pt x="178" y="100"/>
                  <a:pt x="182" y="95"/>
                  <a:pt x="186" y="97"/>
                </a:cubicBezTo>
                <a:cubicBezTo>
                  <a:pt x="191" y="99"/>
                  <a:pt x="191" y="84"/>
                  <a:pt x="200" y="83"/>
                </a:cubicBezTo>
                <a:cubicBezTo>
                  <a:pt x="209" y="82"/>
                  <a:pt x="212" y="75"/>
                  <a:pt x="216" y="70"/>
                </a:cubicBezTo>
                <a:cubicBezTo>
                  <a:pt x="221" y="66"/>
                  <a:pt x="229" y="55"/>
                  <a:pt x="229" y="55"/>
                </a:cubicBezTo>
                <a:cubicBezTo>
                  <a:pt x="229" y="55"/>
                  <a:pt x="221" y="53"/>
                  <a:pt x="216" y="55"/>
                </a:cubicBezTo>
                <a:cubicBezTo>
                  <a:pt x="212" y="58"/>
                  <a:pt x="202" y="52"/>
                  <a:pt x="211" y="48"/>
                </a:cubicBezTo>
                <a:cubicBezTo>
                  <a:pt x="219" y="45"/>
                  <a:pt x="242" y="27"/>
                  <a:pt x="242" y="27"/>
                </a:cubicBezTo>
                <a:cubicBezTo>
                  <a:pt x="242" y="27"/>
                  <a:pt x="237" y="18"/>
                  <a:pt x="228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91" name="Freeform 424"/>
          <p:cNvSpPr>
            <a:spLocks/>
          </p:cNvSpPr>
          <p:nvPr userDrawn="1"/>
        </p:nvSpPr>
        <p:spPr bwMode="auto">
          <a:xfrm>
            <a:off x="3594452" y="2532212"/>
            <a:ext cx="82080" cy="100505"/>
          </a:xfrm>
          <a:custGeom>
            <a:avLst/>
            <a:gdLst>
              <a:gd name="T0" fmla="*/ 2147483646 w 87"/>
              <a:gd name="T1" fmla="*/ 2147483646 h 109"/>
              <a:gd name="T2" fmla="*/ 2147483646 w 87"/>
              <a:gd name="T3" fmla="*/ 2147483646 h 109"/>
              <a:gd name="T4" fmla="*/ 2147483646 w 87"/>
              <a:gd name="T5" fmla="*/ 2147483646 h 109"/>
              <a:gd name="T6" fmla="*/ 2147483646 w 87"/>
              <a:gd name="T7" fmla="*/ 2147483646 h 109"/>
              <a:gd name="T8" fmla="*/ 2147483646 w 87"/>
              <a:gd name="T9" fmla="*/ 2147483646 h 109"/>
              <a:gd name="T10" fmla="*/ 2147483646 w 87"/>
              <a:gd name="T11" fmla="*/ 2147483646 h 109"/>
              <a:gd name="T12" fmla="*/ 2147483646 w 87"/>
              <a:gd name="T13" fmla="*/ 2147483646 h 109"/>
              <a:gd name="T14" fmla="*/ 2147483646 w 87"/>
              <a:gd name="T15" fmla="*/ 2147483646 h 109"/>
              <a:gd name="T16" fmla="*/ 2147483646 w 87"/>
              <a:gd name="T17" fmla="*/ 2147483646 h 109"/>
              <a:gd name="T18" fmla="*/ 2147483646 w 87"/>
              <a:gd name="T19" fmla="*/ 2147483646 h 109"/>
              <a:gd name="T20" fmla="*/ 2147483646 w 87"/>
              <a:gd name="T21" fmla="*/ 2147483646 h 109"/>
              <a:gd name="T22" fmla="*/ 2147483646 w 87"/>
              <a:gd name="T23" fmla="*/ 2147483646 h 109"/>
              <a:gd name="T24" fmla="*/ 2147483646 w 87"/>
              <a:gd name="T25" fmla="*/ 2147483646 h 109"/>
              <a:gd name="T26" fmla="*/ 2147483646 w 87"/>
              <a:gd name="T27" fmla="*/ 2147483646 h 109"/>
              <a:gd name="T28" fmla="*/ 2147483646 w 87"/>
              <a:gd name="T29" fmla="*/ 2147483646 h 109"/>
              <a:gd name="T30" fmla="*/ 2147483646 w 87"/>
              <a:gd name="T31" fmla="*/ 2147483646 h 109"/>
              <a:gd name="T32" fmla="*/ 2147483646 w 87"/>
              <a:gd name="T33" fmla="*/ 2147483646 h 109"/>
              <a:gd name="T34" fmla="*/ 2147483646 w 87"/>
              <a:gd name="T35" fmla="*/ 2147483646 h 109"/>
              <a:gd name="T36" fmla="*/ 2147483646 w 87"/>
              <a:gd name="T37" fmla="*/ 2147483646 h 109"/>
              <a:gd name="T38" fmla="*/ 2147483646 w 87"/>
              <a:gd name="T39" fmla="*/ 2147483646 h 109"/>
              <a:gd name="T40" fmla="*/ 2147483646 w 87"/>
              <a:gd name="T41" fmla="*/ 2147483646 h 109"/>
              <a:gd name="T42" fmla="*/ 2147483646 w 87"/>
              <a:gd name="T43" fmla="*/ 2147483646 h 10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7"/>
              <a:gd name="T67" fmla="*/ 0 h 109"/>
              <a:gd name="T68" fmla="*/ 87 w 87"/>
              <a:gd name="T69" fmla="*/ 109 h 10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7" h="109">
                <a:moveTo>
                  <a:pt x="55" y="1"/>
                </a:moveTo>
                <a:cubicBezTo>
                  <a:pt x="47" y="3"/>
                  <a:pt x="37" y="4"/>
                  <a:pt x="39" y="11"/>
                </a:cubicBezTo>
                <a:cubicBezTo>
                  <a:pt x="40" y="17"/>
                  <a:pt x="40" y="19"/>
                  <a:pt x="36" y="23"/>
                </a:cubicBezTo>
                <a:cubicBezTo>
                  <a:pt x="33" y="28"/>
                  <a:pt x="26" y="28"/>
                  <a:pt x="21" y="27"/>
                </a:cubicBezTo>
                <a:cubicBezTo>
                  <a:pt x="17" y="26"/>
                  <a:pt x="7" y="20"/>
                  <a:pt x="13" y="29"/>
                </a:cubicBezTo>
                <a:cubicBezTo>
                  <a:pt x="19" y="38"/>
                  <a:pt x="25" y="41"/>
                  <a:pt x="22" y="44"/>
                </a:cubicBezTo>
                <a:cubicBezTo>
                  <a:pt x="20" y="47"/>
                  <a:pt x="4" y="39"/>
                  <a:pt x="3" y="44"/>
                </a:cubicBezTo>
                <a:cubicBezTo>
                  <a:pt x="2" y="49"/>
                  <a:pt x="0" y="45"/>
                  <a:pt x="4" y="52"/>
                </a:cubicBezTo>
                <a:cubicBezTo>
                  <a:pt x="7" y="59"/>
                  <a:pt x="20" y="51"/>
                  <a:pt x="20" y="56"/>
                </a:cubicBezTo>
                <a:cubicBezTo>
                  <a:pt x="20" y="60"/>
                  <a:pt x="6" y="60"/>
                  <a:pt x="13" y="65"/>
                </a:cubicBezTo>
                <a:cubicBezTo>
                  <a:pt x="20" y="69"/>
                  <a:pt x="26" y="60"/>
                  <a:pt x="30" y="61"/>
                </a:cubicBezTo>
                <a:cubicBezTo>
                  <a:pt x="35" y="62"/>
                  <a:pt x="24" y="71"/>
                  <a:pt x="20" y="74"/>
                </a:cubicBezTo>
                <a:cubicBezTo>
                  <a:pt x="17" y="77"/>
                  <a:pt x="14" y="79"/>
                  <a:pt x="20" y="85"/>
                </a:cubicBezTo>
                <a:cubicBezTo>
                  <a:pt x="26" y="92"/>
                  <a:pt x="42" y="84"/>
                  <a:pt x="40" y="90"/>
                </a:cubicBezTo>
                <a:cubicBezTo>
                  <a:pt x="37" y="96"/>
                  <a:pt x="19" y="109"/>
                  <a:pt x="33" y="106"/>
                </a:cubicBezTo>
                <a:cubicBezTo>
                  <a:pt x="47" y="104"/>
                  <a:pt x="51" y="94"/>
                  <a:pt x="56" y="94"/>
                </a:cubicBezTo>
                <a:cubicBezTo>
                  <a:pt x="60" y="94"/>
                  <a:pt x="60" y="77"/>
                  <a:pt x="68" y="83"/>
                </a:cubicBezTo>
                <a:cubicBezTo>
                  <a:pt x="77" y="89"/>
                  <a:pt x="81" y="79"/>
                  <a:pt x="79" y="71"/>
                </a:cubicBezTo>
                <a:cubicBezTo>
                  <a:pt x="77" y="62"/>
                  <a:pt x="75" y="52"/>
                  <a:pt x="81" y="51"/>
                </a:cubicBezTo>
                <a:cubicBezTo>
                  <a:pt x="87" y="50"/>
                  <a:pt x="81" y="44"/>
                  <a:pt x="74" y="38"/>
                </a:cubicBezTo>
                <a:cubicBezTo>
                  <a:pt x="67" y="32"/>
                  <a:pt x="67" y="26"/>
                  <a:pt x="64" y="21"/>
                </a:cubicBezTo>
                <a:cubicBezTo>
                  <a:pt x="60" y="16"/>
                  <a:pt x="62" y="0"/>
                  <a:pt x="55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92" name="Freeform 425"/>
          <p:cNvSpPr>
            <a:spLocks/>
          </p:cNvSpPr>
          <p:nvPr userDrawn="1"/>
        </p:nvSpPr>
        <p:spPr bwMode="auto">
          <a:xfrm>
            <a:off x="3520748" y="2575763"/>
            <a:ext cx="43552" cy="65328"/>
          </a:xfrm>
          <a:custGeom>
            <a:avLst/>
            <a:gdLst>
              <a:gd name="T0" fmla="*/ 2147483646 w 46"/>
              <a:gd name="T1" fmla="*/ 2147483646 h 70"/>
              <a:gd name="T2" fmla="*/ 2147483646 w 46"/>
              <a:gd name="T3" fmla="*/ 2147483646 h 70"/>
              <a:gd name="T4" fmla="*/ 2147483646 w 46"/>
              <a:gd name="T5" fmla="*/ 2147483646 h 70"/>
              <a:gd name="T6" fmla="*/ 2147483646 w 46"/>
              <a:gd name="T7" fmla="*/ 2147483646 h 70"/>
              <a:gd name="T8" fmla="*/ 2147483646 w 46"/>
              <a:gd name="T9" fmla="*/ 2147483646 h 70"/>
              <a:gd name="T10" fmla="*/ 2147483646 w 46"/>
              <a:gd name="T11" fmla="*/ 2147483646 h 70"/>
              <a:gd name="T12" fmla="*/ 2147483646 w 46"/>
              <a:gd name="T13" fmla="*/ 2147483646 h 70"/>
              <a:gd name="T14" fmla="*/ 2147483646 w 46"/>
              <a:gd name="T15" fmla="*/ 2147483646 h 70"/>
              <a:gd name="T16" fmla="*/ 2147483646 w 46"/>
              <a:gd name="T17" fmla="*/ 2147483646 h 70"/>
              <a:gd name="T18" fmla="*/ 2147483646 w 46"/>
              <a:gd name="T19" fmla="*/ 2147483646 h 7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6"/>
              <a:gd name="T31" fmla="*/ 0 h 70"/>
              <a:gd name="T32" fmla="*/ 46 w 46"/>
              <a:gd name="T33" fmla="*/ 70 h 7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6" h="70">
                <a:moveTo>
                  <a:pt x="15" y="2"/>
                </a:moveTo>
                <a:cubicBezTo>
                  <a:pt x="7" y="3"/>
                  <a:pt x="5" y="24"/>
                  <a:pt x="9" y="27"/>
                </a:cubicBezTo>
                <a:cubicBezTo>
                  <a:pt x="14" y="30"/>
                  <a:pt x="5" y="27"/>
                  <a:pt x="2" y="30"/>
                </a:cubicBezTo>
                <a:cubicBezTo>
                  <a:pt x="0" y="34"/>
                  <a:pt x="10" y="38"/>
                  <a:pt x="16" y="41"/>
                </a:cubicBezTo>
                <a:cubicBezTo>
                  <a:pt x="22" y="43"/>
                  <a:pt x="25" y="49"/>
                  <a:pt x="24" y="55"/>
                </a:cubicBezTo>
                <a:cubicBezTo>
                  <a:pt x="23" y="60"/>
                  <a:pt x="29" y="70"/>
                  <a:pt x="35" y="64"/>
                </a:cubicBezTo>
                <a:cubicBezTo>
                  <a:pt x="40" y="58"/>
                  <a:pt x="40" y="45"/>
                  <a:pt x="40" y="38"/>
                </a:cubicBezTo>
                <a:cubicBezTo>
                  <a:pt x="40" y="32"/>
                  <a:pt x="46" y="22"/>
                  <a:pt x="44" y="19"/>
                </a:cubicBezTo>
                <a:cubicBezTo>
                  <a:pt x="41" y="15"/>
                  <a:pt x="35" y="0"/>
                  <a:pt x="31" y="3"/>
                </a:cubicBezTo>
                <a:cubicBezTo>
                  <a:pt x="28" y="5"/>
                  <a:pt x="15" y="2"/>
                  <a:pt x="15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93" name="Freeform 426"/>
          <p:cNvSpPr>
            <a:spLocks/>
          </p:cNvSpPr>
          <p:nvPr userDrawn="1"/>
        </p:nvSpPr>
        <p:spPr bwMode="auto">
          <a:xfrm>
            <a:off x="3567651" y="2609264"/>
            <a:ext cx="28477" cy="25125"/>
          </a:xfrm>
          <a:custGeom>
            <a:avLst/>
            <a:gdLst>
              <a:gd name="T0" fmla="*/ 2147483646 w 30"/>
              <a:gd name="T1" fmla="*/ 2147483646 h 27"/>
              <a:gd name="T2" fmla="*/ 2147483646 w 30"/>
              <a:gd name="T3" fmla="*/ 2147483646 h 27"/>
              <a:gd name="T4" fmla="*/ 2147483646 w 30"/>
              <a:gd name="T5" fmla="*/ 2147483646 h 27"/>
              <a:gd name="T6" fmla="*/ 2147483646 w 30"/>
              <a:gd name="T7" fmla="*/ 2147483646 h 27"/>
              <a:gd name="T8" fmla="*/ 2147483646 w 30"/>
              <a:gd name="T9" fmla="*/ 2147483646 h 27"/>
              <a:gd name="T10" fmla="*/ 2147483646 w 30"/>
              <a:gd name="T11" fmla="*/ 2147483646 h 2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"/>
              <a:gd name="T19" fmla="*/ 0 h 27"/>
              <a:gd name="T20" fmla="*/ 30 w 30"/>
              <a:gd name="T21" fmla="*/ 27 h 2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" h="27">
                <a:moveTo>
                  <a:pt x="12" y="1"/>
                </a:moveTo>
                <a:cubicBezTo>
                  <a:pt x="9" y="0"/>
                  <a:pt x="0" y="8"/>
                  <a:pt x="5" y="16"/>
                </a:cubicBezTo>
                <a:cubicBezTo>
                  <a:pt x="11" y="24"/>
                  <a:pt x="9" y="20"/>
                  <a:pt x="15" y="23"/>
                </a:cubicBezTo>
                <a:cubicBezTo>
                  <a:pt x="20" y="27"/>
                  <a:pt x="25" y="19"/>
                  <a:pt x="25" y="19"/>
                </a:cubicBezTo>
                <a:cubicBezTo>
                  <a:pt x="30" y="9"/>
                  <a:pt x="30" y="9"/>
                  <a:pt x="30" y="9"/>
                </a:cubicBezTo>
                <a:lnTo>
                  <a:pt x="12" y="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94" name="Freeform 427"/>
          <p:cNvSpPr>
            <a:spLocks/>
          </p:cNvSpPr>
          <p:nvPr userDrawn="1"/>
        </p:nvSpPr>
        <p:spPr bwMode="auto">
          <a:xfrm>
            <a:off x="3490596" y="2647792"/>
            <a:ext cx="63653" cy="65329"/>
          </a:xfrm>
          <a:custGeom>
            <a:avLst/>
            <a:gdLst>
              <a:gd name="T0" fmla="*/ 2147483646 w 67"/>
              <a:gd name="T1" fmla="*/ 2147483646 h 70"/>
              <a:gd name="T2" fmla="*/ 2147483646 w 67"/>
              <a:gd name="T3" fmla="*/ 2147483646 h 70"/>
              <a:gd name="T4" fmla="*/ 2147483646 w 67"/>
              <a:gd name="T5" fmla="*/ 2147483646 h 70"/>
              <a:gd name="T6" fmla="*/ 2147483646 w 67"/>
              <a:gd name="T7" fmla="*/ 2147483646 h 70"/>
              <a:gd name="T8" fmla="*/ 2147483646 w 67"/>
              <a:gd name="T9" fmla="*/ 2147483646 h 70"/>
              <a:gd name="T10" fmla="*/ 2147483646 w 67"/>
              <a:gd name="T11" fmla="*/ 2147483646 h 70"/>
              <a:gd name="T12" fmla="*/ 2147483646 w 67"/>
              <a:gd name="T13" fmla="*/ 2147483646 h 70"/>
              <a:gd name="T14" fmla="*/ 2147483646 w 67"/>
              <a:gd name="T15" fmla="*/ 2147483646 h 70"/>
              <a:gd name="T16" fmla="*/ 2147483646 w 67"/>
              <a:gd name="T17" fmla="*/ 2147483646 h 70"/>
              <a:gd name="T18" fmla="*/ 2147483646 w 67"/>
              <a:gd name="T19" fmla="*/ 2147483646 h 70"/>
              <a:gd name="T20" fmla="*/ 2147483646 w 67"/>
              <a:gd name="T21" fmla="*/ 2147483646 h 70"/>
              <a:gd name="T22" fmla="*/ 2147483646 w 67"/>
              <a:gd name="T23" fmla="*/ 2147483646 h 70"/>
              <a:gd name="T24" fmla="*/ 2147483646 w 67"/>
              <a:gd name="T25" fmla="*/ 2147483646 h 7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7"/>
              <a:gd name="T40" fmla="*/ 0 h 70"/>
              <a:gd name="T41" fmla="*/ 67 w 67"/>
              <a:gd name="T42" fmla="*/ 70 h 7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7" h="70">
                <a:moveTo>
                  <a:pt x="39" y="13"/>
                </a:moveTo>
                <a:cubicBezTo>
                  <a:pt x="38" y="19"/>
                  <a:pt x="28" y="26"/>
                  <a:pt x="25" y="28"/>
                </a:cubicBezTo>
                <a:cubicBezTo>
                  <a:pt x="22" y="31"/>
                  <a:pt x="16" y="24"/>
                  <a:pt x="16" y="24"/>
                </a:cubicBezTo>
                <a:cubicBezTo>
                  <a:pt x="16" y="24"/>
                  <a:pt x="8" y="29"/>
                  <a:pt x="7" y="25"/>
                </a:cubicBezTo>
                <a:cubicBezTo>
                  <a:pt x="5" y="20"/>
                  <a:pt x="10" y="0"/>
                  <a:pt x="5" y="2"/>
                </a:cubicBezTo>
                <a:cubicBezTo>
                  <a:pt x="1" y="4"/>
                  <a:pt x="0" y="41"/>
                  <a:pt x="4" y="42"/>
                </a:cubicBezTo>
                <a:cubicBezTo>
                  <a:pt x="9" y="43"/>
                  <a:pt x="17" y="36"/>
                  <a:pt x="22" y="39"/>
                </a:cubicBezTo>
                <a:cubicBezTo>
                  <a:pt x="26" y="41"/>
                  <a:pt x="15" y="54"/>
                  <a:pt x="13" y="57"/>
                </a:cubicBezTo>
                <a:cubicBezTo>
                  <a:pt x="12" y="61"/>
                  <a:pt x="18" y="65"/>
                  <a:pt x="23" y="68"/>
                </a:cubicBezTo>
                <a:cubicBezTo>
                  <a:pt x="27" y="70"/>
                  <a:pt x="37" y="61"/>
                  <a:pt x="42" y="63"/>
                </a:cubicBezTo>
                <a:cubicBezTo>
                  <a:pt x="48" y="65"/>
                  <a:pt x="57" y="54"/>
                  <a:pt x="58" y="49"/>
                </a:cubicBezTo>
                <a:cubicBezTo>
                  <a:pt x="60" y="44"/>
                  <a:pt x="67" y="19"/>
                  <a:pt x="62" y="18"/>
                </a:cubicBezTo>
                <a:cubicBezTo>
                  <a:pt x="57" y="17"/>
                  <a:pt x="39" y="13"/>
                  <a:pt x="39" y="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95" name="Freeform 428"/>
          <p:cNvSpPr>
            <a:spLocks/>
          </p:cNvSpPr>
          <p:nvPr userDrawn="1"/>
        </p:nvSpPr>
        <p:spPr bwMode="auto">
          <a:xfrm>
            <a:off x="3582727" y="2676269"/>
            <a:ext cx="137357" cy="77055"/>
          </a:xfrm>
          <a:custGeom>
            <a:avLst/>
            <a:gdLst>
              <a:gd name="T0" fmla="*/ 2147483646 w 148"/>
              <a:gd name="T1" fmla="*/ 2147483646 h 82"/>
              <a:gd name="T2" fmla="*/ 2147483646 w 148"/>
              <a:gd name="T3" fmla="*/ 2147483646 h 82"/>
              <a:gd name="T4" fmla="*/ 2147483646 w 148"/>
              <a:gd name="T5" fmla="*/ 2147483646 h 82"/>
              <a:gd name="T6" fmla="*/ 2147483646 w 148"/>
              <a:gd name="T7" fmla="*/ 2147483646 h 82"/>
              <a:gd name="T8" fmla="*/ 2147483646 w 148"/>
              <a:gd name="T9" fmla="*/ 2147483646 h 82"/>
              <a:gd name="T10" fmla="*/ 2147483646 w 148"/>
              <a:gd name="T11" fmla="*/ 2147483646 h 82"/>
              <a:gd name="T12" fmla="*/ 2147483646 w 148"/>
              <a:gd name="T13" fmla="*/ 2147483646 h 82"/>
              <a:gd name="T14" fmla="*/ 2147483646 w 148"/>
              <a:gd name="T15" fmla="*/ 2147483646 h 82"/>
              <a:gd name="T16" fmla="*/ 2147483646 w 148"/>
              <a:gd name="T17" fmla="*/ 2147483646 h 82"/>
              <a:gd name="T18" fmla="*/ 2147483646 w 148"/>
              <a:gd name="T19" fmla="*/ 2147483646 h 82"/>
              <a:gd name="T20" fmla="*/ 2147483646 w 148"/>
              <a:gd name="T21" fmla="*/ 2147483646 h 82"/>
              <a:gd name="T22" fmla="*/ 2147483646 w 148"/>
              <a:gd name="T23" fmla="*/ 2147483646 h 82"/>
              <a:gd name="T24" fmla="*/ 2147483646 w 148"/>
              <a:gd name="T25" fmla="*/ 2147483646 h 82"/>
              <a:gd name="T26" fmla="*/ 2147483646 w 148"/>
              <a:gd name="T27" fmla="*/ 2147483646 h 82"/>
              <a:gd name="T28" fmla="*/ 2147483646 w 148"/>
              <a:gd name="T29" fmla="*/ 2147483646 h 82"/>
              <a:gd name="T30" fmla="*/ 2147483646 w 148"/>
              <a:gd name="T31" fmla="*/ 2147483646 h 82"/>
              <a:gd name="T32" fmla="*/ 2147483646 w 148"/>
              <a:gd name="T33" fmla="*/ 2147483646 h 8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8"/>
              <a:gd name="T52" fmla="*/ 0 h 82"/>
              <a:gd name="T53" fmla="*/ 148 w 148"/>
              <a:gd name="T54" fmla="*/ 82 h 82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8" h="82">
                <a:moveTo>
                  <a:pt x="22" y="1"/>
                </a:moveTo>
                <a:cubicBezTo>
                  <a:pt x="15" y="0"/>
                  <a:pt x="0" y="1"/>
                  <a:pt x="9" y="11"/>
                </a:cubicBezTo>
                <a:cubicBezTo>
                  <a:pt x="18" y="22"/>
                  <a:pt x="22" y="30"/>
                  <a:pt x="17" y="34"/>
                </a:cubicBezTo>
                <a:cubicBezTo>
                  <a:pt x="12" y="39"/>
                  <a:pt x="4" y="40"/>
                  <a:pt x="5" y="47"/>
                </a:cubicBezTo>
                <a:cubicBezTo>
                  <a:pt x="7" y="54"/>
                  <a:pt x="10" y="53"/>
                  <a:pt x="17" y="56"/>
                </a:cubicBezTo>
                <a:cubicBezTo>
                  <a:pt x="24" y="60"/>
                  <a:pt x="32" y="46"/>
                  <a:pt x="41" y="56"/>
                </a:cubicBezTo>
                <a:cubicBezTo>
                  <a:pt x="50" y="67"/>
                  <a:pt x="60" y="62"/>
                  <a:pt x="66" y="68"/>
                </a:cubicBezTo>
                <a:cubicBezTo>
                  <a:pt x="73" y="74"/>
                  <a:pt x="78" y="61"/>
                  <a:pt x="87" y="71"/>
                </a:cubicBezTo>
                <a:cubicBezTo>
                  <a:pt x="96" y="82"/>
                  <a:pt x="100" y="62"/>
                  <a:pt x="106" y="67"/>
                </a:cubicBezTo>
                <a:cubicBezTo>
                  <a:pt x="111" y="71"/>
                  <a:pt x="121" y="47"/>
                  <a:pt x="125" y="64"/>
                </a:cubicBezTo>
                <a:cubicBezTo>
                  <a:pt x="130" y="82"/>
                  <a:pt x="148" y="39"/>
                  <a:pt x="144" y="38"/>
                </a:cubicBezTo>
                <a:cubicBezTo>
                  <a:pt x="139" y="37"/>
                  <a:pt x="108" y="26"/>
                  <a:pt x="107" y="30"/>
                </a:cubicBezTo>
                <a:cubicBezTo>
                  <a:pt x="106" y="33"/>
                  <a:pt x="90" y="40"/>
                  <a:pt x="83" y="42"/>
                </a:cubicBezTo>
                <a:cubicBezTo>
                  <a:pt x="76" y="45"/>
                  <a:pt x="62" y="33"/>
                  <a:pt x="58" y="36"/>
                </a:cubicBezTo>
                <a:cubicBezTo>
                  <a:pt x="55" y="38"/>
                  <a:pt x="49" y="30"/>
                  <a:pt x="45" y="31"/>
                </a:cubicBezTo>
                <a:cubicBezTo>
                  <a:pt x="40" y="32"/>
                  <a:pt x="30" y="17"/>
                  <a:pt x="32" y="14"/>
                </a:cubicBezTo>
                <a:cubicBezTo>
                  <a:pt x="34" y="10"/>
                  <a:pt x="28" y="2"/>
                  <a:pt x="22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96" name="Freeform 429"/>
          <p:cNvSpPr>
            <a:spLocks/>
          </p:cNvSpPr>
          <p:nvPr userDrawn="1"/>
        </p:nvSpPr>
        <p:spPr bwMode="auto">
          <a:xfrm>
            <a:off x="3535824" y="2699721"/>
            <a:ext cx="43552" cy="36852"/>
          </a:xfrm>
          <a:custGeom>
            <a:avLst/>
            <a:gdLst>
              <a:gd name="T0" fmla="*/ 2147483646 w 47"/>
              <a:gd name="T1" fmla="*/ 2147483646 h 38"/>
              <a:gd name="T2" fmla="*/ 2147483646 w 47"/>
              <a:gd name="T3" fmla="*/ 2147483646 h 38"/>
              <a:gd name="T4" fmla="*/ 2147483646 w 47"/>
              <a:gd name="T5" fmla="*/ 2147483646 h 38"/>
              <a:gd name="T6" fmla="*/ 2147483646 w 47"/>
              <a:gd name="T7" fmla="*/ 2147483646 h 38"/>
              <a:gd name="T8" fmla="*/ 2147483646 w 47"/>
              <a:gd name="T9" fmla="*/ 2147483646 h 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7"/>
              <a:gd name="T16" fmla="*/ 0 h 38"/>
              <a:gd name="T17" fmla="*/ 47 w 47"/>
              <a:gd name="T18" fmla="*/ 38 h 3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7" h="38">
                <a:moveTo>
                  <a:pt x="23" y="1"/>
                </a:moveTo>
                <a:cubicBezTo>
                  <a:pt x="16" y="0"/>
                  <a:pt x="0" y="5"/>
                  <a:pt x="10" y="21"/>
                </a:cubicBezTo>
                <a:cubicBezTo>
                  <a:pt x="21" y="37"/>
                  <a:pt x="20" y="31"/>
                  <a:pt x="30" y="35"/>
                </a:cubicBezTo>
                <a:cubicBezTo>
                  <a:pt x="40" y="38"/>
                  <a:pt x="47" y="31"/>
                  <a:pt x="47" y="24"/>
                </a:cubicBezTo>
                <a:cubicBezTo>
                  <a:pt x="47" y="17"/>
                  <a:pt x="29" y="2"/>
                  <a:pt x="2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97" name="Freeform 430"/>
          <p:cNvSpPr>
            <a:spLocks/>
          </p:cNvSpPr>
          <p:nvPr userDrawn="1"/>
        </p:nvSpPr>
        <p:spPr bwMode="auto">
          <a:xfrm>
            <a:off x="4187435" y="3450162"/>
            <a:ext cx="187611" cy="174209"/>
          </a:xfrm>
          <a:custGeom>
            <a:avLst/>
            <a:gdLst>
              <a:gd name="T0" fmla="*/ 2147483646 w 200"/>
              <a:gd name="T1" fmla="*/ 2147483646 h 187"/>
              <a:gd name="T2" fmla="*/ 2147483646 w 200"/>
              <a:gd name="T3" fmla="*/ 2147483646 h 187"/>
              <a:gd name="T4" fmla="*/ 2147483646 w 200"/>
              <a:gd name="T5" fmla="*/ 2147483646 h 187"/>
              <a:gd name="T6" fmla="*/ 2147483646 w 200"/>
              <a:gd name="T7" fmla="*/ 2147483646 h 187"/>
              <a:gd name="T8" fmla="*/ 2147483646 w 200"/>
              <a:gd name="T9" fmla="*/ 2147483646 h 187"/>
              <a:gd name="T10" fmla="*/ 2147483646 w 200"/>
              <a:gd name="T11" fmla="*/ 2147483646 h 187"/>
              <a:gd name="T12" fmla="*/ 2147483646 w 200"/>
              <a:gd name="T13" fmla="*/ 2147483646 h 187"/>
              <a:gd name="T14" fmla="*/ 2147483646 w 200"/>
              <a:gd name="T15" fmla="*/ 2147483646 h 187"/>
              <a:gd name="T16" fmla="*/ 2147483646 w 200"/>
              <a:gd name="T17" fmla="*/ 2147483646 h 187"/>
              <a:gd name="T18" fmla="*/ 2147483646 w 200"/>
              <a:gd name="T19" fmla="*/ 2147483646 h 187"/>
              <a:gd name="T20" fmla="*/ 2147483646 w 200"/>
              <a:gd name="T21" fmla="*/ 2147483646 h 187"/>
              <a:gd name="T22" fmla="*/ 2147483646 w 200"/>
              <a:gd name="T23" fmla="*/ 2147483646 h 187"/>
              <a:gd name="T24" fmla="*/ 2147483646 w 200"/>
              <a:gd name="T25" fmla="*/ 2147483646 h 187"/>
              <a:gd name="T26" fmla="*/ 2147483646 w 200"/>
              <a:gd name="T27" fmla="*/ 2147483646 h 187"/>
              <a:gd name="T28" fmla="*/ 2147483646 w 200"/>
              <a:gd name="T29" fmla="*/ 2147483646 h 187"/>
              <a:gd name="T30" fmla="*/ 2147483646 w 200"/>
              <a:gd name="T31" fmla="*/ 2147483646 h 187"/>
              <a:gd name="T32" fmla="*/ 2147483646 w 200"/>
              <a:gd name="T33" fmla="*/ 2147483646 h 187"/>
              <a:gd name="T34" fmla="*/ 2147483646 w 200"/>
              <a:gd name="T35" fmla="*/ 2147483646 h 187"/>
              <a:gd name="T36" fmla="*/ 2147483646 w 200"/>
              <a:gd name="T37" fmla="*/ 2147483646 h 187"/>
              <a:gd name="T38" fmla="*/ 2147483646 w 200"/>
              <a:gd name="T39" fmla="*/ 2147483646 h 187"/>
              <a:gd name="T40" fmla="*/ 2147483646 w 200"/>
              <a:gd name="T41" fmla="*/ 2147483646 h 187"/>
              <a:gd name="T42" fmla="*/ 2147483646 w 200"/>
              <a:gd name="T43" fmla="*/ 2147483646 h 187"/>
              <a:gd name="T44" fmla="*/ 2147483646 w 200"/>
              <a:gd name="T45" fmla="*/ 2147483646 h 1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00"/>
              <a:gd name="T70" fmla="*/ 0 h 187"/>
              <a:gd name="T71" fmla="*/ 200 w 200"/>
              <a:gd name="T72" fmla="*/ 187 h 187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00" h="187">
                <a:moveTo>
                  <a:pt x="80" y="25"/>
                </a:moveTo>
                <a:cubicBezTo>
                  <a:pt x="76" y="11"/>
                  <a:pt x="64" y="0"/>
                  <a:pt x="56" y="14"/>
                </a:cubicBezTo>
                <a:cubicBezTo>
                  <a:pt x="47" y="27"/>
                  <a:pt x="42" y="18"/>
                  <a:pt x="45" y="43"/>
                </a:cubicBezTo>
                <a:cubicBezTo>
                  <a:pt x="47" y="67"/>
                  <a:pt x="45" y="73"/>
                  <a:pt x="36" y="86"/>
                </a:cubicBezTo>
                <a:cubicBezTo>
                  <a:pt x="28" y="100"/>
                  <a:pt x="46" y="100"/>
                  <a:pt x="34" y="106"/>
                </a:cubicBezTo>
                <a:cubicBezTo>
                  <a:pt x="22" y="112"/>
                  <a:pt x="0" y="102"/>
                  <a:pt x="12" y="114"/>
                </a:cubicBezTo>
                <a:cubicBezTo>
                  <a:pt x="24" y="126"/>
                  <a:pt x="41" y="121"/>
                  <a:pt x="32" y="131"/>
                </a:cubicBezTo>
                <a:cubicBezTo>
                  <a:pt x="22" y="141"/>
                  <a:pt x="5" y="135"/>
                  <a:pt x="15" y="146"/>
                </a:cubicBezTo>
                <a:cubicBezTo>
                  <a:pt x="24" y="156"/>
                  <a:pt x="50" y="147"/>
                  <a:pt x="59" y="148"/>
                </a:cubicBezTo>
                <a:cubicBezTo>
                  <a:pt x="69" y="149"/>
                  <a:pt x="80" y="140"/>
                  <a:pt x="92" y="149"/>
                </a:cubicBezTo>
                <a:cubicBezTo>
                  <a:pt x="104" y="159"/>
                  <a:pt x="110" y="143"/>
                  <a:pt x="121" y="149"/>
                </a:cubicBezTo>
                <a:cubicBezTo>
                  <a:pt x="132" y="155"/>
                  <a:pt x="99" y="171"/>
                  <a:pt x="132" y="166"/>
                </a:cubicBezTo>
                <a:cubicBezTo>
                  <a:pt x="165" y="161"/>
                  <a:pt x="162" y="131"/>
                  <a:pt x="171" y="159"/>
                </a:cubicBezTo>
                <a:cubicBezTo>
                  <a:pt x="179" y="187"/>
                  <a:pt x="183" y="183"/>
                  <a:pt x="191" y="176"/>
                </a:cubicBezTo>
                <a:cubicBezTo>
                  <a:pt x="200" y="169"/>
                  <a:pt x="200" y="125"/>
                  <a:pt x="190" y="126"/>
                </a:cubicBezTo>
                <a:cubicBezTo>
                  <a:pt x="180" y="127"/>
                  <a:pt x="184" y="103"/>
                  <a:pt x="173" y="117"/>
                </a:cubicBezTo>
                <a:cubicBezTo>
                  <a:pt x="162" y="130"/>
                  <a:pt x="154" y="117"/>
                  <a:pt x="157" y="108"/>
                </a:cubicBezTo>
                <a:cubicBezTo>
                  <a:pt x="161" y="100"/>
                  <a:pt x="170" y="79"/>
                  <a:pt x="153" y="87"/>
                </a:cubicBezTo>
                <a:cubicBezTo>
                  <a:pt x="136" y="96"/>
                  <a:pt x="159" y="73"/>
                  <a:pt x="127" y="79"/>
                </a:cubicBezTo>
                <a:cubicBezTo>
                  <a:pt x="96" y="85"/>
                  <a:pt x="82" y="84"/>
                  <a:pt x="81" y="73"/>
                </a:cubicBezTo>
                <a:cubicBezTo>
                  <a:pt x="80" y="62"/>
                  <a:pt x="76" y="50"/>
                  <a:pt x="81" y="44"/>
                </a:cubicBezTo>
                <a:cubicBezTo>
                  <a:pt x="86" y="38"/>
                  <a:pt x="87" y="26"/>
                  <a:pt x="87" y="26"/>
                </a:cubicBezTo>
                <a:lnTo>
                  <a:pt x="80" y="2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98" name="Freeform 431"/>
          <p:cNvSpPr>
            <a:spLocks noEditPoints="1"/>
          </p:cNvSpPr>
          <p:nvPr userDrawn="1"/>
        </p:nvSpPr>
        <p:spPr bwMode="auto">
          <a:xfrm>
            <a:off x="2495592" y="3411634"/>
            <a:ext cx="1534385" cy="1016781"/>
          </a:xfrm>
          <a:custGeom>
            <a:avLst/>
            <a:gdLst>
              <a:gd name="T0" fmla="*/ 2147483646 w 1644"/>
              <a:gd name="T1" fmla="*/ 2147483646 h 1089"/>
              <a:gd name="T2" fmla="*/ 2147483646 w 1644"/>
              <a:gd name="T3" fmla="*/ 2147483646 h 1089"/>
              <a:gd name="T4" fmla="*/ 2147483646 w 1644"/>
              <a:gd name="T5" fmla="*/ 2147483646 h 1089"/>
              <a:gd name="T6" fmla="*/ 2147483646 w 1644"/>
              <a:gd name="T7" fmla="*/ 2147483646 h 1089"/>
              <a:gd name="T8" fmla="*/ 2147483646 w 1644"/>
              <a:gd name="T9" fmla="*/ 2147483646 h 1089"/>
              <a:gd name="T10" fmla="*/ 2147483646 w 1644"/>
              <a:gd name="T11" fmla="*/ 2147483646 h 1089"/>
              <a:gd name="T12" fmla="*/ 2147483646 w 1644"/>
              <a:gd name="T13" fmla="*/ 2147483646 h 1089"/>
              <a:gd name="T14" fmla="*/ 2147483646 w 1644"/>
              <a:gd name="T15" fmla="*/ 2147483646 h 1089"/>
              <a:gd name="T16" fmla="*/ 2147483646 w 1644"/>
              <a:gd name="T17" fmla="*/ 2147483646 h 1089"/>
              <a:gd name="T18" fmla="*/ 2147483646 w 1644"/>
              <a:gd name="T19" fmla="*/ 2147483646 h 1089"/>
              <a:gd name="T20" fmla="*/ 2147483646 w 1644"/>
              <a:gd name="T21" fmla="*/ 2147483646 h 1089"/>
              <a:gd name="T22" fmla="*/ 2147483646 w 1644"/>
              <a:gd name="T23" fmla="*/ 2147483646 h 1089"/>
              <a:gd name="T24" fmla="*/ 2147483646 w 1644"/>
              <a:gd name="T25" fmla="*/ 2147483646 h 1089"/>
              <a:gd name="T26" fmla="*/ 2147483646 w 1644"/>
              <a:gd name="T27" fmla="*/ 2147483646 h 1089"/>
              <a:gd name="T28" fmla="*/ 2147483646 w 1644"/>
              <a:gd name="T29" fmla="*/ 2147483646 h 1089"/>
              <a:gd name="T30" fmla="*/ 2147483646 w 1644"/>
              <a:gd name="T31" fmla="*/ 2147483646 h 1089"/>
              <a:gd name="T32" fmla="*/ 2147483646 w 1644"/>
              <a:gd name="T33" fmla="*/ 2147483646 h 1089"/>
              <a:gd name="T34" fmla="*/ 2147483646 w 1644"/>
              <a:gd name="T35" fmla="*/ 2147483646 h 1089"/>
              <a:gd name="T36" fmla="*/ 2147483646 w 1644"/>
              <a:gd name="T37" fmla="*/ 2147483646 h 1089"/>
              <a:gd name="T38" fmla="*/ 2147483646 w 1644"/>
              <a:gd name="T39" fmla="*/ 2147483646 h 1089"/>
              <a:gd name="T40" fmla="*/ 2147483646 w 1644"/>
              <a:gd name="T41" fmla="*/ 2147483646 h 1089"/>
              <a:gd name="T42" fmla="*/ 2147483646 w 1644"/>
              <a:gd name="T43" fmla="*/ 2147483646 h 1089"/>
              <a:gd name="T44" fmla="*/ 2147483646 w 1644"/>
              <a:gd name="T45" fmla="*/ 2147483646 h 1089"/>
              <a:gd name="T46" fmla="*/ 2147483646 w 1644"/>
              <a:gd name="T47" fmla="*/ 2147483646 h 1089"/>
              <a:gd name="T48" fmla="*/ 2147483646 w 1644"/>
              <a:gd name="T49" fmla="*/ 2147483646 h 1089"/>
              <a:gd name="T50" fmla="*/ 2147483646 w 1644"/>
              <a:gd name="T51" fmla="*/ 2147483646 h 1089"/>
              <a:gd name="T52" fmla="*/ 2147483646 w 1644"/>
              <a:gd name="T53" fmla="*/ 2147483646 h 1089"/>
              <a:gd name="T54" fmla="*/ 2147483646 w 1644"/>
              <a:gd name="T55" fmla="*/ 2147483646 h 1089"/>
              <a:gd name="T56" fmla="*/ 2147483646 w 1644"/>
              <a:gd name="T57" fmla="*/ 2147483646 h 1089"/>
              <a:gd name="T58" fmla="*/ 2147483646 w 1644"/>
              <a:gd name="T59" fmla="*/ 2147483646 h 1089"/>
              <a:gd name="T60" fmla="*/ 2147483646 w 1644"/>
              <a:gd name="T61" fmla="*/ 2147483646 h 1089"/>
              <a:gd name="T62" fmla="*/ 2147483646 w 1644"/>
              <a:gd name="T63" fmla="*/ 2147483646 h 1089"/>
              <a:gd name="T64" fmla="*/ 2147483646 w 1644"/>
              <a:gd name="T65" fmla="*/ 2147483646 h 1089"/>
              <a:gd name="T66" fmla="*/ 2147483646 w 1644"/>
              <a:gd name="T67" fmla="*/ 2147483646 h 1089"/>
              <a:gd name="T68" fmla="*/ 2147483646 w 1644"/>
              <a:gd name="T69" fmla="*/ 2147483646 h 1089"/>
              <a:gd name="T70" fmla="*/ 2147483646 w 1644"/>
              <a:gd name="T71" fmla="*/ 2147483646 h 1089"/>
              <a:gd name="T72" fmla="*/ 2147483646 w 1644"/>
              <a:gd name="T73" fmla="*/ 2147483646 h 1089"/>
              <a:gd name="T74" fmla="*/ 2147483646 w 1644"/>
              <a:gd name="T75" fmla="*/ 2147483646 h 1089"/>
              <a:gd name="T76" fmla="*/ 2147483646 w 1644"/>
              <a:gd name="T77" fmla="*/ 2147483646 h 1089"/>
              <a:gd name="T78" fmla="*/ 2147483646 w 1644"/>
              <a:gd name="T79" fmla="*/ 2147483646 h 1089"/>
              <a:gd name="T80" fmla="*/ 2147483646 w 1644"/>
              <a:gd name="T81" fmla="*/ 2147483646 h 1089"/>
              <a:gd name="T82" fmla="*/ 2147483646 w 1644"/>
              <a:gd name="T83" fmla="*/ 2147483646 h 1089"/>
              <a:gd name="T84" fmla="*/ 2147483646 w 1644"/>
              <a:gd name="T85" fmla="*/ 2147483646 h 1089"/>
              <a:gd name="T86" fmla="*/ 2147483646 w 1644"/>
              <a:gd name="T87" fmla="*/ 2147483646 h 1089"/>
              <a:gd name="T88" fmla="*/ 2147483646 w 1644"/>
              <a:gd name="T89" fmla="*/ 2147483646 h 1089"/>
              <a:gd name="T90" fmla="*/ 2147483646 w 1644"/>
              <a:gd name="T91" fmla="*/ 2147483646 h 1089"/>
              <a:gd name="T92" fmla="*/ 2147483646 w 1644"/>
              <a:gd name="T93" fmla="*/ 2147483646 h 1089"/>
              <a:gd name="T94" fmla="*/ 2147483646 w 1644"/>
              <a:gd name="T95" fmla="*/ 2147483646 h 1089"/>
              <a:gd name="T96" fmla="*/ 2147483646 w 1644"/>
              <a:gd name="T97" fmla="*/ 2147483646 h 1089"/>
              <a:gd name="T98" fmla="*/ 2147483646 w 1644"/>
              <a:gd name="T99" fmla="*/ 2147483646 h 1089"/>
              <a:gd name="T100" fmla="*/ 2147483646 w 1644"/>
              <a:gd name="T101" fmla="*/ 2147483646 h 1089"/>
              <a:gd name="T102" fmla="*/ 2147483646 w 1644"/>
              <a:gd name="T103" fmla="*/ 2147483646 h 1089"/>
              <a:gd name="T104" fmla="*/ 2147483646 w 1644"/>
              <a:gd name="T105" fmla="*/ 2147483646 h 1089"/>
              <a:gd name="T106" fmla="*/ 2147483646 w 1644"/>
              <a:gd name="T107" fmla="*/ 2147483646 h 1089"/>
              <a:gd name="T108" fmla="*/ 2147483646 w 1644"/>
              <a:gd name="T109" fmla="*/ 2147483646 h 108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44"/>
              <a:gd name="T166" fmla="*/ 0 h 1089"/>
              <a:gd name="T167" fmla="*/ 1644 w 1644"/>
              <a:gd name="T168" fmla="*/ 1089 h 108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44" h="1089">
                <a:moveTo>
                  <a:pt x="1642" y="328"/>
                </a:moveTo>
                <a:cubicBezTo>
                  <a:pt x="1636" y="320"/>
                  <a:pt x="1622" y="299"/>
                  <a:pt x="1615" y="284"/>
                </a:cubicBezTo>
                <a:cubicBezTo>
                  <a:pt x="1608" y="268"/>
                  <a:pt x="1618" y="253"/>
                  <a:pt x="1608" y="244"/>
                </a:cubicBezTo>
                <a:cubicBezTo>
                  <a:pt x="1598" y="236"/>
                  <a:pt x="1593" y="249"/>
                  <a:pt x="1583" y="239"/>
                </a:cubicBezTo>
                <a:cubicBezTo>
                  <a:pt x="1572" y="229"/>
                  <a:pt x="1565" y="239"/>
                  <a:pt x="1560" y="251"/>
                </a:cubicBezTo>
                <a:cubicBezTo>
                  <a:pt x="1555" y="263"/>
                  <a:pt x="1547" y="278"/>
                  <a:pt x="1542" y="302"/>
                </a:cubicBezTo>
                <a:cubicBezTo>
                  <a:pt x="1536" y="326"/>
                  <a:pt x="1514" y="326"/>
                  <a:pt x="1500" y="332"/>
                </a:cubicBezTo>
                <a:cubicBezTo>
                  <a:pt x="1487" y="337"/>
                  <a:pt x="1463" y="338"/>
                  <a:pt x="1439" y="335"/>
                </a:cubicBezTo>
                <a:cubicBezTo>
                  <a:pt x="1415" y="331"/>
                  <a:pt x="1413" y="337"/>
                  <a:pt x="1406" y="343"/>
                </a:cubicBezTo>
                <a:cubicBezTo>
                  <a:pt x="1400" y="350"/>
                  <a:pt x="1386" y="359"/>
                  <a:pt x="1386" y="359"/>
                </a:cubicBezTo>
                <a:cubicBezTo>
                  <a:pt x="1384" y="360"/>
                  <a:pt x="1384" y="360"/>
                  <a:pt x="1384" y="360"/>
                </a:cubicBezTo>
                <a:cubicBezTo>
                  <a:pt x="1386" y="363"/>
                  <a:pt x="1387" y="368"/>
                  <a:pt x="1387" y="368"/>
                </a:cubicBezTo>
                <a:cubicBezTo>
                  <a:pt x="1387" y="368"/>
                  <a:pt x="1385" y="387"/>
                  <a:pt x="1382" y="389"/>
                </a:cubicBezTo>
                <a:cubicBezTo>
                  <a:pt x="1378" y="391"/>
                  <a:pt x="1368" y="400"/>
                  <a:pt x="1361" y="401"/>
                </a:cubicBezTo>
                <a:cubicBezTo>
                  <a:pt x="1355" y="402"/>
                  <a:pt x="1340" y="404"/>
                  <a:pt x="1324" y="394"/>
                </a:cubicBezTo>
                <a:cubicBezTo>
                  <a:pt x="1308" y="383"/>
                  <a:pt x="1314" y="399"/>
                  <a:pt x="1305" y="402"/>
                </a:cubicBezTo>
                <a:cubicBezTo>
                  <a:pt x="1295" y="405"/>
                  <a:pt x="1289" y="391"/>
                  <a:pt x="1291" y="383"/>
                </a:cubicBezTo>
                <a:cubicBezTo>
                  <a:pt x="1291" y="380"/>
                  <a:pt x="1291" y="380"/>
                  <a:pt x="1291" y="380"/>
                </a:cubicBezTo>
                <a:cubicBezTo>
                  <a:pt x="1283" y="370"/>
                  <a:pt x="1270" y="355"/>
                  <a:pt x="1257" y="347"/>
                </a:cubicBezTo>
                <a:cubicBezTo>
                  <a:pt x="1257" y="347"/>
                  <a:pt x="1254" y="342"/>
                  <a:pt x="1250" y="336"/>
                </a:cubicBezTo>
                <a:cubicBezTo>
                  <a:pt x="1242" y="323"/>
                  <a:pt x="1235" y="320"/>
                  <a:pt x="1231" y="322"/>
                </a:cubicBezTo>
                <a:cubicBezTo>
                  <a:pt x="1227" y="324"/>
                  <a:pt x="1235" y="336"/>
                  <a:pt x="1233" y="339"/>
                </a:cubicBezTo>
                <a:cubicBezTo>
                  <a:pt x="1231" y="342"/>
                  <a:pt x="1237" y="369"/>
                  <a:pt x="1227" y="387"/>
                </a:cubicBezTo>
                <a:cubicBezTo>
                  <a:pt x="1217" y="405"/>
                  <a:pt x="1218" y="402"/>
                  <a:pt x="1208" y="390"/>
                </a:cubicBezTo>
                <a:cubicBezTo>
                  <a:pt x="1197" y="379"/>
                  <a:pt x="1203" y="379"/>
                  <a:pt x="1194" y="368"/>
                </a:cubicBezTo>
                <a:cubicBezTo>
                  <a:pt x="1184" y="357"/>
                  <a:pt x="1177" y="378"/>
                  <a:pt x="1167" y="378"/>
                </a:cubicBezTo>
                <a:cubicBezTo>
                  <a:pt x="1158" y="378"/>
                  <a:pt x="1176" y="358"/>
                  <a:pt x="1181" y="348"/>
                </a:cubicBezTo>
                <a:cubicBezTo>
                  <a:pt x="1186" y="337"/>
                  <a:pt x="1185" y="336"/>
                  <a:pt x="1181" y="327"/>
                </a:cubicBezTo>
                <a:cubicBezTo>
                  <a:pt x="1177" y="319"/>
                  <a:pt x="1173" y="316"/>
                  <a:pt x="1149" y="302"/>
                </a:cubicBezTo>
                <a:cubicBezTo>
                  <a:pt x="1143" y="298"/>
                  <a:pt x="1139" y="297"/>
                  <a:pt x="1136" y="296"/>
                </a:cubicBezTo>
                <a:cubicBezTo>
                  <a:pt x="1139" y="296"/>
                  <a:pt x="1141" y="296"/>
                  <a:pt x="1145" y="296"/>
                </a:cubicBezTo>
                <a:cubicBezTo>
                  <a:pt x="1154" y="296"/>
                  <a:pt x="1167" y="294"/>
                  <a:pt x="1166" y="286"/>
                </a:cubicBezTo>
                <a:cubicBezTo>
                  <a:pt x="1165" y="277"/>
                  <a:pt x="1158" y="278"/>
                  <a:pt x="1143" y="264"/>
                </a:cubicBezTo>
                <a:cubicBezTo>
                  <a:pt x="1128" y="249"/>
                  <a:pt x="1138" y="268"/>
                  <a:pt x="1115" y="258"/>
                </a:cubicBezTo>
                <a:cubicBezTo>
                  <a:pt x="1092" y="249"/>
                  <a:pt x="1104" y="261"/>
                  <a:pt x="1087" y="253"/>
                </a:cubicBezTo>
                <a:cubicBezTo>
                  <a:pt x="1070" y="244"/>
                  <a:pt x="1069" y="257"/>
                  <a:pt x="1065" y="245"/>
                </a:cubicBezTo>
                <a:cubicBezTo>
                  <a:pt x="1061" y="234"/>
                  <a:pt x="1061" y="237"/>
                  <a:pt x="1048" y="237"/>
                </a:cubicBezTo>
                <a:cubicBezTo>
                  <a:pt x="1035" y="237"/>
                  <a:pt x="1035" y="248"/>
                  <a:pt x="1012" y="250"/>
                </a:cubicBezTo>
                <a:cubicBezTo>
                  <a:pt x="988" y="252"/>
                  <a:pt x="991" y="251"/>
                  <a:pt x="964" y="252"/>
                </a:cubicBezTo>
                <a:cubicBezTo>
                  <a:pt x="936" y="253"/>
                  <a:pt x="961" y="244"/>
                  <a:pt x="965" y="239"/>
                </a:cubicBezTo>
                <a:cubicBezTo>
                  <a:pt x="968" y="234"/>
                  <a:pt x="986" y="228"/>
                  <a:pt x="1002" y="222"/>
                </a:cubicBezTo>
                <a:cubicBezTo>
                  <a:pt x="1014" y="217"/>
                  <a:pt x="1024" y="216"/>
                  <a:pt x="1032" y="208"/>
                </a:cubicBezTo>
                <a:cubicBezTo>
                  <a:pt x="1027" y="208"/>
                  <a:pt x="1027" y="208"/>
                  <a:pt x="1027" y="208"/>
                </a:cubicBezTo>
                <a:cubicBezTo>
                  <a:pt x="1027" y="208"/>
                  <a:pt x="1011" y="207"/>
                  <a:pt x="1003" y="207"/>
                </a:cubicBezTo>
                <a:cubicBezTo>
                  <a:pt x="994" y="207"/>
                  <a:pt x="993" y="208"/>
                  <a:pt x="989" y="200"/>
                </a:cubicBezTo>
                <a:cubicBezTo>
                  <a:pt x="986" y="191"/>
                  <a:pt x="976" y="196"/>
                  <a:pt x="970" y="196"/>
                </a:cubicBezTo>
                <a:cubicBezTo>
                  <a:pt x="965" y="196"/>
                  <a:pt x="958" y="198"/>
                  <a:pt x="953" y="193"/>
                </a:cubicBezTo>
                <a:cubicBezTo>
                  <a:pt x="948" y="188"/>
                  <a:pt x="941" y="184"/>
                  <a:pt x="933" y="184"/>
                </a:cubicBezTo>
                <a:cubicBezTo>
                  <a:pt x="924" y="184"/>
                  <a:pt x="909" y="172"/>
                  <a:pt x="897" y="169"/>
                </a:cubicBezTo>
                <a:cubicBezTo>
                  <a:pt x="885" y="166"/>
                  <a:pt x="899" y="152"/>
                  <a:pt x="894" y="149"/>
                </a:cubicBezTo>
                <a:cubicBezTo>
                  <a:pt x="888" y="145"/>
                  <a:pt x="882" y="154"/>
                  <a:pt x="882" y="161"/>
                </a:cubicBezTo>
                <a:cubicBezTo>
                  <a:pt x="882" y="167"/>
                  <a:pt x="856" y="161"/>
                  <a:pt x="856" y="161"/>
                </a:cubicBezTo>
                <a:cubicBezTo>
                  <a:pt x="675" y="140"/>
                  <a:pt x="251" y="10"/>
                  <a:pt x="222" y="5"/>
                </a:cubicBezTo>
                <a:cubicBezTo>
                  <a:pt x="193" y="0"/>
                  <a:pt x="193" y="27"/>
                  <a:pt x="181" y="34"/>
                </a:cubicBezTo>
                <a:cubicBezTo>
                  <a:pt x="169" y="41"/>
                  <a:pt x="155" y="15"/>
                  <a:pt x="155" y="15"/>
                </a:cubicBezTo>
                <a:cubicBezTo>
                  <a:pt x="154" y="24"/>
                  <a:pt x="149" y="31"/>
                  <a:pt x="144" y="37"/>
                </a:cubicBezTo>
                <a:cubicBezTo>
                  <a:pt x="140" y="43"/>
                  <a:pt x="144" y="49"/>
                  <a:pt x="141" y="55"/>
                </a:cubicBezTo>
                <a:cubicBezTo>
                  <a:pt x="138" y="62"/>
                  <a:pt x="132" y="71"/>
                  <a:pt x="132" y="79"/>
                </a:cubicBezTo>
                <a:cubicBezTo>
                  <a:pt x="132" y="86"/>
                  <a:pt x="143" y="91"/>
                  <a:pt x="132" y="99"/>
                </a:cubicBezTo>
                <a:cubicBezTo>
                  <a:pt x="121" y="107"/>
                  <a:pt x="110" y="96"/>
                  <a:pt x="104" y="111"/>
                </a:cubicBezTo>
                <a:cubicBezTo>
                  <a:pt x="98" y="127"/>
                  <a:pt x="62" y="173"/>
                  <a:pt x="61" y="179"/>
                </a:cubicBezTo>
                <a:cubicBezTo>
                  <a:pt x="59" y="186"/>
                  <a:pt x="56" y="200"/>
                  <a:pt x="45" y="207"/>
                </a:cubicBezTo>
                <a:cubicBezTo>
                  <a:pt x="34" y="215"/>
                  <a:pt x="25" y="217"/>
                  <a:pt x="30" y="227"/>
                </a:cubicBezTo>
                <a:cubicBezTo>
                  <a:pt x="34" y="238"/>
                  <a:pt x="45" y="245"/>
                  <a:pt x="39" y="252"/>
                </a:cubicBezTo>
                <a:cubicBezTo>
                  <a:pt x="33" y="260"/>
                  <a:pt x="31" y="258"/>
                  <a:pt x="28" y="268"/>
                </a:cubicBezTo>
                <a:cubicBezTo>
                  <a:pt x="25" y="277"/>
                  <a:pt x="2" y="307"/>
                  <a:pt x="5" y="314"/>
                </a:cubicBezTo>
                <a:cubicBezTo>
                  <a:pt x="8" y="322"/>
                  <a:pt x="17" y="336"/>
                  <a:pt x="11" y="344"/>
                </a:cubicBezTo>
                <a:cubicBezTo>
                  <a:pt x="5" y="351"/>
                  <a:pt x="0" y="348"/>
                  <a:pt x="3" y="367"/>
                </a:cubicBezTo>
                <a:cubicBezTo>
                  <a:pt x="6" y="386"/>
                  <a:pt x="20" y="395"/>
                  <a:pt x="23" y="398"/>
                </a:cubicBezTo>
                <a:cubicBezTo>
                  <a:pt x="27" y="401"/>
                  <a:pt x="37" y="396"/>
                  <a:pt x="37" y="404"/>
                </a:cubicBezTo>
                <a:cubicBezTo>
                  <a:pt x="37" y="412"/>
                  <a:pt x="23" y="409"/>
                  <a:pt x="16" y="423"/>
                </a:cubicBezTo>
                <a:cubicBezTo>
                  <a:pt x="8" y="437"/>
                  <a:pt x="11" y="448"/>
                  <a:pt x="14" y="452"/>
                </a:cubicBezTo>
                <a:cubicBezTo>
                  <a:pt x="17" y="457"/>
                  <a:pt x="20" y="472"/>
                  <a:pt x="23" y="479"/>
                </a:cubicBezTo>
                <a:cubicBezTo>
                  <a:pt x="27" y="485"/>
                  <a:pt x="20" y="492"/>
                  <a:pt x="19" y="503"/>
                </a:cubicBezTo>
                <a:cubicBezTo>
                  <a:pt x="17" y="514"/>
                  <a:pt x="19" y="520"/>
                  <a:pt x="25" y="534"/>
                </a:cubicBezTo>
                <a:cubicBezTo>
                  <a:pt x="31" y="548"/>
                  <a:pt x="39" y="558"/>
                  <a:pt x="44" y="564"/>
                </a:cubicBezTo>
                <a:cubicBezTo>
                  <a:pt x="48" y="570"/>
                  <a:pt x="56" y="570"/>
                  <a:pt x="54" y="581"/>
                </a:cubicBezTo>
                <a:cubicBezTo>
                  <a:pt x="53" y="592"/>
                  <a:pt x="64" y="593"/>
                  <a:pt x="70" y="601"/>
                </a:cubicBezTo>
                <a:cubicBezTo>
                  <a:pt x="76" y="609"/>
                  <a:pt x="82" y="609"/>
                  <a:pt x="82" y="621"/>
                </a:cubicBezTo>
                <a:cubicBezTo>
                  <a:pt x="82" y="634"/>
                  <a:pt x="79" y="644"/>
                  <a:pt x="78" y="655"/>
                </a:cubicBezTo>
                <a:cubicBezTo>
                  <a:pt x="78" y="655"/>
                  <a:pt x="88" y="658"/>
                  <a:pt x="107" y="658"/>
                </a:cubicBezTo>
                <a:cubicBezTo>
                  <a:pt x="126" y="658"/>
                  <a:pt x="152" y="650"/>
                  <a:pt x="162" y="663"/>
                </a:cubicBezTo>
                <a:cubicBezTo>
                  <a:pt x="172" y="677"/>
                  <a:pt x="174" y="687"/>
                  <a:pt x="193" y="697"/>
                </a:cubicBezTo>
                <a:cubicBezTo>
                  <a:pt x="211" y="708"/>
                  <a:pt x="237" y="749"/>
                  <a:pt x="288" y="749"/>
                </a:cubicBezTo>
                <a:cubicBezTo>
                  <a:pt x="340" y="749"/>
                  <a:pt x="350" y="764"/>
                  <a:pt x="355" y="750"/>
                </a:cubicBezTo>
                <a:cubicBezTo>
                  <a:pt x="360" y="737"/>
                  <a:pt x="367" y="745"/>
                  <a:pt x="391" y="750"/>
                </a:cubicBezTo>
                <a:cubicBezTo>
                  <a:pt x="415" y="756"/>
                  <a:pt x="415" y="764"/>
                  <a:pt x="432" y="781"/>
                </a:cubicBezTo>
                <a:cubicBezTo>
                  <a:pt x="449" y="798"/>
                  <a:pt x="442" y="802"/>
                  <a:pt x="451" y="827"/>
                </a:cubicBezTo>
                <a:cubicBezTo>
                  <a:pt x="459" y="853"/>
                  <a:pt x="458" y="858"/>
                  <a:pt x="475" y="868"/>
                </a:cubicBezTo>
                <a:cubicBezTo>
                  <a:pt x="492" y="879"/>
                  <a:pt x="507" y="865"/>
                  <a:pt x="523" y="853"/>
                </a:cubicBezTo>
                <a:cubicBezTo>
                  <a:pt x="538" y="841"/>
                  <a:pt x="528" y="831"/>
                  <a:pt x="555" y="853"/>
                </a:cubicBezTo>
                <a:cubicBezTo>
                  <a:pt x="582" y="875"/>
                  <a:pt x="598" y="877"/>
                  <a:pt x="594" y="908"/>
                </a:cubicBezTo>
                <a:cubicBezTo>
                  <a:pt x="591" y="938"/>
                  <a:pt x="594" y="954"/>
                  <a:pt x="610" y="978"/>
                </a:cubicBezTo>
                <a:cubicBezTo>
                  <a:pt x="625" y="1002"/>
                  <a:pt x="625" y="1009"/>
                  <a:pt x="640" y="1014"/>
                </a:cubicBezTo>
                <a:cubicBezTo>
                  <a:pt x="656" y="1019"/>
                  <a:pt x="673" y="1027"/>
                  <a:pt x="673" y="1027"/>
                </a:cubicBezTo>
                <a:cubicBezTo>
                  <a:pt x="674" y="1027"/>
                  <a:pt x="674" y="1027"/>
                  <a:pt x="674" y="1027"/>
                </a:cubicBezTo>
                <a:cubicBezTo>
                  <a:pt x="674" y="1023"/>
                  <a:pt x="674" y="1018"/>
                  <a:pt x="673" y="1009"/>
                </a:cubicBezTo>
                <a:cubicBezTo>
                  <a:pt x="669" y="985"/>
                  <a:pt x="665" y="988"/>
                  <a:pt x="669" y="969"/>
                </a:cubicBezTo>
                <a:cubicBezTo>
                  <a:pt x="673" y="950"/>
                  <a:pt x="686" y="933"/>
                  <a:pt x="697" y="929"/>
                </a:cubicBezTo>
                <a:cubicBezTo>
                  <a:pt x="709" y="925"/>
                  <a:pt x="706" y="912"/>
                  <a:pt x="722" y="916"/>
                </a:cubicBezTo>
                <a:cubicBezTo>
                  <a:pt x="738" y="921"/>
                  <a:pt x="722" y="932"/>
                  <a:pt x="760" y="911"/>
                </a:cubicBezTo>
                <a:cubicBezTo>
                  <a:pt x="798" y="889"/>
                  <a:pt x="813" y="889"/>
                  <a:pt x="813" y="889"/>
                </a:cubicBezTo>
                <a:cubicBezTo>
                  <a:pt x="813" y="889"/>
                  <a:pt x="830" y="892"/>
                  <a:pt x="847" y="894"/>
                </a:cubicBezTo>
                <a:cubicBezTo>
                  <a:pt x="863" y="896"/>
                  <a:pt x="869" y="894"/>
                  <a:pt x="872" y="894"/>
                </a:cubicBezTo>
                <a:cubicBezTo>
                  <a:pt x="876" y="894"/>
                  <a:pt x="876" y="880"/>
                  <a:pt x="884" y="894"/>
                </a:cubicBezTo>
                <a:cubicBezTo>
                  <a:pt x="891" y="908"/>
                  <a:pt x="893" y="898"/>
                  <a:pt x="904" y="908"/>
                </a:cubicBezTo>
                <a:cubicBezTo>
                  <a:pt x="914" y="918"/>
                  <a:pt x="913" y="898"/>
                  <a:pt x="927" y="911"/>
                </a:cubicBezTo>
                <a:cubicBezTo>
                  <a:pt x="941" y="923"/>
                  <a:pt x="924" y="929"/>
                  <a:pt x="945" y="924"/>
                </a:cubicBezTo>
                <a:cubicBezTo>
                  <a:pt x="967" y="919"/>
                  <a:pt x="968" y="914"/>
                  <a:pt x="964" y="914"/>
                </a:cubicBezTo>
                <a:cubicBezTo>
                  <a:pt x="961" y="913"/>
                  <a:pt x="947" y="903"/>
                  <a:pt x="947" y="903"/>
                </a:cubicBezTo>
                <a:cubicBezTo>
                  <a:pt x="947" y="903"/>
                  <a:pt x="940" y="880"/>
                  <a:pt x="957" y="882"/>
                </a:cubicBezTo>
                <a:cubicBezTo>
                  <a:pt x="974" y="883"/>
                  <a:pt x="951" y="879"/>
                  <a:pt x="984" y="877"/>
                </a:cubicBezTo>
                <a:cubicBezTo>
                  <a:pt x="1018" y="875"/>
                  <a:pt x="996" y="892"/>
                  <a:pt x="1011" y="881"/>
                </a:cubicBezTo>
                <a:cubicBezTo>
                  <a:pt x="1027" y="870"/>
                  <a:pt x="1027" y="864"/>
                  <a:pt x="1038" y="871"/>
                </a:cubicBezTo>
                <a:cubicBezTo>
                  <a:pt x="1050" y="878"/>
                  <a:pt x="1047" y="870"/>
                  <a:pt x="1060" y="880"/>
                </a:cubicBezTo>
                <a:cubicBezTo>
                  <a:pt x="1072" y="889"/>
                  <a:pt x="1089" y="894"/>
                  <a:pt x="1092" y="902"/>
                </a:cubicBezTo>
                <a:cubicBezTo>
                  <a:pt x="1094" y="910"/>
                  <a:pt x="1103" y="916"/>
                  <a:pt x="1103" y="916"/>
                </a:cubicBezTo>
                <a:cubicBezTo>
                  <a:pt x="1103" y="916"/>
                  <a:pt x="1109" y="896"/>
                  <a:pt x="1127" y="898"/>
                </a:cubicBezTo>
                <a:cubicBezTo>
                  <a:pt x="1145" y="900"/>
                  <a:pt x="1139" y="896"/>
                  <a:pt x="1149" y="910"/>
                </a:cubicBezTo>
                <a:cubicBezTo>
                  <a:pt x="1159" y="924"/>
                  <a:pt x="1165" y="932"/>
                  <a:pt x="1171" y="934"/>
                </a:cubicBezTo>
                <a:cubicBezTo>
                  <a:pt x="1176" y="935"/>
                  <a:pt x="1178" y="925"/>
                  <a:pt x="1178" y="939"/>
                </a:cubicBezTo>
                <a:cubicBezTo>
                  <a:pt x="1178" y="954"/>
                  <a:pt x="1163" y="946"/>
                  <a:pt x="1167" y="967"/>
                </a:cubicBezTo>
                <a:cubicBezTo>
                  <a:pt x="1171" y="988"/>
                  <a:pt x="1175" y="988"/>
                  <a:pt x="1180" y="990"/>
                </a:cubicBezTo>
                <a:cubicBezTo>
                  <a:pt x="1184" y="992"/>
                  <a:pt x="1176" y="986"/>
                  <a:pt x="1179" y="1003"/>
                </a:cubicBezTo>
                <a:cubicBezTo>
                  <a:pt x="1182" y="1019"/>
                  <a:pt x="1187" y="1016"/>
                  <a:pt x="1194" y="1024"/>
                </a:cubicBezTo>
                <a:cubicBezTo>
                  <a:pt x="1201" y="1033"/>
                  <a:pt x="1207" y="1038"/>
                  <a:pt x="1207" y="1038"/>
                </a:cubicBezTo>
                <a:cubicBezTo>
                  <a:pt x="1207" y="1038"/>
                  <a:pt x="1211" y="1060"/>
                  <a:pt x="1213" y="1066"/>
                </a:cubicBezTo>
                <a:cubicBezTo>
                  <a:pt x="1214" y="1072"/>
                  <a:pt x="1214" y="1072"/>
                  <a:pt x="1227" y="1078"/>
                </a:cubicBezTo>
                <a:cubicBezTo>
                  <a:pt x="1239" y="1085"/>
                  <a:pt x="1241" y="1089"/>
                  <a:pt x="1247" y="1081"/>
                </a:cubicBezTo>
                <a:cubicBezTo>
                  <a:pt x="1254" y="1073"/>
                  <a:pt x="1256" y="1067"/>
                  <a:pt x="1258" y="1062"/>
                </a:cubicBezTo>
                <a:cubicBezTo>
                  <a:pt x="1259" y="1057"/>
                  <a:pt x="1265" y="1026"/>
                  <a:pt x="1265" y="1026"/>
                </a:cubicBezTo>
                <a:cubicBezTo>
                  <a:pt x="1265" y="1026"/>
                  <a:pt x="1260" y="1001"/>
                  <a:pt x="1255" y="997"/>
                </a:cubicBezTo>
                <a:cubicBezTo>
                  <a:pt x="1250" y="993"/>
                  <a:pt x="1242" y="987"/>
                  <a:pt x="1241" y="972"/>
                </a:cubicBezTo>
                <a:cubicBezTo>
                  <a:pt x="1240" y="958"/>
                  <a:pt x="1243" y="957"/>
                  <a:pt x="1233" y="935"/>
                </a:cubicBezTo>
                <a:cubicBezTo>
                  <a:pt x="1224" y="913"/>
                  <a:pt x="1221" y="889"/>
                  <a:pt x="1219" y="868"/>
                </a:cubicBezTo>
                <a:cubicBezTo>
                  <a:pt x="1217" y="847"/>
                  <a:pt x="1226" y="835"/>
                  <a:pt x="1226" y="835"/>
                </a:cubicBezTo>
                <a:cubicBezTo>
                  <a:pt x="1226" y="835"/>
                  <a:pt x="1230" y="829"/>
                  <a:pt x="1241" y="815"/>
                </a:cubicBezTo>
                <a:cubicBezTo>
                  <a:pt x="1252" y="802"/>
                  <a:pt x="1272" y="802"/>
                  <a:pt x="1298" y="769"/>
                </a:cubicBezTo>
                <a:cubicBezTo>
                  <a:pt x="1324" y="737"/>
                  <a:pt x="1321" y="755"/>
                  <a:pt x="1334" y="746"/>
                </a:cubicBezTo>
                <a:cubicBezTo>
                  <a:pt x="1348" y="737"/>
                  <a:pt x="1348" y="718"/>
                  <a:pt x="1363" y="717"/>
                </a:cubicBezTo>
                <a:cubicBezTo>
                  <a:pt x="1379" y="717"/>
                  <a:pt x="1384" y="720"/>
                  <a:pt x="1388" y="712"/>
                </a:cubicBezTo>
                <a:cubicBezTo>
                  <a:pt x="1393" y="705"/>
                  <a:pt x="1379" y="701"/>
                  <a:pt x="1379" y="694"/>
                </a:cubicBezTo>
                <a:cubicBezTo>
                  <a:pt x="1379" y="688"/>
                  <a:pt x="1399" y="688"/>
                  <a:pt x="1397" y="686"/>
                </a:cubicBezTo>
                <a:cubicBezTo>
                  <a:pt x="1395" y="685"/>
                  <a:pt x="1387" y="679"/>
                  <a:pt x="1385" y="677"/>
                </a:cubicBezTo>
                <a:cubicBezTo>
                  <a:pt x="1383" y="675"/>
                  <a:pt x="1380" y="671"/>
                  <a:pt x="1380" y="671"/>
                </a:cubicBezTo>
                <a:cubicBezTo>
                  <a:pt x="1370" y="670"/>
                  <a:pt x="1370" y="670"/>
                  <a:pt x="1370" y="670"/>
                </a:cubicBezTo>
                <a:cubicBezTo>
                  <a:pt x="1370" y="670"/>
                  <a:pt x="1376" y="657"/>
                  <a:pt x="1381" y="661"/>
                </a:cubicBezTo>
                <a:cubicBezTo>
                  <a:pt x="1387" y="665"/>
                  <a:pt x="1392" y="659"/>
                  <a:pt x="1392" y="659"/>
                </a:cubicBezTo>
                <a:cubicBezTo>
                  <a:pt x="1392" y="659"/>
                  <a:pt x="1396" y="652"/>
                  <a:pt x="1395" y="649"/>
                </a:cubicBezTo>
                <a:cubicBezTo>
                  <a:pt x="1393" y="646"/>
                  <a:pt x="1395" y="638"/>
                  <a:pt x="1390" y="638"/>
                </a:cubicBezTo>
                <a:cubicBezTo>
                  <a:pt x="1385" y="638"/>
                  <a:pt x="1381" y="634"/>
                  <a:pt x="1381" y="634"/>
                </a:cubicBezTo>
                <a:cubicBezTo>
                  <a:pt x="1381" y="634"/>
                  <a:pt x="1372" y="632"/>
                  <a:pt x="1369" y="631"/>
                </a:cubicBezTo>
                <a:cubicBezTo>
                  <a:pt x="1366" y="630"/>
                  <a:pt x="1361" y="626"/>
                  <a:pt x="1361" y="626"/>
                </a:cubicBezTo>
                <a:cubicBezTo>
                  <a:pt x="1375" y="618"/>
                  <a:pt x="1375" y="618"/>
                  <a:pt x="1375" y="618"/>
                </a:cubicBezTo>
                <a:cubicBezTo>
                  <a:pt x="1384" y="618"/>
                  <a:pt x="1384" y="618"/>
                  <a:pt x="1384" y="618"/>
                </a:cubicBezTo>
                <a:cubicBezTo>
                  <a:pt x="1384" y="618"/>
                  <a:pt x="1386" y="608"/>
                  <a:pt x="1383" y="607"/>
                </a:cubicBezTo>
                <a:cubicBezTo>
                  <a:pt x="1380" y="605"/>
                  <a:pt x="1378" y="601"/>
                  <a:pt x="1378" y="601"/>
                </a:cubicBezTo>
                <a:cubicBezTo>
                  <a:pt x="1378" y="601"/>
                  <a:pt x="1376" y="600"/>
                  <a:pt x="1373" y="595"/>
                </a:cubicBezTo>
                <a:cubicBezTo>
                  <a:pt x="1370" y="590"/>
                  <a:pt x="1378" y="595"/>
                  <a:pt x="1379" y="584"/>
                </a:cubicBezTo>
                <a:cubicBezTo>
                  <a:pt x="1379" y="574"/>
                  <a:pt x="1378" y="571"/>
                  <a:pt x="1378" y="571"/>
                </a:cubicBezTo>
                <a:cubicBezTo>
                  <a:pt x="1378" y="571"/>
                  <a:pt x="1377" y="562"/>
                  <a:pt x="1378" y="558"/>
                </a:cubicBezTo>
                <a:cubicBezTo>
                  <a:pt x="1379" y="555"/>
                  <a:pt x="1377" y="551"/>
                  <a:pt x="1381" y="546"/>
                </a:cubicBezTo>
                <a:cubicBezTo>
                  <a:pt x="1386" y="540"/>
                  <a:pt x="1394" y="545"/>
                  <a:pt x="1394" y="545"/>
                </a:cubicBezTo>
                <a:cubicBezTo>
                  <a:pt x="1394" y="545"/>
                  <a:pt x="1385" y="558"/>
                  <a:pt x="1388" y="569"/>
                </a:cubicBezTo>
                <a:cubicBezTo>
                  <a:pt x="1392" y="581"/>
                  <a:pt x="1397" y="591"/>
                  <a:pt x="1397" y="591"/>
                </a:cubicBezTo>
                <a:cubicBezTo>
                  <a:pt x="1397" y="591"/>
                  <a:pt x="1406" y="602"/>
                  <a:pt x="1405" y="607"/>
                </a:cubicBezTo>
                <a:cubicBezTo>
                  <a:pt x="1404" y="611"/>
                  <a:pt x="1396" y="617"/>
                  <a:pt x="1396" y="617"/>
                </a:cubicBezTo>
                <a:cubicBezTo>
                  <a:pt x="1396" y="617"/>
                  <a:pt x="1392" y="617"/>
                  <a:pt x="1397" y="621"/>
                </a:cubicBezTo>
                <a:cubicBezTo>
                  <a:pt x="1402" y="625"/>
                  <a:pt x="1409" y="613"/>
                  <a:pt x="1409" y="613"/>
                </a:cubicBezTo>
                <a:cubicBezTo>
                  <a:pt x="1409" y="613"/>
                  <a:pt x="1409" y="600"/>
                  <a:pt x="1413" y="596"/>
                </a:cubicBezTo>
                <a:cubicBezTo>
                  <a:pt x="1417" y="591"/>
                  <a:pt x="1422" y="592"/>
                  <a:pt x="1422" y="585"/>
                </a:cubicBezTo>
                <a:cubicBezTo>
                  <a:pt x="1423" y="578"/>
                  <a:pt x="1426" y="572"/>
                  <a:pt x="1422" y="567"/>
                </a:cubicBezTo>
                <a:cubicBezTo>
                  <a:pt x="1417" y="561"/>
                  <a:pt x="1419" y="557"/>
                  <a:pt x="1413" y="555"/>
                </a:cubicBezTo>
                <a:cubicBezTo>
                  <a:pt x="1408" y="553"/>
                  <a:pt x="1405" y="551"/>
                  <a:pt x="1406" y="544"/>
                </a:cubicBezTo>
                <a:cubicBezTo>
                  <a:pt x="1406" y="537"/>
                  <a:pt x="1413" y="526"/>
                  <a:pt x="1413" y="526"/>
                </a:cubicBezTo>
                <a:cubicBezTo>
                  <a:pt x="1413" y="526"/>
                  <a:pt x="1424" y="522"/>
                  <a:pt x="1420" y="527"/>
                </a:cubicBezTo>
                <a:cubicBezTo>
                  <a:pt x="1416" y="532"/>
                  <a:pt x="1413" y="542"/>
                  <a:pt x="1417" y="546"/>
                </a:cubicBezTo>
                <a:cubicBezTo>
                  <a:pt x="1422" y="551"/>
                  <a:pt x="1424" y="555"/>
                  <a:pt x="1428" y="557"/>
                </a:cubicBezTo>
                <a:cubicBezTo>
                  <a:pt x="1431" y="559"/>
                  <a:pt x="1441" y="551"/>
                  <a:pt x="1441" y="551"/>
                </a:cubicBezTo>
                <a:cubicBezTo>
                  <a:pt x="1441" y="551"/>
                  <a:pt x="1444" y="544"/>
                  <a:pt x="1444" y="542"/>
                </a:cubicBezTo>
                <a:cubicBezTo>
                  <a:pt x="1444" y="539"/>
                  <a:pt x="1450" y="519"/>
                  <a:pt x="1450" y="519"/>
                </a:cubicBezTo>
                <a:cubicBezTo>
                  <a:pt x="1450" y="519"/>
                  <a:pt x="1452" y="506"/>
                  <a:pt x="1452" y="499"/>
                </a:cubicBezTo>
                <a:cubicBezTo>
                  <a:pt x="1452" y="493"/>
                  <a:pt x="1475" y="479"/>
                  <a:pt x="1475" y="479"/>
                </a:cubicBezTo>
                <a:cubicBezTo>
                  <a:pt x="1475" y="479"/>
                  <a:pt x="1485" y="472"/>
                  <a:pt x="1494" y="475"/>
                </a:cubicBezTo>
                <a:cubicBezTo>
                  <a:pt x="1502" y="477"/>
                  <a:pt x="1494" y="466"/>
                  <a:pt x="1510" y="468"/>
                </a:cubicBezTo>
                <a:cubicBezTo>
                  <a:pt x="1526" y="469"/>
                  <a:pt x="1536" y="460"/>
                  <a:pt x="1536" y="460"/>
                </a:cubicBezTo>
                <a:cubicBezTo>
                  <a:pt x="1536" y="460"/>
                  <a:pt x="1540" y="458"/>
                  <a:pt x="1543" y="454"/>
                </a:cubicBezTo>
                <a:cubicBezTo>
                  <a:pt x="1547" y="450"/>
                  <a:pt x="1549" y="448"/>
                  <a:pt x="1549" y="444"/>
                </a:cubicBezTo>
                <a:cubicBezTo>
                  <a:pt x="1549" y="440"/>
                  <a:pt x="1549" y="432"/>
                  <a:pt x="1549" y="432"/>
                </a:cubicBezTo>
                <a:cubicBezTo>
                  <a:pt x="1549" y="432"/>
                  <a:pt x="1545" y="427"/>
                  <a:pt x="1543" y="421"/>
                </a:cubicBezTo>
                <a:cubicBezTo>
                  <a:pt x="1542" y="415"/>
                  <a:pt x="1542" y="420"/>
                  <a:pt x="1545" y="404"/>
                </a:cubicBezTo>
                <a:cubicBezTo>
                  <a:pt x="1549" y="388"/>
                  <a:pt x="1575" y="360"/>
                  <a:pt x="1575" y="360"/>
                </a:cubicBezTo>
                <a:cubicBezTo>
                  <a:pt x="1575" y="360"/>
                  <a:pt x="1610" y="351"/>
                  <a:pt x="1619" y="347"/>
                </a:cubicBezTo>
                <a:cubicBezTo>
                  <a:pt x="1629" y="344"/>
                  <a:pt x="1637" y="340"/>
                  <a:pt x="1642" y="333"/>
                </a:cubicBezTo>
                <a:cubicBezTo>
                  <a:pt x="1644" y="330"/>
                  <a:pt x="1644" y="330"/>
                  <a:pt x="1644" y="330"/>
                </a:cubicBezTo>
                <a:lnTo>
                  <a:pt x="1642" y="328"/>
                </a:lnTo>
                <a:close/>
                <a:moveTo>
                  <a:pt x="1121" y="313"/>
                </a:moveTo>
                <a:cubicBezTo>
                  <a:pt x="1108" y="322"/>
                  <a:pt x="1093" y="364"/>
                  <a:pt x="1093" y="364"/>
                </a:cubicBezTo>
                <a:cubicBezTo>
                  <a:pt x="1093" y="364"/>
                  <a:pt x="1093" y="410"/>
                  <a:pt x="1090" y="419"/>
                </a:cubicBezTo>
                <a:cubicBezTo>
                  <a:pt x="1088" y="429"/>
                  <a:pt x="1071" y="446"/>
                  <a:pt x="1063" y="449"/>
                </a:cubicBezTo>
                <a:cubicBezTo>
                  <a:pt x="1054" y="452"/>
                  <a:pt x="1051" y="403"/>
                  <a:pt x="1057" y="384"/>
                </a:cubicBezTo>
                <a:cubicBezTo>
                  <a:pt x="1064" y="365"/>
                  <a:pt x="1067" y="364"/>
                  <a:pt x="1068" y="350"/>
                </a:cubicBezTo>
                <a:cubicBezTo>
                  <a:pt x="1069" y="336"/>
                  <a:pt x="1058" y="340"/>
                  <a:pt x="1063" y="319"/>
                </a:cubicBezTo>
                <a:cubicBezTo>
                  <a:pt x="1067" y="298"/>
                  <a:pt x="1079" y="309"/>
                  <a:pt x="1093" y="296"/>
                </a:cubicBezTo>
                <a:cubicBezTo>
                  <a:pt x="1106" y="282"/>
                  <a:pt x="1113" y="292"/>
                  <a:pt x="1122" y="296"/>
                </a:cubicBezTo>
                <a:cubicBezTo>
                  <a:pt x="1127" y="297"/>
                  <a:pt x="1130" y="297"/>
                  <a:pt x="1134" y="297"/>
                </a:cubicBezTo>
                <a:cubicBezTo>
                  <a:pt x="1130" y="299"/>
                  <a:pt x="1130" y="307"/>
                  <a:pt x="1121" y="313"/>
                </a:cubicBezTo>
                <a:close/>
                <a:moveTo>
                  <a:pt x="1302" y="407"/>
                </a:moveTo>
                <a:cubicBezTo>
                  <a:pt x="1300" y="411"/>
                  <a:pt x="1298" y="419"/>
                  <a:pt x="1294" y="420"/>
                </a:cubicBezTo>
                <a:cubicBezTo>
                  <a:pt x="1288" y="421"/>
                  <a:pt x="1277" y="435"/>
                  <a:pt x="1272" y="439"/>
                </a:cubicBezTo>
                <a:cubicBezTo>
                  <a:pt x="1268" y="444"/>
                  <a:pt x="1233" y="465"/>
                  <a:pt x="1217" y="465"/>
                </a:cubicBezTo>
                <a:cubicBezTo>
                  <a:pt x="1201" y="465"/>
                  <a:pt x="1205" y="468"/>
                  <a:pt x="1185" y="460"/>
                </a:cubicBezTo>
                <a:cubicBezTo>
                  <a:pt x="1165" y="451"/>
                  <a:pt x="1173" y="450"/>
                  <a:pt x="1174" y="444"/>
                </a:cubicBezTo>
                <a:cubicBezTo>
                  <a:pt x="1175" y="437"/>
                  <a:pt x="1198" y="444"/>
                  <a:pt x="1205" y="437"/>
                </a:cubicBezTo>
                <a:cubicBezTo>
                  <a:pt x="1205" y="437"/>
                  <a:pt x="1216" y="423"/>
                  <a:pt x="1221" y="426"/>
                </a:cubicBezTo>
                <a:cubicBezTo>
                  <a:pt x="1227" y="428"/>
                  <a:pt x="1248" y="426"/>
                  <a:pt x="1255" y="416"/>
                </a:cubicBezTo>
                <a:cubicBezTo>
                  <a:pt x="1263" y="406"/>
                  <a:pt x="1270" y="419"/>
                  <a:pt x="1278" y="415"/>
                </a:cubicBezTo>
                <a:cubicBezTo>
                  <a:pt x="1284" y="411"/>
                  <a:pt x="1298" y="410"/>
                  <a:pt x="1302" y="407"/>
                </a:cubicBezTo>
                <a:cubicBezTo>
                  <a:pt x="1302" y="406"/>
                  <a:pt x="1302" y="405"/>
                  <a:pt x="1302" y="406"/>
                </a:cubicBezTo>
                <a:cubicBezTo>
                  <a:pt x="1302" y="407"/>
                  <a:pt x="1302" y="407"/>
                  <a:pt x="1302" y="40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99" name="Freeform 432"/>
          <p:cNvSpPr>
            <a:spLocks noEditPoints="1"/>
          </p:cNvSpPr>
          <p:nvPr userDrawn="1"/>
        </p:nvSpPr>
        <p:spPr bwMode="auto">
          <a:xfrm>
            <a:off x="2601123" y="2662869"/>
            <a:ext cx="1653316" cy="1107236"/>
          </a:xfrm>
          <a:custGeom>
            <a:avLst/>
            <a:gdLst>
              <a:gd name="T0" fmla="*/ 2147483646 w 1772"/>
              <a:gd name="T1" fmla="*/ 2147483646 h 1187"/>
              <a:gd name="T2" fmla="*/ 2147483646 w 1772"/>
              <a:gd name="T3" fmla="*/ 2147483646 h 1187"/>
              <a:gd name="T4" fmla="*/ 2147483646 w 1772"/>
              <a:gd name="T5" fmla="*/ 2147483646 h 1187"/>
              <a:gd name="T6" fmla="*/ 2147483646 w 1772"/>
              <a:gd name="T7" fmla="*/ 2147483646 h 1187"/>
              <a:gd name="T8" fmla="*/ 2147483646 w 1772"/>
              <a:gd name="T9" fmla="*/ 2147483646 h 1187"/>
              <a:gd name="T10" fmla="*/ 2147483646 w 1772"/>
              <a:gd name="T11" fmla="*/ 2147483646 h 1187"/>
              <a:gd name="T12" fmla="*/ 2147483646 w 1772"/>
              <a:gd name="T13" fmla="*/ 2147483646 h 1187"/>
              <a:gd name="T14" fmla="*/ 2147483646 w 1772"/>
              <a:gd name="T15" fmla="*/ 2147483646 h 1187"/>
              <a:gd name="T16" fmla="*/ 2147483646 w 1772"/>
              <a:gd name="T17" fmla="*/ 2147483646 h 1187"/>
              <a:gd name="T18" fmla="*/ 2147483646 w 1772"/>
              <a:gd name="T19" fmla="*/ 2147483646 h 1187"/>
              <a:gd name="T20" fmla="*/ 2147483646 w 1772"/>
              <a:gd name="T21" fmla="*/ 2147483646 h 1187"/>
              <a:gd name="T22" fmla="*/ 2147483646 w 1772"/>
              <a:gd name="T23" fmla="*/ 2147483646 h 1187"/>
              <a:gd name="T24" fmla="*/ 2147483646 w 1772"/>
              <a:gd name="T25" fmla="*/ 2147483646 h 1187"/>
              <a:gd name="T26" fmla="*/ 2147483646 w 1772"/>
              <a:gd name="T27" fmla="*/ 2147483646 h 1187"/>
              <a:gd name="T28" fmla="*/ 2147483646 w 1772"/>
              <a:gd name="T29" fmla="*/ 2147483646 h 1187"/>
              <a:gd name="T30" fmla="*/ 2147483646 w 1772"/>
              <a:gd name="T31" fmla="*/ 2147483646 h 1187"/>
              <a:gd name="T32" fmla="*/ 2147483646 w 1772"/>
              <a:gd name="T33" fmla="*/ 2147483646 h 1187"/>
              <a:gd name="T34" fmla="*/ 2147483646 w 1772"/>
              <a:gd name="T35" fmla="*/ 2147483646 h 1187"/>
              <a:gd name="T36" fmla="*/ 2147483646 w 1772"/>
              <a:gd name="T37" fmla="*/ 2147483646 h 1187"/>
              <a:gd name="T38" fmla="*/ 2147483646 w 1772"/>
              <a:gd name="T39" fmla="*/ 2147483646 h 1187"/>
              <a:gd name="T40" fmla="*/ 2147483646 w 1772"/>
              <a:gd name="T41" fmla="*/ 2147483646 h 1187"/>
              <a:gd name="T42" fmla="*/ 2147483646 w 1772"/>
              <a:gd name="T43" fmla="*/ 2147483646 h 1187"/>
              <a:gd name="T44" fmla="*/ 2147483646 w 1772"/>
              <a:gd name="T45" fmla="*/ 2147483646 h 1187"/>
              <a:gd name="T46" fmla="*/ 2147483646 w 1772"/>
              <a:gd name="T47" fmla="*/ 2147483646 h 1187"/>
              <a:gd name="T48" fmla="*/ 2147483646 w 1772"/>
              <a:gd name="T49" fmla="*/ 2147483646 h 1187"/>
              <a:gd name="T50" fmla="*/ 2147483646 w 1772"/>
              <a:gd name="T51" fmla="*/ 2147483646 h 1187"/>
              <a:gd name="T52" fmla="*/ 2147483646 w 1772"/>
              <a:gd name="T53" fmla="*/ 2147483646 h 1187"/>
              <a:gd name="T54" fmla="*/ 2147483646 w 1772"/>
              <a:gd name="T55" fmla="*/ 2147483646 h 1187"/>
              <a:gd name="T56" fmla="*/ 2147483646 w 1772"/>
              <a:gd name="T57" fmla="*/ 2147483646 h 1187"/>
              <a:gd name="T58" fmla="*/ 2147483646 w 1772"/>
              <a:gd name="T59" fmla="*/ 2147483646 h 1187"/>
              <a:gd name="T60" fmla="*/ 2147483646 w 1772"/>
              <a:gd name="T61" fmla="*/ 2147483646 h 1187"/>
              <a:gd name="T62" fmla="*/ 2147483646 w 1772"/>
              <a:gd name="T63" fmla="*/ 2147483646 h 1187"/>
              <a:gd name="T64" fmla="*/ 2147483646 w 1772"/>
              <a:gd name="T65" fmla="*/ 2147483646 h 1187"/>
              <a:gd name="T66" fmla="*/ 2147483646 w 1772"/>
              <a:gd name="T67" fmla="*/ 2147483646 h 1187"/>
              <a:gd name="T68" fmla="*/ 2147483646 w 1772"/>
              <a:gd name="T69" fmla="*/ 2147483646 h 1187"/>
              <a:gd name="T70" fmla="*/ 2147483646 w 1772"/>
              <a:gd name="T71" fmla="*/ 2147483646 h 1187"/>
              <a:gd name="T72" fmla="*/ 2147483646 w 1772"/>
              <a:gd name="T73" fmla="*/ 2147483646 h 1187"/>
              <a:gd name="T74" fmla="*/ 2147483646 w 1772"/>
              <a:gd name="T75" fmla="*/ 2147483646 h 1187"/>
              <a:gd name="T76" fmla="*/ 2147483646 w 1772"/>
              <a:gd name="T77" fmla="*/ 2147483646 h 1187"/>
              <a:gd name="T78" fmla="*/ 2147483646 w 1772"/>
              <a:gd name="T79" fmla="*/ 2147483646 h 1187"/>
              <a:gd name="T80" fmla="*/ 2147483646 w 1772"/>
              <a:gd name="T81" fmla="*/ 2147483646 h 1187"/>
              <a:gd name="T82" fmla="*/ 2147483646 w 1772"/>
              <a:gd name="T83" fmla="*/ 2147483646 h 1187"/>
              <a:gd name="T84" fmla="*/ 2147483646 w 1772"/>
              <a:gd name="T85" fmla="*/ 2147483646 h 1187"/>
              <a:gd name="T86" fmla="*/ 2147483646 w 1772"/>
              <a:gd name="T87" fmla="*/ 2147483646 h 1187"/>
              <a:gd name="T88" fmla="*/ 2147483646 w 1772"/>
              <a:gd name="T89" fmla="*/ 2147483646 h 1187"/>
              <a:gd name="T90" fmla="*/ 2147483646 w 1772"/>
              <a:gd name="T91" fmla="*/ 2147483646 h 1187"/>
              <a:gd name="T92" fmla="*/ 2147483646 w 1772"/>
              <a:gd name="T93" fmla="*/ 2147483646 h 1187"/>
              <a:gd name="T94" fmla="*/ 2147483646 w 1772"/>
              <a:gd name="T95" fmla="*/ 2147483646 h 1187"/>
              <a:gd name="T96" fmla="*/ 2147483646 w 1772"/>
              <a:gd name="T97" fmla="*/ 2147483646 h 1187"/>
              <a:gd name="T98" fmla="*/ 2147483646 w 1772"/>
              <a:gd name="T99" fmla="*/ 2147483646 h 1187"/>
              <a:gd name="T100" fmla="*/ 2147483646 w 1772"/>
              <a:gd name="T101" fmla="*/ 2147483646 h 1187"/>
              <a:gd name="T102" fmla="*/ 2147483646 w 1772"/>
              <a:gd name="T103" fmla="*/ 2147483646 h 1187"/>
              <a:gd name="T104" fmla="*/ 2147483646 w 1772"/>
              <a:gd name="T105" fmla="*/ 2147483646 h 1187"/>
              <a:gd name="T106" fmla="*/ 2147483646 w 1772"/>
              <a:gd name="T107" fmla="*/ 2147483646 h 1187"/>
              <a:gd name="T108" fmla="*/ 2147483646 w 1772"/>
              <a:gd name="T109" fmla="*/ 2147483646 h 1187"/>
              <a:gd name="T110" fmla="*/ 2147483646 w 1772"/>
              <a:gd name="T111" fmla="*/ 2147483646 h 1187"/>
              <a:gd name="T112" fmla="*/ 2147483646 w 1772"/>
              <a:gd name="T113" fmla="*/ 2147483646 h 1187"/>
              <a:gd name="T114" fmla="*/ 2147483646 w 1772"/>
              <a:gd name="T115" fmla="*/ 2147483646 h 1187"/>
              <a:gd name="T116" fmla="*/ 2147483646 w 1772"/>
              <a:gd name="T117" fmla="*/ 2147483646 h 1187"/>
              <a:gd name="T118" fmla="*/ 2147483646 w 1772"/>
              <a:gd name="T119" fmla="*/ 2147483646 h 1187"/>
              <a:gd name="T120" fmla="*/ 2147483646 w 1772"/>
              <a:gd name="T121" fmla="*/ 2147483646 h 1187"/>
              <a:gd name="T122" fmla="*/ 2147483646 w 1772"/>
              <a:gd name="T123" fmla="*/ 2147483646 h 118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772"/>
              <a:gd name="T187" fmla="*/ 0 h 1187"/>
              <a:gd name="T188" fmla="*/ 1772 w 1772"/>
              <a:gd name="T189" fmla="*/ 1187 h 118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772" h="1187">
                <a:moveTo>
                  <a:pt x="1762" y="825"/>
                </a:moveTo>
                <a:cubicBezTo>
                  <a:pt x="1753" y="819"/>
                  <a:pt x="1749" y="817"/>
                  <a:pt x="1749" y="817"/>
                </a:cubicBezTo>
                <a:cubicBezTo>
                  <a:pt x="1751" y="802"/>
                  <a:pt x="1751" y="802"/>
                  <a:pt x="1751" y="802"/>
                </a:cubicBezTo>
                <a:cubicBezTo>
                  <a:pt x="1751" y="802"/>
                  <a:pt x="1751" y="784"/>
                  <a:pt x="1742" y="784"/>
                </a:cubicBezTo>
                <a:cubicBezTo>
                  <a:pt x="1733" y="784"/>
                  <a:pt x="1726" y="778"/>
                  <a:pt x="1726" y="778"/>
                </a:cubicBezTo>
                <a:cubicBezTo>
                  <a:pt x="1726" y="778"/>
                  <a:pt x="1719" y="787"/>
                  <a:pt x="1716" y="788"/>
                </a:cubicBezTo>
                <a:cubicBezTo>
                  <a:pt x="1713" y="790"/>
                  <a:pt x="1708" y="775"/>
                  <a:pt x="1708" y="775"/>
                </a:cubicBezTo>
                <a:cubicBezTo>
                  <a:pt x="1708" y="775"/>
                  <a:pt x="1684" y="772"/>
                  <a:pt x="1680" y="777"/>
                </a:cubicBezTo>
                <a:cubicBezTo>
                  <a:pt x="1676" y="781"/>
                  <a:pt x="1670" y="787"/>
                  <a:pt x="1670" y="787"/>
                </a:cubicBezTo>
                <a:cubicBezTo>
                  <a:pt x="1670" y="787"/>
                  <a:pt x="1651" y="805"/>
                  <a:pt x="1649" y="805"/>
                </a:cubicBezTo>
                <a:cubicBezTo>
                  <a:pt x="1647" y="805"/>
                  <a:pt x="1644" y="797"/>
                  <a:pt x="1644" y="797"/>
                </a:cubicBezTo>
                <a:cubicBezTo>
                  <a:pt x="1644" y="797"/>
                  <a:pt x="1667" y="775"/>
                  <a:pt x="1677" y="770"/>
                </a:cubicBezTo>
                <a:cubicBezTo>
                  <a:pt x="1688" y="764"/>
                  <a:pt x="1708" y="766"/>
                  <a:pt x="1699" y="757"/>
                </a:cubicBezTo>
                <a:cubicBezTo>
                  <a:pt x="1690" y="748"/>
                  <a:pt x="1662" y="749"/>
                  <a:pt x="1659" y="745"/>
                </a:cubicBezTo>
                <a:cubicBezTo>
                  <a:pt x="1655" y="741"/>
                  <a:pt x="1655" y="737"/>
                  <a:pt x="1650" y="740"/>
                </a:cubicBezTo>
                <a:cubicBezTo>
                  <a:pt x="1644" y="743"/>
                  <a:pt x="1640" y="756"/>
                  <a:pt x="1634" y="748"/>
                </a:cubicBezTo>
                <a:cubicBezTo>
                  <a:pt x="1629" y="739"/>
                  <a:pt x="1630" y="740"/>
                  <a:pt x="1625" y="733"/>
                </a:cubicBezTo>
                <a:cubicBezTo>
                  <a:pt x="1620" y="726"/>
                  <a:pt x="1616" y="721"/>
                  <a:pt x="1616" y="721"/>
                </a:cubicBezTo>
                <a:cubicBezTo>
                  <a:pt x="1616" y="721"/>
                  <a:pt x="1587" y="703"/>
                  <a:pt x="1581" y="693"/>
                </a:cubicBezTo>
                <a:cubicBezTo>
                  <a:pt x="1576" y="683"/>
                  <a:pt x="1592" y="688"/>
                  <a:pt x="1585" y="679"/>
                </a:cubicBezTo>
                <a:cubicBezTo>
                  <a:pt x="1579" y="670"/>
                  <a:pt x="1569" y="658"/>
                  <a:pt x="1562" y="655"/>
                </a:cubicBezTo>
                <a:cubicBezTo>
                  <a:pt x="1554" y="652"/>
                  <a:pt x="1557" y="648"/>
                  <a:pt x="1550" y="649"/>
                </a:cubicBezTo>
                <a:cubicBezTo>
                  <a:pt x="1543" y="651"/>
                  <a:pt x="1540" y="645"/>
                  <a:pt x="1542" y="641"/>
                </a:cubicBezTo>
                <a:cubicBezTo>
                  <a:pt x="1543" y="638"/>
                  <a:pt x="1549" y="624"/>
                  <a:pt x="1542" y="628"/>
                </a:cubicBezTo>
                <a:cubicBezTo>
                  <a:pt x="1536" y="631"/>
                  <a:pt x="1531" y="624"/>
                  <a:pt x="1531" y="624"/>
                </a:cubicBezTo>
                <a:cubicBezTo>
                  <a:pt x="1531" y="624"/>
                  <a:pt x="1539" y="608"/>
                  <a:pt x="1533" y="612"/>
                </a:cubicBezTo>
                <a:cubicBezTo>
                  <a:pt x="1528" y="616"/>
                  <a:pt x="1526" y="611"/>
                  <a:pt x="1526" y="611"/>
                </a:cubicBezTo>
                <a:cubicBezTo>
                  <a:pt x="1524" y="606"/>
                  <a:pt x="1524" y="606"/>
                  <a:pt x="1524" y="606"/>
                </a:cubicBezTo>
                <a:cubicBezTo>
                  <a:pt x="1524" y="602"/>
                  <a:pt x="1524" y="602"/>
                  <a:pt x="1524" y="602"/>
                </a:cubicBezTo>
                <a:cubicBezTo>
                  <a:pt x="1524" y="602"/>
                  <a:pt x="1521" y="596"/>
                  <a:pt x="1518" y="601"/>
                </a:cubicBezTo>
                <a:cubicBezTo>
                  <a:pt x="1515" y="606"/>
                  <a:pt x="1513" y="610"/>
                  <a:pt x="1513" y="610"/>
                </a:cubicBezTo>
                <a:cubicBezTo>
                  <a:pt x="1512" y="597"/>
                  <a:pt x="1512" y="597"/>
                  <a:pt x="1512" y="597"/>
                </a:cubicBezTo>
                <a:cubicBezTo>
                  <a:pt x="1512" y="597"/>
                  <a:pt x="1515" y="586"/>
                  <a:pt x="1512" y="586"/>
                </a:cubicBezTo>
                <a:cubicBezTo>
                  <a:pt x="1509" y="585"/>
                  <a:pt x="1503" y="586"/>
                  <a:pt x="1503" y="586"/>
                </a:cubicBezTo>
                <a:cubicBezTo>
                  <a:pt x="1497" y="576"/>
                  <a:pt x="1497" y="576"/>
                  <a:pt x="1497" y="576"/>
                </a:cubicBezTo>
                <a:cubicBezTo>
                  <a:pt x="1495" y="567"/>
                  <a:pt x="1495" y="567"/>
                  <a:pt x="1495" y="567"/>
                </a:cubicBezTo>
                <a:cubicBezTo>
                  <a:pt x="1488" y="564"/>
                  <a:pt x="1488" y="564"/>
                  <a:pt x="1488" y="564"/>
                </a:cubicBezTo>
                <a:cubicBezTo>
                  <a:pt x="1488" y="564"/>
                  <a:pt x="1484" y="573"/>
                  <a:pt x="1484" y="578"/>
                </a:cubicBezTo>
                <a:cubicBezTo>
                  <a:pt x="1485" y="584"/>
                  <a:pt x="1490" y="590"/>
                  <a:pt x="1483" y="595"/>
                </a:cubicBezTo>
                <a:cubicBezTo>
                  <a:pt x="1476" y="600"/>
                  <a:pt x="1472" y="593"/>
                  <a:pt x="1477" y="603"/>
                </a:cubicBezTo>
                <a:cubicBezTo>
                  <a:pt x="1482" y="613"/>
                  <a:pt x="1486" y="609"/>
                  <a:pt x="1484" y="616"/>
                </a:cubicBezTo>
                <a:cubicBezTo>
                  <a:pt x="1483" y="622"/>
                  <a:pt x="1480" y="622"/>
                  <a:pt x="1480" y="627"/>
                </a:cubicBezTo>
                <a:cubicBezTo>
                  <a:pt x="1480" y="631"/>
                  <a:pt x="1479" y="641"/>
                  <a:pt x="1479" y="641"/>
                </a:cubicBezTo>
                <a:cubicBezTo>
                  <a:pt x="1474" y="628"/>
                  <a:pt x="1474" y="628"/>
                  <a:pt x="1474" y="628"/>
                </a:cubicBezTo>
                <a:cubicBezTo>
                  <a:pt x="1474" y="628"/>
                  <a:pt x="1475" y="612"/>
                  <a:pt x="1468" y="623"/>
                </a:cubicBezTo>
                <a:cubicBezTo>
                  <a:pt x="1461" y="634"/>
                  <a:pt x="1464" y="637"/>
                  <a:pt x="1453" y="645"/>
                </a:cubicBezTo>
                <a:cubicBezTo>
                  <a:pt x="1441" y="652"/>
                  <a:pt x="1432" y="656"/>
                  <a:pt x="1432" y="656"/>
                </a:cubicBezTo>
                <a:cubicBezTo>
                  <a:pt x="1432" y="656"/>
                  <a:pt x="1435" y="650"/>
                  <a:pt x="1434" y="644"/>
                </a:cubicBezTo>
                <a:cubicBezTo>
                  <a:pt x="1432" y="638"/>
                  <a:pt x="1446" y="640"/>
                  <a:pt x="1431" y="634"/>
                </a:cubicBezTo>
                <a:cubicBezTo>
                  <a:pt x="1416" y="628"/>
                  <a:pt x="1419" y="621"/>
                  <a:pt x="1414" y="627"/>
                </a:cubicBezTo>
                <a:cubicBezTo>
                  <a:pt x="1409" y="632"/>
                  <a:pt x="1400" y="635"/>
                  <a:pt x="1400" y="635"/>
                </a:cubicBezTo>
                <a:cubicBezTo>
                  <a:pt x="1400" y="635"/>
                  <a:pt x="1391" y="639"/>
                  <a:pt x="1392" y="631"/>
                </a:cubicBezTo>
                <a:cubicBezTo>
                  <a:pt x="1392" y="624"/>
                  <a:pt x="1403" y="614"/>
                  <a:pt x="1401" y="611"/>
                </a:cubicBezTo>
                <a:cubicBezTo>
                  <a:pt x="1400" y="609"/>
                  <a:pt x="1405" y="599"/>
                  <a:pt x="1399" y="603"/>
                </a:cubicBezTo>
                <a:cubicBezTo>
                  <a:pt x="1394" y="607"/>
                  <a:pt x="1390" y="609"/>
                  <a:pt x="1391" y="603"/>
                </a:cubicBezTo>
                <a:cubicBezTo>
                  <a:pt x="1392" y="598"/>
                  <a:pt x="1397" y="589"/>
                  <a:pt x="1397" y="589"/>
                </a:cubicBezTo>
                <a:cubicBezTo>
                  <a:pt x="1392" y="579"/>
                  <a:pt x="1392" y="579"/>
                  <a:pt x="1392" y="579"/>
                </a:cubicBezTo>
                <a:cubicBezTo>
                  <a:pt x="1396" y="569"/>
                  <a:pt x="1396" y="569"/>
                  <a:pt x="1396" y="569"/>
                </a:cubicBezTo>
                <a:cubicBezTo>
                  <a:pt x="1396" y="569"/>
                  <a:pt x="1395" y="558"/>
                  <a:pt x="1387" y="559"/>
                </a:cubicBezTo>
                <a:cubicBezTo>
                  <a:pt x="1379" y="559"/>
                  <a:pt x="1373" y="557"/>
                  <a:pt x="1373" y="557"/>
                </a:cubicBezTo>
                <a:cubicBezTo>
                  <a:pt x="1360" y="548"/>
                  <a:pt x="1360" y="548"/>
                  <a:pt x="1360" y="548"/>
                </a:cubicBezTo>
                <a:cubicBezTo>
                  <a:pt x="1360" y="548"/>
                  <a:pt x="1340" y="544"/>
                  <a:pt x="1339" y="539"/>
                </a:cubicBezTo>
                <a:cubicBezTo>
                  <a:pt x="1338" y="533"/>
                  <a:pt x="1341" y="524"/>
                  <a:pt x="1336" y="528"/>
                </a:cubicBezTo>
                <a:cubicBezTo>
                  <a:pt x="1330" y="531"/>
                  <a:pt x="1322" y="520"/>
                  <a:pt x="1322" y="520"/>
                </a:cubicBezTo>
                <a:cubicBezTo>
                  <a:pt x="1315" y="519"/>
                  <a:pt x="1315" y="519"/>
                  <a:pt x="1315" y="519"/>
                </a:cubicBezTo>
                <a:cubicBezTo>
                  <a:pt x="1303" y="506"/>
                  <a:pt x="1303" y="506"/>
                  <a:pt x="1303" y="506"/>
                </a:cubicBezTo>
                <a:cubicBezTo>
                  <a:pt x="1303" y="506"/>
                  <a:pt x="1298" y="506"/>
                  <a:pt x="1295" y="509"/>
                </a:cubicBezTo>
                <a:cubicBezTo>
                  <a:pt x="1292" y="512"/>
                  <a:pt x="1294" y="514"/>
                  <a:pt x="1287" y="515"/>
                </a:cubicBezTo>
                <a:cubicBezTo>
                  <a:pt x="1279" y="517"/>
                  <a:pt x="1275" y="514"/>
                  <a:pt x="1275" y="514"/>
                </a:cubicBezTo>
                <a:cubicBezTo>
                  <a:pt x="1275" y="514"/>
                  <a:pt x="1263" y="511"/>
                  <a:pt x="1253" y="510"/>
                </a:cubicBezTo>
                <a:cubicBezTo>
                  <a:pt x="1242" y="510"/>
                  <a:pt x="1228" y="492"/>
                  <a:pt x="1222" y="503"/>
                </a:cubicBezTo>
                <a:cubicBezTo>
                  <a:pt x="1215" y="515"/>
                  <a:pt x="1211" y="524"/>
                  <a:pt x="1220" y="530"/>
                </a:cubicBezTo>
                <a:cubicBezTo>
                  <a:pt x="1229" y="537"/>
                  <a:pt x="1235" y="544"/>
                  <a:pt x="1231" y="549"/>
                </a:cubicBezTo>
                <a:cubicBezTo>
                  <a:pt x="1227" y="555"/>
                  <a:pt x="1225" y="569"/>
                  <a:pt x="1225" y="569"/>
                </a:cubicBezTo>
                <a:cubicBezTo>
                  <a:pt x="1225" y="569"/>
                  <a:pt x="1230" y="591"/>
                  <a:pt x="1229" y="593"/>
                </a:cubicBezTo>
                <a:cubicBezTo>
                  <a:pt x="1228" y="596"/>
                  <a:pt x="1231" y="601"/>
                  <a:pt x="1231" y="601"/>
                </a:cubicBezTo>
                <a:cubicBezTo>
                  <a:pt x="1231" y="601"/>
                  <a:pt x="1230" y="601"/>
                  <a:pt x="1219" y="614"/>
                </a:cubicBezTo>
                <a:cubicBezTo>
                  <a:pt x="1208" y="627"/>
                  <a:pt x="1215" y="632"/>
                  <a:pt x="1211" y="636"/>
                </a:cubicBezTo>
                <a:cubicBezTo>
                  <a:pt x="1208" y="640"/>
                  <a:pt x="1190" y="636"/>
                  <a:pt x="1206" y="642"/>
                </a:cubicBezTo>
                <a:cubicBezTo>
                  <a:pt x="1222" y="649"/>
                  <a:pt x="1303" y="750"/>
                  <a:pt x="1187" y="782"/>
                </a:cubicBezTo>
                <a:cubicBezTo>
                  <a:pt x="1187" y="782"/>
                  <a:pt x="1177" y="783"/>
                  <a:pt x="1182" y="789"/>
                </a:cubicBezTo>
                <a:cubicBezTo>
                  <a:pt x="1187" y="795"/>
                  <a:pt x="1190" y="807"/>
                  <a:pt x="1192" y="810"/>
                </a:cubicBezTo>
                <a:cubicBezTo>
                  <a:pt x="1194" y="813"/>
                  <a:pt x="1197" y="824"/>
                  <a:pt x="1197" y="824"/>
                </a:cubicBezTo>
                <a:cubicBezTo>
                  <a:pt x="1197" y="824"/>
                  <a:pt x="1202" y="857"/>
                  <a:pt x="1206" y="861"/>
                </a:cubicBezTo>
                <a:cubicBezTo>
                  <a:pt x="1209" y="865"/>
                  <a:pt x="1212" y="870"/>
                  <a:pt x="1204" y="875"/>
                </a:cubicBezTo>
                <a:cubicBezTo>
                  <a:pt x="1197" y="880"/>
                  <a:pt x="1194" y="876"/>
                  <a:pt x="1196" y="887"/>
                </a:cubicBezTo>
                <a:cubicBezTo>
                  <a:pt x="1198" y="898"/>
                  <a:pt x="1202" y="902"/>
                  <a:pt x="1202" y="902"/>
                </a:cubicBezTo>
                <a:cubicBezTo>
                  <a:pt x="1202" y="902"/>
                  <a:pt x="1186" y="910"/>
                  <a:pt x="1186" y="903"/>
                </a:cubicBezTo>
                <a:cubicBezTo>
                  <a:pt x="1186" y="896"/>
                  <a:pt x="1190" y="882"/>
                  <a:pt x="1183" y="892"/>
                </a:cubicBezTo>
                <a:cubicBezTo>
                  <a:pt x="1175" y="903"/>
                  <a:pt x="1177" y="914"/>
                  <a:pt x="1177" y="914"/>
                </a:cubicBezTo>
                <a:cubicBezTo>
                  <a:pt x="1177" y="914"/>
                  <a:pt x="1172" y="912"/>
                  <a:pt x="1168" y="910"/>
                </a:cubicBezTo>
                <a:cubicBezTo>
                  <a:pt x="1165" y="908"/>
                  <a:pt x="1161" y="905"/>
                  <a:pt x="1161" y="905"/>
                </a:cubicBezTo>
                <a:cubicBezTo>
                  <a:pt x="1161" y="905"/>
                  <a:pt x="1150" y="911"/>
                  <a:pt x="1149" y="905"/>
                </a:cubicBezTo>
                <a:cubicBezTo>
                  <a:pt x="1148" y="898"/>
                  <a:pt x="1145" y="882"/>
                  <a:pt x="1145" y="882"/>
                </a:cubicBezTo>
                <a:cubicBezTo>
                  <a:pt x="1145" y="882"/>
                  <a:pt x="1141" y="869"/>
                  <a:pt x="1133" y="871"/>
                </a:cubicBezTo>
                <a:cubicBezTo>
                  <a:pt x="1125" y="874"/>
                  <a:pt x="1126" y="873"/>
                  <a:pt x="1127" y="867"/>
                </a:cubicBezTo>
                <a:cubicBezTo>
                  <a:pt x="1129" y="861"/>
                  <a:pt x="1117" y="847"/>
                  <a:pt x="1117" y="847"/>
                </a:cubicBezTo>
                <a:cubicBezTo>
                  <a:pt x="1117" y="847"/>
                  <a:pt x="1105" y="838"/>
                  <a:pt x="1112" y="829"/>
                </a:cubicBezTo>
                <a:cubicBezTo>
                  <a:pt x="1118" y="821"/>
                  <a:pt x="1116" y="804"/>
                  <a:pt x="1116" y="804"/>
                </a:cubicBezTo>
                <a:cubicBezTo>
                  <a:pt x="1116" y="804"/>
                  <a:pt x="1102" y="794"/>
                  <a:pt x="1109" y="783"/>
                </a:cubicBezTo>
                <a:cubicBezTo>
                  <a:pt x="1117" y="772"/>
                  <a:pt x="1117" y="766"/>
                  <a:pt x="1117" y="766"/>
                </a:cubicBezTo>
                <a:cubicBezTo>
                  <a:pt x="1117" y="766"/>
                  <a:pt x="1095" y="761"/>
                  <a:pt x="1084" y="760"/>
                </a:cubicBezTo>
                <a:cubicBezTo>
                  <a:pt x="1073" y="759"/>
                  <a:pt x="1065" y="755"/>
                  <a:pt x="1058" y="759"/>
                </a:cubicBezTo>
                <a:cubicBezTo>
                  <a:pt x="1052" y="764"/>
                  <a:pt x="1048" y="762"/>
                  <a:pt x="1048" y="762"/>
                </a:cubicBezTo>
                <a:cubicBezTo>
                  <a:pt x="1048" y="762"/>
                  <a:pt x="1046" y="743"/>
                  <a:pt x="1039" y="741"/>
                </a:cubicBezTo>
                <a:cubicBezTo>
                  <a:pt x="1032" y="739"/>
                  <a:pt x="1053" y="750"/>
                  <a:pt x="1019" y="732"/>
                </a:cubicBezTo>
                <a:cubicBezTo>
                  <a:pt x="985" y="714"/>
                  <a:pt x="983" y="691"/>
                  <a:pt x="950" y="687"/>
                </a:cubicBezTo>
                <a:cubicBezTo>
                  <a:pt x="918" y="684"/>
                  <a:pt x="922" y="676"/>
                  <a:pt x="901" y="683"/>
                </a:cubicBezTo>
                <a:cubicBezTo>
                  <a:pt x="881" y="689"/>
                  <a:pt x="910" y="670"/>
                  <a:pt x="896" y="643"/>
                </a:cubicBezTo>
                <a:cubicBezTo>
                  <a:pt x="885" y="621"/>
                  <a:pt x="872" y="617"/>
                  <a:pt x="868" y="621"/>
                </a:cubicBezTo>
                <a:cubicBezTo>
                  <a:pt x="869" y="616"/>
                  <a:pt x="871" y="606"/>
                  <a:pt x="870" y="594"/>
                </a:cubicBezTo>
                <a:cubicBezTo>
                  <a:pt x="869" y="571"/>
                  <a:pt x="864" y="571"/>
                  <a:pt x="882" y="549"/>
                </a:cubicBezTo>
                <a:cubicBezTo>
                  <a:pt x="900" y="528"/>
                  <a:pt x="917" y="499"/>
                  <a:pt x="941" y="488"/>
                </a:cubicBezTo>
                <a:cubicBezTo>
                  <a:pt x="966" y="477"/>
                  <a:pt x="982" y="476"/>
                  <a:pt x="975" y="463"/>
                </a:cubicBezTo>
                <a:cubicBezTo>
                  <a:pt x="975" y="463"/>
                  <a:pt x="979" y="459"/>
                  <a:pt x="994" y="452"/>
                </a:cubicBezTo>
                <a:cubicBezTo>
                  <a:pt x="1009" y="445"/>
                  <a:pt x="1012" y="438"/>
                  <a:pt x="1015" y="437"/>
                </a:cubicBezTo>
                <a:cubicBezTo>
                  <a:pt x="1017" y="436"/>
                  <a:pt x="1031" y="437"/>
                  <a:pt x="1031" y="437"/>
                </a:cubicBezTo>
                <a:cubicBezTo>
                  <a:pt x="1031" y="437"/>
                  <a:pt x="1055" y="418"/>
                  <a:pt x="1059" y="412"/>
                </a:cubicBezTo>
                <a:cubicBezTo>
                  <a:pt x="1063" y="406"/>
                  <a:pt x="1067" y="407"/>
                  <a:pt x="1058" y="404"/>
                </a:cubicBezTo>
                <a:cubicBezTo>
                  <a:pt x="1054" y="403"/>
                  <a:pt x="1051" y="402"/>
                  <a:pt x="1048" y="402"/>
                </a:cubicBezTo>
                <a:cubicBezTo>
                  <a:pt x="1050" y="402"/>
                  <a:pt x="1052" y="401"/>
                  <a:pt x="1055" y="400"/>
                </a:cubicBezTo>
                <a:cubicBezTo>
                  <a:pt x="1062" y="396"/>
                  <a:pt x="1076" y="387"/>
                  <a:pt x="1078" y="380"/>
                </a:cubicBezTo>
                <a:cubicBezTo>
                  <a:pt x="1080" y="374"/>
                  <a:pt x="1074" y="369"/>
                  <a:pt x="1075" y="362"/>
                </a:cubicBezTo>
                <a:cubicBezTo>
                  <a:pt x="1076" y="355"/>
                  <a:pt x="1085" y="348"/>
                  <a:pt x="1096" y="355"/>
                </a:cubicBezTo>
                <a:cubicBezTo>
                  <a:pt x="1106" y="362"/>
                  <a:pt x="1121" y="358"/>
                  <a:pt x="1125" y="360"/>
                </a:cubicBezTo>
                <a:cubicBezTo>
                  <a:pt x="1130" y="363"/>
                  <a:pt x="1137" y="364"/>
                  <a:pt x="1143" y="359"/>
                </a:cubicBezTo>
                <a:cubicBezTo>
                  <a:pt x="1148" y="353"/>
                  <a:pt x="1157" y="352"/>
                  <a:pt x="1159" y="340"/>
                </a:cubicBezTo>
                <a:cubicBezTo>
                  <a:pt x="1162" y="327"/>
                  <a:pt x="1160" y="320"/>
                  <a:pt x="1160" y="320"/>
                </a:cubicBezTo>
                <a:cubicBezTo>
                  <a:pt x="1160" y="320"/>
                  <a:pt x="1157" y="323"/>
                  <a:pt x="1152" y="315"/>
                </a:cubicBezTo>
                <a:cubicBezTo>
                  <a:pt x="1147" y="306"/>
                  <a:pt x="1144" y="296"/>
                  <a:pt x="1152" y="297"/>
                </a:cubicBezTo>
                <a:cubicBezTo>
                  <a:pt x="1161" y="299"/>
                  <a:pt x="1167" y="293"/>
                  <a:pt x="1167" y="293"/>
                </a:cubicBezTo>
                <a:cubicBezTo>
                  <a:pt x="1163" y="275"/>
                  <a:pt x="1163" y="275"/>
                  <a:pt x="1163" y="275"/>
                </a:cubicBezTo>
                <a:cubicBezTo>
                  <a:pt x="1163" y="275"/>
                  <a:pt x="1155" y="267"/>
                  <a:pt x="1150" y="267"/>
                </a:cubicBezTo>
                <a:cubicBezTo>
                  <a:pt x="1145" y="267"/>
                  <a:pt x="1133" y="258"/>
                  <a:pt x="1127" y="255"/>
                </a:cubicBezTo>
                <a:cubicBezTo>
                  <a:pt x="1122" y="252"/>
                  <a:pt x="1113" y="255"/>
                  <a:pt x="1113" y="255"/>
                </a:cubicBezTo>
                <a:cubicBezTo>
                  <a:pt x="1109" y="266"/>
                  <a:pt x="1109" y="266"/>
                  <a:pt x="1109" y="266"/>
                </a:cubicBezTo>
                <a:cubicBezTo>
                  <a:pt x="1112" y="275"/>
                  <a:pt x="1112" y="275"/>
                  <a:pt x="1112" y="275"/>
                </a:cubicBezTo>
                <a:cubicBezTo>
                  <a:pt x="1112" y="275"/>
                  <a:pt x="1120" y="281"/>
                  <a:pt x="1115" y="284"/>
                </a:cubicBezTo>
                <a:cubicBezTo>
                  <a:pt x="1110" y="288"/>
                  <a:pt x="1108" y="290"/>
                  <a:pt x="1103" y="293"/>
                </a:cubicBezTo>
                <a:cubicBezTo>
                  <a:pt x="1097" y="295"/>
                  <a:pt x="1093" y="304"/>
                  <a:pt x="1093" y="304"/>
                </a:cubicBezTo>
                <a:cubicBezTo>
                  <a:pt x="1085" y="313"/>
                  <a:pt x="1085" y="313"/>
                  <a:pt x="1085" y="313"/>
                </a:cubicBezTo>
                <a:cubicBezTo>
                  <a:pt x="1085" y="313"/>
                  <a:pt x="1076" y="317"/>
                  <a:pt x="1076" y="324"/>
                </a:cubicBezTo>
                <a:cubicBezTo>
                  <a:pt x="1076" y="331"/>
                  <a:pt x="1074" y="337"/>
                  <a:pt x="1067" y="331"/>
                </a:cubicBezTo>
                <a:cubicBezTo>
                  <a:pt x="1061" y="324"/>
                  <a:pt x="1054" y="321"/>
                  <a:pt x="1055" y="312"/>
                </a:cubicBezTo>
                <a:cubicBezTo>
                  <a:pt x="1056" y="303"/>
                  <a:pt x="1062" y="297"/>
                  <a:pt x="1062" y="297"/>
                </a:cubicBezTo>
                <a:cubicBezTo>
                  <a:pt x="1060" y="271"/>
                  <a:pt x="1060" y="271"/>
                  <a:pt x="1060" y="271"/>
                </a:cubicBezTo>
                <a:cubicBezTo>
                  <a:pt x="1060" y="271"/>
                  <a:pt x="1054" y="250"/>
                  <a:pt x="1046" y="263"/>
                </a:cubicBezTo>
                <a:cubicBezTo>
                  <a:pt x="1038" y="275"/>
                  <a:pt x="1035" y="282"/>
                  <a:pt x="1032" y="290"/>
                </a:cubicBezTo>
                <a:cubicBezTo>
                  <a:pt x="1029" y="299"/>
                  <a:pt x="1021" y="296"/>
                  <a:pt x="1021" y="296"/>
                </a:cubicBezTo>
                <a:cubicBezTo>
                  <a:pt x="1023" y="267"/>
                  <a:pt x="1023" y="267"/>
                  <a:pt x="1023" y="267"/>
                </a:cubicBezTo>
                <a:cubicBezTo>
                  <a:pt x="1023" y="267"/>
                  <a:pt x="1028" y="253"/>
                  <a:pt x="1021" y="250"/>
                </a:cubicBezTo>
                <a:cubicBezTo>
                  <a:pt x="1014" y="248"/>
                  <a:pt x="1005" y="244"/>
                  <a:pt x="1005" y="244"/>
                </a:cubicBezTo>
                <a:cubicBezTo>
                  <a:pt x="1005" y="244"/>
                  <a:pt x="1006" y="237"/>
                  <a:pt x="1013" y="230"/>
                </a:cubicBezTo>
                <a:cubicBezTo>
                  <a:pt x="1019" y="222"/>
                  <a:pt x="1022" y="203"/>
                  <a:pt x="1017" y="198"/>
                </a:cubicBezTo>
                <a:cubicBezTo>
                  <a:pt x="1013" y="194"/>
                  <a:pt x="1008" y="178"/>
                  <a:pt x="1008" y="178"/>
                </a:cubicBezTo>
                <a:cubicBezTo>
                  <a:pt x="1008" y="178"/>
                  <a:pt x="1015" y="160"/>
                  <a:pt x="1008" y="162"/>
                </a:cubicBezTo>
                <a:cubicBezTo>
                  <a:pt x="1001" y="164"/>
                  <a:pt x="994" y="167"/>
                  <a:pt x="998" y="163"/>
                </a:cubicBezTo>
                <a:cubicBezTo>
                  <a:pt x="1002" y="159"/>
                  <a:pt x="1012" y="156"/>
                  <a:pt x="1013" y="153"/>
                </a:cubicBezTo>
                <a:cubicBezTo>
                  <a:pt x="1015" y="150"/>
                  <a:pt x="997" y="142"/>
                  <a:pt x="1016" y="142"/>
                </a:cubicBezTo>
                <a:cubicBezTo>
                  <a:pt x="1035" y="142"/>
                  <a:pt x="1042" y="138"/>
                  <a:pt x="1042" y="138"/>
                </a:cubicBezTo>
                <a:cubicBezTo>
                  <a:pt x="1042" y="138"/>
                  <a:pt x="1054" y="131"/>
                  <a:pt x="1056" y="124"/>
                </a:cubicBezTo>
                <a:cubicBezTo>
                  <a:pt x="1057" y="118"/>
                  <a:pt x="1064" y="111"/>
                  <a:pt x="1064" y="111"/>
                </a:cubicBezTo>
                <a:cubicBezTo>
                  <a:pt x="1064" y="111"/>
                  <a:pt x="1071" y="104"/>
                  <a:pt x="1062" y="102"/>
                </a:cubicBezTo>
                <a:cubicBezTo>
                  <a:pt x="1052" y="101"/>
                  <a:pt x="1053" y="92"/>
                  <a:pt x="1044" y="100"/>
                </a:cubicBezTo>
                <a:cubicBezTo>
                  <a:pt x="1035" y="109"/>
                  <a:pt x="1024" y="99"/>
                  <a:pt x="1024" y="99"/>
                </a:cubicBezTo>
                <a:cubicBezTo>
                  <a:pt x="998" y="118"/>
                  <a:pt x="998" y="118"/>
                  <a:pt x="998" y="118"/>
                </a:cubicBezTo>
                <a:cubicBezTo>
                  <a:pt x="998" y="118"/>
                  <a:pt x="998" y="127"/>
                  <a:pt x="997" y="135"/>
                </a:cubicBezTo>
                <a:cubicBezTo>
                  <a:pt x="995" y="143"/>
                  <a:pt x="997" y="154"/>
                  <a:pt x="997" y="154"/>
                </a:cubicBezTo>
                <a:cubicBezTo>
                  <a:pt x="997" y="154"/>
                  <a:pt x="1000" y="156"/>
                  <a:pt x="993" y="160"/>
                </a:cubicBezTo>
                <a:cubicBezTo>
                  <a:pt x="987" y="165"/>
                  <a:pt x="973" y="177"/>
                  <a:pt x="973" y="177"/>
                </a:cubicBezTo>
                <a:cubicBezTo>
                  <a:pt x="961" y="198"/>
                  <a:pt x="961" y="198"/>
                  <a:pt x="961" y="198"/>
                </a:cubicBezTo>
                <a:cubicBezTo>
                  <a:pt x="968" y="203"/>
                  <a:pt x="968" y="203"/>
                  <a:pt x="968" y="203"/>
                </a:cubicBezTo>
                <a:cubicBezTo>
                  <a:pt x="952" y="212"/>
                  <a:pt x="952" y="212"/>
                  <a:pt x="952" y="212"/>
                </a:cubicBezTo>
                <a:cubicBezTo>
                  <a:pt x="952" y="212"/>
                  <a:pt x="948" y="218"/>
                  <a:pt x="952" y="224"/>
                </a:cubicBezTo>
                <a:cubicBezTo>
                  <a:pt x="957" y="230"/>
                  <a:pt x="962" y="222"/>
                  <a:pt x="967" y="233"/>
                </a:cubicBezTo>
                <a:cubicBezTo>
                  <a:pt x="972" y="244"/>
                  <a:pt x="978" y="246"/>
                  <a:pt x="980" y="248"/>
                </a:cubicBezTo>
                <a:cubicBezTo>
                  <a:pt x="982" y="250"/>
                  <a:pt x="968" y="255"/>
                  <a:pt x="969" y="263"/>
                </a:cubicBezTo>
                <a:cubicBezTo>
                  <a:pt x="970" y="272"/>
                  <a:pt x="976" y="275"/>
                  <a:pt x="976" y="275"/>
                </a:cubicBezTo>
                <a:cubicBezTo>
                  <a:pt x="976" y="275"/>
                  <a:pt x="954" y="283"/>
                  <a:pt x="951" y="287"/>
                </a:cubicBezTo>
                <a:cubicBezTo>
                  <a:pt x="948" y="291"/>
                  <a:pt x="943" y="293"/>
                  <a:pt x="943" y="293"/>
                </a:cubicBezTo>
                <a:cubicBezTo>
                  <a:pt x="943" y="293"/>
                  <a:pt x="939" y="302"/>
                  <a:pt x="935" y="311"/>
                </a:cubicBezTo>
                <a:cubicBezTo>
                  <a:pt x="932" y="321"/>
                  <a:pt x="923" y="322"/>
                  <a:pt x="923" y="322"/>
                </a:cubicBezTo>
                <a:cubicBezTo>
                  <a:pt x="923" y="322"/>
                  <a:pt x="915" y="306"/>
                  <a:pt x="921" y="304"/>
                </a:cubicBezTo>
                <a:cubicBezTo>
                  <a:pt x="926" y="301"/>
                  <a:pt x="932" y="292"/>
                  <a:pt x="932" y="292"/>
                </a:cubicBezTo>
                <a:cubicBezTo>
                  <a:pt x="932" y="292"/>
                  <a:pt x="929" y="279"/>
                  <a:pt x="921" y="279"/>
                </a:cubicBezTo>
                <a:cubicBezTo>
                  <a:pt x="912" y="278"/>
                  <a:pt x="907" y="272"/>
                  <a:pt x="907" y="272"/>
                </a:cubicBezTo>
                <a:cubicBezTo>
                  <a:pt x="894" y="282"/>
                  <a:pt x="894" y="282"/>
                  <a:pt x="894" y="282"/>
                </a:cubicBezTo>
                <a:cubicBezTo>
                  <a:pt x="894" y="282"/>
                  <a:pt x="912" y="296"/>
                  <a:pt x="903" y="296"/>
                </a:cubicBezTo>
                <a:cubicBezTo>
                  <a:pt x="895" y="296"/>
                  <a:pt x="877" y="290"/>
                  <a:pt x="877" y="290"/>
                </a:cubicBezTo>
                <a:cubicBezTo>
                  <a:pt x="863" y="288"/>
                  <a:pt x="863" y="288"/>
                  <a:pt x="863" y="288"/>
                </a:cubicBezTo>
                <a:cubicBezTo>
                  <a:pt x="863" y="288"/>
                  <a:pt x="842" y="281"/>
                  <a:pt x="838" y="284"/>
                </a:cubicBezTo>
                <a:cubicBezTo>
                  <a:pt x="834" y="286"/>
                  <a:pt x="813" y="274"/>
                  <a:pt x="812" y="270"/>
                </a:cubicBezTo>
                <a:cubicBezTo>
                  <a:pt x="811" y="267"/>
                  <a:pt x="791" y="252"/>
                  <a:pt x="795" y="246"/>
                </a:cubicBezTo>
                <a:cubicBezTo>
                  <a:pt x="800" y="239"/>
                  <a:pt x="813" y="225"/>
                  <a:pt x="790" y="231"/>
                </a:cubicBezTo>
                <a:cubicBezTo>
                  <a:pt x="767" y="237"/>
                  <a:pt x="764" y="238"/>
                  <a:pt x="764" y="238"/>
                </a:cubicBezTo>
                <a:cubicBezTo>
                  <a:pt x="764" y="238"/>
                  <a:pt x="749" y="235"/>
                  <a:pt x="753" y="239"/>
                </a:cubicBezTo>
                <a:cubicBezTo>
                  <a:pt x="756" y="243"/>
                  <a:pt x="762" y="241"/>
                  <a:pt x="764" y="245"/>
                </a:cubicBezTo>
                <a:cubicBezTo>
                  <a:pt x="766" y="248"/>
                  <a:pt x="758" y="256"/>
                  <a:pt x="753" y="255"/>
                </a:cubicBezTo>
                <a:cubicBezTo>
                  <a:pt x="747" y="255"/>
                  <a:pt x="744" y="250"/>
                  <a:pt x="742" y="257"/>
                </a:cubicBezTo>
                <a:cubicBezTo>
                  <a:pt x="741" y="264"/>
                  <a:pt x="745" y="272"/>
                  <a:pt x="745" y="272"/>
                </a:cubicBezTo>
                <a:cubicBezTo>
                  <a:pt x="744" y="288"/>
                  <a:pt x="744" y="288"/>
                  <a:pt x="744" y="288"/>
                </a:cubicBezTo>
                <a:cubicBezTo>
                  <a:pt x="744" y="288"/>
                  <a:pt x="733" y="291"/>
                  <a:pt x="730" y="292"/>
                </a:cubicBezTo>
                <a:cubicBezTo>
                  <a:pt x="728" y="293"/>
                  <a:pt x="733" y="268"/>
                  <a:pt x="733" y="268"/>
                </a:cubicBezTo>
                <a:cubicBezTo>
                  <a:pt x="724" y="255"/>
                  <a:pt x="724" y="255"/>
                  <a:pt x="724" y="255"/>
                </a:cubicBezTo>
                <a:cubicBezTo>
                  <a:pt x="724" y="255"/>
                  <a:pt x="731" y="248"/>
                  <a:pt x="719" y="247"/>
                </a:cubicBezTo>
                <a:cubicBezTo>
                  <a:pt x="706" y="246"/>
                  <a:pt x="695" y="243"/>
                  <a:pt x="694" y="246"/>
                </a:cubicBezTo>
                <a:cubicBezTo>
                  <a:pt x="692" y="249"/>
                  <a:pt x="695" y="243"/>
                  <a:pt x="682" y="243"/>
                </a:cubicBezTo>
                <a:cubicBezTo>
                  <a:pt x="670" y="244"/>
                  <a:pt x="637" y="239"/>
                  <a:pt x="645" y="229"/>
                </a:cubicBezTo>
                <a:cubicBezTo>
                  <a:pt x="654" y="219"/>
                  <a:pt x="651" y="216"/>
                  <a:pt x="660" y="219"/>
                </a:cubicBezTo>
                <a:cubicBezTo>
                  <a:pt x="669" y="221"/>
                  <a:pt x="672" y="219"/>
                  <a:pt x="672" y="212"/>
                </a:cubicBezTo>
                <a:cubicBezTo>
                  <a:pt x="673" y="204"/>
                  <a:pt x="668" y="191"/>
                  <a:pt x="668" y="191"/>
                </a:cubicBezTo>
                <a:cubicBezTo>
                  <a:pt x="668" y="191"/>
                  <a:pt x="663" y="189"/>
                  <a:pt x="656" y="187"/>
                </a:cubicBezTo>
                <a:cubicBezTo>
                  <a:pt x="650" y="186"/>
                  <a:pt x="640" y="180"/>
                  <a:pt x="640" y="180"/>
                </a:cubicBezTo>
                <a:cubicBezTo>
                  <a:pt x="628" y="165"/>
                  <a:pt x="628" y="165"/>
                  <a:pt x="628" y="165"/>
                </a:cubicBezTo>
                <a:cubicBezTo>
                  <a:pt x="628" y="165"/>
                  <a:pt x="624" y="163"/>
                  <a:pt x="619" y="150"/>
                </a:cubicBezTo>
                <a:cubicBezTo>
                  <a:pt x="614" y="138"/>
                  <a:pt x="613" y="131"/>
                  <a:pt x="605" y="129"/>
                </a:cubicBezTo>
                <a:cubicBezTo>
                  <a:pt x="596" y="126"/>
                  <a:pt x="599" y="120"/>
                  <a:pt x="589" y="123"/>
                </a:cubicBezTo>
                <a:cubicBezTo>
                  <a:pt x="580" y="126"/>
                  <a:pt x="568" y="136"/>
                  <a:pt x="567" y="128"/>
                </a:cubicBezTo>
                <a:cubicBezTo>
                  <a:pt x="567" y="120"/>
                  <a:pt x="587" y="104"/>
                  <a:pt x="587" y="104"/>
                </a:cubicBezTo>
                <a:cubicBezTo>
                  <a:pt x="587" y="104"/>
                  <a:pt x="589" y="93"/>
                  <a:pt x="586" y="97"/>
                </a:cubicBezTo>
                <a:cubicBezTo>
                  <a:pt x="583" y="100"/>
                  <a:pt x="569" y="104"/>
                  <a:pt x="569" y="104"/>
                </a:cubicBezTo>
                <a:cubicBezTo>
                  <a:pt x="569" y="104"/>
                  <a:pt x="561" y="112"/>
                  <a:pt x="556" y="115"/>
                </a:cubicBezTo>
                <a:cubicBezTo>
                  <a:pt x="550" y="119"/>
                  <a:pt x="547" y="110"/>
                  <a:pt x="547" y="110"/>
                </a:cubicBezTo>
                <a:cubicBezTo>
                  <a:pt x="556" y="89"/>
                  <a:pt x="556" y="89"/>
                  <a:pt x="556" y="89"/>
                </a:cubicBezTo>
                <a:cubicBezTo>
                  <a:pt x="556" y="89"/>
                  <a:pt x="571" y="80"/>
                  <a:pt x="568" y="73"/>
                </a:cubicBezTo>
                <a:cubicBezTo>
                  <a:pt x="565" y="66"/>
                  <a:pt x="560" y="62"/>
                  <a:pt x="560" y="62"/>
                </a:cubicBezTo>
                <a:cubicBezTo>
                  <a:pt x="560" y="62"/>
                  <a:pt x="554" y="66"/>
                  <a:pt x="550" y="72"/>
                </a:cubicBezTo>
                <a:cubicBezTo>
                  <a:pt x="546" y="77"/>
                  <a:pt x="541" y="80"/>
                  <a:pt x="541" y="80"/>
                </a:cubicBezTo>
                <a:cubicBezTo>
                  <a:pt x="541" y="80"/>
                  <a:pt x="527" y="98"/>
                  <a:pt x="525" y="87"/>
                </a:cubicBezTo>
                <a:cubicBezTo>
                  <a:pt x="523" y="76"/>
                  <a:pt x="543" y="63"/>
                  <a:pt x="524" y="66"/>
                </a:cubicBezTo>
                <a:cubicBezTo>
                  <a:pt x="506" y="68"/>
                  <a:pt x="506" y="61"/>
                  <a:pt x="502" y="65"/>
                </a:cubicBezTo>
                <a:cubicBezTo>
                  <a:pt x="499" y="69"/>
                  <a:pt x="502" y="75"/>
                  <a:pt x="494" y="79"/>
                </a:cubicBezTo>
                <a:cubicBezTo>
                  <a:pt x="486" y="82"/>
                  <a:pt x="482" y="79"/>
                  <a:pt x="476" y="77"/>
                </a:cubicBezTo>
                <a:cubicBezTo>
                  <a:pt x="470" y="75"/>
                  <a:pt x="466" y="53"/>
                  <a:pt x="463" y="68"/>
                </a:cubicBezTo>
                <a:cubicBezTo>
                  <a:pt x="459" y="82"/>
                  <a:pt x="459" y="88"/>
                  <a:pt x="452" y="80"/>
                </a:cubicBezTo>
                <a:cubicBezTo>
                  <a:pt x="444" y="71"/>
                  <a:pt x="444" y="64"/>
                  <a:pt x="444" y="64"/>
                </a:cubicBezTo>
                <a:cubicBezTo>
                  <a:pt x="444" y="64"/>
                  <a:pt x="425" y="83"/>
                  <a:pt x="431" y="75"/>
                </a:cubicBezTo>
                <a:cubicBezTo>
                  <a:pt x="437" y="66"/>
                  <a:pt x="431" y="63"/>
                  <a:pt x="431" y="63"/>
                </a:cubicBezTo>
                <a:cubicBezTo>
                  <a:pt x="418" y="56"/>
                  <a:pt x="418" y="56"/>
                  <a:pt x="418" y="56"/>
                </a:cubicBezTo>
                <a:cubicBezTo>
                  <a:pt x="418" y="56"/>
                  <a:pt x="418" y="46"/>
                  <a:pt x="415" y="44"/>
                </a:cubicBezTo>
                <a:cubicBezTo>
                  <a:pt x="412" y="43"/>
                  <a:pt x="408" y="34"/>
                  <a:pt x="408" y="34"/>
                </a:cubicBezTo>
                <a:cubicBezTo>
                  <a:pt x="410" y="17"/>
                  <a:pt x="410" y="17"/>
                  <a:pt x="410" y="17"/>
                </a:cubicBezTo>
                <a:cubicBezTo>
                  <a:pt x="410" y="17"/>
                  <a:pt x="403" y="0"/>
                  <a:pt x="401" y="1"/>
                </a:cubicBezTo>
                <a:cubicBezTo>
                  <a:pt x="376" y="14"/>
                  <a:pt x="95" y="232"/>
                  <a:pt x="90" y="240"/>
                </a:cubicBezTo>
                <a:cubicBezTo>
                  <a:pt x="85" y="249"/>
                  <a:pt x="93" y="249"/>
                  <a:pt x="98" y="254"/>
                </a:cubicBezTo>
                <a:cubicBezTo>
                  <a:pt x="104" y="259"/>
                  <a:pt x="107" y="266"/>
                  <a:pt x="114" y="273"/>
                </a:cubicBezTo>
                <a:cubicBezTo>
                  <a:pt x="121" y="279"/>
                  <a:pt x="114" y="290"/>
                  <a:pt x="109" y="298"/>
                </a:cubicBezTo>
                <a:cubicBezTo>
                  <a:pt x="104" y="307"/>
                  <a:pt x="92" y="312"/>
                  <a:pt x="95" y="324"/>
                </a:cubicBezTo>
                <a:cubicBezTo>
                  <a:pt x="98" y="336"/>
                  <a:pt x="110" y="329"/>
                  <a:pt x="117" y="319"/>
                </a:cubicBezTo>
                <a:cubicBezTo>
                  <a:pt x="124" y="309"/>
                  <a:pt x="139" y="327"/>
                  <a:pt x="136" y="341"/>
                </a:cubicBezTo>
                <a:cubicBezTo>
                  <a:pt x="133" y="355"/>
                  <a:pt x="129" y="396"/>
                  <a:pt x="124" y="413"/>
                </a:cubicBezTo>
                <a:cubicBezTo>
                  <a:pt x="119" y="430"/>
                  <a:pt x="121" y="430"/>
                  <a:pt x="114" y="444"/>
                </a:cubicBezTo>
                <a:cubicBezTo>
                  <a:pt x="107" y="457"/>
                  <a:pt x="110" y="457"/>
                  <a:pt x="117" y="468"/>
                </a:cubicBezTo>
                <a:cubicBezTo>
                  <a:pt x="124" y="478"/>
                  <a:pt x="126" y="493"/>
                  <a:pt x="122" y="500"/>
                </a:cubicBezTo>
                <a:cubicBezTo>
                  <a:pt x="119" y="507"/>
                  <a:pt x="109" y="515"/>
                  <a:pt x="100" y="529"/>
                </a:cubicBezTo>
                <a:cubicBezTo>
                  <a:pt x="92" y="543"/>
                  <a:pt x="71" y="529"/>
                  <a:pt x="71" y="529"/>
                </a:cubicBezTo>
                <a:cubicBezTo>
                  <a:pt x="69" y="528"/>
                  <a:pt x="69" y="528"/>
                  <a:pt x="69" y="528"/>
                </a:cubicBezTo>
                <a:cubicBezTo>
                  <a:pt x="68" y="530"/>
                  <a:pt x="68" y="530"/>
                  <a:pt x="68" y="530"/>
                </a:cubicBezTo>
                <a:cubicBezTo>
                  <a:pt x="67" y="532"/>
                  <a:pt x="66" y="535"/>
                  <a:pt x="67" y="539"/>
                </a:cubicBezTo>
                <a:cubicBezTo>
                  <a:pt x="69" y="548"/>
                  <a:pt x="73" y="562"/>
                  <a:pt x="65" y="562"/>
                </a:cubicBezTo>
                <a:cubicBezTo>
                  <a:pt x="58" y="562"/>
                  <a:pt x="58" y="558"/>
                  <a:pt x="51" y="564"/>
                </a:cubicBezTo>
                <a:cubicBezTo>
                  <a:pt x="45" y="570"/>
                  <a:pt x="36" y="567"/>
                  <a:pt x="42" y="576"/>
                </a:cubicBezTo>
                <a:cubicBezTo>
                  <a:pt x="48" y="586"/>
                  <a:pt x="56" y="584"/>
                  <a:pt x="56" y="584"/>
                </a:cubicBezTo>
                <a:cubicBezTo>
                  <a:pt x="56" y="584"/>
                  <a:pt x="64" y="572"/>
                  <a:pt x="67" y="581"/>
                </a:cubicBezTo>
                <a:cubicBezTo>
                  <a:pt x="70" y="590"/>
                  <a:pt x="75" y="590"/>
                  <a:pt x="70" y="596"/>
                </a:cubicBezTo>
                <a:cubicBezTo>
                  <a:pt x="65" y="603"/>
                  <a:pt x="64" y="604"/>
                  <a:pt x="58" y="607"/>
                </a:cubicBezTo>
                <a:cubicBezTo>
                  <a:pt x="51" y="610"/>
                  <a:pt x="53" y="598"/>
                  <a:pt x="51" y="610"/>
                </a:cubicBezTo>
                <a:cubicBezTo>
                  <a:pt x="50" y="623"/>
                  <a:pt x="58" y="617"/>
                  <a:pt x="58" y="621"/>
                </a:cubicBezTo>
                <a:cubicBezTo>
                  <a:pt x="58" y="626"/>
                  <a:pt x="48" y="634"/>
                  <a:pt x="48" y="634"/>
                </a:cubicBezTo>
                <a:cubicBezTo>
                  <a:pt x="48" y="634"/>
                  <a:pt x="67" y="634"/>
                  <a:pt x="69" y="637"/>
                </a:cubicBezTo>
                <a:cubicBezTo>
                  <a:pt x="70" y="640"/>
                  <a:pt x="78" y="627"/>
                  <a:pt x="79" y="638"/>
                </a:cubicBezTo>
                <a:cubicBezTo>
                  <a:pt x="81" y="649"/>
                  <a:pt x="76" y="654"/>
                  <a:pt x="69" y="657"/>
                </a:cubicBezTo>
                <a:cubicBezTo>
                  <a:pt x="61" y="660"/>
                  <a:pt x="53" y="660"/>
                  <a:pt x="53" y="660"/>
                </a:cubicBezTo>
                <a:cubicBezTo>
                  <a:pt x="53" y="660"/>
                  <a:pt x="47" y="655"/>
                  <a:pt x="45" y="663"/>
                </a:cubicBezTo>
                <a:cubicBezTo>
                  <a:pt x="44" y="671"/>
                  <a:pt x="47" y="674"/>
                  <a:pt x="51" y="677"/>
                </a:cubicBezTo>
                <a:cubicBezTo>
                  <a:pt x="56" y="680"/>
                  <a:pt x="41" y="688"/>
                  <a:pt x="47" y="696"/>
                </a:cubicBezTo>
                <a:cubicBezTo>
                  <a:pt x="53" y="703"/>
                  <a:pt x="65" y="699"/>
                  <a:pt x="65" y="699"/>
                </a:cubicBezTo>
                <a:cubicBezTo>
                  <a:pt x="65" y="699"/>
                  <a:pt x="76" y="683"/>
                  <a:pt x="75" y="696"/>
                </a:cubicBezTo>
                <a:cubicBezTo>
                  <a:pt x="73" y="708"/>
                  <a:pt x="58" y="706"/>
                  <a:pt x="64" y="714"/>
                </a:cubicBezTo>
                <a:cubicBezTo>
                  <a:pt x="70" y="722"/>
                  <a:pt x="73" y="711"/>
                  <a:pt x="79" y="720"/>
                </a:cubicBezTo>
                <a:cubicBezTo>
                  <a:pt x="86" y="730"/>
                  <a:pt x="78" y="733"/>
                  <a:pt x="78" y="741"/>
                </a:cubicBezTo>
                <a:cubicBezTo>
                  <a:pt x="78" y="748"/>
                  <a:pt x="87" y="753"/>
                  <a:pt x="89" y="758"/>
                </a:cubicBezTo>
                <a:cubicBezTo>
                  <a:pt x="90" y="762"/>
                  <a:pt x="93" y="776"/>
                  <a:pt x="89" y="781"/>
                </a:cubicBezTo>
                <a:cubicBezTo>
                  <a:pt x="84" y="785"/>
                  <a:pt x="79" y="784"/>
                  <a:pt x="81" y="793"/>
                </a:cubicBezTo>
                <a:cubicBezTo>
                  <a:pt x="82" y="803"/>
                  <a:pt x="84" y="804"/>
                  <a:pt x="76" y="809"/>
                </a:cubicBezTo>
                <a:cubicBezTo>
                  <a:pt x="69" y="813"/>
                  <a:pt x="64" y="815"/>
                  <a:pt x="64" y="807"/>
                </a:cubicBezTo>
                <a:cubicBezTo>
                  <a:pt x="64" y="799"/>
                  <a:pt x="69" y="787"/>
                  <a:pt x="67" y="781"/>
                </a:cubicBezTo>
                <a:cubicBezTo>
                  <a:pt x="65" y="775"/>
                  <a:pt x="70" y="751"/>
                  <a:pt x="64" y="751"/>
                </a:cubicBezTo>
                <a:cubicBezTo>
                  <a:pt x="58" y="751"/>
                  <a:pt x="58" y="737"/>
                  <a:pt x="58" y="733"/>
                </a:cubicBezTo>
                <a:cubicBezTo>
                  <a:pt x="58" y="728"/>
                  <a:pt x="48" y="716"/>
                  <a:pt x="45" y="722"/>
                </a:cubicBezTo>
                <a:cubicBezTo>
                  <a:pt x="42" y="728"/>
                  <a:pt x="36" y="720"/>
                  <a:pt x="36" y="720"/>
                </a:cubicBezTo>
                <a:cubicBezTo>
                  <a:pt x="36" y="720"/>
                  <a:pt x="38" y="693"/>
                  <a:pt x="31" y="697"/>
                </a:cubicBezTo>
                <a:cubicBezTo>
                  <a:pt x="25" y="702"/>
                  <a:pt x="19" y="680"/>
                  <a:pt x="13" y="689"/>
                </a:cubicBezTo>
                <a:cubicBezTo>
                  <a:pt x="7" y="699"/>
                  <a:pt x="0" y="689"/>
                  <a:pt x="8" y="705"/>
                </a:cubicBezTo>
                <a:cubicBezTo>
                  <a:pt x="16" y="720"/>
                  <a:pt x="18" y="733"/>
                  <a:pt x="22" y="736"/>
                </a:cubicBezTo>
                <a:cubicBezTo>
                  <a:pt x="31" y="744"/>
                  <a:pt x="41" y="747"/>
                  <a:pt x="36" y="753"/>
                </a:cubicBezTo>
                <a:cubicBezTo>
                  <a:pt x="31" y="759"/>
                  <a:pt x="28" y="756"/>
                  <a:pt x="28" y="765"/>
                </a:cubicBezTo>
                <a:cubicBezTo>
                  <a:pt x="28" y="775"/>
                  <a:pt x="39" y="776"/>
                  <a:pt x="39" y="776"/>
                </a:cubicBezTo>
                <a:cubicBezTo>
                  <a:pt x="39" y="776"/>
                  <a:pt x="41" y="775"/>
                  <a:pt x="36" y="793"/>
                </a:cubicBezTo>
                <a:cubicBezTo>
                  <a:pt x="31" y="812"/>
                  <a:pt x="44" y="809"/>
                  <a:pt x="42" y="818"/>
                </a:cubicBezTo>
                <a:cubicBezTo>
                  <a:pt x="42" y="818"/>
                  <a:pt x="56" y="844"/>
                  <a:pt x="68" y="837"/>
                </a:cubicBezTo>
                <a:cubicBezTo>
                  <a:pt x="80" y="830"/>
                  <a:pt x="80" y="803"/>
                  <a:pt x="109" y="808"/>
                </a:cubicBezTo>
                <a:cubicBezTo>
                  <a:pt x="138" y="813"/>
                  <a:pt x="562" y="943"/>
                  <a:pt x="743" y="963"/>
                </a:cubicBezTo>
                <a:cubicBezTo>
                  <a:pt x="743" y="963"/>
                  <a:pt x="769" y="970"/>
                  <a:pt x="769" y="963"/>
                </a:cubicBezTo>
                <a:cubicBezTo>
                  <a:pt x="769" y="957"/>
                  <a:pt x="775" y="948"/>
                  <a:pt x="781" y="951"/>
                </a:cubicBezTo>
                <a:cubicBezTo>
                  <a:pt x="786" y="955"/>
                  <a:pt x="772" y="968"/>
                  <a:pt x="784" y="972"/>
                </a:cubicBezTo>
                <a:cubicBezTo>
                  <a:pt x="796" y="975"/>
                  <a:pt x="811" y="987"/>
                  <a:pt x="820" y="987"/>
                </a:cubicBezTo>
                <a:cubicBezTo>
                  <a:pt x="828" y="987"/>
                  <a:pt x="835" y="991"/>
                  <a:pt x="840" y="996"/>
                </a:cubicBezTo>
                <a:cubicBezTo>
                  <a:pt x="846" y="1001"/>
                  <a:pt x="852" y="999"/>
                  <a:pt x="858" y="999"/>
                </a:cubicBezTo>
                <a:cubicBezTo>
                  <a:pt x="863" y="999"/>
                  <a:pt x="873" y="994"/>
                  <a:pt x="876" y="1003"/>
                </a:cubicBezTo>
                <a:cubicBezTo>
                  <a:pt x="880" y="1011"/>
                  <a:pt x="881" y="1010"/>
                  <a:pt x="890" y="1010"/>
                </a:cubicBezTo>
                <a:cubicBezTo>
                  <a:pt x="899" y="1010"/>
                  <a:pt x="914" y="1011"/>
                  <a:pt x="914" y="1011"/>
                </a:cubicBezTo>
                <a:cubicBezTo>
                  <a:pt x="915" y="1014"/>
                  <a:pt x="915" y="1014"/>
                  <a:pt x="915" y="1014"/>
                </a:cubicBezTo>
                <a:cubicBezTo>
                  <a:pt x="919" y="1011"/>
                  <a:pt x="923" y="1008"/>
                  <a:pt x="926" y="1002"/>
                </a:cubicBezTo>
                <a:cubicBezTo>
                  <a:pt x="937" y="986"/>
                  <a:pt x="940" y="986"/>
                  <a:pt x="952" y="987"/>
                </a:cubicBezTo>
                <a:cubicBezTo>
                  <a:pt x="952" y="987"/>
                  <a:pt x="968" y="980"/>
                  <a:pt x="978" y="981"/>
                </a:cubicBezTo>
                <a:cubicBezTo>
                  <a:pt x="987" y="982"/>
                  <a:pt x="987" y="990"/>
                  <a:pt x="989" y="998"/>
                </a:cubicBezTo>
                <a:cubicBezTo>
                  <a:pt x="991" y="1007"/>
                  <a:pt x="1002" y="1018"/>
                  <a:pt x="1005" y="1012"/>
                </a:cubicBezTo>
                <a:cubicBezTo>
                  <a:pt x="1008" y="1006"/>
                  <a:pt x="1023" y="1022"/>
                  <a:pt x="1028" y="1022"/>
                </a:cubicBezTo>
                <a:cubicBezTo>
                  <a:pt x="1032" y="1022"/>
                  <a:pt x="1033" y="1030"/>
                  <a:pt x="1043" y="1060"/>
                </a:cubicBezTo>
                <a:cubicBezTo>
                  <a:pt x="1052" y="1090"/>
                  <a:pt x="1062" y="1075"/>
                  <a:pt x="1065" y="1080"/>
                </a:cubicBezTo>
                <a:cubicBezTo>
                  <a:pt x="1068" y="1086"/>
                  <a:pt x="1073" y="1083"/>
                  <a:pt x="1078" y="1086"/>
                </a:cubicBezTo>
                <a:cubicBezTo>
                  <a:pt x="1082" y="1088"/>
                  <a:pt x="1104" y="1091"/>
                  <a:pt x="1113" y="1091"/>
                </a:cubicBezTo>
                <a:cubicBezTo>
                  <a:pt x="1121" y="1091"/>
                  <a:pt x="1131" y="1098"/>
                  <a:pt x="1140" y="1102"/>
                </a:cubicBezTo>
                <a:cubicBezTo>
                  <a:pt x="1148" y="1105"/>
                  <a:pt x="1158" y="1122"/>
                  <a:pt x="1163" y="1127"/>
                </a:cubicBezTo>
                <a:cubicBezTo>
                  <a:pt x="1168" y="1132"/>
                  <a:pt x="1166" y="1145"/>
                  <a:pt x="1156" y="1147"/>
                </a:cubicBezTo>
                <a:cubicBezTo>
                  <a:pt x="1151" y="1148"/>
                  <a:pt x="1149" y="1149"/>
                  <a:pt x="1147" y="1149"/>
                </a:cubicBezTo>
                <a:cubicBezTo>
                  <a:pt x="1146" y="1150"/>
                  <a:pt x="1146" y="1150"/>
                  <a:pt x="1146" y="1150"/>
                </a:cubicBezTo>
                <a:cubicBezTo>
                  <a:pt x="1155" y="1164"/>
                  <a:pt x="1167" y="1172"/>
                  <a:pt x="1177" y="1187"/>
                </a:cubicBezTo>
                <a:cubicBezTo>
                  <a:pt x="1178" y="1186"/>
                  <a:pt x="1178" y="1186"/>
                  <a:pt x="1178" y="1186"/>
                </a:cubicBezTo>
                <a:cubicBezTo>
                  <a:pt x="1196" y="1175"/>
                  <a:pt x="1196" y="1175"/>
                  <a:pt x="1196" y="1175"/>
                </a:cubicBezTo>
                <a:cubicBezTo>
                  <a:pt x="1196" y="1175"/>
                  <a:pt x="1227" y="1177"/>
                  <a:pt x="1231" y="1177"/>
                </a:cubicBezTo>
                <a:cubicBezTo>
                  <a:pt x="1236" y="1177"/>
                  <a:pt x="1263" y="1168"/>
                  <a:pt x="1268" y="1162"/>
                </a:cubicBezTo>
                <a:cubicBezTo>
                  <a:pt x="1269" y="1161"/>
                  <a:pt x="1270" y="1161"/>
                  <a:pt x="1271" y="1162"/>
                </a:cubicBezTo>
                <a:cubicBezTo>
                  <a:pt x="1273" y="1162"/>
                  <a:pt x="1273" y="1162"/>
                  <a:pt x="1273" y="1162"/>
                </a:cubicBezTo>
                <a:cubicBezTo>
                  <a:pt x="1273" y="1162"/>
                  <a:pt x="1287" y="1153"/>
                  <a:pt x="1294" y="1146"/>
                </a:cubicBezTo>
                <a:cubicBezTo>
                  <a:pt x="1300" y="1139"/>
                  <a:pt x="1302" y="1134"/>
                  <a:pt x="1326" y="1138"/>
                </a:cubicBezTo>
                <a:cubicBezTo>
                  <a:pt x="1350" y="1141"/>
                  <a:pt x="1374" y="1139"/>
                  <a:pt x="1388" y="1134"/>
                </a:cubicBezTo>
                <a:cubicBezTo>
                  <a:pt x="1401" y="1129"/>
                  <a:pt x="1423" y="1129"/>
                  <a:pt x="1429" y="1105"/>
                </a:cubicBezTo>
                <a:cubicBezTo>
                  <a:pt x="1434" y="1081"/>
                  <a:pt x="1442" y="1066"/>
                  <a:pt x="1447" y="1054"/>
                </a:cubicBezTo>
                <a:cubicBezTo>
                  <a:pt x="1453" y="1042"/>
                  <a:pt x="1459" y="1032"/>
                  <a:pt x="1470" y="1042"/>
                </a:cubicBezTo>
                <a:cubicBezTo>
                  <a:pt x="1480" y="1052"/>
                  <a:pt x="1485" y="1039"/>
                  <a:pt x="1495" y="1047"/>
                </a:cubicBezTo>
                <a:cubicBezTo>
                  <a:pt x="1506" y="1056"/>
                  <a:pt x="1495" y="1071"/>
                  <a:pt x="1502" y="1086"/>
                </a:cubicBezTo>
                <a:cubicBezTo>
                  <a:pt x="1509" y="1102"/>
                  <a:pt x="1523" y="1122"/>
                  <a:pt x="1529" y="1131"/>
                </a:cubicBezTo>
                <a:cubicBezTo>
                  <a:pt x="1531" y="1133"/>
                  <a:pt x="1531" y="1133"/>
                  <a:pt x="1531" y="1133"/>
                </a:cubicBezTo>
                <a:cubicBezTo>
                  <a:pt x="1535" y="1128"/>
                  <a:pt x="1537" y="1125"/>
                  <a:pt x="1537" y="1125"/>
                </a:cubicBezTo>
                <a:cubicBezTo>
                  <a:pt x="1537" y="1125"/>
                  <a:pt x="1557" y="1116"/>
                  <a:pt x="1565" y="1112"/>
                </a:cubicBezTo>
                <a:cubicBezTo>
                  <a:pt x="1574" y="1109"/>
                  <a:pt x="1583" y="1099"/>
                  <a:pt x="1583" y="1099"/>
                </a:cubicBezTo>
                <a:cubicBezTo>
                  <a:pt x="1589" y="1093"/>
                  <a:pt x="1589" y="1093"/>
                  <a:pt x="1589" y="1093"/>
                </a:cubicBezTo>
                <a:cubicBezTo>
                  <a:pt x="1589" y="1093"/>
                  <a:pt x="1583" y="1099"/>
                  <a:pt x="1596" y="1102"/>
                </a:cubicBezTo>
                <a:cubicBezTo>
                  <a:pt x="1608" y="1106"/>
                  <a:pt x="1618" y="1096"/>
                  <a:pt x="1618" y="1102"/>
                </a:cubicBezTo>
                <a:cubicBezTo>
                  <a:pt x="1617" y="1109"/>
                  <a:pt x="1601" y="1116"/>
                  <a:pt x="1601" y="1116"/>
                </a:cubicBezTo>
                <a:cubicBezTo>
                  <a:pt x="1601" y="1116"/>
                  <a:pt x="1598" y="1116"/>
                  <a:pt x="1591" y="1117"/>
                </a:cubicBezTo>
                <a:cubicBezTo>
                  <a:pt x="1584" y="1118"/>
                  <a:pt x="1573" y="1132"/>
                  <a:pt x="1573" y="1132"/>
                </a:cubicBezTo>
                <a:cubicBezTo>
                  <a:pt x="1573" y="1132"/>
                  <a:pt x="1568" y="1135"/>
                  <a:pt x="1565" y="1140"/>
                </a:cubicBezTo>
                <a:cubicBezTo>
                  <a:pt x="1561" y="1146"/>
                  <a:pt x="1558" y="1152"/>
                  <a:pt x="1559" y="1158"/>
                </a:cubicBezTo>
                <a:cubicBezTo>
                  <a:pt x="1560" y="1165"/>
                  <a:pt x="1559" y="1169"/>
                  <a:pt x="1567" y="1172"/>
                </a:cubicBezTo>
                <a:cubicBezTo>
                  <a:pt x="1574" y="1174"/>
                  <a:pt x="1584" y="1169"/>
                  <a:pt x="1584" y="1169"/>
                </a:cubicBezTo>
                <a:cubicBezTo>
                  <a:pt x="1584" y="1169"/>
                  <a:pt x="1601" y="1156"/>
                  <a:pt x="1603" y="1152"/>
                </a:cubicBezTo>
                <a:cubicBezTo>
                  <a:pt x="1604" y="1149"/>
                  <a:pt x="1609" y="1138"/>
                  <a:pt x="1609" y="1138"/>
                </a:cubicBezTo>
                <a:cubicBezTo>
                  <a:pt x="1625" y="1129"/>
                  <a:pt x="1625" y="1129"/>
                  <a:pt x="1625" y="1129"/>
                </a:cubicBezTo>
                <a:cubicBezTo>
                  <a:pt x="1625" y="1129"/>
                  <a:pt x="1634" y="1129"/>
                  <a:pt x="1643" y="1127"/>
                </a:cubicBezTo>
                <a:cubicBezTo>
                  <a:pt x="1653" y="1125"/>
                  <a:pt x="1666" y="1118"/>
                  <a:pt x="1666" y="1118"/>
                </a:cubicBezTo>
                <a:cubicBezTo>
                  <a:pt x="1666" y="1118"/>
                  <a:pt x="1677" y="1113"/>
                  <a:pt x="1681" y="1109"/>
                </a:cubicBezTo>
                <a:cubicBezTo>
                  <a:pt x="1684" y="1104"/>
                  <a:pt x="1685" y="1102"/>
                  <a:pt x="1685" y="1102"/>
                </a:cubicBezTo>
                <a:cubicBezTo>
                  <a:pt x="1685" y="1102"/>
                  <a:pt x="1684" y="1093"/>
                  <a:pt x="1681" y="1093"/>
                </a:cubicBezTo>
                <a:cubicBezTo>
                  <a:pt x="1677" y="1092"/>
                  <a:pt x="1673" y="1095"/>
                  <a:pt x="1681" y="1088"/>
                </a:cubicBezTo>
                <a:cubicBezTo>
                  <a:pt x="1690" y="1081"/>
                  <a:pt x="1683" y="1085"/>
                  <a:pt x="1691" y="1079"/>
                </a:cubicBezTo>
                <a:cubicBezTo>
                  <a:pt x="1699" y="1073"/>
                  <a:pt x="1702" y="1063"/>
                  <a:pt x="1702" y="1063"/>
                </a:cubicBezTo>
                <a:cubicBezTo>
                  <a:pt x="1698" y="1045"/>
                  <a:pt x="1698" y="1045"/>
                  <a:pt x="1698" y="1045"/>
                </a:cubicBezTo>
                <a:cubicBezTo>
                  <a:pt x="1698" y="1045"/>
                  <a:pt x="1690" y="1035"/>
                  <a:pt x="1686" y="1044"/>
                </a:cubicBezTo>
                <a:cubicBezTo>
                  <a:pt x="1682" y="1053"/>
                  <a:pt x="1680" y="1065"/>
                  <a:pt x="1677" y="1075"/>
                </a:cubicBezTo>
                <a:cubicBezTo>
                  <a:pt x="1673" y="1086"/>
                  <a:pt x="1664" y="1087"/>
                  <a:pt x="1664" y="1087"/>
                </a:cubicBezTo>
                <a:cubicBezTo>
                  <a:pt x="1664" y="1087"/>
                  <a:pt x="1657" y="1084"/>
                  <a:pt x="1649" y="1086"/>
                </a:cubicBezTo>
                <a:cubicBezTo>
                  <a:pt x="1641" y="1087"/>
                  <a:pt x="1611" y="1093"/>
                  <a:pt x="1607" y="1082"/>
                </a:cubicBezTo>
                <a:cubicBezTo>
                  <a:pt x="1604" y="1072"/>
                  <a:pt x="1594" y="1062"/>
                  <a:pt x="1587" y="1064"/>
                </a:cubicBezTo>
                <a:cubicBezTo>
                  <a:pt x="1579" y="1066"/>
                  <a:pt x="1574" y="1056"/>
                  <a:pt x="1575" y="1046"/>
                </a:cubicBezTo>
                <a:cubicBezTo>
                  <a:pt x="1576" y="1037"/>
                  <a:pt x="1569" y="1021"/>
                  <a:pt x="1569" y="1021"/>
                </a:cubicBezTo>
                <a:cubicBezTo>
                  <a:pt x="1569" y="1021"/>
                  <a:pt x="1590" y="1017"/>
                  <a:pt x="1567" y="1017"/>
                </a:cubicBezTo>
                <a:cubicBezTo>
                  <a:pt x="1543" y="1018"/>
                  <a:pt x="1535" y="1016"/>
                  <a:pt x="1535" y="1016"/>
                </a:cubicBezTo>
                <a:cubicBezTo>
                  <a:pt x="1560" y="997"/>
                  <a:pt x="1560" y="997"/>
                  <a:pt x="1560" y="997"/>
                </a:cubicBezTo>
                <a:cubicBezTo>
                  <a:pt x="1560" y="997"/>
                  <a:pt x="1575" y="1001"/>
                  <a:pt x="1578" y="996"/>
                </a:cubicBezTo>
                <a:cubicBezTo>
                  <a:pt x="1580" y="990"/>
                  <a:pt x="1579" y="983"/>
                  <a:pt x="1579" y="983"/>
                </a:cubicBezTo>
                <a:cubicBezTo>
                  <a:pt x="1579" y="983"/>
                  <a:pt x="1580" y="968"/>
                  <a:pt x="1549" y="972"/>
                </a:cubicBezTo>
                <a:cubicBezTo>
                  <a:pt x="1519" y="975"/>
                  <a:pt x="1486" y="989"/>
                  <a:pt x="1479" y="995"/>
                </a:cubicBezTo>
                <a:cubicBezTo>
                  <a:pt x="1472" y="1000"/>
                  <a:pt x="1433" y="1053"/>
                  <a:pt x="1414" y="1061"/>
                </a:cubicBezTo>
                <a:cubicBezTo>
                  <a:pt x="1414" y="1061"/>
                  <a:pt x="1444" y="1026"/>
                  <a:pt x="1438" y="1018"/>
                </a:cubicBezTo>
                <a:cubicBezTo>
                  <a:pt x="1432" y="1010"/>
                  <a:pt x="1452" y="983"/>
                  <a:pt x="1472" y="976"/>
                </a:cubicBezTo>
                <a:cubicBezTo>
                  <a:pt x="1491" y="968"/>
                  <a:pt x="1497" y="971"/>
                  <a:pt x="1504" y="953"/>
                </a:cubicBezTo>
                <a:cubicBezTo>
                  <a:pt x="1512" y="935"/>
                  <a:pt x="1522" y="927"/>
                  <a:pt x="1531" y="927"/>
                </a:cubicBezTo>
                <a:cubicBezTo>
                  <a:pt x="1539" y="927"/>
                  <a:pt x="1538" y="927"/>
                  <a:pt x="1558" y="926"/>
                </a:cubicBezTo>
                <a:cubicBezTo>
                  <a:pt x="1577" y="925"/>
                  <a:pt x="1592" y="920"/>
                  <a:pt x="1592" y="920"/>
                </a:cubicBezTo>
                <a:cubicBezTo>
                  <a:pt x="1592" y="920"/>
                  <a:pt x="1627" y="921"/>
                  <a:pt x="1638" y="923"/>
                </a:cubicBezTo>
                <a:cubicBezTo>
                  <a:pt x="1648" y="925"/>
                  <a:pt x="1665" y="917"/>
                  <a:pt x="1673" y="914"/>
                </a:cubicBezTo>
                <a:cubicBezTo>
                  <a:pt x="1681" y="912"/>
                  <a:pt x="1694" y="904"/>
                  <a:pt x="1699" y="899"/>
                </a:cubicBezTo>
                <a:cubicBezTo>
                  <a:pt x="1704" y="894"/>
                  <a:pt x="1710" y="878"/>
                  <a:pt x="1710" y="878"/>
                </a:cubicBezTo>
                <a:cubicBezTo>
                  <a:pt x="1710" y="878"/>
                  <a:pt x="1722" y="862"/>
                  <a:pt x="1731" y="860"/>
                </a:cubicBezTo>
                <a:cubicBezTo>
                  <a:pt x="1739" y="859"/>
                  <a:pt x="1745" y="858"/>
                  <a:pt x="1751" y="852"/>
                </a:cubicBezTo>
                <a:cubicBezTo>
                  <a:pt x="1756" y="847"/>
                  <a:pt x="1772" y="831"/>
                  <a:pt x="1762" y="825"/>
                </a:cubicBezTo>
                <a:close/>
                <a:moveTo>
                  <a:pt x="1038" y="389"/>
                </a:moveTo>
                <a:cubicBezTo>
                  <a:pt x="1042" y="397"/>
                  <a:pt x="1044" y="400"/>
                  <a:pt x="1047" y="401"/>
                </a:cubicBezTo>
                <a:cubicBezTo>
                  <a:pt x="1043" y="401"/>
                  <a:pt x="1041" y="400"/>
                  <a:pt x="1041" y="400"/>
                </a:cubicBezTo>
                <a:cubicBezTo>
                  <a:pt x="1041" y="400"/>
                  <a:pt x="1029" y="389"/>
                  <a:pt x="1011" y="384"/>
                </a:cubicBezTo>
                <a:cubicBezTo>
                  <a:pt x="1011" y="384"/>
                  <a:pt x="1032" y="374"/>
                  <a:pt x="1038" y="389"/>
                </a:cubicBezTo>
                <a:close/>
                <a:moveTo>
                  <a:pt x="512" y="251"/>
                </a:moveTo>
                <a:cubicBezTo>
                  <a:pt x="521" y="243"/>
                  <a:pt x="481" y="235"/>
                  <a:pt x="476" y="227"/>
                </a:cubicBezTo>
                <a:cubicBezTo>
                  <a:pt x="471" y="219"/>
                  <a:pt x="497" y="220"/>
                  <a:pt x="508" y="219"/>
                </a:cubicBezTo>
                <a:cubicBezTo>
                  <a:pt x="555" y="222"/>
                  <a:pt x="555" y="222"/>
                  <a:pt x="555" y="222"/>
                </a:cubicBezTo>
                <a:cubicBezTo>
                  <a:pt x="555" y="222"/>
                  <a:pt x="538" y="240"/>
                  <a:pt x="542" y="242"/>
                </a:cubicBezTo>
                <a:cubicBezTo>
                  <a:pt x="545" y="242"/>
                  <a:pt x="554" y="247"/>
                  <a:pt x="562" y="249"/>
                </a:cubicBezTo>
                <a:cubicBezTo>
                  <a:pt x="567" y="247"/>
                  <a:pt x="571" y="246"/>
                  <a:pt x="572" y="248"/>
                </a:cubicBezTo>
                <a:cubicBezTo>
                  <a:pt x="573" y="252"/>
                  <a:pt x="568" y="251"/>
                  <a:pt x="562" y="249"/>
                </a:cubicBezTo>
                <a:cubicBezTo>
                  <a:pt x="549" y="255"/>
                  <a:pt x="526" y="270"/>
                  <a:pt x="513" y="269"/>
                </a:cubicBezTo>
                <a:cubicBezTo>
                  <a:pt x="495" y="268"/>
                  <a:pt x="471" y="274"/>
                  <a:pt x="468" y="268"/>
                </a:cubicBezTo>
                <a:cubicBezTo>
                  <a:pt x="465" y="261"/>
                  <a:pt x="502" y="259"/>
                  <a:pt x="512" y="251"/>
                </a:cubicBezTo>
                <a:close/>
                <a:moveTo>
                  <a:pt x="602" y="414"/>
                </a:moveTo>
                <a:cubicBezTo>
                  <a:pt x="591" y="412"/>
                  <a:pt x="577" y="441"/>
                  <a:pt x="572" y="441"/>
                </a:cubicBezTo>
                <a:cubicBezTo>
                  <a:pt x="567" y="441"/>
                  <a:pt x="538" y="453"/>
                  <a:pt x="523" y="449"/>
                </a:cubicBezTo>
                <a:cubicBezTo>
                  <a:pt x="508" y="446"/>
                  <a:pt x="476" y="436"/>
                  <a:pt x="466" y="427"/>
                </a:cubicBezTo>
                <a:cubicBezTo>
                  <a:pt x="456" y="417"/>
                  <a:pt x="481" y="430"/>
                  <a:pt x="489" y="430"/>
                </a:cubicBezTo>
                <a:cubicBezTo>
                  <a:pt x="497" y="430"/>
                  <a:pt x="507" y="410"/>
                  <a:pt x="508" y="381"/>
                </a:cubicBezTo>
                <a:cubicBezTo>
                  <a:pt x="510" y="352"/>
                  <a:pt x="521" y="391"/>
                  <a:pt x="534" y="402"/>
                </a:cubicBezTo>
                <a:cubicBezTo>
                  <a:pt x="534" y="402"/>
                  <a:pt x="614" y="396"/>
                  <a:pt x="620" y="401"/>
                </a:cubicBezTo>
                <a:cubicBezTo>
                  <a:pt x="627" y="405"/>
                  <a:pt x="614" y="415"/>
                  <a:pt x="602" y="414"/>
                </a:cubicBezTo>
                <a:close/>
                <a:moveTo>
                  <a:pt x="752" y="898"/>
                </a:moveTo>
                <a:cubicBezTo>
                  <a:pt x="752" y="898"/>
                  <a:pt x="752" y="898"/>
                  <a:pt x="752" y="886"/>
                </a:cubicBezTo>
                <a:cubicBezTo>
                  <a:pt x="752" y="875"/>
                  <a:pt x="738" y="864"/>
                  <a:pt x="731" y="853"/>
                </a:cubicBezTo>
                <a:cubicBezTo>
                  <a:pt x="725" y="841"/>
                  <a:pt x="729" y="830"/>
                  <a:pt x="713" y="819"/>
                </a:cubicBezTo>
                <a:cubicBezTo>
                  <a:pt x="698" y="808"/>
                  <a:pt x="718" y="787"/>
                  <a:pt x="731" y="778"/>
                </a:cubicBezTo>
                <a:cubicBezTo>
                  <a:pt x="731" y="771"/>
                  <a:pt x="731" y="771"/>
                  <a:pt x="731" y="771"/>
                </a:cubicBezTo>
                <a:cubicBezTo>
                  <a:pt x="743" y="794"/>
                  <a:pt x="743" y="794"/>
                  <a:pt x="743" y="794"/>
                </a:cubicBezTo>
                <a:cubicBezTo>
                  <a:pt x="743" y="794"/>
                  <a:pt x="740" y="814"/>
                  <a:pt x="745" y="823"/>
                </a:cubicBezTo>
                <a:cubicBezTo>
                  <a:pt x="750" y="832"/>
                  <a:pt x="759" y="859"/>
                  <a:pt x="759" y="859"/>
                </a:cubicBezTo>
                <a:lnTo>
                  <a:pt x="752" y="89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00" name="Freeform 433"/>
          <p:cNvSpPr>
            <a:spLocks/>
          </p:cNvSpPr>
          <p:nvPr userDrawn="1"/>
        </p:nvSpPr>
        <p:spPr bwMode="auto">
          <a:xfrm>
            <a:off x="4939551" y="2892355"/>
            <a:ext cx="201011" cy="162484"/>
          </a:xfrm>
          <a:custGeom>
            <a:avLst/>
            <a:gdLst>
              <a:gd name="T0" fmla="*/ 2147483646 w 217"/>
              <a:gd name="T1" fmla="*/ 2147483646 h 174"/>
              <a:gd name="T2" fmla="*/ 2147483646 w 217"/>
              <a:gd name="T3" fmla="*/ 2147483646 h 174"/>
              <a:gd name="T4" fmla="*/ 2147483646 w 217"/>
              <a:gd name="T5" fmla="*/ 2147483646 h 174"/>
              <a:gd name="T6" fmla="*/ 2147483646 w 217"/>
              <a:gd name="T7" fmla="*/ 2147483646 h 174"/>
              <a:gd name="T8" fmla="*/ 2147483646 w 217"/>
              <a:gd name="T9" fmla="*/ 2147483646 h 174"/>
              <a:gd name="T10" fmla="*/ 2147483646 w 217"/>
              <a:gd name="T11" fmla="*/ 2147483646 h 174"/>
              <a:gd name="T12" fmla="*/ 2147483646 w 217"/>
              <a:gd name="T13" fmla="*/ 2147483646 h 174"/>
              <a:gd name="T14" fmla="*/ 2147483646 w 217"/>
              <a:gd name="T15" fmla="*/ 2147483646 h 174"/>
              <a:gd name="T16" fmla="*/ 2147483646 w 217"/>
              <a:gd name="T17" fmla="*/ 2147483646 h 174"/>
              <a:gd name="T18" fmla="*/ 2147483646 w 217"/>
              <a:gd name="T19" fmla="*/ 2147483646 h 174"/>
              <a:gd name="T20" fmla="*/ 2147483646 w 217"/>
              <a:gd name="T21" fmla="*/ 2147483646 h 174"/>
              <a:gd name="T22" fmla="*/ 2147483646 w 217"/>
              <a:gd name="T23" fmla="*/ 2147483646 h 174"/>
              <a:gd name="T24" fmla="*/ 2147483646 w 217"/>
              <a:gd name="T25" fmla="*/ 2147483646 h 174"/>
              <a:gd name="T26" fmla="*/ 2147483646 w 217"/>
              <a:gd name="T27" fmla="*/ 2147483646 h 174"/>
              <a:gd name="T28" fmla="*/ 2147483646 w 217"/>
              <a:gd name="T29" fmla="*/ 2147483646 h 174"/>
              <a:gd name="T30" fmla="*/ 2147483646 w 217"/>
              <a:gd name="T31" fmla="*/ 2147483646 h 174"/>
              <a:gd name="T32" fmla="*/ 2147483646 w 217"/>
              <a:gd name="T33" fmla="*/ 2147483646 h 174"/>
              <a:gd name="T34" fmla="*/ 2147483646 w 217"/>
              <a:gd name="T35" fmla="*/ 2147483646 h 174"/>
              <a:gd name="T36" fmla="*/ 2147483646 w 217"/>
              <a:gd name="T37" fmla="*/ 2147483646 h 174"/>
              <a:gd name="T38" fmla="*/ 2147483646 w 217"/>
              <a:gd name="T39" fmla="*/ 2147483646 h 174"/>
              <a:gd name="T40" fmla="*/ 2147483646 w 217"/>
              <a:gd name="T41" fmla="*/ 2147483646 h 174"/>
              <a:gd name="T42" fmla="*/ 2147483646 w 217"/>
              <a:gd name="T43" fmla="*/ 2147483646 h 174"/>
              <a:gd name="T44" fmla="*/ 2147483646 w 217"/>
              <a:gd name="T45" fmla="*/ 2147483646 h 174"/>
              <a:gd name="T46" fmla="*/ 2147483646 w 217"/>
              <a:gd name="T47" fmla="*/ 2147483646 h 174"/>
              <a:gd name="T48" fmla="*/ 2147483646 w 217"/>
              <a:gd name="T49" fmla="*/ 2147483646 h 174"/>
              <a:gd name="T50" fmla="*/ 2147483646 w 217"/>
              <a:gd name="T51" fmla="*/ 2147483646 h 174"/>
              <a:gd name="T52" fmla="*/ 2147483646 w 217"/>
              <a:gd name="T53" fmla="*/ 2147483646 h 17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17"/>
              <a:gd name="T82" fmla="*/ 0 h 174"/>
              <a:gd name="T83" fmla="*/ 217 w 217"/>
              <a:gd name="T84" fmla="*/ 174 h 17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17" h="174">
                <a:moveTo>
                  <a:pt x="148" y="8"/>
                </a:moveTo>
                <a:cubicBezTo>
                  <a:pt x="140" y="10"/>
                  <a:pt x="124" y="0"/>
                  <a:pt x="118" y="10"/>
                </a:cubicBezTo>
                <a:cubicBezTo>
                  <a:pt x="111" y="20"/>
                  <a:pt x="111" y="26"/>
                  <a:pt x="114" y="32"/>
                </a:cubicBezTo>
                <a:cubicBezTo>
                  <a:pt x="116" y="38"/>
                  <a:pt x="107" y="50"/>
                  <a:pt x="97" y="46"/>
                </a:cubicBezTo>
                <a:cubicBezTo>
                  <a:pt x="87" y="42"/>
                  <a:pt x="79" y="40"/>
                  <a:pt x="83" y="46"/>
                </a:cubicBezTo>
                <a:cubicBezTo>
                  <a:pt x="87" y="52"/>
                  <a:pt x="99" y="64"/>
                  <a:pt x="93" y="71"/>
                </a:cubicBezTo>
                <a:cubicBezTo>
                  <a:pt x="87" y="77"/>
                  <a:pt x="73" y="60"/>
                  <a:pt x="73" y="66"/>
                </a:cubicBezTo>
                <a:cubicBezTo>
                  <a:pt x="73" y="85"/>
                  <a:pt x="91" y="85"/>
                  <a:pt x="87" y="93"/>
                </a:cubicBezTo>
                <a:cubicBezTo>
                  <a:pt x="83" y="101"/>
                  <a:pt x="77" y="97"/>
                  <a:pt x="69" y="95"/>
                </a:cubicBezTo>
                <a:cubicBezTo>
                  <a:pt x="61" y="93"/>
                  <a:pt x="59" y="83"/>
                  <a:pt x="53" y="77"/>
                </a:cubicBezTo>
                <a:cubicBezTo>
                  <a:pt x="47" y="71"/>
                  <a:pt x="28" y="60"/>
                  <a:pt x="28" y="75"/>
                </a:cubicBezTo>
                <a:cubicBezTo>
                  <a:pt x="28" y="89"/>
                  <a:pt x="0" y="101"/>
                  <a:pt x="14" y="103"/>
                </a:cubicBezTo>
                <a:cubicBezTo>
                  <a:pt x="28" y="105"/>
                  <a:pt x="59" y="93"/>
                  <a:pt x="49" y="105"/>
                </a:cubicBezTo>
                <a:cubicBezTo>
                  <a:pt x="38" y="117"/>
                  <a:pt x="26" y="127"/>
                  <a:pt x="36" y="125"/>
                </a:cubicBezTo>
                <a:cubicBezTo>
                  <a:pt x="47" y="123"/>
                  <a:pt x="53" y="109"/>
                  <a:pt x="61" y="111"/>
                </a:cubicBezTo>
                <a:cubicBezTo>
                  <a:pt x="69" y="113"/>
                  <a:pt x="69" y="117"/>
                  <a:pt x="69" y="125"/>
                </a:cubicBezTo>
                <a:cubicBezTo>
                  <a:pt x="69" y="133"/>
                  <a:pt x="87" y="142"/>
                  <a:pt x="83" y="148"/>
                </a:cubicBezTo>
                <a:cubicBezTo>
                  <a:pt x="79" y="154"/>
                  <a:pt x="97" y="138"/>
                  <a:pt x="105" y="140"/>
                </a:cubicBezTo>
                <a:cubicBezTo>
                  <a:pt x="114" y="142"/>
                  <a:pt x="128" y="131"/>
                  <a:pt x="124" y="150"/>
                </a:cubicBezTo>
                <a:cubicBezTo>
                  <a:pt x="120" y="168"/>
                  <a:pt x="124" y="174"/>
                  <a:pt x="130" y="172"/>
                </a:cubicBezTo>
                <a:cubicBezTo>
                  <a:pt x="136" y="170"/>
                  <a:pt x="140" y="119"/>
                  <a:pt x="158" y="140"/>
                </a:cubicBezTo>
                <a:cubicBezTo>
                  <a:pt x="176" y="160"/>
                  <a:pt x="176" y="156"/>
                  <a:pt x="187" y="148"/>
                </a:cubicBezTo>
                <a:cubicBezTo>
                  <a:pt x="197" y="140"/>
                  <a:pt x="199" y="121"/>
                  <a:pt x="205" y="117"/>
                </a:cubicBezTo>
                <a:cubicBezTo>
                  <a:pt x="211" y="113"/>
                  <a:pt x="211" y="83"/>
                  <a:pt x="211" y="83"/>
                </a:cubicBezTo>
                <a:cubicBezTo>
                  <a:pt x="211" y="83"/>
                  <a:pt x="217" y="60"/>
                  <a:pt x="207" y="54"/>
                </a:cubicBezTo>
                <a:cubicBezTo>
                  <a:pt x="197" y="48"/>
                  <a:pt x="199" y="12"/>
                  <a:pt x="180" y="14"/>
                </a:cubicBezTo>
                <a:cubicBezTo>
                  <a:pt x="162" y="16"/>
                  <a:pt x="148" y="8"/>
                  <a:pt x="148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01" name="Freeform 434"/>
          <p:cNvSpPr>
            <a:spLocks/>
          </p:cNvSpPr>
          <p:nvPr userDrawn="1"/>
        </p:nvSpPr>
        <p:spPr bwMode="auto">
          <a:xfrm>
            <a:off x="5370049" y="3224023"/>
            <a:ext cx="190960" cy="373547"/>
          </a:xfrm>
          <a:custGeom>
            <a:avLst/>
            <a:gdLst>
              <a:gd name="T0" fmla="*/ 2147483646 w 205"/>
              <a:gd name="T1" fmla="*/ 2147483646 h 400"/>
              <a:gd name="T2" fmla="*/ 2147483646 w 205"/>
              <a:gd name="T3" fmla="*/ 2147483646 h 400"/>
              <a:gd name="T4" fmla="*/ 2147483646 w 205"/>
              <a:gd name="T5" fmla="*/ 2147483646 h 400"/>
              <a:gd name="T6" fmla="*/ 2147483646 w 205"/>
              <a:gd name="T7" fmla="*/ 2147483646 h 400"/>
              <a:gd name="T8" fmla="*/ 2147483646 w 205"/>
              <a:gd name="T9" fmla="*/ 2147483646 h 400"/>
              <a:gd name="T10" fmla="*/ 2147483646 w 205"/>
              <a:gd name="T11" fmla="*/ 2147483646 h 400"/>
              <a:gd name="T12" fmla="*/ 2147483646 w 205"/>
              <a:gd name="T13" fmla="*/ 2147483646 h 400"/>
              <a:gd name="T14" fmla="*/ 2147483646 w 205"/>
              <a:gd name="T15" fmla="*/ 2147483646 h 400"/>
              <a:gd name="T16" fmla="*/ 2147483646 w 205"/>
              <a:gd name="T17" fmla="*/ 2147483646 h 400"/>
              <a:gd name="T18" fmla="*/ 2147483646 w 205"/>
              <a:gd name="T19" fmla="*/ 2147483646 h 400"/>
              <a:gd name="T20" fmla="*/ 2147483646 w 205"/>
              <a:gd name="T21" fmla="*/ 2147483646 h 400"/>
              <a:gd name="T22" fmla="*/ 2147483646 w 205"/>
              <a:gd name="T23" fmla="*/ 2147483646 h 400"/>
              <a:gd name="T24" fmla="*/ 2147483646 w 205"/>
              <a:gd name="T25" fmla="*/ 2147483646 h 400"/>
              <a:gd name="T26" fmla="*/ 2147483646 w 205"/>
              <a:gd name="T27" fmla="*/ 2147483646 h 400"/>
              <a:gd name="T28" fmla="*/ 2147483646 w 205"/>
              <a:gd name="T29" fmla="*/ 2147483646 h 400"/>
              <a:gd name="T30" fmla="*/ 2147483646 w 205"/>
              <a:gd name="T31" fmla="*/ 2147483646 h 400"/>
              <a:gd name="T32" fmla="*/ 2147483646 w 205"/>
              <a:gd name="T33" fmla="*/ 2147483646 h 400"/>
              <a:gd name="T34" fmla="*/ 2147483646 w 205"/>
              <a:gd name="T35" fmla="*/ 2147483646 h 400"/>
              <a:gd name="T36" fmla="*/ 2147483646 w 205"/>
              <a:gd name="T37" fmla="*/ 2147483646 h 400"/>
              <a:gd name="T38" fmla="*/ 2147483646 w 205"/>
              <a:gd name="T39" fmla="*/ 2147483646 h 400"/>
              <a:gd name="T40" fmla="*/ 2147483646 w 205"/>
              <a:gd name="T41" fmla="*/ 2147483646 h 400"/>
              <a:gd name="T42" fmla="*/ 2147483646 w 205"/>
              <a:gd name="T43" fmla="*/ 2147483646 h 400"/>
              <a:gd name="T44" fmla="*/ 2147483646 w 205"/>
              <a:gd name="T45" fmla="*/ 2147483646 h 400"/>
              <a:gd name="T46" fmla="*/ 2147483646 w 205"/>
              <a:gd name="T47" fmla="*/ 2147483646 h 400"/>
              <a:gd name="T48" fmla="*/ 2147483646 w 205"/>
              <a:gd name="T49" fmla="*/ 2147483646 h 400"/>
              <a:gd name="T50" fmla="*/ 2147483646 w 205"/>
              <a:gd name="T51" fmla="*/ 2147483646 h 400"/>
              <a:gd name="T52" fmla="*/ 2147483646 w 205"/>
              <a:gd name="T53" fmla="*/ 2147483646 h 400"/>
              <a:gd name="T54" fmla="*/ 2147483646 w 205"/>
              <a:gd name="T55" fmla="*/ 2147483646 h 400"/>
              <a:gd name="T56" fmla="*/ 2147483646 w 205"/>
              <a:gd name="T57" fmla="*/ 2147483646 h 400"/>
              <a:gd name="T58" fmla="*/ 2147483646 w 205"/>
              <a:gd name="T59" fmla="*/ 2147483646 h 400"/>
              <a:gd name="T60" fmla="*/ 2147483646 w 205"/>
              <a:gd name="T61" fmla="*/ 2147483646 h 400"/>
              <a:gd name="T62" fmla="*/ 2147483646 w 205"/>
              <a:gd name="T63" fmla="*/ 2147483646 h 400"/>
              <a:gd name="T64" fmla="*/ 2147483646 w 205"/>
              <a:gd name="T65" fmla="*/ 2147483646 h 400"/>
              <a:gd name="T66" fmla="*/ 2147483646 w 205"/>
              <a:gd name="T67" fmla="*/ 2147483646 h 400"/>
              <a:gd name="T68" fmla="*/ 2147483646 w 205"/>
              <a:gd name="T69" fmla="*/ 2147483646 h 400"/>
              <a:gd name="T70" fmla="*/ 2147483646 w 205"/>
              <a:gd name="T71" fmla="*/ 2147483646 h 400"/>
              <a:gd name="T72" fmla="*/ 2147483646 w 205"/>
              <a:gd name="T73" fmla="*/ 2147483646 h 400"/>
              <a:gd name="T74" fmla="*/ 2147483646 w 205"/>
              <a:gd name="T75" fmla="*/ 2147483646 h 400"/>
              <a:gd name="T76" fmla="*/ 2147483646 w 205"/>
              <a:gd name="T77" fmla="*/ 2147483646 h 400"/>
              <a:gd name="T78" fmla="*/ 2147483646 w 205"/>
              <a:gd name="T79" fmla="*/ 2147483646 h 400"/>
              <a:gd name="T80" fmla="*/ 2147483646 w 205"/>
              <a:gd name="T81" fmla="*/ 2147483646 h 400"/>
              <a:gd name="T82" fmla="*/ 2147483646 w 205"/>
              <a:gd name="T83" fmla="*/ 2147483646 h 400"/>
              <a:gd name="T84" fmla="*/ 2147483646 w 205"/>
              <a:gd name="T85" fmla="*/ 2147483646 h 400"/>
              <a:gd name="T86" fmla="*/ 2147483646 w 205"/>
              <a:gd name="T87" fmla="*/ 2147483646 h 400"/>
              <a:gd name="T88" fmla="*/ 2147483646 w 205"/>
              <a:gd name="T89" fmla="*/ 2147483646 h 400"/>
              <a:gd name="T90" fmla="*/ 2147483646 w 205"/>
              <a:gd name="T91" fmla="*/ 2147483646 h 400"/>
              <a:gd name="T92" fmla="*/ 2147483646 w 205"/>
              <a:gd name="T93" fmla="*/ 2147483646 h 400"/>
              <a:gd name="T94" fmla="*/ 2147483646 w 205"/>
              <a:gd name="T95" fmla="*/ 2147483646 h 400"/>
              <a:gd name="T96" fmla="*/ 2147483646 w 205"/>
              <a:gd name="T97" fmla="*/ 2147483646 h 400"/>
              <a:gd name="T98" fmla="*/ 2147483646 w 205"/>
              <a:gd name="T99" fmla="*/ 2147483646 h 400"/>
              <a:gd name="T100" fmla="*/ 2147483646 w 205"/>
              <a:gd name="T101" fmla="*/ 2147483646 h 400"/>
              <a:gd name="T102" fmla="*/ 2147483646 w 205"/>
              <a:gd name="T103" fmla="*/ 2147483646 h 400"/>
              <a:gd name="T104" fmla="*/ 2147483646 w 205"/>
              <a:gd name="T105" fmla="*/ 2147483646 h 400"/>
              <a:gd name="T106" fmla="*/ 2147483646 w 205"/>
              <a:gd name="T107" fmla="*/ 2147483646 h 400"/>
              <a:gd name="T108" fmla="*/ 2147483646 w 205"/>
              <a:gd name="T109" fmla="*/ 2147483646 h 400"/>
              <a:gd name="T110" fmla="*/ 2147483646 w 205"/>
              <a:gd name="T111" fmla="*/ 2147483646 h 400"/>
              <a:gd name="T112" fmla="*/ 2147483646 w 205"/>
              <a:gd name="T113" fmla="*/ 2147483646 h 400"/>
              <a:gd name="T114" fmla="*/ 2147483646 w 205"/>
              <a:gd name="T115" fmla="*/ 2147483646 h 400"/>
              <a:gd name="T116" fmla="*/ 2147483646 w 205"/>
              <a:gd name="T117" fmla="*/ 2147483646 h 400"/>
              <a:gd name="T118" fmla="*/ 2147483646 w 205"/>
              <a:gd name="T119" fmla="*/ 2147483646 h 400"/>
              <a:gd name="T120" fmla="*/ 2147483646 w 205"/>
              <a:gd name="T121" fmla="*/ 2147483646 h 40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05"/>
              <a:gd name="T184" fmla="*/ 0 h 400"/>
              <a:gd name="T185" fmla="*/ 205 w 205"/>
              <a:gd name="T186" fmla="*/ 400 h 40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05" h="400">
                <a:moveTo>
                  <a:pt x="31" y="6"/>
                </a:moveTo>
                <a:cubicBezTo>
                  <a:pt x="31" y="6"/>
                  <a:pt x="25" y="6"/>
                  <a:pt x="25" y="8"/>
                </a:cubicBezTo>
                <a:cubicBezTo>
                  <a:pt x="25" y="11"/>
                  <a:pt x="21" y="17"/>
                  <a:pt x="23" y="18"/>
                </a:cubicBezTo>
                <a:cubicBezTo>
                  <a:pt x="25" y="20"/>
                  <a:pt x="29" y="25"/>
                  <a:pt x="27" y="25"/>
                </a:cubicBezTo>
                <a:cubicBezTo>
                  <a:pt x="25" y="25"/>
                  <a:pt x="23" y="25"/>
                  <a:pt x="21" y="25"/>
                </a:cubicBezTo>
                <a:cubicBezTo>
                  <a:pt x="19" y="25"/>
                  <a:pt x="17" y="26"/>
                  <a:pt x="17" y="29"/>
                </a:cubicBezTo>
                <a:cubicBezTo>
                  <a:pt x="17" y="32"/>
                  <a:pt x="19" y="33"/>
                  <a:pt x="16" y="34"/>
                </a:cubicBezTo>
                <a:cubicBezTo>
                  <a:pt x="14" y="35"/>
                  <a:pt x="12" y="32"/>
                  <a:pt x="14" y="35"/>
                </a:cubicBezTo>
                <a:cubicBezTo>
                  <a:pt x="16" y="37"/>
                  <a:pt x="17" y="35"/>
                  <a:pt x="19" y="38"/>
                </a:cubicBezTo>
                <a:cubicBezTo>
                  <a:pt x="20" y="41"/>
                  <a:pt x="19" y="41"/>
                  <a:pt x="17" y="41"/>
                </a:cubicBezTo>
                <a:cubicBezTo>
                  <a:pt x="16" y="42"/>
                  <a:pt x="15" y="42"/>
                  <a:pt x="12" y="41"/>
                </a:cubicBezTo>
                <a:cubicBezTo>
                  <a:pt x="9" y="41"/>
                  <a:pt x="5" y="40"/>
                  <a:pt x="5" y="42"/>
                </a:cubicBezTo>
                <a:cubicBezTo>
                  <a:pt x="5" y="45"/>
                  <a:pt x="5" y="47"/>
                  <a:pt x="6" y="50"/>
                </a:cubicBezTo>
                <a:cubicBezTo>
                  <a:pt x="7" y="52"/>
                  <a:pt x="2" y="53"/>
                  <a:pt x="5" y="54"/>
                </a:cubicBezTo>
                <a:cubicBezTo>
                  <a:pt x="7" y="55"/>
                  <a:pt x="9" y="58"/>
                  <a:pt x="9" y="58"/>
                </a:cubicBezTo>
                <a:cubicBezTo>
                  <a:pt x="9" y="58"/>
                  <a:pt x="15" y="61"/>
                  <a:pt x="10" y="61"/>
                </a:cubicBezTo>
                <a:cubicBezTo>
                  <a:pt x="5" y="60"/>
                  <a:pt x="2" y="55"/>
                  <a:pt x="4" y="60"/>
                </a:cubicBezTo>
                <a:cubicBezTo>
                  <a:pt x="5" y="65"/>
                  <a:pt x="5" y="68"/>
                  <a:pt x="7" y="68"/>
                </a:cubicBezTo>
                <a:cubicBezTo>
                  <a:pt x="8" y="68"/>
                  <a:pt x="9" y="71"/>
                  <a:pt x="11" y="70"/>
                </a:cubicBezTo>
                <a:cubicBezTo>
                  <a:pt x="12" y="69"/>
                  <a:pt x="12" y="65"/>
                  <a:pt x="14" y="67"/>
                </a:cubicBezTo>
                <a:cubicBezTo>
                  <a:pt x="16" y="69"/>
                  <a:pt x="19" y="73"/>
                  <a:pt x="15" y="74"/>
                </a:cubicBezTo>
                <a:cubicBezTo>
                  <a:pt x="12" y="75"/>
                  <a:pt x="10" y="73"/>
                  <a:pt x="11" y="75"/>
                </a:cubicBezTo>
                <a:cubicBezTo>
                  <a:pt x="12" y="77"/>
                  <a:pt x="14" y="81"/>
                  <a:pt x="10" y="81"/>
                </a:cubicBezTo>
                <a:cubicBezTo>
                  <a:pt x="7" y="81"/>
                  <a:pt x="5" y="80"/>
                  <a:pt x="6" y="84"/>
                </a:cubicBezTo>
                <a:cubicBezTo>
                  <a:pt x="7" y="87"/>
                  <a:pt x="8" y="89"/>
                  <a:pt x="6" y="89"/>
                </a:cubicBezTo>
                <a:cubicBezTo>
                  <a:pt x="4" y="90"/>
                  <a:pt x="3" y="89"/>
                  <a:pt x="4" y="91"/>
                </a:cubicBezTo>
                <a:cubicBezTo>
                  <a:pt x="6" y="93"/>
                  <a:pt x="4" y="95"/>
                  <a:pt x="3" y="96"/>
                </a:cubicBezTo>
                <a:cubicBezTo>
                  <a:pt x="2" y="96"/>
                  <a:pt x="0" y="101"/>
                  <a:pt x="2" y="101"/>
                </a:cubicBezTo>
                <a:cubicBezTo>
                  <a:pt x="5" y="101"/>
                  <a:pt x="7" y="102"/>
                  <a:pt x="7" y="102"/>
                </a:cubicBezTo>
                <a:cubicBezTo>
                  <a:pt x="7" y="102"/>
                  <a:pt x="5" y="103"/>
                  <a:pt x="4" y="105"/>
                </a:cubicBezTo>
                <a:cubicBezTo>
                  <a:pt x="4" y="106"/>
                  <a:pt x="2" y="107"/>
                  <a:pt x="5" y="108"/>
                </a:cubicBezTo>
                <a:cubicBezTo>
                  <a:pt x="8" y="109"/>
                  <a:pt x="9" y="108"/>
                  <a:pt x="9" y="108"/>
                </a:cubicBezTo>
                <a:cubicBezTo>
                  <a:pt x="9" y="108"/>
                  <a:pt x="11" y="107"/>
                  <a:pt x="12" y="107"/>
                </a:cubicBezTo>
                <a:cubicBezTo>
                  <a:pt x="13" y="107"/>
                  <a:pt x="16" y="105"/>
                  <a:pt x="17" y="103"/>
                </a:cubicBezTo>
                <a:cubicBezTo>
                  <a:pt x="19" y="101"/>
                  <a:pt x="27" y="88"/>
                  <a:pt x="29" y="88"/>
                </a:cubicBezTo>
                <a:cubicBezTo>
                  <a:pt x="31" y="88"/>
                  <a:pt x="21" y="102"/>
                  <a:pt x="21" y="105"/>
                </a:cubicBezTo>
                <a:cubicBezTo>
                  <a:pt x="21" y="107"/>
                  <a:pt x="17" y="110"/>
                  <a:pt x="17" y="111"/>
                </a:cubicBezTo>
                <a:cubicBezTo>
                  <a:pt x="16" y="113"/>
                  <a:pt x="12" y="116"/>
                  <a:pt x="11" y="117"/>
                </a:cubicBezTo>
                <a:cubicBezTo>
                  <a:pt x="10" y="118"/>
                  <a:pt x="9" y="122"/>
                  <a:pt x="12" y="123"/>
                </a:cubicBezTo>
                <a:cubicBezTo>
                  <a:pt x="14" y="124"/>
                  <a:pt x="17" y="124"/>
                  <a:pt x="15" y="126"/>
                </a:cubicBezTo>
                <a:cubicBezTo>
                  <a:pt x="13" y="129"/>
                  <a:pt x="12" y="127"/>
                  <a:pt x="11" y="131"/>
                </a:cubicBezTo>
                <a:cubicBezTo>
                  <a:pt x="11" y="134"/>
                  <a:pt x="13" y="136"/>
                  <a:pt x="11" y="136"/>
                </a:cubicBezTo>
                <a:cubicBezTo>
                  <a:pt x="10" y="137"/>
                  <a:pt x="6" y="142"/>
                  <a:pt x="9" y="142"/>
                </a:cubicBezTo>
                <a:cubicBezTo>
                  <a:pt x="11" y="143"/>
                  <a:pt x="15" y="141"/>
                  <a:pt x="12" y="146"/>
                </a:cubicBezTo>
                <a:cubicBezTo>
                  <a:pt x="9" y="150"/>
                  <a:pt x="0" y="162"/>
                  <a:pt x="7" y="166"/>
                </a:cubicBezTo>
                <a:cubicBezTo>
                  <a:pt x="13" y="169"/>
                  <a:pt x="12" y="161"/>
                  <a:pt x="13" y="158"/>
                </a:cubicBezTo>
                <a:cubicBezTo>
                  <a:pt x="15" y="155"/>
                  <a:pt x="16" y="150"/>
                  <a:pt x="17" y="148"/>
                </a:cubicBezTo>
                <a:cubicBezTo>
                  <a:pt x="18" y="147"/>
                  <a:pt x="19" y="146"/>
                  <a:pt x="19" y="143"/>
                </a:cubicBezTo>
                <a:cubicBezTo>
                  <a:pt x="20" y="141"/>
                  <a:pt x="20" y="138"/>
                  <a:pt x="19" y="137"/>
                </a:cubicBezTo>
                <a:cubicBezTo>
                  <a:pt x="18" y="136"/>
                  <a:pt x="16" y="135"/>
                  <a:pt x="17" y="133"/>
                </a:cubicBezTo>
                <a:cubicBezTo>
                  <a:pt x="18" y="131"/>
                  <a:pt x="18" y="130"/>
                  <a:pt x="20" y="129"/>
                </a:cubicBezTo>
                <a:cubicBezTo>
                  <a:pt x="21" y="127"/>
                  <a:pt x="20" y="133"/>
                  <a:pt x="23" y="135"/>
                </a:cubicBezTo>
                <a:cubicBezTo>
                  <a:pt x="26" y="136"/>
                  <a:pt x="29" y="134"/>
                  <a:pt x="29" y="134"/>
                </a:cubicBezTo>
                <a:cubicBezTo>
                  <a:pt x="29" y="134"/>
                  <a:pt x="29" y="131"/>
                  <a:pt x="30" y="130"/>
                </a:cubicBezTo>
                <a:cubicBezTo>
                  <a:pt x="31" y="129"/>
                  <a:pt x="31" y="133"/>
                  <a:pt x="34" y="134"/>
                </a:cubicBezTo>
                <a:cubicBezTo>
                  <a:pt x="36" y="136"/>
                  <a:pt x="40" y="132"/>
                  <a:pt x="35" y="138"/>
                </a:cubicBezTo>
                <a:cubicBezTo>
                  <a:pt x="31" y="144"/>
                  <a:pt x="29" y="146"/>
                  <a:pt x="31" y="148"/>
                </a:cubicBezTo>
                <a:cubicBezTo>
                  <a:pt x="33" y="151"/>
                  <a:pt x="34" y="150"/>
                  <a:pt x="34" y="154"/>
                </a:cubicBezTo>
                <a:cubicBezTo>
                  <a:pt x="34" y="158"/>
                  <a:pt x="35" y="156"/>
                  <a:pt x="32" y="160"/>
                </a:cubicBezTo>
                <a:cubicBezTo>
                  <a:pt x="29" y="164"/>
                  <a:pt x="26" y="168"/>
                  <a:pt x="28" y="170"/>
                </a:cubicBezTo>
                <a:cubicBezTo>
                  <a:pt x="29" y="173"/>
                  <a:pt x="30" y="170"/>
                  <a:pt x="28" y="175"/>
                </a:cubicBezTo>
                <a:cubicBezTo>
                  <a:pt x="26" y="179"/>
                  <a:pt x="26" y="179"/>
                  <a:pt x="25" y="181"/>
                </a:cubicBezTo>
                <a:cubicBezTo>
                  <a:pt x="24" y="183"/>
                  <a:pt x="19" y="182"/>
                  <a:pt x="22" y="184"/>
                </a:cubicBezTo>
                <a:cubicBezTo>
                  <a:pt x="24" y="185"/>
                  <a:pt x="21" y="184"/>
                  <a:pt x="24" y="186"/>
                </a:cubicBezTo>
                <a:cubicBezTo>
                  <a:pt x="27" y="188"/>
                  <a:pt x="29" y="183"/>
                  <a:pt x="30" y="186"/>
                </a:cubicBezTo>
                <a:cubicBezTo>
                  <a:pt x="31" y="189"/>
                  <a:pt x="26" y="197"/>
                  <a:pt x="30" y="195"/>
                </a:cubicBezTo>
                <a:cubicBezTo>
                  <a:pt x="34" y="193"/>
                  <a:pt x="29" y="186"/>
                  <a:pt x="33" y="187"/>
                </a:cubicBezTo>
                <a:cubicBezTo>
                  <a:pt x="37" y="188"/>
                  <a:pt x="36" y="195"/>
                  <a:pt x="40" y="194"/>
                </a:cubicBezTo>
                <a:cubicBezTo>
                  <a:pt x="43" y="194"/>
                  <a:pt x="40" y="186"/>
                  <a:pt x="45" y="190"/>
                </a:cubicBezTo>
                <a:cubicBezTo>
                  <a:pt x="50" y="194"/>
                  <a:pt x="47" y="191"/>
                  <a:pt x="49" y="188"/>
                </a:cubicBezTo>
                <a:cubicBezTo>
                  <a:pt x="51" y="186"/>
                  <a:pt x="53" y="187"/>
                  <a:pt x="55" y="188"/>
                </a:cubicBezTo>
                <a:cubicBezTo>
                  <a:pt x="57" y="188"/>
                  <a:pt x="61" y="183"/>
                  <a:pt x="63" y="183"/>
                </a:cubicBezTo>
                <a:cubicBezTo>
                  <a:pt x="66" y="183"/>
                  <a:pt x="64" y="179"/>
                  <a:pt x="66" y="178"/>
                </a:cubicBezTo>
                <a:cubicBezTo>
                  <a:pt x="68" y="176"/>
                  <a:pt x="67" y="185"/>
                  <a:pt x="71" y="184"/>
                </a:cubicBezTo>
                <a:cubicBezTo>
                  <a:pt x="76" y="183"/>
                  <a:pt x="84" y="182"/>
                  <a:pt x="79" y="185"/>
                </a:cubicBezTo>
                <a:cubicBezTo>
                  <a:pt x="73" y="188"/>
                  <a:pt x="66" y="184"/>
                  <a:pt x="68" y="189"/>
                </a:cubicBezTo>
                <a:cubicBezTo>
                  <a:pt x="70" y="194"/>
                  <a:pt x="65" y="196"/>
                  <a:pt x="65" y="200"/>
                </a:cubicBezTo>
                <a:cubicBezTo>
                  <a:pt x="64" y="204"/>
                  <a:pt x="63" y="204"/>
                  <a:pt x="66" y="206"/>
                </a:cubicBezTo>
                <a:cubicBezTo>
                  <a:pt x="68" y="209"/>
                  <a:pt x="69" y="209"/>
                  <a:pt x="71" y="211"/>
                </a:cubicBezTo>
                <a:cubicBezTo>
                  <a:pt x="71" y="211"/>
                  <a:pt x="71" y="213"/>
                  <a:pt x="71" y="215"/>
                </a:cubicBezTo>
                <a:cubicBezTo>
                  <a:pt x="72" y="218"/>
                  <a:pt x="73" y="218"/>
                  <a:pt x="75" y="219"/>
                </a:cubicBezTo>
                <a:cubicBezTo>
                  <a:pt x="77" y="219"/>
                  <a:pt x="79" y="219"/>
                  <a:pt x="79" y="219"/>
                </a:cubicBezTo>
                <a:cubicBezTo>
                  <a:pt x="79" y="219"/>
                  <a:pt x="81" y="215"/>
                  <a:pt x="82" y="217"/>
                </a:cubicBezTo>
                <a:cubicBezTo>
                  <a:pt x="84" y="219"/>
                  <a:pt x="80" y="223"/>
                  <a:pt x="82" y="225"/>
                </a:cubicBezTo>
                <a:cubicBezTo>
                  <a:pt x="84" y="227"/>
                  <a:pt x="83" y="224"/>
                  <a:pt x="81" y="230"/>
                </a:cubicBezTo>
                <a:cubicBezTo>
                  <a:pt x="79" y="236"/>
                  <a:pt x="81" y="236"/>
                  <a:pt x="80" y="238"/>
                </a:cubicBezTo>
                <a:cubicBezTo>
                  <a:pt x="79" y="240"/>
                  <a:pt x="76" y="238"/>
                  <a:pt x="78" y="241"/>
                </a:cubicBezTo>
                <a:cubicBezTo>
                  <a:pt x="79" y="245"/>
                  <a:pt x="81" y="245"/>
                  <a:pt x="80" y="247"/>
                </a:cubicBezTo>
                <a:cubicBezTo>
                  <a:pt x="79" y="249"/>
                  <a:pt x="76" y="249"/>
                  <a:pt x="78" y="251"/>
                </a:cubicBezTo>
                <a:cubicBezTo>
                  <a:pt x="81" y="253"/>
                  <a:pt x="87" y="253"/>
                  <a:pt x="84" y="255"/>
                </a:cubicBezTo>
                <a:cubicBezTo>
                  <a:pt x="81" y="257"/>
                  <a:pt x="77" y="255"/>
                  <a:pt x="76" y="254"/>
                </a:cubicBezTo>
                <a:cubicBezTo>
                  <a:pt x="75" y="253"/>
                  <a:pt x="73" y="248"/>
                  <a:pt x="74" y="252"/>
                </a:cubicBezTo>
                <a:cubicBezTo>
                  <a:pt x="75" y="256"/>
                  <a:pt x="78" y="258"/>
                  <a:pt x="75" y="258"/>
                </a:cubicBezTo>
                <a:cubicBezTo>
                  <a:pt x="72" y="259"/>
                  <a:pt x="68" y="253"/>
                  <a:pt x="68" y="255"/>
                </a:cubicBezTo>
                <a:cubicBezTo>
                  <a:pt x="67" y="258"/>
                  <a:pt x="65" y="260"/>
                  <a:pt x="63" y="258"/>
                </a:cubicBezTo>
                <a:cubicBezTo>
                  <a:pt x="61" y="257"/>
                  <a:pt x="60" y="252"/>
                  <a:pt x="59" y="255"/>
                </a:cubicBezTo>
                <a:cubicBezTo>
                  <a:pt x="57" y="257"/>
                  <a:pt x="56" y="255"/>
                  <a:pt x="54" y="255"/>
                </a:cubicBezTo>
                <a:cubicBezTo>
                  <a:pt x="53" y="256"/>
                  <a:pt x="52" y="260"/>
                  <a:pt x="51" y="258"/>
                </a:cubicBezTo>
                <a:cubicBezTo>
                  <a:pt x="50" y="256"/>
                  <a:pt x="47" y="258"/>
                  <a:pt x="47" y="261"/>
                </a:cubicBezTo>
                <a:cubicBezTo>
                  <a:pt x="47" y="263"/>
                  <a:pt x="48" y="267"/>
                  <a:pt x="46" y="269"/>
                </a:cubicBezTo>
                <a:cubicBezTo>
                  <a:pt x="43" y="271"/>
                  <a:pt x="42" y="269"/>
                  <a:pt x="39" y="272"/>
                </a:cubicBezTo>
                <a:cubicBezTo>
                  <a:pt x="37" y="274"/>
                  <a:pt x="34" y="272"/>
                  <a:pt x="35" y="276"/>
                </a:cubicBezTo>
                <a:cubicBezTo>
                  <a:pt x="36" y="279"/>
                  <a:pt x="36" y="277"/>
                  <a:pt x="34" y="279"/>
                </a:cubicBezTo>
                <a:cubicBezTo>
                  <a:pt x="32" y="282"/>
                  <a:pt x="32" y="283"/>
                  <a:pt x="35" y="282"/>
                </a:cubicBezTo>
                <a:cubicBezTo>
                  <a:pt x="38" y="282"/>
                  <a:pt x="38" y="281"/>
                  <a:pt x="41" y="279"/>
                </a:cubicBezTo>
                <a:cubicBezTo>
                  <a:pt x="43" y="276"/>
                  <a:pt x="49" y="274"/>
                  <a:pt x="49" y="275"/>
                </a:cubicBezTo>
                <a:cubicBezTo>
                  <a:pt x="50" y="276"/>
                  <a:pt x="49" y="273"/>
                  <a:pt x="51" y="278"/>
                </a:cubicBezTo>
                <a:cubicBezTo>
                  <a:pt x="52" y="282"/>
                  <a:pt x="51" y="287"/>
                  <a:pt x="52" y="291"/>
                </a:cubicBezTo>
                <a:cubicBezTo>
                  <a:pt x="53" y="295"/>
                  <a:pt x="53" y="301"/>
                  <a:pt x="49" y="303"/>
                </a:cubicBezTo>
                <a:cubicBezTo>
                  <a:pt x="45" y="305"/>
                  <a:pt x="42" y="304"/>
                  <a:pt x="41" y="307"/>
                </a:cubicBezTo>
                <a:cubicBezTo>
                  <a:pt x="40" y="310"/>
                  <a:pt x="43" y="305"/>
                  <a:pt x="37" y="310"/>
                </a:cubicBezTo>
                <a:cubicBezTo>
                  <a:pt x="32" y="315"/>
                  <a:pt x="32" y="315"/>
                  <a:pt x="29" y="316"/>
                </a:cubicBezTo>
                <a:cubicBezTo>
                  <a:pt x="25" y="317"/>
                  <a:pt x="20" y="310"/>
                  <a:pt x="23" y="317"/>
                </a:cubicBezTo>
                <a:cubicBezTo>
                  <a:pt x="25" y="323"/>
                  <a:pt x="25" y="322"/>
                  <a:pt x="24" y="325"/>
                </a:cubicBezTo>
                <a:cubicBezTo>
                  <a:pt x="23" y="328"/>
                  <a:pt x="24" y="327"/>
                  <a:pt x="27" y="329"/>
                </a:cubicBezTo>
                <a:cubicBezTo>
                  <a:pt x="31" y="331"/>
                  <a:pt x="30" y="330"/>
                  <a:pt x="33" y="330"/>
                </a:cubicBezTo>
                <a:cubicBezTo>
                  <a:pt x="35" y="331"/>
                  <a:pt x="35" y="324"/>
                  <a:pt x="38" y="324"/>
                </a:cubicBezTo>
                <a:cubicBezTo>
                  <a:pt x="41" y="324"/>
                  <a:pt x="41" y="320"/>
                  <a:pt x="43" y="322"/>
                </a:cubicBezTo>
                <a:cubicBezTo>
                  <a:pt x="46" y="323"/>
                  <a:pt x="44" y="324"/>
                  <a:pt x="47" y="324"/>
                </a:cubicBezTo>
                <a:cubicBezTo>
                  <a:pt x="49" y="324"/>
                  <a:pt x="50" y="321"/>
                  <a:pt x="49" y="324"/>
                </a:cubicBezTo>
                <a:cubicBezTo>
                  <a:pt x="49" y="328"/>
                  <a:pt x="41" y="329"/>
                  <a:pt x="44" y="331"/>
                </a:cubicBezTo>
                <a:cubicBezTo>
                  <a:pt x="47" y="332"/>
                  <a:pt x="48" y="330"/>
                  <a:pt x="51" y="330"/>
                </a:cubicBezTo>
                <a:cubicBezTo>
                  <a:pt x="53" y="331"/>
                  <a:pt x="51" y="329"/>
                  <a:pt x="54" y="329"/>
                </a:cubicBezTo>
                <a:cubicBezTo>
                  <a:pt x="58" y="330"/>
                  <a:pt x="58" y="327"/>
                  <a:pt x="59" y="330"/>
                </a:cubicBezTo>
                <a:cubicBezTo>
                  <a:pt x="60" y="333"/>
                  <a:pt x="65" y="338"/>
                  <a:pt x="69" y="338"/>
                </a:cubicBezTo>
                <a:cubicBezTo>
                  <a:pt x="72" y="338"/>
                  <a:pt x="70" y="334"/>
                  <a:pt x="74" y="335"/>
                </a:cubicBezTo>
                <a:cubicBezTo>
                  <a:pt x="78" y="336"/>
                  <a:pt x="77" y="333"/>
                  <a:pt x="79" y="333"/>
                </a:cubicBezTo>
                <a:cubicBezTo>
                  <a:pt x="82" y="332"/>
                  <a:pt x="80" y="328"/>
                  <a:pt x="84" y="329"/>
                </a:cubicBezTo>
                <a:cubicBezTo>
                  <a:pt x="87" y="330"/>
                  <a:pt x="84" y="330"/>
                  <a:pt x="89" y="327"/>
                </a:cubicBezTo>
                <a:cubicBezTo>
                  <a:pt x="93" y="323"/>
                  <a:pt x="92" y="321"/>
                  <a:pt x="94" y="322"/>
                </a:cubicBezTo>
                <a:cubicBezTo>
                  <a:pt x="96" y="323"/>
                  <a:pt x="97" y="321"/>
                  <a:pt x="97" y="321"/>
                </a:cubicBezTo>
                <a:cubicBezTo>
                  <a:pt x="97" y="321"/>
                  <a:pt x="91" y="333"/>
                  <a:pt x="87" y="335"/>
                </a:cubicBezTo>
                <a:cubicBezTo>
                  <a:pt x="83" y="337"/>
                  <a:pt x="82" y="336"/>
                  <a:pt x="79" y="341"/>
                </a:cubicBezTo>
                <a:cubicBezTo>
                  <a:pt x="77" y="347"/>
                  <a:pt x="74" y="350"/>
                  <a:pt x="69" y="349"/>
                </a:cubicBezTo>
                <a:cubicBezTo>
                  <a:pt x="65" y="347"/>
                  <a:pt x="64" y="345"/>
                  <a:pt x="61" y="346"/>
                </a:cubicBezTo>
                <a:cubicBezTo>
                  <a:pt x="57" y="347"/>
                  <a:pt x="57" y="345"/>
                  <a:pt x="54" y="348"/>
                </a:cubicBezTo>
                <a:cubicBezTo>
                  <a:pt x="51" y="350"/>
                  <a:pt x="46" y="349"/>
                  <a:pt x="48" y="351"/>
                </a:cubicBezTo>
                <a:cubicBezTo>
                  <a:pt x="51" y="354"/>
                  <a:pt x="56" y="358"/>
                  <a:pt x="49" y="357"/>
                </a:cubicBezTo>
                <a:cubicBezTo>
                  <a:pt x="43" y="355"/>
                  <a:pt x="42" y="351"/>
                  <a:pt x="41" y="356"/>
                </a:cubicBezTo>
                <a:cubicBezTo>
                  <a:pt x="41" y="361"/>
                  <a:pt x="44" y="359"/>
                  <a:pt x="42" y="364"/>
                </a:cubicBezTo>
                <a:cubicBezTo>
                  <a:pt x="40" y="368"/>
                  <a:pt x="42" y="365"/>
                  <a:pt x="38" y="368"/>
                </a:cubicBezTo>
                <a:cubicBezTo>
                  <a:pt x="33" y="370"/>
                  <a:pt x="33" y="365"/>
                  <a:pt x="31" y="370"/>
                </a:cubicBezTo>
                <a:cubicBezTo>
                  <a:pt x="29" y="376"/>
                  <a:pt x="30" y="374"/>
                  <a:pt x="28" y="378"/>
                </a:cubicBezTo>
                <a:cubicBezTo>
                  <a:pt x="26" y="382"/>
                  <a:pt x="16" y="389"/>
                  <a:pt x="13" y="390"/>
                </a:cubicBezTo>
                <a:cubicBezTo>
                  <a:pt x="10" y="390"/>
                  <a:pt x="8" y="390"/>
                  <a:pt x="10" y="395"/>
                </a:cubicBezTo>
                <a:cubicBezTo>
                  <a:pt x="12" y="399"/>
                  <a:pt x="14" y="399"/>
                  <a:pt x="15" y="399"/>
                </a:cubicBezTo>
                <a:cubicBezTo>
                  <a:pt x="16" y="399"/>
                  <a:pt x="17" y="392"/>
                  <a:pt x="19" y="395"/>
                </a:cubicBezTo>
                <a:cubicBezTo>
                  <a:pt x="21" y="398"/>
                  <a:pt x="29" y="400"/>
                  <a:pt x="29" y="395"/>
                </a:cubicBezTo>
                <a:cubicBezTo>
                  <a:pt x="28" y="390"/>
                  <a:pt x="29" y="388"/>
                  <a:pt x="33" y="387"/>
                </a:cubicBezTo>
                <a:cubicBezTo>
                  <a:pt x="36" y="385"/>
                  <a:pt x="38" y="383"/>
                  <a:pt x="40" y="382"/>
                </a:cubicBezTo>
                <a:cubicBezTo>
                  <a:pt x="42" y="381"/>
                  <a:pt x="38" y="377"/>
                  <a:pt x="43" y="379"/>
                </a:cubicBezTo>
                <a:cubicBezTo>
                  <a:pt x="47" y="381"/>
                  <a:pt x="58" y="386"/>
                  <a:pt x="62" y="386"/>
                </a:cubicBezTo>
                <a:cubicBezTo>
                  <a:pt x="66" y="386"/>
                  <a:pt x="67" y="384"/>
                  <a:pt x="66" y="380"/>
                </a:cubicBezTo>
                <a:cubicBezTo>
                  <a:pt x="66" y="376"/>
                  <a:pt x="65" y="374"/>
                  <a:pt x="67" y="372"/>
                </a:cubicBezTo>
                <a:cubicBezTo>
                  <a:pt x="70" y="370"/>
                  <a:pt x="68" y="366"/>
                  <a:pt x="72" y="369"/>
                </a:cubicBezTo>
                <a:cubicBezTo>
                  <a:pt x="76" y="371"/>
                  <a:pt x="76" y="371"/>
                  <a:pt x="80" y="369"/>
                </a:cubicBezTo>
                <a:cubicBezTo>
                  <a:pt x="83" y="366"/>
                  <a:pt x="84" y="362"/>
                  <a:pt x="88" y="366"/>
                </a:cubicBezTo>
                <a:cubicBezTo>
                  <a:pt x="91" y="370"/>
                  <a:pt x="92" y="367"/>
                  <a:pt x="93" y="371"/>
                </a:cubicBezTo>
                <a:cubicBezTo>
                  <a:pt x="94" y="375"/>
                  <a:pt x="98" y="374"/>
                  <a:pt x="102" y="374"/>
                </a:cubicBezTo>
                <a:cubicBezTo>
                  <a:pt x="106" y="373"/>
                  <a:pt x="107" y="370"/>
                  <a:pt x="107" y="368"/>
                </a:cubicBezTo>
                <a:cubicBezTo>
                  <a:pt x="107" y="366"/>
                  <a:pt x="109" y="366"/>
                  <a:pt x="112" y="367"/>
                </a:cubicBezTo>
                <a:cubicBezTo>
                  <a:pt x="114" y="368"/>
                  <a:pt x="115" y="372"/>
                  <a:pt x="118" y="371"/>
                </a:cubicBezTo>
                <a:cubicBezTo>
                  <a:pt x="120" y="369"/>
                  <a:pt x="118" y="354"/>
                  <a:pt x="122" y="358"/>
                </a:cubicBezTo>
                <a:cubicBezTo>
                  <a:pt x="125" y="362"/>
                  <a:pt x="126" y="363"/>
                  <a:pt x="130" y="362"/>
                </a:cubicBezTo>
                <a:cubicBezTo>
                  <a:pt x="133" y="362"/>
                  <a:pt x="136" y="355"/>
                  <a:pt x="137" y="361"/>
                </a:cubicBezTo>
                <a:cubicBezTo>
                  <a:pt x="138" y="367"/>
                  <a:pt x="140" y="366"/>
                  <a:pt x="142" y="366"/>
                </a:cubicBezTo>
                <a:cubicBezTo>
                  <a:pt x="144" y="365"/>
                  <a:pt x="144" y="361"/>
                  <a:pt x="147" y="362"/>
                </a:cubicBezTo>
                <a:cubicBezTo>
                  <a:pt x="150" y="363"/>
                  <a:pt x="150" y="362"/>
                  <a:pt x="154" y="364"/>
                </a:cubicBezTo>
                <a:cubicBezTo>
                  <a:pt x="157" y="365"/>
                  <a:pt x="165" y="364"/>
                  <a:pt x="169" y="362"/>
                </a:cubicBezTo>
                <a:cubicBezTo>
                  <a:pt x="172" y="361"/>
                  <a:pt x="175" y="358"/>
                  <a:pt x="177" y="358"/>
                </a:cubicBezTo>
                <a:cubicBezTo>
                  <a:pt x="179" y="357"/>
                  <a:pt x="180" y="355"/>
                  <a:pt x="182" y="356"/>
                </a:cubicBezTo>
                <a:cubicBezTo>
                  <a:pt x="184" y="357"/>
                  <a:pt x="184" y="355"/>
                  <a:pt x="187" y="353"/>
                </a:cubicBezTo>
                <a:cubicBezTo>
                  <a:pt x="191" y="351"/>
                  <a:pt x="194" y="342"/>
                  <a:pt x="194" y="340"/>
                </a:cubicBezTo>
                <a:cubicBezTo>
                  <a:pt x="194" y="338"/>
                  <a:pt x="192" y="340"/>
                  <a:pt x="186" y="340"/>
                </a:cubicBezTo>
                <a:cubicBezTo>
                  <a:pt x="181" y="341"/>
                  <a:pt x="181" y="341"/>
                  <a:pt x="176" y="341"/>
                </a:cubicBezTo>
                <a:cubicBezTo>
                  <a:pt x="172" y="340"/>
                  <a:pt x="168" y="341"/>
                  <a:pt x="171" y="338"/>
                </a:cubicBezTo>
                <a:cubicBezTo>
                  <a:pt x="175" y="336"/>
                  <a:pt x="176" y="335"/>
                  <a:pt x="177" y="333"/>
                </a:cubicBezTo>
                <a:cubicBezTo>
                  <a:pt x="178" y="331"/>
                  <a:pt x="182" y="329"/>
                  <a:pt x="182" y="327"/>
                </a:cubicBezTo>
                <a:cubicBezTo>
                  <a:pt x="182" y="324"/>
                  <a:pt x="182" y="324"/>
                  <a:pt x="181" y="323"/>
                </a:cubicBezTo>
                <a:cubicBezTo>
                  <a:pt x="180" y="322"/>
                  <a:pt x="180" y="322"/>
                  <a:pt x="179" y="322"/>
                </a:cubicBezTo>
                <a:cubicBezTo>
                  <a:pt x="178" y="321"/>
                  <a:pt x="181" y="321"/>
                  <a:pt x="184" y="322"/>
                </a:cubicBezTo>
                <a:cubicBezTo>
                  <a:pt x="186" y="323"/>
                  <a:pt x="186" y="322"/>
                  <a:pt x="188" y="322"/>
                </a:cubicBezTo>
                <a:cubicBezTo>
                  <a:pt x="191" y="323"/>
                  <a:pt x="192" y="323"/>
                  <a:pt x="193" y="320"/>
                </a:cubicBezTo>
                <a:cubicBezTo>
                  <a:pt x="194" y="318"/>
                  <a:pt x="193" y="320"/>
                  <a:pt x="191" y="317"/>
                </a:cubicBezTo>
                <a:cubicBezTo>
                  <a:pt x="190" y="313"/>
                  <a:pt x="190" y="310"/>
                  <a:pt x="193" y="310"/>
                </a:cubicBezTo>
                <a:cubicBezTo>
                  <a:pt x="197" y="310"/>
                  <a:pt x="197" y="313"/>
                  <a:pt x="199" y="308"/>
                </a:cubicBezTo>
                <a:cubicBezTo>
                  <a:pt x="202" y="303"/>
                  <a:pt x="203" y="306"/>
                  <a:pt x="203" y="300"/>
                </a:cubicBezTo>
                <a:cubicBezTo>
                  <a:pt x="203" y="295"/>
                  <a:pt x="205" y="296"/>
                  <a:pt x="202" y="291"/>
                </a:cubicBezTo>
                <a:cubicBezTo>
                  <a:pt x="200" y="286"/>
                  <a:pt x="189" y="269"/>
                  <a:pt x="181" y="271"/>
                </a:cubicBezTo>
                <a:cubicBezTo>
                  <a:pt x="172" y="272"/>
                  <a:pt x="164" y="269"/>
                  <a:pt x="165" y="273"/>
                </a:cubicBezTo>
                <a:cubicBezTo>
                  <a:pt x="166" y="276"/>
                  <a:pt x="168" y="283"/>
                  <a:pt x="164" y="281"/>
                </a:cubicBezTo>
                <a:cubicBezTo>
                  <a:pt x="160" y="279"/>
                  <a:pt x="155" y="279"/>
                  <a:pt x="157" y="274"/>
                </a:cubicBezTo>
                <a:cubicBezTo>
                  <a:pt x="158" y="269"/>
                  <a:pt x="160" y="265"/>
                  <a:pt x="162" y="264"/>
                </a:cubicBezTo>
                <a:cubicBezTo>
                  <a:pt x="164" y="262"/>
                  <a:pt x="164" y="260"/>
                  <a:pt x="164" y="258"/>
                </a:cubicBezTo>
                <a:cubicBezTo>
                  <a:pt x="164" y="257"/>
                  <a:pt x="163" y="249"/>
                  <a:pt x="158" y="246"/>
                </a:cubicBezTo>
                <a:cubicBezTo>
                  <a:pt x="154" y="244"/>
                  <a:pt x="160" y="244"/>
                  <a:pt x="150" y="242"/>
                </a:cubicBezTo>
                <a:cubicBezTo>
                  <a:pt x="141" y="240"/>
                  <a:pt x="136" y="238"/>
                  <a:pt x="135" y="237"/>
                </a:cubicBezTo>
                <a:cubicBezTo>
                  <a:pt x="134" y="236"/>
                  <a:pt x="154" y="239"/>
                  <a:pt x="157" y="240"/>
                </a:cubicBezTo>
                <a:cubicBezTo>
                  <a:pt x="159" y="241"/>
                  <a:pt x="163" y="240"/>
                  <a:pt x="161" y="237"/>
                </a:cubicBezTo>
                <a:cubicBezTo>
                  <a:pt x="159" y="234"/>
                  <a:pt x="157" y="232"/>
                  <a:pt x="154" y="231"/>
                </a:cubicBezTo>
                <a:cubicBezTo>
                  <a:pt x="151" y="229"/>
                  <a:pt x="149" y="228"/>
                  <a:pt x="149" y="226"/>
                </a:cubicBezTo>
                <a:cubicBezTo>
                  <a:pt x="150" y="223"/>
                  <a:pt x="149" y="221"/>
                  <a:pt x="150" y="220"/>
                </a:cubicBezTo>
                <a:cubicBezTo>
                  <a:pt x="151" y="218"/>
                  <a:pt x="152" y="218"/>
                  <a:pt x="149" y="216"/>
                </a:cubicBezTo>
                <a:cubicBezTo>
                  <a:pt x="146" y="214"/>
                  <a:pt x="143" y="213"/>
                  <a:pt x="142" y="212"/>
                </a:cubicBezTo>
                <a:cubicBezTo>
                  <a:pt x="141" y="211"/>
                  <a:pt x="133" y="195"/>
                  <a:pt x="127" y="198"/>
                </a:cubicBezTo>
                <a:cubicBezTo>
                  <a:pt x="121" y="201"/>
                  <a:pt x="127" y="195"/>
                  <a:pt x="123" y="188"/>
                </a:cubicBezTo>
                <a:cubicBezTo>
                  <a:pt x="118" y="181"/>
                  <a:pt x="118" y="177"/>
                  <a:pt x="118" y="173"/>
                </a:cubicBezTo>
                <a:cubicBezTo>
                  <a:pt x="118" y="169"/>
                  <a:pt x="114" y="170"/>
                  <a:pt x="115" y="163"/>
                </a:cubicBezTo>
                <a:cubicBezTo>
                  <a:pt x="117" y="156"/>
                  <a:pt x="119" y="157"/>
                  <a:pt x="114" y="153"/>
                </a:cubicBezTo>
                <a:cubicBezTo>
                  <a:pt x="108" y="148"/>
                  <a:pt x="108" y="146"/>
                  <a:pt x="106" y="145"/>
                </a:cubicBezTo>
                <a:cubicBezTo>
                  <a:pt x="104" y="144"/>
                  <a:pt x="100" y="139"/>
                  <a:pt x="95" y="136"/>
                </a:cubicBezTo>
                <a:cubicBezTo>
                  <a:pt x="89" y="133"/>
                  <a:pt x="88" y="132"/>
                  <a:pt x="85" y="131"/>
                </a:cubicBezTo>
                <a:cubicBezTo>
                  <a:pt x="82" y="131"/>
                  <a:pt x="84" y="130"/>
                  <a:pt x="78" y="132"/>
                </a:cubicBezTo>
                <a:cubicBezTo>
                  <a:pt x="72" y="134"/>
                  <a:pt x="66" y="132"/>
                  <a:pt x="60" y="131"/>
                </a:cubicBezTo>
                <a:cubicBezTo>
                  <a:pt x="55" y="130"/>
                  <a:pt x="74" y="130"/>
                  <a:pt x="77" y="127"/>
                </a:cubicBezTo>
                <a:cubicBezTo>
                  <a:pt x="80" y="123"/>
                  <a:pt x="79" y="121"/>
                  <a:pt x="84" y="122"/>
                </a:cubicBezTo>
                <a:cubicBezTo>
                  <a:pt x="89" y="123"/>
                  <a:pt x="92" y="121"/>
                  <a:pt x="90" y="118"/>
                </a:cubicBezTo>
                <a:cubicBezTo>
                  <a:pt x="87" y="116"/>
                  <a:pt x="87" y="114"/>
                  <a:pt x="83" y="115"/>
                </a:cubicBezTo>
                <a:cubicBezTo>
                  <a:pt x="79" y="115"/>
                  <a:pt x="79" y="114"/>
                  <a:pt x="77" y="113"/>
                </a:cubicBezTo>
                <a:cubicBezTo>
                  <a:pt x="75" y="112"/>
                  <a:pt x="87" y="108"/>
                  <a:pt x="89" y="105"/>
                </a:cubicBezTo>
                <a:cubicBezTo>
                  <a:pt x="91" y="103"/>
                  <a:pt x="91" y="99"/>
                  <a:pt x="93" y="96"/>
                </a:cubicBezTo>
                <a:cubicBezTo>
                  <a:pt x="96" y="92"/>
                  <a:pt x="101" y="85"/>
                  <a:pt x="100" y="82"/>
                </a:cubicBezTo>
                <a:cubicBezTo>
                  <a:pt x="100" y="78"/>
                  <a:pt x="99" y="75"/>
                  <a:pt x="102" y="73"/>
                </a:cubicBezTo>
                <a:cubicBezTo>
                  <a:pt x="105" y="71"/>
                  <a:pt x="107" y="70"/>
                  <a:pt x="107" y="67"/>
                </a:cubicBezTo>
                <a:cubicBezTo>
                  <a:pt x="107" y="64"/>
                  <a:pt x="108" y="58"/>
                  <a:pt x="106" y="55"/>
                </a:cubicBezTo>
                <a:cubicBezTo>
                  <a:pt x="105" y="52"/>
                  <a:pt x="105" y="50"/>
                  <a:pt x="99" y="51"/>
                </a:cubicBezTo>
                <a:cubicBezTo>
                  <a:pt x="93" y="52"/>
                  <a:pt x="97" y="51"/>
                  <a:pt x="89" y="51"/>
                </a:cubicBezTo>
                <a:cubicBezTo>
                  <a:pt x="81" y="50"/>
                  <a:pt x="84" y="49"/>
                  <a:pt x="80" y="50"/>
                </a:cubicBezTo>
                <a:cubicBezTo>
                  <a:pt x="75" y="51"/>
                  <a:pt x="76" y="53"/>
                  <a:pt x="71" y="53"/>
                </a:cubicBezTo>
                <a:cubicBezTo>
                  <a:pt x="66" y="53"/>
                  <a:pt x="68" y="51"/>
                  <a:pt x="63" y="53"/>
                </a:cubicBezTo>
                <a:cubicBezTo>
                  <a:pt x="58" y="55"/>
                  <a:pt x="59" y="48"/>
                  <a:pt x="54" y="55"/>
                </a:cubicBezTo>
                <a:cubicBezTo>
                  <a:pt x="48" y="63"/>
                  <a:pt x="39" y="65"/>
                  <a:pt x="41" y="61"/>
                </a:cubicBezTo>
                <a:cubicBezTo>
                  <a:pt x="43" y="57"/>
                  <a:pt x="50" y="54"/>
                  <a:pt x="48" y="53"/>
                </a:cubicBezTo>
                <a:cubicBezTo>
                  <a:pt x="45" y="52"/>
                  <a:pt x="44" y="46"/>
                  <a:pt x="48" y="49"/>
                </a:cubicBezTo>
                <a:cubicBezTo>
                  <a:pt x="52" y="51"/>
                  <a:pt x="55" y="47"/>
                  <a:pt x="55" y="45"/>
                </a:cubicBezTo>
                <a:cubicBezTo>
                  <a:pt x="55" y="42"/>
                  <a:pt x="55" y="43"/>
                  <a:pt x="53" y="40"/>
                </a:cubicBezTo>
                <a:cubicBezTo>
                  <a:pt x="51" y="38"/>
                  <a:pt x="49" y="38"/>
                  <a:pt x="54" y="36"/>
                </a:cubicBezTo>
                <a:cubicBezTo>
                  <a:pt x="58" y="34"/>
                  <a:pt x="59" y="30"/>
                  <a:pt x="62" y="27"/>
                </a:cubicBezTo>
                <a:cubicBezTo>
                  <a:pt x="65" y="25"/>
                  <a:pt x="80" y="14"/>
                  <a:pt x="76" y="11"/>
                </a:cubicBezTo>
                <a:cubicBezTo>
                  <a:pt x="73" y="8"/>
                  <a:pt x="78" y="0"/>
                  <a:pt x="71" y="3"/>
                </a:cubicBezTo>
                <a:cubicBezTo>
                  <a:pt x="64" y="7"/>
                  <a:pt x="62" y="1"/>
                  <a:pt x="59" y="6"/>
                </a:cubicBezTo>
                <a:cubicBezTo>
                  <a:pt x="56" y="10"/>
                  <a:pt x="55" y="3"/>
                  <a:pt x="50" y="6"/>
                </a:cubicBezTo>
                <a:cubicBezTo>
                  <a:pt x="46" y="10"/>
                  <a:pt x="42" y="9"/>
                  <a:pt x="39" y="8"/>
                </a:cubicBezTo>
                <a:cubicBezTo>
                  <a:pt x="35" y="7"/>
                  <a:pt x="33" y="6"/>
                  <a:pt x="33" y="5"/>
                </a:cubicBezTo>
                <a:cubicBezTo>
                  <a:pt x="33" y="4"/>
                  <a:pt x="31" y="6"/>
                  <a:pt x="31" y="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02" name="Freeform 436"/>
          <p:cNvSpPr>
            <a:spLocks/>
          </p:cNvSpPr>
          <p:nvPr userDrawn="1"/>
        </p:nvSpPr>
        <p:spPr bwMode="auto">
          <a:xfrm>
            <a:off x="5338223" y="3229050"/>
            <a:ext cx="31827" cy="38527"/>
          </a:xfrm>
          <a:custGeom>
            <a:avLst/>
            <a:gdLst>
              <a:gd name="T0" fmla="*/ 2147483646 w 33"/>
              <a:gd name="T1" fmla="*/ 2147483646 h 42"/>
              <a:gd name="T2" fmla="*/ 2147483646 w 33"/>
              <a:gd name="T3" fmla="*/ 2147483646 h 42"/>
              <a:gd name="T4" fmla="*/ 2147483646 w 33"/>
              <a:gd name="T5" fmla="*/ 2147483646 h 42"/>
              <a:gd name="T6" fmla="*/ 2147483646 w 33"/>
              <a:gd name="T7" fmla="*/ 2147483646 h 42"/>
              <a:gd name="T8" fmla="*/ 2147483646 w 33"/>
              <a:gd name="T9" fmla="*/ 2147483646 h 42"/>
              <a:gd name="T10" fmla="*/ 2147483646 w 33"/>
              <a:gd name="T11" fmla="*/ 2147483646 h 42"/>
              <a:gd name="T12" fmla="*/ 2147483646 w 33"/>
              <a:gd name="T13" fmla="*/ 2147483646 h 42"/>
              <a:gd name="T14" fmla="*/ 2147483646 w 33"/>
              <a:gd name="T15" fmla="*/ 2147483646 h 42"/>
              <a:gd name="T16" fmla="*/ 2147483646 w 33"/>
              <a:gd name="T17" fmla="*/ 2147483646 h 42"/>
              <a:gd name="T18" fmla="*/ 2147483646 w 33"/>
              <a:gd name="T19" fmla="*/ 2147483646 h 42"/>
              <a:gd name="T20" fmla="*/ 2147483646 w 33"/>
              <a:gd name="T21" fmla="*/ 2147483646 h 4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42"/>
              <a:gd name="T35" fmla="*/ 33 w 33"/>
              <a:gd name="T36" fmla="*/ 42 h 4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42">
                <a:moveTo>
                  <a:pt x="30" y="10"/>
                </a:moveTo>
                <a:cubicBezTo>
                  <a:pt x="26" y="7"/>
                  <a:pt x="26" y="0"/>
                  <a:pt x="23" y="8"/>
                </a:cubicBezTo>
                <a:cubicBezTo>
                  <a:pt x="20" y="16"/>
                  <a:pt x="20" y="12"/>
                  <a:pt x="16" y="16"/>
                </a:cubicBezTo>
                <a:cubicBezTo>
                  <a:pt x="13" y="19"/>
                  <a:pt x="11" y="20"/>
                  <a:pt x="8" y="20"/>
                </a:cubicBezTo>
                <a:cubicBezTo>
                  <a:pt x="6" y="21"/>
                  <a:pt x="0" y="15"/>
                  <a:pt x="3" y="22"/>
                </a:cubicBezTo>
                <a:cubicBezTo>
                  <a:pt x="5" y="30"/>
                  <a:pt x="11" y="28"/>
                  <a:pt x="11" y="33"/>
                </a:cubicBezTo>
                <a:cubicBezTo>
                  <a:pt x="10" y="38"/>
                  <a:pt x="7" y="41"/>
                  <a:pt x="10" y="42"/>
                </a:cubicBezTo>
                <a:cubicBezTo>
                  <a:pt x="12" y="42"/>
                  <a:pt x="17" y="41"/>
                  <a:pt x="19" y="35"/>
                </a:cubicBezTo>
                <a:cubicBezTo>
                  <a:pt x="21" y="29"/>
                  <a:pt x="20" y="19"/>
                  <a:pt x="24" y="22"/>
                </a:cubicBezTo>
                <a:cubicBezTo>
                  <a:pt x="28" y="26"/>
                  <a:pt x="25" y="23"/>
                  <a:pt x="29" y="19"/>
                </a:cubicBezTo>
                <a:cubicBezTo>
                  <a:pt x="33" y="15"/>
                  <a:pt x="30" y="10"/>
                  <a:pt x="30" y="1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03" name="Freeform 437"/>
          <p:cNvSpPr>
            <a:spLocks/>
          </p:cNvSpPr>
          <p:nvPr userDrawn="1"/>
        </p:nvSpPr>
        <p:spPr bwMode="auto">
          <a:xfrm>
            <a:off x="5326497" y="3274276"/>
            <a:ext cx="18427" cy="33501"/>
          </a:xfrm>
          <a:custGeom>
            <a:avLst/>
            <a:gdLst>
              <a:gd name="T0" fmla="*/ 2147483646 w 20"/>
              <a:gd name="T1" fmla="*/ 2147483646 h 37"/>
              <a:gd name="T2" fmla="*/ 2147483646 w 20"/>
              <a:gd name="T3" fmla="*/ 2147483646 h 37"/>
              <a:gd name="T4" fmla="*/ 2147483646 w 20"/>
              <a:gd name="T5" fmla="*/ 2147483646 h 37"/>
              <a:gd name="T6" fmla="*/ 2147483646 w 20"/>
              <a:gd name="T7" fmla="*/ 2147483646 h 37"/>
              <a:gd name="T8" fmla="*/ 2147483646 w 20"/>
              <a:gd name="T9" fmla="*/ 2147483646 h 37"/>
              <a:gd name="T10" fmla="*/ 2147483646 w 20"/>
              <a:gd name="T11" fmla="*/ 2147483646 h 37"/>
              <a:gd name="T12" fmla="*/ 2147483646 w 20"/>
              <a:gd name="T13" fmla="*/ 2147483646 h 37"/>
              <a:gd name="T14" fmla="*/ 2147483646 w 20"/>
              <a:gd name="T15" fmla="*/ 2147483646 h 37"/>
              <a:gd name="T16" fmla="*/ 2147483646 w 20"/>
              <a:gd name="T17" fmla="*/ 2147483646 h 3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37"/>
              <a:gd name="T29" fmla="*/ 20 w 20"/>
              <a:gd name="T30" fmla="*/ 37 h 3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37">
                <a:moveTo>
                  <a:pt x="12" y="1"/>
                </a:moveTo>
                <a:cubicBezTo>
                  <a:pt x="7" y="2"/>
                  <a:pt x="0" y="1"/>
                  <a:pt x="6" y="6"/>
                </a:cubicBezTo>
                <a:cubicBezTo>
                  <a:pt x="13" y="11"/>
                  <a:pt x="16" y="11"/>
                  <a:pt x="12" y="15"/>
                </a:cubicBezTo>
                <a:cubicBezTo>
                  <a:pt x="9" y="19"/>
                  <a:pt x="9" y="18"/>
                  <a:pt x="11" y="25"/>
                </a:cubicBezTo>
                <a:cubicBezTo>
                  <a:pt x="13" y="31"/>
                  <a:pt x="10" y="32"/>
                  <a:pt x="12" y="34"/>
                </a:cubicBezTo>
                <a:cubicBezTo>
                  <a:pt x="14" y="36"/>
                  <a:pt x="14" y="37"/>
                  <a:pt x="17" y="24"/>
                </a:cubicBezTo>
                <a:cubicBezTo>
                  <a:pt x="20" y="11"/>
                  <a:pt x="18" y="10"/>
                  <a:pt x="17" y="6"/>
                </a:cubicBezTo>
                <a:cubicBezTo>
                  <a:pt x="16" y="3"/>
                  <a:pt x="16" y="1"/>
                  <a:pt x="15" y="1"/>
                </a:cubicBezTo>
                <a:cubicBezTo>
                  <a:pt x="13" y="0"/>
                  <a:pt x="12" y="1"/>
                  <a:pt x="12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04" name="Freeform 438"/>
          <p:cNvSpPr>
            <a:spLocks/>
          </p:cNvSpPr>
          <p:nvPr userDrawn="1"/>
        </p:nvSpPr>
        <p:spPr bwMode="auto">
          <a:xfrm>
            <a:off x="5344924" y="3274276"/>
            <a:ext cx="30152" cy="28477"/>
          </a:xfrm>
          <a:custGeom>
            <a:avLst/>
            <a:gdLst>
              <a:gd name="T0" fmla="*/ 2147483646 w 32"/>
              <a:gd name="T1" fmla="*/ 2147483646 h 31"/>
              <a:gd name="T2" fmla="*/ 2147483646 w 32"/>
              <a:gd name="T3" fmla="*/ 2147483646 h 31"/>
              <a:gd name="T4" fmla="*/ 2147483646 w 32"/>
              <a:gd name="T5" fmla="*/ 2147483646 h 31"/>
              <a:gd name="T6" fmla="*/ 2147483646 w 32"/>
              <a:gd name="T7" fmla="*/ 2147483646 h 31"/>
              <a:gd name="T8" fmla="*/ 2147483646 w 32"/>
              <a:gd name="T9" fmla="*/ 2147483646 h 31"/>
              <a:gd name="T10" fmla="*/ 2147483646 w 32"/>
              <a:gd name="T11" fmla="*/ 2147483646 h 31"/>
              <a:gd name="T12" fmla="*/ 2147483646 w 32"/>
              <a:gd name="T13" fmla="*/ 2147483646 h 31"/>
              <a:gd name="T14" fmla="*/ 2147483646 w 32"/>
              <a:gd name="T15" fmla="*/ 2147483646 h 31"/>
              <a:gd name="T16" fmla="*/ 2147483646 w 32"/>
              <a:gd name="T17" fmla="*/ 2147483646 h 31"/>
              <a:gd name="T18" fmla="*/ 2147483646 w 32"/>
              <a:gd name="T19" fmla="*/ 2147483646 h 31"/>
              <a:gd name="T20" fmla="*/ 2147483646 w 32"/>
              <a:gd name="T21" fmla="*/ 2147483646 h 31"/>
              <a:gd name="T22" fmla="*/ 2147483646 w 32"/>
              <a:gd name="T23" fmla="*/ 2147483646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31"/>
              <a:gd name="T38" fmla="*/ 32 w 32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31">
                <a:moveTo>
                  <a:pt x="13" y="2"/>
                </a:moveTo>
                <a:cubicBezTo>
                  <a:pt x="15" y="8"/>
                  <a:pt x="12" y="3"/>
                  <a:pt x="11" y="6"/>
                </a:cubicBezTo>
                <a:cubicBezTo>
                  <a:pt x="10" y="11"/>
                  <a:pt x="10" y="12"/>
                  <a:pt x="7" y="12"/>
                </a:cubicBezTo>
                <a:cubicBezTo>
                  <a:pt x="5" y="12"/>
                  <a:pt x="0" y="8"/>
                  <a:pt x="5" y="12"/>
                </a:cubicBezTo>
                <a:cubicBezTo>
                  <a:pt x="10" y="16"/>
                  <a:pt x="9" y="8"/>
                  <a:pt x="14" y="17"/>
                </a:cubicBezTo>
                <a:cubicBezTo>
                  <a:pt x="19" y="27"/>
                  <a:pt x="20" y="20"/>
                  <a:pt x="24" y="25"/>
                </a:cubicBezTo>
                <a:cubicBezTo>
                  <a:pt x="29" y="31"/>
                  <a:pt x="31" y="28"/>
                  <a:pt x="30" y="25"/>
                </a:cubicBezTo>
                <a:cubicBezTo>
                  <a:pt x="29" y="21"/>
                  <a:pt x="32" y="15"/>
                  <a:pt x="27" y="15"/>
                </a:cubicBezTo>
                <a:cubicBezTo>
                  <a:pt x="23" y="15"/>
                  <a:pt x="18" y="13"/>
                  <a:pt x="19" y="10"/>
                </a:cubicBezTo>
                <a:cubicBezTo>
                  <a:pt x="21" y="7"/>
                  <a:pt x="23" y="7"/>
                  <a:pt x="21" y="5"/>
                </a:cubicBezTo>
                <a:cubicBezTo>
                  <a:pt x="19" y="2"/>
                  <a:pt x="21" y="2"/>
                  <a:pt x="19" y="1"/>
                </a:cubicBezTo>
                <a:cubicBezTo>
                  <a:pt x="17" y="0"/>
                  <a:pt x="13" y="2"/>
                  <a:pt x="13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05" name="Freeform 439"/>
          <p:cNvSpPr>
            <a:spLocks/>
          </p:cNvSpPr>
          <p:nvPr userDrawn="1"/>
        </p:nvSpPr>
        <p:spPr bwMode="auto">
          <a:xfrm>
            <a:off x="5358325" y="3301077"/>
            <a:ext cx="8375" cy="10051"/>
          </a:xfrm>
          <a:custGeom>
            <a:avLst/>
            <a:gdLst>
              <a:gd name="T0" fmla="*/ 2147483646 w 9"/>
              <a:gd name="T1" fmla="*/ 2147483646 h 11"/>
              <a:gd name="T2" fmla="*/ 2147483646 w 9"/>
              <a:gd name="T3" fmla="*/ 2147483646 h 11"/>
              <a:gd name="T4" fmla="*/ 2147483646 w 9"/>
              <a:gd name="T5" fmla="*/ 2147483646 h 11"/>
              <a:gd name="T6" fmla="*/ 2147483646 w 9"/>
              <a:gd name="T7" fmla="*/ 2147483646 h 11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11"/>
              <a:gd name="T14" fmla="*/ 9 w 9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11">
                <a:moveTo>
                  <a:pt x="2" y="3"/>
                </a:moveTo>
                <a:cubicBezTo>
                  <a:pt x="0" y="6"/>
                  <a:pt x="4" y="4"/>
                  <a:pt x="5" y="7"/>
                </a:cubicBezTo>
                <a:cubicBezTo>
                  <a:pt x="7" y="11"/>
                  <a:pt x="7" y="9"/>
                  <a:pt x="8" y="7"/>
                </a:cubicBezTo>
                <a:cubicBezTo>
                  <a:pt x="9" y="6"/>
                  <a:pt x="3" y="0"/>
                  <a:pt x="2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06" name="Freeform 440"/>
          <p:cNvSpPr>
            <a:spLocks/>
          </p:cNvSpPr>
          <p:nvPr userDrawn="1"/>
        </p:nvSpPr>
        <p:spPr bwMode="auto">
          <a:xfrm>
            <a:off x="5359999" y="3316153"/>
            <a:ext cx="8376" cy="10051"/>
          </a:xfrm>
          <a:custGeom>
            <a:avLst/>
            <a:gdLst>
              <a:gd name="T0" fmla="*/ 2147483646 w 8"/>
              <a:gd name="T1" fmla="*/ 0 h 11"/>
              <a:gd name="T2" fmla="*/ 2147483646 w 8"/>
              <a:gd name="T3" fmla="*/ 2147483646 h 11"/>
              <a:gd name="T4" fmla="*/ 2147483646 w 8"/>
              <a:gd name="T5" fmla="*/ 2147483646 h 11"/>
              <a:gd name="T6" fmla="*/ 2147483646 w 8"/>
              <a:gd name="T7" fmla="*/ 2147483646 h 11"/>
              <a:gd name="T8" fmla="*/ 2147483646 w 8"/>
              <a:gd name="T9" fmla="*/ 0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11"/>
              <a:gd name="T17" fmla="*/ 8 w 8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11">
                <a:moveTo>
                  <a:pt x="5" y="0"/>
                </a:moveTo>
                <a:cubicBezTo>
                  <a:pt x="3" y="0"/>
                  <a:pt x="0" y="3"/>
                  <a:pt x="2" y="5"/>
                </a:cubicBezTo>
                <a:cubicBezTo>
                  <a:pt x="4" y="7"/>
                  <a:pt x="5" y="4"/>
                  <a:pt x="5" y="7"/>
                </a:cubicBezTo>
                <a:cubicBezTo>
                  <a:pt x="6" y="11"/>
                  <a:pt x="8" y="5"/>
                  <a:pt x="8" y="5"/>
                </a:cubicBezTo>
                <a:lnTo>
                  <a:pt x="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07" name="Freeform 441"/>
          <p:cNvSpPr>
            <a:spLocks/>
          </p:cNvSpPr>
          <p:nvPr userDrawn="1"/>
        </p:nvSpPr>
        <p:spPr bwMode="auto">
          <a:xfrm>
            <a:off x="5359999" y="3327879"/>
            <a:ext cx="16751" cy="10051"/>
          </a:xfrm>
          <a:custGeom>
            <a:avLst/>
            <a:gdLst>
              <a:gd name="T0" fmla="*/ 2147483646 w 17"/>
              <a:gd name="T1" fmla="*/ 2147483646 h 10"/>
              <a:gd name="T2" fmla="*/ 2147483646 w 17"/>
              <a:gd name="T3" fmla="*/ 2147483646 h 10"/>
              <a:gd name="T4" fmla="*/ 2147483646 w 17"/>
              <a:gd name="T5" fmla="*/ 2147483646 h 10"/>
              <a:gd name="T6" fmla="*/ 2147483646 w 17"/>
              <a:gd name="T7" fmla="*/ 2147483646 h 10"/>
              <a:gd name="T8" fmla="*/ 2147483646 w 17"/>
              <a:gd name="T9" fmla="*/ 2147483646 h 10"/>
              <a:gd name="T10" fmla="*/ 2147483646 w 17"/>
              <a:gd name="T11" fmla="*/ 2147483646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10"/>
              <a:gd name="T20" fmla="*/ 17 w 17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10">
                <a:moveTo>
                  <a:pt x="8" y="2"/>
                </a:moveTo>
                <a:cubicBezTo>
                  <a:pt x="6" y="4"/>
                  <a:pt x="0" y="1"/>
                  <a:pt x="4" y="6"/>
                </a:cubicBezTo>
                <a:cubicBezTo>
                  <a:pt x="8" y="10"/>
                  <a:pt x="10" y="8"/>
                  <a:pt x="12" y="8"/>
                </a:cubicBezTo>
                <a:cubicBezTo>
                  <a:pt x="14" y="8"/>
                  <a:pt x="13" y="7"/>
                  <a:pt x="14" y="6"/>
                </a:cubicBezTo>
                <a:cubicBezTo>
                  <a:pt x="16" y="5"/>
                  <a:pt x="17" y="4"/>
                  <a:pt x="15" y="2"/>
                </a:cubicBezTo>
                <a:cubicBezTo>
                  <a:pt x="13" y="0"/>
                  <a:pt x="11" y="0"/>
                  <a:pt x="8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08" name="Freeform 442"/>
          <p:cNvSpPr>
            <a:spLocks/>
          </p:cNvSpPr>
          <p:nvPr userDrawn="1"/>
        </p:nvSpPr>
        <p:spPr bwMode="auto">
          <a:xfrm>
            <a:off x="5351625" y="3319505"/>
            <a:ext cx="6700" cy="8375"/>
          </a:xfrm>
          <a:custGeom>
            <a:avLst/>
            <a:gdLst>
              <a:gd name="T0" fmla="*/ 2147483646 w 6"/>
              <a:gd name="T1" fmla="*/ 0 h 9"/>
              <a:gd name="T2" fmla="*/ 2147483646 w 6"/>
              <a:gd name="T3" fmla="*/ 2147483646 h 9"/>
              <a:gd name="T4" fmla="*/ 2147483646 w 6"/>
              <a:gd name="T5" fmla="*/ 2147483646 h 9"/>
              <a:gd name="T6" fmla="*/ 2147483646 w 6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6" y="0"/>
                </a:moveTo>
                <a:cubicBezTo>
                  <a:pt x="6" y="4"/>
                  <a:pt x="3" y="9"/>
                  <a:pt x="2" y="8"/>
                </a:cubicBezTo>
                <a:cubicBezTo>
                  <a:pt x="0" y="6"/>
                  <a:pt x="2" y="1"/>
                  <a:pt x="2" y="1"/>
                </a:cubicBezTo>
                <a:lnTo>
                  <a:pt x="6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09" name="Freeform 443"/>
          <p:cNvSpPr>
            <a:spLocks/>
          </p:cNvSpPr>
          <p:nvPr userDrawn="1"/>
        </p:nvSpPr>
        <p:spPr bwMode="auto">
          <a:xfrm>
            <a:off x="5358324" y="3346306"/>
            <a:ext cx="15075" cy="18425"/>
          </a:xfrm>
          <a:custGeom>
            <a:avLst/>
            <a:gdLst>
              <a:gd name="T0" fmla="*/ 2147483646 w 17"/>
              <a:gd name="T1" fmla="*/ 0 h 19"/>
              <a:gd name="T2" fmla="*/ 2147483646 w 17"/>
              <a:gd name="T3" fmla="*/ 2147483646 h 19"/>
              <a:gd name="T4" fmla="*/ 2147483646 w 17"/>
              <a:gd name="T5" fmla="*/ 2147483646 h 19"/>
              <a:gd name="T6" fmla="*/ 2147483646 w 17"/>
              <a:gd name="T7" fmla="*/ 2147483646 h 19"/>
              <a:gd name="T8" fmla="*/ 2147483646 w 17"/>
              <a:gd name="T9" fmla="*/ 2147483646 h 19"/>
              <a:gd name="T10" fmla="*/ 2147483646 w 17"/>
              <a:gd name="T11" fmla="*/ 2147483646 h 19"/>
              <a:gd name="T12" fmla="*/ 2147483646 w 1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7"/>
              <a:gd name="T22" fmla="*/ 0 h 19"/>
              <a:gd name="T23" fmla="*/ 17 w 17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7" h="19">
                <a:moveTo>
                  <a:pt x="16" y="0"/>
                </a:moveTo>
                <a:cubicBezTo>
                  <a:pt x="12" y="3"/>
                  <a:pt x="11" y="6"/>
                  <a:pt x="7" y="8"/>
                </a:cubicBezTo>
                <a:cubicBezTo>
                  <a:pt x="4" y="9"/>
                  <a:pt x="0" y="5"/>
                  <a:pt x="3" y="11"/>
                </a:cubicBezTo>
                <a:cubicBezTo>
                  <a:pt x="6" y="16"/>
                  <a:pt x="7" y="11"/>
                  <a:pt x="10" y="15"/>
                </a:cubicBezTo>
                <a:cubicBezTo>
                  <a:pt x="12" y="19"/>
                  <a:pt x="13" y="14"/>
                  <a:pt x="14" y="10"/>
                </a:cubicBezTo>
                <a:cubicBezTo>
                  <a:pt x="15" y="7"/>
                  <a:pt x="17" y="4"/>
                  <a:pt x="17" y="4"/>
                </a:cubicBezTo>
                <a:lnTo>
                  <a:pt x="16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10" name="Freeform 444"/>
          <p:cNvSpPr>
            <a:spLocks/>
          </p:cNvSpPr>
          <p:nvPr userDrawn="1"/>
        </p:nvSpPr>
        <p:spPr bwMode="auto">
          <a:xfrm>
            <a:off x="5395176" y="3414985"/>
            <a:ext cx="15075" cy="16751"/>
          </a:xfrm>
          <a:custGeom>
            <a:avLst/>
            <a:gdLst>
              <a:gd name="T0" fmla="*/ 2147483646 w 17"/>
              <a:gd name="T1" fmla="*/ 2147483646 h 18"/>
              <a:gd name="T2" fmla="*/ 2147483646 w 17"/>
              <a:gd name="T3" fmla="*/ 2147483646 h 18"/>
              <a:gd name="T4" fmla="*/ 2147483646 w 17"/>
              <a:gd name="T5" fmla="*/ 2147483646 h 18"/>
              <a:gd name="T6" fmla="*/ 2147483646 w 17"/>
              <a:gd name="T7" fmla="*/ 2147483646 h 18"/>
              <a:gd name="T8" fmla="*/ 2147483646 w 17"/>
              <a:gd name="T9" fmla="*/ 2147483646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8"/>
              <a:gd name="T17" fmla="*/ 17 w 17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8">
                <a:moveTo>
                  <a:pt x="16" y="4"/>
                </a:moveTo>
                <a:cubicBezTo>
                  <a:pt x="12" y="4"/>
                  <a:pt x="11" y="0"/>
                  <a:pt x="10" y="7"/>
                </a:cubicBezTo>
                <a:cubicBezTo>
                  <a:pt x="9" y="14"/>
                  <a:pt x="0" y="15"/>
                  <a:pt x="6" y="17"/>
                </a:cubicBezTo>
                <a:cubicBezTo>
                  <a:pt x="11" y="18"/>
                  <a:pt x="16" y="15"/>
                  <a:pt x="16" y="13"/>
                </a:cubicBezTo>
                <a:cubicBezTo>
                  <a:pt x="17" y="10"/>
                  <a:pt x="16" y="4"/>
                  <a:pt x="16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11" name="Freeform 445"/>
          <p:cNvSpPr>
            <a:spLocks/>
          </p:cNvSpPr>
          <p:nvPr userDrawn="1"/>
        </p:nvSpPr>
        <p:spPr bwMode="auto">
          <a:xfrm>
            <a:off x="5400202" y="3456862"/>
            <a:ext cx="15076" cy="13401"/>
          </a:xfrm>
          <a:custGeom>
            <a:avLst/>
            <a:gdLst>
              <a:gd name="T0" fmla="*/ 2147483646 w 17"/>
              <a:gd name="T1" fmla="*/ 0 h 13"/>
              <a:gd name="T2" fmla="*/ 2147483646 w 17"/>
              <a:gd name="T3" fmla="*/ 2147483646 h 13"/>
              <a:gd name="T4" fmla="*/ 2147483646 w 17"/>
              <a:gd name="T5" fmla="*/ 2147483646 h 13"/>
              <a:gd name="T6" fmla="*/ 2147483646 w 17"/>
              <a:gd name="T7" fmla="*/ 2147483646 h 13"/>
              <a:gd name="T8" fmla="*/ 2147483646 w 17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3"/>
              <a:gd name="T17" fmla="*/ 17 w 17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3">
                <a:moveTo>
                  <a:pt x="7" y="0"/>
                </a:moveTo>
                <a:cubicBezTo>
                  <a:pt x="4" y="3"/>
                  <a:pt x="0" y="9"/>
                  <a:pt x="6" y="11"/>
                </a:cubicBezTo>
                <a:cubicBezTo>
                  <a:pt x="11" y="13"/>
                  <a:pt x="12" y="11"/>
                  <a:pt x="12" y="11"/>
                </a:cubicBezTo>
                <a:cubicBezTo>
                  <a:pt x="17" y="5"/>
                  <a:pt x="17" y="5"/>
                  <a:pt x="17" y="5"/>
                </a:cubicBezTo>
                <a:lnTo>
                  <a:pt x="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12" name="Freeform 446"/>
          <p:cNvSpPr>
            <a:spLocks/>
          </p:cNvSpPr>
          <p:nvPr userDrawn="1"/>
        </p:nvSpPr>
        <p:spPr bwMode="auto">
          <a:xfrm>
            <a:off x="5430354" y="3203921"/>
            <a:ext cx="11727" cy="8376"/>
          </a:xfrm>
          <a:custGeom>
            <a:avLst/>
            <a:gdLst>
              <a:gd name="T0" fmla="*/ 2147483646 w 13"/>
              <a:gd name="T1" fmla="*/ 2147483646 h 10"/>
              <a:gd name="T2" fmla="*/ 2147483646 w 13"/>
              <a:gd name="T3" fmla="*/ 2147483646 h 10"/>
              <a:gd name="T4" fmla="*/ 2147483646 w 13"/>
              <a:gd name="T5" fmla="*/ 2147483646 h 10"/>
              <a:gd name="T6" fmla="*/ 2147483646 w 13"/>
              <a:gd name="T7" fmla="*/ 2147483646 h 10"/>
              <a:gd name="T8" fmla="*/ 2147483646 w 13"/>
              <a:gd name="T9" fmla="*/ 2147483646 h 10"/>
              <a:gd name="T10" fmla="*/ 2147483646 w 13"/>
              <a:gd name="T11" fmla="*/ 0 h 10"/>
              <a:gd name="T12" fmla="*/ 2147483646 w 13"/>
              <a:gd name="T13" fmla="*/ 2147483646 h 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3"/>
              <a:gd name="T22" fmla="*/ 0 h 10"/>
              <a:gd name="T23" fmla="*/ 13 w 13"/>
              <a:gd name="T24" fmla="*/ 10 h 1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3" h="10">
                <a:moveTo>
                  <a:pt x="6" y="1"/>
                </a:moveTo>
                <a:cubicBezTo>
                  <a:pt x="5" y="2"/>
                  <a:pt x="0" y="4"/>
                  <a:pt x="3" y="7"/>
                </a:cubicBezTo>
                <a:cubicBezTo>
                  <a:pt x="6" y="10"/>
                  <a:pt x="7" y="8"/>
                  <a:pt x="9" y="9"/>
                </a:cubicBezTo>
                <a:cubicBezTo>
                  <a:pt x="10" y="9"/>
                  <a:pt x="12" y="7"/>
                  <a:pt x="12" y="7"/>
                </a:cubicBezTo>
                <a:cubicBezTo>
                  <a:pt x="12" y="7"/>
                  <a:pt x="13" y="5"/>
                  <a:pt x="11" y="3"/>
                </a:cubicBezTo>
                <a:cubicBezTo>
                  <a:pt x="10" y="2"/>
                  <a:pt x="10" y="0"/>
                  <a:pt x="9" y="0"/>
                </a:cubicBezTo>
                <a:cubicBezTo>
                  <a:pt x="7" y="1"/>
                  <a:pt x="6" y="1"/>
                  <a:pt x="6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13" name="Freeform 447"/>
          <p:cNvSpPr>
            <a:spLocks/>
          </p:cNvSpPr>
          <p:nvPr userDrawn="1"/>
        </p:nvSpPr>
        <p:spPr bwMode="auto">
          <a:xfrm>
            <a:off x="5437054" y="3193871"/>
            <a:ext cx="6700" cy="8376"/>
          </a:xfrm>
          <a:custGeom>
            <a:avLst/>
            <a:gdLst>
              <a:gd name="T0" fmla="*/ 2147483646 w 8"/>
              <a:gd name="T1" fmla="*/ 0 h 9"/>
              <a:gd name="T2" fmla="*/ 2147483646 w 8"/>
              <a:gd name="T3" fmla="*/ 2147483646 h 9"/>
              <a:gd name="T4" fmla="*/ 2147483646 w 8"/>
              <a:gd name="T5" fmla="*/ 2147483646 h 9"/>
              <a:gd name="T6" fmla="*/ 2147483646 w 8"/>
              <a:gd name="T7" fmla="*/ 2147483646 h 9"/>
              <a:gd name="T8" fmla="*/ 2147483646 w 8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9"/>
              <a:gd name="T17" fmla="*/ 8 w 8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9">
                <a:moveTo>
                  <a:pt x="5" y="0"/>
                </a:moveTo>
                <a:cubicBezTo>
                  <a:pt x="4" y="2"/>
                  <a:pt x="0" y="2"/>
                  <a:pt x="3" y="5"/>
                </a:cubicBezTo>
                <a:cubicBezTo>
                  <a:pt x="6" y="9"/>
                  <a:pt x="7" y="5"/>
                  <a:pt x="8" y="6"/>
                </a:cubicBezTo>
                <a:cubicBezTo>
                  <a:pt x="8" y="6"/>
                  <a:pt x="6" y="3"/>
                  <a:pt x="6" y="2"/>
                </a:cubicBezTo>
                <a:cubicBezTo>
                  <a:pt x="7" y="2"/>
                  <a:pt x="5" y="0"/>
                  <a:pt x="5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14" name="Freeform 448"/>
          <p:cNvSpPr>
            <a:spLocks/>
          </p:cNvSpPr>
          <p:nvPr userDrawn="1"/>
        </p:nvSpPr>
        <p:spPr bwMode="auto">
          <a:xfrm>
            <a:off x="5433703" y="3210623"/>
            <a:ext cx="6700" cy="8376"/>
          </a:xfrm>
          <a:custGeom>
            <a:avLst/>
            <a:gdLst>
              <a:gd name="T0" fmla="*/ 2147483646 w 7"/>
              <a:gd name="T1" fmla="*/ 2147483646 h 10"/>
              <a:gd name="T2" fmla="*/ 0 w 7"/>
              <a:gd name="T3" fmla="*/ 2147483646 h 10"/>
              <a:gd name="T4" fmla="*/ 2147483646 w 7"/>
              <a:gd name="T5" fmla="*/ 2147483646 h 10"/>
              <a:gd name="T6" fmla="*/ 2147483646 w 7"/>
              <a:gd name="T7" fmla="*/ 2147483646 h 10"/>
              <a:gd name="T8" fmla="*/ 2147483646 w 7"/>
              <a:gd name="T9" fmla="*/ 2147483646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10"/>
              <a:gd name="T17" fmla="*/ 7 w 7"/>
              <a:gd name="T18" fmla="*/ 10 h 1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10">
                <a:moveTo>
                  <a:pt x="4" y="3"/>
                </a:moveTo>
                <a:cubicBezTo>
                  <a:pt x="3" y="3"/>
                  <a:pt x="0" y="0"/>
                  <a:pt x="0" y="4"/>
                </a:cubicBezTo>
                <a:cubicBezTo>
                  <a:pt x="0" y="8"/>
                  <a:pt x="1" y="10"/>
                  <a:pt x="2" y="10"/>
                </a:cubicBezTo>
                <a:cubicBezTo>
                  <a:pt x="3" y="10"/>
                  <a:pt x="2" y="7"/>
                  <a:pt x="4" y="7"/>
                </a:cubicBezTo>
                <a:cubicBezTo>
                  <a:pt x="7" y="7"/>
                  <a:pt x="4" y="3"/>
                  <a:pt x="4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15" name="Freeform 449"/>
          <p:cNvSpPr>
            <a:spLocks/>
          </p:cNvSpPr>
          <p:nvPr userDrawn="1"/>
        </p:nvSpPr>
        <p:spPr bwMode="auto">
          <a:xfrm>
            <a:off x="5438730" y="3213973"/>
            <a:ext cx="8375" cy="6700"/>
          </a:xfrm>
          <a:custGeom>
            <a:avLst/>
            <a:gdLst>
              <a:gd name="T0" fmla="*/ 2147483646 w 10"/>
              <a:gd name="T1" fmla="*/ 0 h 7"/>
              <a:gd name="T2" fmla="*/ 2147483646 w 10"/>
              <a:gd name="T3" fmla="*/ 2147483646 h 7"/>
              <a:gd name="T4" fmla="*/ 2147483646 w 10"/>
              <a:gd name="T5" fmla="*/ 2147483646 h 7"/>
              <a:gd name="T6" fmla="*/ 2147483646 w 10"/>
              <a:gd name="T7" fmla="*/ 2147483646 h 7"/>
              <a:gd name="T8" fmla="*/ 2147483646 w 10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"/>
              <a:gd name="T16" fmla="*/ 0 h 7"/>
              <a:gd name="T17" fmla="*/ 10 w 10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" h="7">
                <a:moveTo>
                  <a:pt x="7" y="0"/>
                </a:moveTo>
                <a:cubicBezTo>
                  <a:pt x="4" y="3"/>
                  <a:pt x="0" y="4"/>
                  <a:pt x="4" y="5"/>
                </a:cubicBezTo>
                <a:cubicBezTo>
                  <a:pt x="8" y="7"/>
                  <a:pt x="7" y="6"/>
                  <a:pt x="8" y="5"/>
                </a:cubicBezTo>
                <a:cubicBezTo>
                  <a:pt x="10" y="4"/>
                  <a:pt x="10" y="1"/>
                  <a:pt x="10" y="1"/>
                </a:cubicBezTo>
                <a:lnTo>
                  <a:pt x="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16" name="Freeform 450"/>
          <p:cNvSpPr>
            <a:spLocks/>
          </p:cNvSpPr>
          <p:nvPr userDrawn="1"/>
        </p:nvSpPr>
        <p:spPr bwMode="auto">
          <a:xfrm>
            <a:off x="5440404" y="3200573"/>
            <a:ext cx="10051" cy="11727"/>
          </a:xfrm>
          <a:custGeom>
            <a:avLst/>
            <a:gdLst>
              <a:gd name="T0" fmla="*/ 2147483646 w 10"/>
              <a:gd name="T1" fmla="*/ 2147483646 h 12"/>
              <a:gd name="T2" fmla="*/ 2147483646 w 10"/>
              <a:gd name="T3" fmla="*/ 2147483646 h 12"/>
              <a:gd name="T4" fmla="*/ 2147483646 w 10"/>
              <a:gd name="T5" fmla="*/ 2147483646 h 12"/>
              <a:gd name="T6" fmla="*/ 2147483646 w 10"/>
              <a:gd name="T7" fmla="*/ 2147483646 h 12"/>
              <a:gd name="T8" fmla="*/ 2147483646 w 10"/>
              <a:gd name="T9" fmla="*/ 2147483646 h 12"/>
              <a:gd name="T10" fmla="*/ 2147483646 w 10"/>
              <a:gd name="T11" fmla="*/ 2147483646 h 12"/>
              <a:gd name="T12" fmla="*/ 2147483646 w 10"/>
              <a:gd name="T13" fmla="*/ 2147483646 h 12"/>
              <a:gd name="T14" fmla="*/ 2147483646 w 10"/>
              <a:gd name="T15" fmla="*/ 2147483646 h 12"/>
              <a:gd name="T16" fmla="*/ 2147483646 w 10"/>
              <a:gd name="T17" fmla="*/ 2147483646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"/>
              <a:gd name="T28" fmla="*/ 0 h 12"/>
              <a:gd name="T29" fmla="*/ 10 w 10"/>
              <a:gd name="T30" fmla="*/ 12 h 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" h="12">
                <a:moveTo>
                  <a:pt x="3" y="5"/>
                </a:moveTo>
                <a:cubicBezTo>
                  <a:pt x="2" y="7"/>
                  <a:pt x="0" y="9"/>
                  <a:pt x="3" y="11"/>
                </a:cubicBezTo>
                <a:cubicBezTo>
                  <a:pt x="5" y="12"/>
                  <a:pt x="4" y="11"/>
                  <a:pt x="6" y="11"/>
                </a:cubicBezTo>
                <a:cubicBezTo>
                  <a:pt x="8" y="11"/>
                  <a:pt x="8" y="8"/>
                  <a:pt x="8" y="8"/>
                </a:cubicBezTo>
                <a:cubicBezTo>
                  <a:pt x="10" y="5"/>
                  <a:pt x="10" y="5"/>
                  <a:pt x="10" y="5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2"/>
                  <a:pt x="9" y="0"/>
                  <a:pt x="8" y="1"/>
                </a:cubicBezTo>
                <a:cubicBezTo>
                  <a:pt x="6" y="2"/>
                  <a:pt x="5" y="1"/>
                  <a:pt x="5" y="3"/>
                </a:cubicBezTo>
                <a:cubicBezTo>
                  <a:pt x="5" y="4"/>
                  <a:pt x="3" y="5"/>
                  <a:pt x="3" y="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17" name="Freeform 451"/>
          <p:cNvSpPr>
            <a:spLocks/>
          </p:cNvSpPr>
          <p:nvPr userDrawn="1"/>
        </p:nvSpPr>
        <p:spPr bwMode="auto">
          <a:xfrm>
            <a:off x="5448781" y="3188847"/>
            <a:ext cx="8375" cy="10051"/>
          </a:xfrm>
          <a:custGeom>
            <a:avLst/>
            <a:gdLst>
              <a:gd name="T0" fmla="*/ 2147483646 w 8"/>
              <a:gd name="T1" fmla="*/ 2147483646 h 11"/>
              <a:gd name="T2" fmla="*/ 2147483646 w 8"/>
              <a:gd name="T3" fmla="*/ 2147483646 h 11"/>
              <a:gd name="T4" fmla="*/ 2147483646 w 8"/>
              <a:gd name="T5" fmla="*/ 2147483646 h 11"/>
              <a:gd name="T6" fmla="*/ 2147483646 w 8"/>
              <a:gd name="T7" fmla="*/ 2147483646 h 11"/>
              <a:gd name="T8" fmla="*/ 2147483646 w 8"/>
              <a:gd name="T9" fmla="*/ 2147483646 h 11"/>
              <a:gd name="T10" fmla="*/ 0 w 8"/>
              <a:gd name="T11" fmla="*/ 2147483646 h 11"/>
              <a:gd name="T12" fmla="*/ 2147483646 w 8"/>
              <a:gd name="T13" fmla="*/ 2147483646 h 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"/>
              <a:gd name="T22" fmla="*/ 0 h 11"/>
              <a:gd name="T23" fmla="*/ 8 w 8"/>
              <a:gd name="T24" fmla="*/ 11 h 1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" h="11">
                <a:moveTo>
                  <a:pt x="1" y="8"/>
                </a:moveTo>
                <a:cubicBezTo>
                  <a:pt x="2" y="11"/>
                  <a:pt x="3" y="11"/>
                  <a:pt x="4" y="10"/>
                </a:cubicBezTo>
                <a:cubicBezTo>
                  <a:pt x="6" y="9"/>
                  <a:pt x="6" y="8"/>
                  <a:pt x="7" y="7"/>
                </a:cubicBezTo>
                <a:cubicBezTo>
                  <a:pt x="8" y="6"/>
                  <a:pt x="8" y="3"/>
                  <a:pt x="7" y="3"/>
                </a:cubicBezTo>
                <a:cubicBezTo>
                  <a:pt x="5" y="3"/>
                  <a:pt x="3" y="0"/>
                  <a:pt x="3" y="2"/>
                </a:cubicBezTo>
                <a:cubicBezTo>
                  <a:pt x="3" y="5"/>
                  <a:pt x="0" y="7"/>
                  <a:pt x="0" y="7"/>
                </a:cubicBezTo>
                <a:lnTo>
                  <a:pt x="1" y="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18" name="Freeform 452"/>
          <p:cNvSpPr>
            <a:spLocks/>
          </p:cNvSpPr>
          <p:nvPr userDrawn="1"/>
        </p:nvSpPr>
        <p:spPr bwMode="auto">
          <a:xfrm>
            <a:off x="5445430" y="3210623"/>
            <a:ext cx="8375" cy="3351"/>
          </a:xfrm>
          <a:custGeom>
            <a:avLst/>
            <a:gdLst>
              <a:gd name="T0" fmla="*/ 2147483646 w 9"/>
              <a:gd name="T1" fmla="*/ 0 h 4"/>
              <a:gd name="T2" fmla="*/ 2147483646 w 9"/>
              <a:gd name="T3" fmla="*/ 2147483646 h 4"/>
              <a:gd name="T4" fmla="*/ 2147483646 w 9"/>
              <a:gd name="T5" fmla="*/ 2147483646 h 4"/>
              <a:gd name="T6" fmla="*/ 2147483646 w 9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4"/>
              <a:gd name="T14" fmla="*/ 9 w 9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4">
                <a:moveTo>
                  <a:pt x="6" y="0"/>
                </a:moveTo>
                <a:cubicBezTo>
                  <a:pt x="4" y="1"/>
                  <a:pt x="0" y="4"/>
                  <a:pt x="3" y="4"/>
                </a:cubicBezTo>
                <a:cubicBezTo>
                  <a:pt x="7" y="4"/>
                  <a:pt x="6" y="4"/>
                  <a:pt x="7" y="3"/>
                </a:cubicBezTo>
                <a:cubicBezTo>
                  <a:pt x="9" y="2"/>
                  <a:pt x="6" y="0"/>
                  <a:pt x="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19" name="Freeform 453"/>
          <p:cNvSpPr>
            <a:spLocks/>
          </p:cNvSpPr>
          <p:nvPr userDrawn="1"/>
        </p:nvSpPr>
        <p:spPr bwMode="auto">
          <a:xfrm>
            <a:off x="6293025" y="3738278"/>
            <a:ext cx="107205" cy="58628"/>
          </a:xfrm>
          <a:custGeom>
            <a:avLst/>
            <a:gdLst>
              <a:gd name="T0" fmla="*/ 2147483646 w 114"/>
              <a:gd name="T1" fmla="*/ 2147483646 h 62"/>
              <a:gd name="T2" fmla="*/ 2147483646 w 114"/>
              <a:gd name="T3" fmla="*/ 2147483646 h 62"/>
              <a:gd name="T4" fmla="*/ 2147483646 w 114"/>
              <a:gd name="T5" fmla="*/ 2147483646 h 62"/>
              <a:gd name="T6" fmla="*/ 2147483646 w 114"/>
              <a:gd name="T7" fmla="*/ 2147483646 h 62"/>
              <a:gd name="T8" fmla="*/ 2147483646 w 114"/>
              <a:gd name="T9" fmla="*/ 2147483646 h 62"/>
              <a:gd name="T10" fmla="*/ 2147483646 w 114"/>
              <a:gd name="T11" fmla="*/ 2147483646 h 62"/>
              <a:gd name="T12" fmla="*/ 2147483646 w 114"/>
              <a:gd name="T13" fmla="*/ 2147483646 h 62"/>
              <a:gd name="T14" fmla="*/ 2147483646 w 114"/>
              <a:gd name="T15" fmla="*/ 2147483646 h 62"/>
              <a:gd name="T16" fmla="*/ 2147483646 w 114"/>
              <a:gd name="T17" fmla="*/ 2147483646 h 62"/>
              <a:gd name="T18" fmla="*/ 2147483646 w 114"/>
              <a:gd name="T19" fmla="*/ 2147483646 h 62"/>
              <a:gd name="T20" fmla="*/ 2147483646 w 114"/>
              <a:gd name="T21" fmla="*/ 2147483646 h 62"/>
              <a:gd name="T22" fmla="*/ 2147483646 w 114"/>
              <a:gd name="T23" fmla="*/ 2147483646 h 62"/>
              <a:gd name="T24" fmla="*/ 2147483646 w 114"/>
              <a:gd name="T25" fmla="*/ 2147483646 h 62"/>
              <a:gd name="T26" fmla="*/ 2147483646 w 114"/>
              <a:gd name="T27" fmla="*/ 2147483646 h 62"/>
              <a:gd name="T28" fmla="*/ 2147483646 w 114"/>
              <a:gd name="T29" fmla="*/ 2147483646 h 62"/>
              <a:gd name="T30" fmla="*/ 2147483646 w 114"/>
              <a:gd name="T31" fmla="*/ 2147483646 h 62"/>
              <a:gd name="T32" fmla="*/ 2147483646 w 114"/>
              <a:gd name="T33" fmla="*/ 2147483646 h 62"/>
              <a:gd name="T34" fmla="*/ 2147483646 w 114"/>
              <a:gd name="T35" fmla="*/ 2147483646 h 62"/>
              <a:gd name="T36" fmla="*/ 2147483646 w 114"/>
              <a:gd name="T37" fmla="*/ 2147483646 h 62"/>
              <a:gd name="T38" fmla="*/ 2147483646 w 114"/>
              <a:gd name="T39" fmla="*/ 2147483646 h 62"/>
              <a:gd name="T40" fmla="*/ 2147483646 w 114"/>
              <a:gd name="T41" fmla="*/ 2147483646 h 62"/>
              <a:gd name="T42" fmla="*/ 2147483646 w 114"/>
              <a:gd name="T43" fmla="*/ 2147483646 h 62"/>
              <a:gd name="T44" fmla="*/ 2147483646 w 114"/>
              <a:gd name="T45" fmla="*/ 2147483646 h 62"/>
              <a:gd name="T46" fmla="*/ 2147483646 w 114"/>
              <a:gd name="T47" fmla="*/ 2147483646 h 62"/>
              <a:gd name="T48" fmla="*/ 2147483646 w 114"/>
              <a:gd name="T49" fmla="*/ 2147483646 h 62"/>
              <a:gd name="T50" fmla="*/ 2147483646 w 114"/>
              <a:gd name="T51" fmla="*/ 2147483646 h 62"/>
              <a:gd name="T52" fmla="*/ 2147483646 w 114"/>
              <a:gd name="T53" fmla="*/ 2147483646 h 62"/>
              <a:gd name="T54" fmla="*/ 2147483646 w 114"/>
              <a:gd name="T55" fmla="*/ 2147483646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14"/>
              <a:gd name="T85" fmla="*/ 0 h 62"/>
              <a:gd name="T86" fmla="*/ 114 w 114"/>
              <a:gd name="T87" fmla="*/ 62 h 62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14" h="62">
                <a:moveTo>
                  <a:pt x="111" y="20"/>
                </a:moveTo>
                <a:cubicBezTo>
                  <a:pt x="110" y="17"/>
                  <a:pt x="105" y="14"/>
                  <a:pt x="101" y="18"/>
                </a:cubicBezTo>
                <a:cubicBezTo>
                  <a:pt x="97" y="22"/>
                  <a:pt x="97" y="25"/>
                  <a:pt x="94" y="24"/>
                </a:cubicBezTo>
                <a:cubicBezTo>
                  <a:pt x="90" y="23"/>
                  <a:pt x="88" y="18"/>
                  <a:pt x="86" y="21"/>
                </a:cubicBezTo>
                <a:cubicBezTo>
                  <a:pt x="84" y="23"/>
                  <a:pt x="75" y="26"/>
                  <a:pt x="75" y="26"/>
                </a:cubicBezTo>
                <a:cubicBezTo>
                  <a:pt x="67" y="21"/>
                  <a:pt x="67" y="21"/>
                  <a:pt x="67" y="21"/>
                </a:cubicBezTo>
                <a:cubicBezTo>
                  <a:pt x="67" y="15"/>
                  <a:pt x="67" y="15"/>
                  <a:pt x="67" y="15"/>
                </a:cubicBezTo>
                <a:cubicBezTo>
                  <a:pt x="67" y="15"/>
                  <a:pt x="69" y="10"/>
                  <a:pt x="64" y="9"/>
                </a:cubicBezTo>
                <a:cubicBezTo>
                  <a:pt x="60" y="9"/>
                  <a:pt x="55" y="4"/>
                  <a:pt x="55" y="7"/>
                </a:cubicBezTo>
                <a:cubicBezTo>
                  <a:pt x="54" y="9"/>
                  <a:pt x="53" y="4"/>
                  <a:pt x="49" y="4"/>
                </a:cubicBezTo>
                <a:cubicBezTo>
                  <a:pt x="46" y="4"/>
                  <a:pt x="43" y="0"/>
                  <a:pt x="42" y="2"/>
                </a:cubicBezTo>
                <a:cubicBezTo>
                  <a:pt x="42" y="5"/>
                  <a:pt x="41" y="8"/>
                  <a:pt x="41" y="8"/>
                </a:cubicBezTo>
                <a:cubicBezTo>
                  <a:pt x="41" y="8"/>
                  <a:pt x="41" y="6"/>
                  <a:pt x="33" y="9"/>
                </a:cubicBezTo>
                <a:cubicBezTo>
                  <a:pt x="25" y="12"/>
                  <a:pt x="24" y="12"/>
                  <a:pt x="20" y="14"/>
                </a:cubicBezTo>
                <a:cubicBezTo>
                  <a:pt x="17" y="15"/>
                  <a:pt x="0" y="18"/>
                  <a:pt x="9" y="24"/>
                </a:cubicBezTo>
                <a:cubicBezTo>
                  <a:pt x="18" y="30"/>
                  <a:pt x="19" y="30"/>
                  <a:pt x="23" y="31"/>
                </a:cubicBezTo>
                <a:cubicBezTo>
                  <a:pt x="27" y="32"/>
                  <a:pt x="30" y="31"/>
                  <a:pt x="30" y="35"/>
                </a:cubicBezTo>
                <a:cubicBezTo>
                  <a:pt x="30" y="38"/>
                  <a:pt x="34" y="35"/>
                  <a:pt x="36" y="37"/>
                </a:cubicBezTo>
                <a:cubicBezTo>
                  <a:pt x="37" y="40"/>
                  <a:pt x="37" y="46"/>
                  <a:pt x="34" y="50"/>
                </a:cubicBezTo>
                <a:cubicBezTo>
                  <a:pt x="32" y="53"/>
                  <a:pt x="27" y="57"/>
                  <a:pt x="27" y="57"/>
                </a:cubicBezTo>
                <a:cubicBezTo>
                  <a:pt x="27" y="57"/>
                  <a:pt x="41" y="56"/>
                  <a:pt x="45" y="59"/>
                </a:cubicBezTo>
                <a:cubicBezTo>
                  <a:pt x="48" y="62"/>
                  <a:pt x="50" y="60"/>
                  <a:pt x="53" y="57"/>
                </a:cubicBezTo>
                <a:cubicBezTo>
                  <a:pt x="56" y="54"/>
                  <a:pt x="66" y="38"/>
                  <a:pt x="69" y="40"/>
                </a:cubicBezTo>
                <a:cubicBezTo>
                  <a:pt x="72" y="43"/>
                  <a:pt x="73" y="42"/>
                  <a:pt x="76" y="42"/>
                </a:cubicBezTo>
                <a:cubicBezTo>
                  <a:pt x="79" y="43"/>
                  <a:pt x="76" y="39"/>
                  <a:pt x="82" y="37"/>
                </a:cubicBezTo>
                <a:cubicBezTo>
                  <a:pt x="88" y="36"/>
                  <a:pt x="88" y="29"/>
                  <a:pt x="93" y="33"/>
                </a:cubicBezTo>
                <a:cubicBezTo>
                  <a:pt x="98" y="36"/>
                  <a:pt x="100" y="35"/>
                  <a:pt x="103" y="35"/>
                </a:cubicBezTo>
                <a:cubicBezTo>
                  <a:pt x="107" y="35"/>
                  <a:pt x="114" y="25"/>
                  <a:pt x="111" y="2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20" name="Freeform 454"/>
          <p:cNvSpPr>
            <a:spLocks/>
          </p:cNvSpPr>
          <p:nvPr userDrawn="1"/>
        </p:nvSpPr>
        <p:spPr bwMode="auto">
          <a:xfrm>
            <a:off x="5748620" y="3364731"/>
            <a:ext cx="28477" cy="25127"/>
          </a:xfrm>
          <a:custGeom>
            <a:avLst/>
            <a:gdLst>
              <a:gd name="T0" fmla="*/ 2147483646 w 30"/>
              <a:gd name="T1" fmla="*/ 0 h 27"/>
              <a:gd name="T2" fmla="*/ 2147483646 w 30"/>
              <a:gd name="T3" fmla="*/ 2147483646 h 27"/>
              <a:gd name="T4" fmla="*/ 2147483646 w 30"/>
              <a:gd name="T5" fmla="*/ 2147483646 h 27"/>
              <a:gd name="T6" fmla="*/ 2147483646 w 30"/>
              <a:gd name="T7" fmla="*/ 2147483646 h 27"/>
              <a:gd name="T8" fmla="*/ 2147483646 w 30"/>
              <a:gd name="T9" fmla="*/ 2147483646 h 27"/>
              <a:gd name="T10" fmla="*/ 2147483646 w 30"/>
              <a:gd name="T11" fmla="*/ 2147483646 h 27"/>
              <a:gd name="T12" fmla="*/ 2147483646 w 30"/>
              <a:gd name="T13" fmla="*/ 2147483646 h 27"/>
              <a:gd name="T14" fmla="*/ 2147483646 w 30"/>
              <a:gd name="T15" fmla="*/ 2147483646 h 27"/>
              <a:gd name="T16" fmla="*/ 2147483646 w 30"/>
              <a:gd name="T17" fmla="*/ 2147483646 h 27"/>
              <a:gd name="T18" fmla="*/ 2147483646 w 30"/>
              <a:gd name="T19" fmla="*/ 0 h 27"/>
              <a:gd name="T20" fmla="*/ 2147483646 w 30"/>
              <a:gd name="T21" fmla="*/ 0 h 2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0"/>
              <a:gd name="T34" fmla="*/ 0 h 27"/>
              <a:gd name="T35" fmla="*/ 30 w 30"/>
              <a:gd name="T36" fmla="*/ 27 h 2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0" h="27">
                <a:moveTo>
                  <a:pt x="9" y="0"/>
                </a:moveTo>
                <a:cubicBezTo>
                  <a:pt x="7" y="2"/>
                  <a:pt x="2" y="4"/>
                  <a:pt x="1" y="5"/>
                </a:cubicBezTo>
                <a:cubicBezTo>
                  <a:pt x="0" y="7"/>
                  <a:pt x="1" y="10"/>
                  <a:pt x="3" y="11"/>
                </a:cubicBezTo>
                <a:cubicBezTo>
                  <a:pt x="5" y="13"/>
                  <a:pt x="7" y="14"/>
                  <a:pt x="8" y="17"/>
                </a:cubicBezTo>
                <a:cubicBezTo>
                  <a:pt x="8" y="19"/>
                  <a:pt x="10" y="21"/>
                  <a:pt x="12" y="23"/>
                </a:cubicBezTo>
                <a:cubicBezTo>
                  <a:pt x="13" y="25"/>
                  <a:pt x="18" y="27"/>
                  <a:pt x="21" y="26"/>
                </a:cubicBezTo>
                <a:cubicBezTo>
                  <a:pt x="24" y="25"/>
                  <a:pt x="29" y="19"/>
                  <a:pt x="30" y="18"/>
                </a:cubicBezTo>
                <a:cubicBezTo>
                  <a:pt x="30" y="16"/>
                  <a:pt x="27" y="10"/>
                  <a:pt x="26" y="10"/>
                </a:cubicBezTo>
                <a:cubicBezTo>
                  <a:pt x="25" y="9"/>
                  <a:pt x="20" y="7"/>
                  <a:pt x="20" y="5"/>
                </a:cubicBezTo>
                <a:cubicBezTo>
                  <a:pt x="19" y="4"/>
                  <a:pt x="18" y="0"/>
                  <a:pt x="17" y="0"/>
                </a:cubicBezTo>
                <a:cubicBezTo>
                  <a:pt x="15" y="0"/>
                  <a:pt x="9" y="0"/>
                  <a:pt x="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21" name="Freeform 455"/>
          <p:cNvSpPr>
            <a:spLocks/>
          </p:cNvSpPr>
          <p:nvPr userDrawn="1"/>
        </p:nvSpPr>
        <p:spPr bwMode="auto">
          <a:xfrm>
            <a:off x="5710094" y="3267575"/>
            <a:ext cx="60303" cy="55279"/>
          </a:xfrm>
          <a:custGeom>
            <a:avLst/>
            <a:gdLst>
              <a:gd name="T0" fmla="*/ 2147483646 w 65"/>
              <a:gd name="T1" fmla="*/ 0 h 60"/>
              <a:gd name="T2" fmla="*/ 2147483646 w 65"/>
              <a:gd name="T3" fmla="*/ 2147483646 h 60"/>
              <a:gd name="T4" fmla="*/ 2147483646 w 65"/>
              <a:gd name="T5" fmla="*/ 2147483646 h 60"/>
              <a:gd name="T6" fmla="*/ 2147483646 w 65"/>
              <a:gd name="T7" fmla="*/ 2147483646 h 60"/>
              <a:gd name="T8" fmla="*/ 2147483646 w 65"/>
              <a:gd name="T9" fmla="*/ 2147483646 h 60"/>
              <a:gd name="T10" fmla="*/ 2147483646 w 65"/>
              <a:gd name="T11" fmla="*/ 2147483646 h 60"/>
              <a:gd name="T12" fmla="*/ 2147483646 w 65"/>
              <a:gd name="T13" fmla="*/ 2147483646 h 60"/>
              <a:gd name="T14" fmla="*/ 2147483646 w 65"/>
              <a:gd name="T15" fmla="*/ 2147483646 h 60"/>
              <a:gd name="T16" fmla="*/ 2147483646 w 65"/>
              <a:gd name="T17" fmla="*/ 2147483646 h 60"/>
              <a:gd name="T18" fmla="*/ 2147483646 w 65"/>
              <a:gd name="T19" fmla="*/ 2147483646 h 60"/>
              <a:gd name="T20" fmla="*/ 2147483646 w 65"/>
              <a:gd name="T21" fmla="*/ 2147483646 h 60"/>
              <a:gd name="T22" fmla="*/ 2147483646 w 65"/>
              <a:gd name="T23" fmla="*/ 2147483646 h 60"/>
              <a:gd name="T24" fmla="*/ 2147483646 w 65"/>
              <a:gd name="T25" fmla="*/ 2147483646 h 60"/>
              <a:gd name="T26" fmla="*/ 2147483646 w 65"/>
              <a:gd name="T27" fmla="*/ 2147483646 h 60"/>
              <a:gd name="T28" fmla="*/ 2147483646 w 65"/>
              <a:gd name="T29" fmla="*/ 2147483646 h 60"/>
              <a:gd name="T30" fmla="*/ 2147483646 w 65"/>
              <a:gd name="T31" fmla="*/ 2147483646 h 60"/>
              <a:gd name="T32" fmla="*/ 2147483646 w 65"/>
              <a:gd name="T33" fmla="*/ 2147483646 h 60"/>
              <a:gd name="T34" fmla="*/ 2147483646 w 65"/>
              <a:gd name="T35" fmla="*/ 2147483646 h 60"/>
              <a:gd name="T36" fmla="*/ 2147483646 w 65"/>
              <a:gd name="T37" fmla="*/ 2147483646 h 60"/>
              <a:gd name="T38" fmla="*/ 2147483646 w 65"/>
              <a:gd name="T39" fmla="*/ 2147483646 h 60"/>
              <a:gd name="T40" fmla="*/ 2147483646 w 65"/>
              <a:gd name="T41" fmla="*/ 2147483646 h 60"/>
              <a:gd name="T42" fmla="*/ 2147483646 w 65"/>
              <a:gd name="T43" fmla="*/ 2147483646 h 60"/>
              <a:gd name="T44" fmla="*/ 2147483646 w 65"/>
              <a:gd name="T45" fmla="*/ 2147483646 h 60"/>
              <a:gd name="T46" fmla="*/ 2147483646 w 65"/>
              <a:gd name="T47" fmla="*/ 0 h 6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5"/>
              <a:gd name="T73" fmla="*/ 0 h 60"/>
              <a:gd name="T74" fmla="*/ 65 w 65"/>
              <a:gd name="T75" fmla="*/ 60 h 6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5" h="60">
                <a:moveTo>
                  <a:pt x="60" y="0"/>
                </a:moveTo>
                <a:cubicBezTo>
                  <a:pt x="58" y="3"/>
                  <a:pt x="55" y="8"/>
                  <a:pt x="50" y="8"/>
                </a:cubicBezTo>
                <a:cubicBezTo>
                  <a:pt x="45" y="7"/>
                  <a:pt x="44" y="11"/>
                  <a:pt x="40" y="16"/>
                </a:cubicBezTo>
                <a:cubicBezTo>
                  <a:pt x="36" y="21"/>
                  <a:pt x="31" y="24"/>
                  <a:pt x="28" y="25"/>
                </a:cubicBezTo>
                <a:cubicBezTo>
                  <a:pt x="24" y="25"/>
                  <a:pt x="22" y="26"/>
                  <a:pt x="20" y="27"/>
                </a:cubicBezTo>
                <a:cubicBezTo>
                  <a:pt x="18" y="28"/>
                  <a:pt x="14" y="27"/>
                  <a:pt x="10" y="32"/>
                </a:cubicBezTo>
                <a:cubicBezTo>
                  <a:pt x="5" y="36"/>
                  <a:pt x="0" y="38"/>
                  <a:pt x="3" y="44"/>
                </a:cubicBezTo>
                <a:cubicBezTo>
                  <a:pt x="7" y="51"/>
                  <a:pt x="8" y="52"/>
                  <a:pt x="11" y="54"/>
                </a:cubicBezTo>
                <a:cubicBezTo>
                  <a:pt x="14" y="56"/>
                  <a:pt x="13" y="60"/>
                  <a:pt x="16" y="57"/>
                </a:cubicBezTo>
                <a:cubicBezTo>
                  <a:pt x="19" y="53"/>
                  <a:pt x="19" y="50"/>
                  <a:pt x="20" y="46"/>
                </a:cubicBezTo>
                <a:cubicBezTo>
                  <a:pt x="21" y="43"/>
                  <a:pt x="19" y="45"/>
                  <a:pt x="15" y="46"/>
                </a:cubicBezTo>
                <a:cubicBezTo>
                  <a:pt x="11" y="46"/>
                  <a:pt x="7" y="44"/>
                  <a:pt x="10" y="41"/>
                </a:cubicBezTo>
                <a:cubicBezTo>
                  <a:pt x="13" y="38"/>
                  <a:pt x="11" y="38"/>
                  <a:pt x="15" y="37"/>
                </a:cubicBezTo>
                <a:cubicBezTo>
                  <a:pt x="19" y="37"/>
                  <a:pt x="20" y="35"/>
                  <a:pt x="21" y="35"/>
                </a:cubicBezTo>
                <a:cubicBezTo>
                  <a:pt x="23" y="35"/>
                  <a:pt x="25" y="31"/>
                  <a:pt x="26" y="35"/>
                </a:cubicBezTo>
                <a:cubicBezTo>
                  <a:pt x="26" y="38"/>
                  <a:pt x="25" y="40"/>
                  <a:pt x="27" y="40"/>
                </a:cubicBezTo>
                <a:cubicBezTo>
                  <a:pt x="28" y="39"/>
                  <a:pt x="34" y="36"/>
                  <a:pt x="37" y="34"/>
                </a:cubicBezTo>
                <a:cubicBezTo>
                  <a:pt x="41" y="31"/>
                  <a:pt x="41" y="29"/>
                  <a:pt x="45" y="30"/>
                </a:cubicBezTo>
                <a:cubicBezTo>
                  <a:pt x="49" y="32"/>
                  <a:pt x="49" y="33"/>
                  <a:pt x="52" y="35"/>
                </a:cubicBezTo>
                <a:cubicBezTo>
                  <a:pt x="54" y="36"/>
                  <a:pt x="53" y="39"/>
                  <a:pt x="56" y="37"/>
                </a:cubicBezTo>
                <a:cubicBezTo>
                  <a:pt x="59" y="35"/>
                  <a:pt x="59" y="33"/>
                  <a:pt x="61" y="30"/>
                </a:cubicBezTo>
                <a:cubicBezTo>
                  <a:pt x="62" y="26"/>
                  <a:pt x="63" y="23"/>
                  <a:pt x="64" y="21"/>
                </a:cubicBezTo>
                <a:cubicBezTo>
                  <a:pt x="65" y="19"/>
                  <a:pt x="61" y="12"/>
                  <a:pt x="60" y="11"/>
                </a:cubicBezTo>
                <a:cubicBezTo>
                  <a:pt x="58" y="10"/>
                  <a:pt x="60" y="0"/>
                  <a:pt x="6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22" name="Freeform 456"/>
          <p:cNvSpPr>
            <a:spLocks/>
          </p:cNvSpPr>
          <p:nvPr userDrawn="1"/>
        </p:nvSpPr>
        <p:spPr bwMode="auto">
          <a:xfrm>
            <a:off x="5775421" y="3344630"/>
            <a:ext cx="38528" cy="45228"/>
          </a:xfrm>
          <a:custGeom>
            <a:avLst/>
            <a:gdLst>
              <a:gd name="T0" fmla="*/ 2147483646 w 41"/>
              <a:gd name="T1" fmla="*/ 2147483646 h 48"/>
              <a:gd name="T2" fmla="*/ 2147483646 w 41"/>
              <a:gd name="T3" fmla="*/ 2147483646 h 48"/>
              <a:gd name="T4" fmla="*/ 2147483646 w 41"/>
              <a:gd name="T5" fmla="*/ 2147483646 h 48"/>
              <a:gd name="T6" fmla="*/ 2147483646 w 41"/>
              <a:gd name="T7" fmla="*/ 2147483646 h 48"/>
              <a:gd name="T8" fmla="*/ 2147483646 w 41"/>
              <a:gd name="T9" fmla="*/ 2147483646 h 48"/>
              <a:gd name="T10" fmla="*/ 2147483646 w 41"/>
              <a:gd name="T11" fmla="*/ 2147483646 h 48"/>
              <a:gd name="T12" fmla="*/ 2147483646 w 41"/>
              <a:gd name="T13" fmla="*/ 2147483646 h 48"/>
              <a:gd name="T14" fmla="*/ 2147483646 w 41"/>
              <a:gd name="T15" fmla="*/ 2147483646 h 48"/>
              <a:gd name="T16" fmla="*/ 2147483646 w 41"/>
              <a:gd name="T17" fmla="*/ 2147483646 h 48"/>
              <a:gd name="T18" fmla="*/ 2147483646 w 41"/>
              <a:gd name="T19" fmla="*/ 2147483646 h 48"/>
              <a:gd name="T20" fmla="*/ 2147483646 w 41"/>
              <a:gd name="T21" fmla="*/ 2147483646 h 48"/>
              <a:gd name="T22" fmla="*/ 2147483646 w 41"/>
              <a:gd name="T23" fmla="*/ 2147483646 h 48"/>
              <a:gd name="T24" fmla="*/ 2147483646 w 41"/>
              <a:gd name="T25" fmla="*/ 2147483646 h 48"/>
              <a:gd name="T26" fmla="*/ 2147483646 w 41"/>
              <a:gd name="T27" fmla="*/ 2147483646 h 48"/>
              <a:gd name="T28" fmla="*/ 2147483646 w 41"/>
              <a:gd name="T29" fmla="*/ 2147483646 h 48"/>
              <a:gd name="T30" fmla="*/ 2147483646 w 41"/>
              <a:gd name="T31" fmla="*/ 2147483646 h 4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1"/>
              <a:gd name="T49" fmla="*/ 0 h 48"/>
              <a:gd name="T50" fmla="*/ 41 w 41"/>
              <a:gd name="T51" fmla="*/ 48 h 4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1" h="48">
                <a:moveTo>
                  <a:pt x="21" y="9"/>
                </a:moveTo>
                <a:cubicBezTo>
                  <a:pt x="22" y="7"/>
                  <a:pt x="25" y="6"/>
                  <a:pt x="23" y="5"/>
                </a:cubicBezTo>
                <a:cubicBezTo>
                  <a:pt x="22" y="3"/>
                  <a:pt x="15" y="0"/>
                  <a:pt x="14" y="2"/>
                </a:cubicBezTo>
                <a:cubicBezTo>
                  <a:pt x="14" y="5"/>
                  <a:pt x="11" y="3"/>
                  <a:pt x="11" y="3"/>
                </a:cubicBezTo>
                <a:cubicBezTo>
                  <a:pt x="10" y="13"/>
                  <a:pt x="10" y="13"/>
                  <a:pt x="10" y="13"/>
                </a:cubicBezTo>
                <a:cubicBezTo>
                  <a:pt x="10" y="13"/>
                  <a:pt x="4" y="11"/>
                  <a:pt x="2" y="11"/>
                </a:cubicBezTo>
                <a:cubicBezTo>
                  <a:pt x="0" y="11"/>
                  <a:pt x="0" y="15"/>
                  <a:pt x="3" y="17"/>
                </a:cubicBezTo>
                <a:cubicBezTo>
                  <a:pt x="5" y="19"/>
                  <a:pt x="9" y="25"/>
                  <a:pt x="9" y="27"/>
                </a:cubicBezTo>
                <a:cubicBezTo>
                  <a:pt x="9" y="30"/>
                  <a:pt x="8" y="39"/>
                  <a:pt x="12" y="39"/>
                </a:cubicBezTo>
                <a:cubicBezTo>
                  <a:pt x="15" y="39"/>
                  <a:pt x="22" y="34"/>
                  <a:pt x="23" y="37"/>
                </a:cubicBezTo>
                <a:cubicBezTo>
                  <a:pt x="25" y="40"/>
                  <a:pt x="22" y="43"/>
                  <a:pt x="26" y="45"/>
                </a:cubicBezTo>
                <a:cubicBezTo>
                  <a:pt x="29" y="47"/>
                  <a:pt x="33" y="48"/>
                  <a:pt x="33" y="46"/>
                </a:cubicBezTo>
                <a:cubicBezTo>
                  <a:pt x="33" y="44"/>
                  <a:pt x="30" y="39"/>
                  <a:pt x="32" y="38"/>
                </a:cubicBezTo>
                <a:cubicBezTo>
                  <a:pt x="35" y="37"/>
                  <a:pt x="41" y="26"/>
                  <a:pt x="40" y="24"/>
                </a:cubicBezTo>
                <a:cubicBezTo>
                  <a:pt x="39" y="22"/>
                  <a:pt x="41" y="20"/>
                  <a:pt x="34" y="17"/>
                </a:cubicBezTo>
                <a:cubicBezTo>
                  <a:pt x="27" y="15"/>
                  <a:pt x="21" y="9"/>
                  <a:pt x="21" y="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23" name="Freeform 457"/>
          <p:cNvSpPr>
            <a:spLocks/>
          </p:cNvSpPr>
          <p:nvPr userDrawn="1"/>
        </p:nvSpPr>
        <p:spPr bwMode="auto">
          <a:xfrm>
            <a:off x="5778772" y="3389857"/>
            <a:ext cx="23451" cy="15075"/>
          </a:xfrm>
          <a:custGeom>
            <a:avLst/>
            <a:gdLst>
              <a:gd name="T0" fmla="*/ 2147483646 w 24"/>
              <a:gd name="T1" fmla="*/ 2147483646 h 16"/>
              <a:gd name="T2" fmla="*/ 2147483646 w 24"/>
              <a:gd name="T3" fmla="*/ 2147483646 h 16"/>
              <a:gd name="T4" fmla="*/ 2147483646 w 24"/>
              <a:gd name="T5" fmla="*/ 2147483646 h 16"/>
              <a:gd name="T6" fmla="*/ 2147483646 w 24"/>
              <a:gd name="T7" fmla="*/ 2147483646 h 16"/>
              <a:gd name="T8" fmla="*/ 2147483646 w 24"/>
              <a:gd name="T9" fmla="*/ 2147483646 h 16"/>
              <a:gd name="T10" fmla="*/ 2147483646 w 24"/>
              <a:gd name="T11" fmla="*/ 2147483646 h 16"/>
              <a:gd name="T12" fmla="*/ 2147483646 w 24"/>
              <a:gd name="T13" fmla="*/ 2147483646 h 16"/>
              <a:gd name="T14" fmla="*/ 2147483646 w 24"/>
              <a:gd name="T15" fmla="*/ 2147483646 h 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4"/>
              <a:gd name="T25" fmla="*/ 0 h 16"/>
              <a:gd name="T26" fmla="*/ 24 w 24"/>
              <a:gd name="T27" fmla="*/ 16 h 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4" h="16">
                <a:moveTo>
                  <a:pt x="9" y="3"/>
                </a:moveTo>
                <a:cubicBezTo>
                  <a:pt x="8" y="3"/>
                  <a:pt x="2" y="0"/>
                  <a:pt x="1" y="2"/>
                </a:cubicBezTo>
                <a:cubicBezTo>
                  <a:pt x="0" y="3"/>
                  <a:pt x="0" y="9"/>
                  <a:pt x="3" y="10"/>
                </a:cubicBezTo>
                <a:cubicBezTo>
                  <a:pt x="7" y="11"/>
                  <a:pt x="13" y="15"/>
                  <a:pt x="15" y="16"/>
                </a:cubicBezTo>
                <a:cubicBezTo>
                  <a:pt x="17" y="16"/>
                  <a:pt x="21" y="15"/>
                  <a:pt x="22" y="13"/>
                </a:cubicBezTo>
                <a:cubicBezTo>
                  <a:pt x="22" y="12"/>
                  <a:pt x="24" y="5"/>
                  <a:pt x="23" y="4"/>
                </a:cubicBezTo>
                <a:cubicBezTo>
                  <a:pt x="22" y="3"/>
                  <a:pt x="16" y="2"/>
                  <a:pt x="16" y="2"/>
                </a:cubicBezTo>
                <a:lnTo>
                  <a:pt x="9" y="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24" name="Freeform 458"/>
          <p:cNvSpPr>
            <a:spLocks/>
          </p:cNvSpPr>
          <p:nvPr userDrawn="1"/>
        </p:nvSpPr>
        <p:spPr bwMode="auto">
          <a:xfrm>
            <a:off x="5880954" y="2612615"/>
            <a:ext cx="18425" cy="28476"/>
          </a:xfrm>
          <a:custGeom>
            <a:avLst/>
            <a:gdLst>
              <a:gd name="T0" fmla="*/ 2147483646 w 20"/>
              <a:gd name="T1" fmla="*/ 2147483646 h 31"/>
              <a:gd name="T2" fmla="*/ 2147483646 w 20"/>
              <a:gd name="T3" fmla="*/ 2147483646 h 31"/>
              <a:gd name="T4" fmla="*/ 2147483646 w 20"/>
              <a:gd name="T5" fmla="*/ 2147483646 h 31"/>
              <a:gd name="T6" fmla="*/ 0 w 20"/>
              <a:gd name="T7" fmla="*/ 2147483646 h 31"/>
              <a:gd name="T8" fmla="*/ 2147483646 w 20"/>
              <a:gd name="T9" fmla="*/ 2147483646 h 31"/>
              <a:gd name="T10" fmla="*/ 2147483646 w 20"/>
              <a:gd name="T11" fmla="*/ 2147483646 h 31"/>
              <a:gd name="T12" fmla="*/ 2147483646 w 20"/>
              <a:gd name="T13" fmla="*/ 2147483646 h 31"/>
              <a:gd name="T14" fmla="*/ 2147483646 w 20"/>
              <a:gd name="T15" fmla="*/ 2147483646 h 3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"/>
              <a:gd name="T25" fmla="*/ 0 h 31"/>
              <a:gd name="T26" fmla="*/ 20 w 20"/>
              <a:gd name="T27" fmla="*/ 31 h 3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" h="31">
                <a:moveTo>
                  <a:pt x="17" y="4"/>
                </a:moveTo>
                <a:cubicBezTo>
                  <a:pt x="13" y="2"/>
                  <a:pt x="8" y="0"/>
                  <a:pt x="10" y="5"/>
                </a:cubicBezTo>
                <a:cubicBezTo>
                  <a:pt x="11" y="10"/>
                  <a:pt x="12" y="11"/>
                  <a:pt x="8" y="16"/>
                </a:cubicBezTo>
                <a:cubicBezTo>
                  <a:pt x="5" y="22"/>
                  <a:pt x="0" y="31"/>
                  <a:pt x="0" y="31"/>
                </a:cubicBezTo>
                <a:cubicBezTo>
                  <a:pt x="0" y="31"/>
                  <a:pt x="5" y="28"/>
                  <a:pt x="9" y="27"/>
                </a:cubicBezTo>
                <a:cubicBezTo>
                  <a:pt x="13" y="26"/>
                  <a:pt x="16" y="21"/>
                  <a:pt x="18" y="20"/>
                </a:cubicBezTo>
                <a:cubicBezTo>
                  <a:pt x="20" y="19"/>
                  <a:pt x="20" y="14"/>
                  <a:pt x="20" y="11"/>
                </a:cubicBezTo>
                <a:cubicBezTo>
                  <a:pt x="20" y="9"/>
                  <a:pt x="17" y="4"/>
                  <a:pt x="17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25" name="Freeform 459"/>
          <p:cNvSpPr>
            <a:spLocks/>
          </p:cNvSpPr>
          <p:nvPr userDrawn="1"/>
        </p:nvSpPr>
        <p:spPr bwMode="auto">
          <a:xfrm>
            <a:off x="5852477" y="2641091"/>
            <a:ext cx="25127" cy="30152"/>
          </a:xfrm>
          <a:custGeom>
            <a:avLst/>
            <a:gdLst>
              <a:gd name="T0" fmla="*/ 2147483646 w 28"/>
              <a:gd name="T1" fmla="*/ 0 h 31"/>
              <a:gd name="T2" fmla="*/ 2147483646 w 28"/>
              <a:gd name="T3" fmla="*/ 2147483646 h 31"/>
              <a:gd name="T4" fmla="*/ 2147483646 w 28"/>
              <a:gd name="T5" fmla="*/ 2147483646 h 31"/>
              <a:gd name="T6" fmla="*/ 2147483646 w 28"/>
              <a:gd name="T7" fmla="*/ 2147483646 h 31"/>
              <a:gd name="T8" fmla="*/ 2147483646 w 28"/>
              <a:gd name="T9" fmla="*/ 2147483646 h 31"/>
              <a:gd name="T10" fmla="*/ 2147483646 w 28"/>
              <a:gd name="T11" fmla="*/ 2147483646 h 31"/>
              <a:gd name="T12" fmla="*/ 2147483646 w 28"/>
              <a:gd name="T13" fmla="*/ 2147483646 h 31"/>
              <a:gd name="T14" fmla="*/ 2147483646 w 28"/>
              <a:gd name="T15" fmla="*/ 2147483646 h 31"/>
              <a:gd name="T16" fmla="*/ 2147483646 w 28"/>
              <a:gd name="T17" fmla="*/ 0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"/>
              <a:gd name="T28" fmla="*/ 0 h 31"/>
              <a:gd name="T29" fmla="*/ 28 w 28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" h="31">
                <a:moveTo>
                  <a:pt x="19" y="0"/>
                </a:moveTo>
                <a:cubicBezTo>
                  <a:pt x="17" y="0"/>
                  <a:pt x="16" y="6"/>
                  <a:pt x="15" y="9"/>
                </a:cubicBezTo>
                <a:cubicBezTo>
                  <a:pt x="15" y="12"/>
                  <a:pt x="10" y="13"/>
                  <a:pt x="9" y="16"/>
                </a:cubicBezTo>
                <a:cubicBezTo>
                  <a:pt x="8" y="19"/>
                  <a:pt x="0" y="22"/>
                  <a:pt x="6" y="22"/>
                </a:cubicBezTo>
                <a:cubicBezTo>
                  <a:pt x="11" y="23"/>
                  <a:pt x="17" y="16"/>
                  <a:pt x="17" y="22"/>
                </a:cubicBezTo>
                <a:cubicBezTo>
                  <a:pt x="17" y="27"/>
                  <a:pt x="16" y="31"/>
                  <a:pt x="20" y="27"/>
                </a:cubicBezTo>
                <a:cubicBezTo>
                  <a:pt x="24" y="24"/>
                  <a:pt x="28" y="20"/>
                  <a:pt x="28" y="17"/>
                </a:cubicBezTo>
                <a:cubicBezTo>
                  <a:pt x="28" y="15"/>
                  <a:pt x="24" y="10"/>
                  <a:pt x="24" y="8"/>
                </a:cubicBezTo>
                <a:cubicBezTo>
                  <a:pt x="25" y="6"/>
                  <a:pt x="19" y="0"/>
                  <a:pt x="1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26" name="Freeform 460"/>
          <p:cNvSpPr>
            <a:spLocks/>
          </p:cNvSpPr>
          <p:nvPr userDrawn="1"/>
        </p:nvSpPr>
        <p:spPr bwMode="auto">
          <a:xfrm>
            <a:off x="5834051" y="2682968"/>
            <a:ext cx="15075" cy="15075"/>
          </a:xfrm>
          <a:custGeom>
            <a:avLst/>
            <a:gdLst>
              <a:gd name="T0" fmla="*/ 2147483646 w 16"/>
              <a:gd name="T1" fmla="*/ 2147483646 h 15"/>
              <a:gd name="T2" fmla="*/ 2147483646 w 16"/>
              <a:gd name="T3" fmla="*/ 2147483646 h 15"/>
              <a:gd name="T4" fmla="*/ 2147483646 w 16"/>
              <a:gd name="T5" fmla="*/ 2147483646 h 15"/>
              <a:gd name="T6" fmla="*/ 2147483646 w 16"/>
              <a:gd name="T7" fmla="*/ 0 h 15"/>
              <a:gd name="T8" fmla="*/ 2147483646 w 16"/>
              <a:gd name="T9" fmla="*/ 2147483646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5"/>
              <a:gd name="T17" fmla="*/ 16 w 16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5">
                <a:moveTo>
                  <a:pt x="7" y="2"/>
                </a:moveTo>
                <a:cubicBezTo>
                  <a:pt x="5" y="5"/>
                  <a:pt x="0" y="15"/>
                  <a:pt x="3" y="15"/>
                </a:cubicBezTo>
                <a:cubicBezTo>
                  <a:pt x="8" y="15"/>
                  <a:pt x="9" y="6"/>
                  <a:pt x="12" y="5"/>
                </a:cubicBezTo>
                <a:cubicBezTo>
                  <a:pt x="14" y="5"/>
                  <a:pt x="16" y="0"/>
                  <a:pt x="16" y="0"/>
                </a:cubicBezTo>
                <a:lnTo>
                  <a:pt x="7" y="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27" name="Freeform 461"/>
          <p:cNvSpPr>
            <a:spLocks/>
          </p:cNvSpPr>
          <p:nvPr userDrawn="1"/>
        </p:nvSpPr>
        <p:spPr bwMode="auto">
          <a:xfrm>
            <a:off x="5857502" y="2679619"/>
            <a:ext cx="16751" cy="16751"/>
          </a:xfrm>
          <a:custGeom>
            <a:avLst/>
            <a:gdLst>
              <a:gd name="T0" fmla="*/ 2147483646 w 18"/>
              <a:gd name="T1" fmla="*/ 0 h 18"/>
              <a:gd name="T2" fmla="*/ 2147483646 w 18"/>
              <a:gd name="T3" fmla="*/ 2147483646 h 18"/>
              <a:gd name="T4" fmla="*/ 2147483646 w 18"/>
              <a:gd name="T5" fmla="*/ 2147483646 h 18"/>
              <a:gd name="T6" fmla="*/ 2147483646 w 18"/>
              <a:gd name="T7" fmla="*/ 2147483646 h 18"/>
              <a:gd name="T8" fmla="*/ 2147483646 w 18"/>
              <a:gd name="T9" fmla="*/ 0 h 18"/>
              <a:gd name="T10" fmla="*/ 2147483646 w 18"/>
              <a:gd name="T11" fmla="*/ 0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8"/>
              <a:gd name="T20" fmla="*/ 18 w 18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8">
                <a:moveTo>
                  <a:pt x="8" y="0"/>
                </a:moveTo>
                <a:cubicBezTo>
                  <a:pt x="5" y="2"/>
                  <a:pt x="0" y="7"/>
                  <a:pt x="3" y="9"/>
                </a:cubicBezTo>
                <a:cubicBezTo>
                  <a:pt x="5" y="11"/>
                  <a:pt x="8" y="0"/>
                  <a:pt x="10" y="5"/>
                </a:cubicBezTo>
                <a:cubicBezTo>
                  <a:pt x="12" y="9"/>
                  <a:pt x="10" y="18"/>
                  <a:pt x="13" y="14"/>
                </a:cubicBezTo>
                <a:cubicBezTo>
                  <a:pt x="17" y="10"/>
                  <a:pt x="18" y="0"/>
                  <a:pt x="18" y="0"/>
                </a:cubicBezTo>
                <a:lnTo>
                  <a:pt x="8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28" name="Freeform 462"/>
          <p:cNvSpPr>
            <a:spLocks/>
          </p:cNvSpPr>
          <p:nvPr userDrawn="1"/>
        </p:nvSpPr>
        <p:spPr bwMode="auto">
          <a:xfrm>
            <a:off x="5875928" y="2641091"/>
            <a:ext cx="30152" cy="41877"/>
          </a:xfrm>
          <a:custGeom>
            <a:avLst/>
            <a:gdLst>
              <a:gd name="T0" fmla="*/ 2147483646 w 32"/>
              <a:gd name="T1" fmla="*/ 2147483646 h 44"/>
              <a:gd name="T2" fmla="*/ 2147483646 w 32"/>
              <a:gd name="T3" fmla="*/ 2147483646 h 44"/>
              <a:gd name="T4" fmla="*/ 2147483646 w 32"/>
              <a:gd name="T5" fmla="*/ 2147483646 h 44"/>
              <a:gd name="T6" fmla="*/ 2147483646 w 32"/>
              <a:gd name="T7" fmla="*/ 2147483646 h 44"/>
              <a:gd name="T8" fmla="*/ 2147483646 w 32"/>
              <a:gd name="T9" fmla="*/ 2147483646 h 44"/>
              <a:gd name="T10" fmla="*/ 2147483646 w 32"/>
              <a:gd name="T11" fmla="*/ 2147483646 h 44"/>
              <a:gd name="T12" fmla="*/ 2147483646 w 32"/>
              <a:gd name="T13" fmla="*/ 2147483646 h 44"/>
              <a:gd name="T14" fmla="*/ 2147483646 w 32"/>
              <a:gd name="T15" fmla="*/ 2147483646 h 44"/>
              <a:gd name="T16" fmla="*/ 2147483646 w 32"/>
              <a:gd name="T17" fmla="*/ 2147483646 h 44"/>
              <a:gd name="T18" fmla="*/ 2147483646 w 32"/>
              <a:gd name="T19" fmla="*/ 2147483646 h 44"/>
              <a:gd name="T20" fmla="*/ 2147483646 w 32"/>
              <a:gd name="T21" fmla="*/ 2147483646 h 44"/>
              <a:gd name="T22" fmla="*/ 2147483646 w 32"/>
              <a:gd name="T23" fmla="*/ 2147483646 h 44"/>
              <a:gd name="T24" fmla="*/ 2147483646 w 32"/>
              <a:gd name="T25" fmla="*/ 2147483646 h 44"/>
              <a:gd name="T26" fmla="*/ 2147483646 w 32"/>
              <a:gd name="T27" fmla="*/ 2147483646 h 4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2"/>
              <a:gd name="T43" fmla="*/ 0 h 44"/>
              <a:gd name="T44" fmla="*/ 32 w 32"/>
              <a:gd name="T45" fmla="*/ 44 h 4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2" h="44">
                <a:moveTo>
                  <a:pt x="9" y="12"/>
                </a:moveTo>
                <a:cubicBezTo>
                  <a:pt x="9" y="15"/>
                  <a:pt x="11" y="24"/>
                  <a:pt x="8" y="27"/>
                </a:cubicBezTo>
                <a:cubicBezTo>
                  <a:pt x="5" y="31"/>
                  <a:pt x="0" y="35"/>
                  <a:pt x="5" y="35"/>
                </a:cubicBezTo>
                <a:cubicBezTo>
                  <a:pt x="10" y="36"/>
                  <a:pt x="11" y="44"/>
                  <a:pt x="13" y="42"/>
                </a:cubicBezTo>
                <a:cubicBezTo>
                  <a:pt x="16" y="40"/>
                  <a:pt x="16" y="29"/>
                  <a:pt x="19" y="32"/>
                </a:cubicBezTo>
                <a:cubicBezTo>
                  <a:pt x="22" y="35"/>
                  <a:pt x="24" y="32"/>
                  <a:pt x="24" y="30"/>
                </a:cubicBezTo>
                <a:cubicBezTo>
                  <a:pt x="24" y="28"/>
                  <a:pt x="18" y="22"/>
                  <a:pt x="22" y="22"/>
                </a:cubicBezTo>
                <a:cubicBezTo>
                  <a:pt x="27" y="22"/>
                  <a:pt x="27" y="21"/>
                  <a:pt x="28" y="17"/>
                </a:cubicBezTo>
                <a:cubicBezTo>
                  <a:pt x="29" y="12"/>
                  <a:pt x="24" y="12"/>
                  <a:pt x="28" y="9"/>
                </a:cubicBezTo>
                <a:cubicBezTo>
                  <a:pt x="32" y="6"/>
                  <a:pt x="27" y="0"/>
                  <a:pt x="25" y="5"/>
                </a:cubicBezTo>
                <a:cubicBezTo>
                  <a:pt x="24" y="10"/>
                  <a:pt x="24" y="12"/>
                  <a:pt x="22" y="13"/>
                </a:cubicBezTo>
                <a:cubicBezTo>
                  <a:pt x="20" y="14"/>
                  <a:pt x="16" y="11"/>
                  <a:pt x="16" y="8"/>
                </a:cubicBezTo>
                <a:cubicBezTo>
                  <a:pt x="17" y="5"/>
                  <a:pt x="15" y="2"/>
                  <a:pt x="15" y="2"/>
                </a:cubicBezTo>
                <a:lnTo>
                  <a:pt x="9" y="1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29" name="Freeform 463"/>
          <p:cNvSpPr>
            <a:spLocks/>
          </p:cNvSpPr>
          <p:nvPr userDrawn="1"/>
        </p:nvSpPr>
        <p:spPr bwMode="auto">
          <a:xfrm>
            <a:off x="5914456" y="2590838"/>
            <a:ext cx="26801" cy="41877"/>
          </a:xfrm>
          <a:custGeom>
            <a:avLst/>
            <a:gdLst>
              <a:gd name="T0" fmla="*/ 2147483646 w 28"/>
              <a:gd name="T1" fmla="*/ 2147483646 h 44"/>
              <a:gd name="T2" fmla="*/ 2147483646 w 28"/>
              <a:gd name="T3" fmla="*/ 2147483646 h 44"/>
              <a:gd name="T4" fmla="*/ 2147483646 w 28"/>
              <a:gd name="T5" fmla="*/ 2147483646 h 44"/>
              <a:gd name="T6" fmla="*/ 2147483646 w 28"/>
              <a:gd name="T7" fmla="*/ 2147483646 h 44"/>
              <a:gd name="T8" fmla="*/ 2147483646 w 28"/>
              <a:gd name="T9" fmla="*/ 2147483646 h 44"/>
              <a:gd name="T10" fmla="*/ 2147483646 w 28"/>
              <a:gd name="T11" fmla="*/ 2147483646 h 44"/>
              <a:gd name="T12" fmla="*/ 2147483646 w 28"/>
              <a:gd name="T13" fmla="*/ 2147483646 h 44"/>
              <a:gd name="T14" fmla="*/ 2147483646 w 28"/>
              <a:gd name="T15" fmla="*/ 2147483646 h 44"/>
              <a:gd name="T16" fmla="*/ 2147483646 w 28"/>
              <a:gd name="T17" fmla="*/ 2147483646 h 44"/>
              <a:gd name="T18" fmla="*/ 2147483646 w 28"/>
              <a:gd name="T19" fmla="*/ 2147483646 h 44"/>
              <a:gd name="T20" fmla="*/ 2147483646 w 28"/>
              <a:gd name="T21" fmla="*/ 2147483646 h 44"/>
              <a:gd name="T22" fmla="*/ 2147483646 w 28"/>
              <a:gd name="T23" fmla="*/ 2147483646 h 4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8"/>
              <a:gd name="T37" fmla="*/ 0 h 44"/>
              <a:gd name="T38" fmla="*/ 28 w 28"/>
              <a:gd name="T39" fmla="*/ 44 h 4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8" h="44">
                <a:moveTo>
                  <a:pt x="4" y="20"/>
                </a:moveTo>
                <a:cubicBezTo>
                  <a:pt x="2" y="22"/>
                  <a:pt x="0" y="28"/>
                  <a:pt x="2" y="29"/>
                </a:cubicBezTo>
                <a:cubicBezTo>
                  <a:pt x="4" y="31"/>
                  <a:pt x="6" y="36"/>
                  <a:pt x="6" y="36"/>
                </a:cubicBezTo>
                <a:cubicBezTo>
                  <a:pt x="6" y="36"/>
                  <a:pt x="2" y="44"/>
                  <a:pt x="7" y="41"/>
                </a:cubicBezTo>
                <a:cubicBezTo>
                  <a:pt x="12" y="37"/>
                  <a:pt x="13" y="35"/>
                  <a:pt x="15" y="34"/>
                </a:cubicBezTo>
                <a:cubicBezTo>
                  <a:pt x="17" y="32"/>
                  <a:pt x="17" y="28"/>
                  <a:pt x="22" y="29"/>
                </a:cubicBezTo>
                <a:cubicBezTo>
                  <a:pt x="26" y="31"/>
                  <a:pt x="22" y="27"/>
                  <a:pt x="25" y="22"/>
                </a:cubicBezTo>
                <a:cubicBezTo>
                  <a:pt x="28" y="16"/>
                  <a:pt x="27" y="12"/>
                  <a:pt x="23" y="9"/>
                </a:cubicBezTo>
                <a:cubicBezTo>
                  <a:pt x="19" y="7"/>
                  <a:pt x="19" y="0"/>
                  <a:pt x="17" y="4"/>
                </a:cubicBezTo>
                <a:cubicBezTo>
                  <a:pt x="15" y="9"/>
                  <a:pt x="11" y="12"/>
                  <a:pt x="11" y="14"/>
                </a:cubicBezTo>
                <a:cubicBezTo>
                  <a:pt x="11" y="17"/>
                  <a:pt x="7" y="17"/>
                  <a:pt x="7" y="17"/>
                </a:cubicBezTo>
                <a:lnTo>
                  <a:pt x="4" y="2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30" name="Freeform 464"/>
          <p:cNvSpPr>
            <a:spLocks/>
          </p:cNvSpPr>
          <p:nvPr userDrawn="1"/>
        </p:nvSpPr>
        <p:spPr bwMode="auto">
          <a:xfrm>
            <a:off x="5947958" y="2574087"/>
            <a:ext cx="18425" cy="18427"/>
          </a:xfrm>
          <a:custGeom>
            <a:avLst/>
            <a:gdLst>
              <a:gd name="T0" fmla="*/ 2147483646 w 20"/>
              <a:gd name="T1" fmla="*/ 2147483646 h 21"/>
              <a:gd name="T2" fmla="*/ 2147483646 w 20"/>
              <a:gd name="T3" fmla="*/ 2147483646 h 21"/>
              <a:gd name="T4" fmla="*/ 2147483646 w 20"/>
              <a:gd name="T5" fmla="*/ 2147483646 h 21"/>
              <a:gd name="T6" fmla="*/ 2147483646 w 20"/>
              <a:gd name="T7" fmla="*/ 2147483646 h 21"/>
              <a:gd name="T8" fmla="*/ 2147483646 w 20"/>
              <a:gd name="T9" fmla="*/ 2147483646 h 21"/>
              <a:gd name="T10" fmla="*/ 2147483646 w 20"/>
              <a:gd name="T11" fmla="*/ 2147483646 h 21"/>
              <a:gd name="T12" fmla="*/ 2147483646 w 20"/>
              <a:gd name="T13" fmla="*/ 2147483646 h 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21"/>
              <a:gd name="T23" fmla="*/ 20 w 20"/>
              <a:gd name="T24" fmla="*/ 21 h 2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21">
                <a:moveTo>
                  <a:pt x="9" y="8"/>
                </a:moveTo>
                <a:cubicBezTo>
                  <a:pt x="6" y="9"/>
                  <a:pt x="0" y="6"/>
                  <a:pt x="4" y="13"/>
                </a:cubicBezTo>
                <a:cubicBezTo>
                  <a:pt x="7" y="21"/>
                  <a:pt x="7" y="19"/>
                  <a:pt x="10" y="16"/>
                </a:cubicBezTo>
                <a:cubicBezTo>
                  <a:pt x="13" y="13"/>
                  <a:pt x="13" y="12"/>
                  <a:pt x="16" y="11"/>
                </a:cubicBezTo>
                <a:cubicBezTo>
                  <a:pt x="18" y="11"/>
                  <a:pt x="20" y="7"/>
                  <a:pt x="20" y="7"/>
                </a:cubicBezTo>
                <a:cubicBezTo>
                  <a:pt x="20" y="7"/>
                  <a:pt x="20" y="0"/>
                  <a:pt x="18" y="1"/>
                </a:cubicBezTo>
                <a:cubicBezTo>
                  <a:pt x="16" y="3"/>
                  <a:pt x="9" y="8"/>
                  <a:pt x="9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31" name="Freeform 465"/>
          <p:cNvSpPr>
            <a:spLocks/>
          </p:cNvSpPr>
          <p:nvPr userDrawn="1"/>
        </p:nvSpPr>
        <p:spPr bwMode="auto">
          <a:xfrm>
            <a:off x="5968059" y="2555662"/>
            <a:ext cx="16751" cy="16751"/>
          </a:xfrm>
          <a:custGeom>
            <a:avLst/>
            <a:gdLst>
              <a:gd name="T0" fmla="*/ 2147483646 w 18"/>
              <a:gd name="T1" fmla="*/ 0 h 18"/>
              <a:gd name="T2" fmla="*/ 2147483646 w 18"/>
              <a:gd name="T3" fmla="*/ 2147483646 h 18"/>
              <a:gd name="T4" fmla="*/ 2147483646 w 18"/>
              <a:gd name="T5" fmla="*/ 2147483646 h 18"/>
              <a:gd name="T6" fmla="*/ 2147483646 w 18"/>
              <a:gd name="T7" fmla="*/ 2147483646 h 18"/>
              <a:gd name="T8" fmla="*/ 2147483646 w 18"/>
              <a:gd name="T9" fmla="*/ 2147483646 h 18"/>
              <a:gd name="T10" fmla="*/ 2147483646 w 18"/>
              <a:gd name="T11" fmla="*/ 2147483646 h 18"/>
              <a:gd name="T12" fmla="*/ 2147483646 w 18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8"/>
              <a:gd name="T22" fmla="*/ 0 h 18"/>
              <a:gd name="T23" fmla="*/ 18 w 18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8" h="18">
                <a:moveTo>
                  <a:pt x="2" y="0"/>
                </a:moveTo>
                <a:cubicBezTo>
                  <a:pt x="0" y="5"/>
                  <a:pt x="3" y="15"/>
                  <a:pt x="5" y="15"/>
                </a:cubicBezTo>
                <a:cubicBezTo>
                  <a:pt x="7" y="15"/>
                  <a:pt x="6" y="18"/>
                  <a:pt x="9" y="18"/>
                </a:cubicBezTo>
                <a:cubicBezTo>
                  <a:pt x="11" y="18"/>
                  <a:pt x="13" y="17"/>
                  <a:pt x="14" y="12"/>
                </a:cubicBezTo>
                <a:cubicBezTo>
                  <a:pt x="16" y="7"/>
                  <a:pt x="18" y="0"/>
                  <a:pt x="16" y="1"/>
                </a:cubicBezTo>
                <a:cubicBezTo>
                  <a:pt x="13" y="2"/>
                  <a:pt x="9" y="7"/>
                  <a:pt x="9" y="7"/>
                </a:cubicBezTo>
                <a:lnTo>
                  <a:pt x="2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32" name="Freeform 466"/>
          <p:cNvSpPr>
            <a:spLocks/>
          </p:cNvSpPr>
          <p:nvPr userDrawn="1"/>
        </p:nvSpPr>
        <p:spPr bwMode="auto">
          <a:xfrm>
            <a:off x="5998209" y="2550637"/>
            <a:ext cx="15075" cy="15076"/>
          </a:xfrm>
          <a:custGeom>
            <a:avLst/>
            <a:gdLst>
              <a:gd name="T0" fmla="*/ 2147483646 w 16"/>
              <a:gd name="T1" fmla="*/ 0 h 16"/>
              <a:gd name="T2" fmla="*/ 2147483646 w 16"/>
              <a:gd name="T3" fmla="*/ 2147483646 h 16"/>
              <a:gd name="T4" fmla="*/ 2147483646 w 16"/>
              <a:gd name="T5" fmla="*/ 2147483646 h 16"/>
              <a:gd name="T6" fmla="*/ 2147483646 w 16"/>
              <a:gd name="T7" fmla="*/ 2147483646 h 16"/>
              <a:gd name="T8" fmla="*/ 2147483646 w 16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6"/>
              <a:gd name="T17" fmla="*/ 16 w 16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6">
                <a:moveTo>
                  <a:pt x="8" y="0"/>
                </a:moveTo>
                <a:cubicBezTo>
                  <a:pt x="6" y="2"/>
                  <a:pt x="0" y="8"/>
                  <a:pt x="5" y="12"/>
                </a:cubicBezTo>
                <a:cubicBezTo>
                  <a:pt x="10" y="16"/>
                  <a:pt x="12" y="13"/>
                  <a:pt x="13" y="11"/>
                </a:cubicBezTo>
                <a:cubicBezTo>
                  <a:pt x="14" y="8"/>
                  <a:pt x="12" y="3"/>
                  <a:pt x="14" y="1"/>
                </a:cubicBezTo>
                <a:cubicBezTo>
                  <a:pt x="16" y="0"/>
                  <a:pt x="8" y="0"/>
                  <a:pt x="8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33" name="Freeform 467"/>
          <p:cNvSpPr>
            <a:spLocks/>
          </p:cNvSpPr>
          <p:nvPr userDrawn="1"/>
        </p:nvSpPr>
        <p:spPr bwMode="auto">
          <a:xfrm>
            <a:off x="6041763" y="2508759"/>
            <a:ext cx="31827" cy="23451"/>
          </a:xfrm>
          <a:custGeom>
            <a:avLst/>
            <a:gdLst>
              <a:gd name="T0" fmla="*/ 2147483646 w 34"/>
              <a:gd name="T1" fmla="*/ 2147483646 h 26"/>
              <a:gd name="T2" fmla="*/ 2147483646 w 34"/>
              <a:gd name="T3" fmla="*/ 2147483646 h 26"/>
              <a:gd name="T4" fmla="*/ 2147483646 w 34"/>
              <a:gd name="T5" fmla="*/ 2147483646 h 26"/>
              <a:gd name="T6" fmla="*/ 2147483646 w 34"/>
              <a:gd name="T7" fmla="*/ 2147483646 h 26"/>
              <a:gd name="T8" fmla="*/ 2147483646 w 34"/>
              <a:gd name="T9" fmla="*/ 2147483646 h 26"/>
              <a:gd name="T10" fmla="*/ 2147483646 w 34"/>
              <a:gd name="T11" fmla="*/ 0 h 26"/>
              <a:gd name="T12" fmla="*/ 2147483646 w 34"/>
              <a:gd name="T13" fmla="*/ 2147483646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26"/>
              <a:gd name="T23" fmla="*/ 34 w 34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26">
                <a:moveTo>
                  <a:pt x="6" y="11"/>
                </a:moveTo>
                <a:cubicBezTo>
                  <a:pt x="2" y="12"/>
                  <a:pt x="0" y="13"/>
                  <a:pt x="1" y="17"/>
                </a:cubicBezTo>
                <a:cubicBezTo>
                  <a:pt x="2" y="21"/>
                  <a:pt x="6" y="26"/>
                  <a:pt x="8" y="26"/>
                </a:cubicBezTo>
                <a:cubicBezTo>
                  <a:pt x="10" y="26"/>
                  <a:pt x="12" y="21"/>
                  <a:pt x="16" y="22"/>
                </a:cubicBezTo>
                <a:cubicBezTo>
                  <a:pt x="20" y="23"/>
                  <a:pt x="26" y="13"/>
                  <a:pt x="28" y="10"/>
                </a:cubicBezTo>
                <a:cubicBezTo>
                  <a:pt x="31" y="7"/>
                  <a:pt x="28" y="0"/>
                  <a:pt x="31" y="0"/>
                </a:cubicBezTo>
                <a:cubicBezTo>
                  <a:pt x="34" y="0"/>
                  <a:pt x="6" y="11"/>
                  <a:pt x="6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34" name="Freeform 468"/>
          <p:cNvSpPr>
            <a:spLocks/>
          </p:cNvSpPr>
          <p:nvPr userDrawn="1"/>
        </p:nvSpPr>
        <p:spPr bwMode="auto">
          <a:xfrm>
            <a:off x="5817301" y="2698044"/>
            <a:ext cx="16751" cy="18427"/>
          </a:xfrm>
          <a:custGeom>
            <a:avLst/>
            <a:gdLst>
              <a:gd name="T0" fmla="*/ 2147483646 w 18"/>
              <a:gd name="T1" fmla="*/ 0 h 20"/>
              <a:gd name="T2" fmla="*/ 2147483646 w 18"/>
              <a:gd name="T3" fmla="*/ 2147483646 h 20"/>
              <a:gd name="T4" fmla="*/ 2147483646 w 18"/>
              <a:gd name="T5" fmla="*/ 2147483646 h 20"/>
              <a:gd name="T6" fmla="*/ 2147483646 w 18"/>
              <a:gd name="T7" fmla="*/ 2147483646 h 20"/>
              <a:gd name="T8" fmla="*/ 2147483646 w 18"/>
              <a:gd name="T9" fmla="*/ 2147483646 h 20"/>
              <a:gd name="T10" fmla="*/ 2147483646 w 18"/>
              <a:gd name="T11" fmla="*/ 0 h 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20"/>
              <a:gd name="T20" fmla="*/ 18 w 18"/>
              <a:gd name="T21" fmla="*/ 20 h 2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20">
                <a:moveTo>
                  <a:pt x="17" y="0"/>
                </a:moveTo>
                <a:cubicBezTo>
                  <a:pt x="10" y="5"/>
                  <a:pt x="10" y="5"/>
                  <a:pt x="10" y="5"/>
                </a:cubicBezTo>
                <a:cubicBezTo>
                  <a:pt x="10" y="5"/>
                  <a:pt x="0" y="14"/>
                  <a:pt x="5" y="17"/>
                </a:cubicBezTo>
                <a:cubicBezTo>
                  <a:pt x="10" y="20"/>
                  <a:pt x="15" y="15"/>
                  <a:pt x="16" y="12"/>
                </a:cubicBezTo>
                <a:cubicBezTo>
                  <a:pt x="17" y="10"/>
                  <a:pt x="18" y="5"/>
                  <a:pt x="18" y="5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35" name="Freeform 469"/>
          <p:cNvSpPr>
            <a:spLocks/>
          </p:cNvSpPr>
          <p:nvPr userDrawn="1"/>
        </p:nvSpPr>
        <p:spPr bwMode="auto">
          <a:xfrm>
            <a:off x="5720144" y="2962708"/>
            <a:ext cx="10051" cy="10051"/>
          </a:xfrm>
          <a:custGeom>
            <a:avLst/>
            <a:gdLst>
              <a:gd name="T0" fmla="*/ 2147483646 w 12"/>
              <a:gd name="T1" fmla="*/ 0 h 11"/>
              <a:gd name="T2" fmla="*/ 0 w 12"/>
              <a:gd name="T3" fmla="*/ 2147483646 h 11"/>
              <a:gd name="T4" fmla="*/ 2147483646 w 12"/>
              <a:gd name="T5" fmla="*/ 2147483646 h 11"/>
              <a:gd name="T6" fmla="*/ 2147483646 w 12"/>
              <a:gd name="T7" fmla="*/ 2147483646 h 11"/>
              <a:gd name="T8" fmla="*/ 2147483646 w 12"/>
              <a:gd name="T9" fmla="*/ 2147483646 h 11"/>
              <a:gd name="T10" fmla="*/ 2147483646 w 12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11"/>
              <a:gd name="T20" fmla="*/ 12 w 12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11">
                <a:moveTo>
                  <a:pt x="3" y="0"/>
                </a:move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3" y="11"/>
                  <a:pt x="5" y="11"/>
                </a:cubicBezTo>
                <a:cubicBezTo>
                  <a:pt x="7" y="11"/>
                  <a:pt x="12" y="10"/>
                  <a:pt x="12" y="10"/>
                </a:cubicBezTo>
                <a:cubicBezTo>
                  <a:pt x="12" y="4"/>
                  <a:pt x="12" y="4"/>
                  <a:pt x="12" y="4"/>
                </a:cubicBezTo>
                <a:cubicBezTo>
                  <a:pt x="7" y="1"/>
                  <a:pt x="3" y="0"/>
                  <a:pt x="3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36" name="Freeform 470"/>
          <p:cNvSpPr>
            <a:spLocks/>
          </p:cNvSpPr>
          <p:nvPr userDrawn="1"/>
        </p:nvSpPr>
        <p:spPr bwMode="auto">
          <a:xfrm>
            <a:off x="5622990" y="3103416"/>
            <a:ext cx="8375" cy="8376"/>
          </a:xfrm>
          <a:custGeom>
            <a:avLst/>
            <a:gdLst>
              <a:gd name="T0" fmla="*/ 2147483646 w 9"/>
              <a:gd name="T1" fmla="*/ 0 h 10"/>
              <a:gd name="T2" fmla="*/ 2147483646 w 9"/>
              <a:gd name="T3" fmla="*/ 2147483646 h 10"/>
              <a:gd name="T4" fmla="*/ 2147483646 w 9"/>
              <a:gd name="T5" fmla="*/ 2147483646 h 10"/>
              <a:gd name="T6" fmla="*/ 2147483646 w 9"/>
              <a:gd name="T7" fmla="*/ 0 h 10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10"/>
              <a:gd name="T14" fmla="*/ 9 w 9"/>
              <a:gd name="T15" fmla="*/ 10 h 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10">
                <a:moveTo>
                  <a:pt x="7" y="0"/>
                </a:moveTo>
                <a:cubicBezTo>
                  <a:pt x="5" y="0"/>
                  <a:pt x="0" y="6"/>
                  <a:pt x="3" y="8"/>
                </a:cubicBezTo>
                <a:cubicBezTo>
                  <a:pt x="6" y="10"/>
                  <a:pt x="9" y="6"/>
                  <a:pt x="9" y="6"/>
                </a:cubicBezTo>
                <a:lnTo>
                  <a:pt x="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37" name="Freeform 471"/>
          <p:cNvSpPr>
            <a:spLocks/>
          </p:cNvSpPr>
          <p:nvPr userDrawn="1"/>
        </p:nvSpPr>
        <p:spPr bwMode="auto">
          <a:xfrm>
            <a:off x="5626339" y="3123517"/>
            <a:ext cx="8375" cy="8376"/>
          </a:xfrm>
          <a:custGeom>
            <a:avLst/>
            <a:gdLst>
              <a:gd name="T0" fmla="*/ 2147483646 w 9"/>
              <a:gd name="T1" fmla="*/ 0 h 8"/>
              <a:gd name="T2" fmla="*/ 2147483646 w 9"/>
              <a:gd name="T3" fmla="*/ 2147483646 h 8"/>
              <a:gd name="T4" fmla="*/ 2147483646 w 9"/>
              <a:gd name="T5" fmla="*/ 2147483646 h 8"/>
              <a:gd name="T6" fmla="*/ 2147483646 w 9"/>
              <a:gd name="T7" fmla="*/ 0 h 8"/>
              <a:gd name="T8" fmla="*/ 2147483646 w 9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8"/>
              <a:gd name="T17" fmla="*/ 9 w 9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8">
                <a:moveTo>
                  <a:pt x="3" y="0"/>
                </a:moveTo>
                <a:cubicBezTo>
                  <a:pt x="3" y="0"/>
                  <a:pt x="0" y="7"/>
                  <a:pt x="2" y="8"/>
                </a:cubicBezTo>
                <a:cubicBezTo>
                  <a:pt x="4" y="8"/>
                  <a:pt x="7" y="7"/>
                  <a:pt x="7" y="7"/>
                </a:cubicBezTo>
                <a:cubicBezTo>
                  <a:pt x="9" y="0"/>
                  <a:pt x="9" y="0"/>
                  <a:pt x="9" y="0"/>
                </a:cubicBezTo>
                <a:lnTo>
                  <a:pt x="3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38" name="Freeform 472"/>
          <p:cNvSpPr>
            <a:spLocks/>
          </p:cNvSpPr>
          <p:nvPr userDrawn="1"/>
        </p:nvSpPr>
        <p:spPr bwMode="auto">
          <a:xfrm>
            <a:off x="5629690" y="3146969"/>
            <a:ext cx="3351" cy="6700"/>
          </a:xfrm>
          <a:custGeom>
            <a:avLst/>
            <a:gdLst>
              <a:gd name="T0" fmla="*/ 0 w 2"/>
              <a:gd name="T1" fmla="*/ 0 h 4"/>
              <a:gd name="T2" fmla="*/ 2147483646 w 2"/>
              <a:gd name="T3" fmla="*/ 2147483646 h 4"/>
              <a:gd name="T4" fmla="*/ 2147483646 w 2"/>
              <a:gd name="T5" fmla="*/ 0 h 4"/>
              <a:gd name="T6" fmla="*/ 0 w 2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4"/>
              <a:gd name="T14" fmla="*/ 2 w 2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4">
                <a:moveTo>
                  <a:pt x="0" y="0"/>
                </a:moveTo>
                <a:lnTo>
                  <a:pt x="1" y="4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39" name="Freeform 473"/>
          <p:cNvSpPr>
            <a:spLocks/>
          </p:cNvSpPr>
          <p:nvPr userDrawn="1"/>
        </p:nvSpPr>
        <p:spPr bwMode="auto">
          <a:xfrm>
            <a:off x="5639741" y="3157019"/>
            <a:ext cx="6700" cy="10051"/>
          </a:xfrm>
          <a:custGeom>
            <a:avLst/>
            <a:gdLst>
              <a:gd name="T0" fmla="*/ 0 w 4"/>
              <a:gd name="T1" fmla="*/ 2147483646 h 6"/>
              <a:gd name="T2" fmla="*/ 2147483646 w 4"/>
              <a:gd name="T3" fmla="*/ 2147483646 h 6"/>
              <a:gd name="T4" fmla="*/ 2147483646 w 4"/>
              <a:gd name="T5" fmla="*/ 2147483646 h 6"/>
              <a:gd name="T6" fmla="*/ 0 w 4"/>
              <a:gd name="T7" fmla="*/ 0 h 6"/>
              <a:gd name="T8" fmla="*/ 0 w 4"/>
              <a:gd name="T9" fmla="*/ 2147483646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"/>
              <a:gd name="T16" fmla="*/ 0 h 6"/>
              <a:gd name="T17" fmla="*/ 4 w 4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" h="6">
                <a:moveTo>
                  <a:pt x="0" y="4"/>
                </a:moveTo>
                <a:lnTo>
                  <a:pt x="2" y="6"/>
                </a:lnTo>
                <a:lnTo>
                  <a:pt x="4" y="1"/>
                </a:lnTo>
                <a:lnTo>
                  <a:pt x="0" y="0"/>
                </a:lnTo>
                <a:lnTo>
                  <a:pt x="0" y="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40" name="Freeform 474"/>
          <p:cNvSpPr>
            <a:spLocks/>
          </p:cNvSpPr>
          <p:nvPr userDrawn="1"/>
        </p:nvSpPr>
        <p:spPr bwMode="auto">
          <a:xfrm>
            <a:off x="5644765" y="3162046"/>
            <a:ext cx="8376" cy="6700"/>
          </a:xfrm>
          <a:custGeom>
            <a:avLst/>
            <a:gdLst>
              <a:gd name="T0" fmla="*/ 2147483646 w 9"/>
              <a:gd name="T1" fmla="*/ 0 h 7"/>
              <a:gd name="T2" fmla="*/ 2147483646 w 9"/>
              <a:gd name="T3" fmla="*/ 2147483646 h 7"/>
              <a:gd name="T4" fmla="*/ 2147483646 w 9"/>
              <a:gd name="T5" fmla="*/ 0 h 7"/>
              <a:gd name="T6" fmla="*/ 2147483646 w 9"/>
              <a:gd name="T7" fmla="*/ 0 h 7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7"/>
              <a:gd name="T14" fmla="*/ 9 w 9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7">
                <a:moveTo>
                  <a:pt x="6" y="0"/>
                </a:moveTo>
                <a:cubicBezTo>
                  <a:pt x="4" y="2"/>
                  <a:pt x="0" y="5"/>
                  <a:pt x="4" y="6"/>
                </a:cubicBezTo>
                <a:cubicBezTo>
                  <a:pt x="7" y="7"/>
                  <a:pt x="9" y="0"/>
                  <a:pt x="9" y="0"/>
                </a:cubicBezTo>
                <a:lnTo>
                  <a:pt x="6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41" name="Freeform 475"/>
          <p:cNvSpPr>
            <a:spLocks/>
          </p:cNvSpPr>
          <p:nvPr userDrawn="1"/>
        </p:nvSpPr>
        <p:spPr bwMode="auto">
          <a:xfrm>
            <a:off x="5947958" y="3254175"/>
            <a:ext cx="28476" cy="48579"/>
          </a:xfrm>
          <a:custGeom>
            <a:avLst/>
            <a:gdLst>
              <a:gd name="T0" fmla="*/ 2147483646 w 31"/>
              <a:gd name="T1" fmla="*/ 0 h 53"/>
              <a:gd name="T2" fmla="*/ 2147483646 w 31"/>
              <a:gd name="T3" fmla="*/ 2147483646 h 53"/>
              <a:gd name="T4" fmla="*/ 2147483646 w 31"/>
              <a:gd name="T5" fmla="*/ 2147483646 h 53"/>
              <a:gd name="T6" fmla="*/ 2147483646 w 31"/>
              <a:gd name="T7" fmla="*/ 2147483646 h 53"/>
              <a:gd name="T8" fmla="*/ 2147483646 w 31"/>
              <a:gd name="T9" fmla="*/ 2147483646 h 53"/>
              <a:gd name="T10" fmla="*/ 2147483646 w 31"/>
              <a:gd name="T11" fmla="*/ 2147483646 h 53"/>
              <a:gd name="T12" fmla="*/ 2147483646 w 31"/>
              <a:gd name="T13" fmla="*/ 2147483646 h 53"/>
              <a:gd name="T14" fmla="*/ 2147483646 w 31"/>
              <a:gd name="T15" fmla="*/ 2147483646 h 53"/>
              <a:gd name="T16" fmla="*/ 2147483646 w 31"/>
              <a:gd name="T17" fmla="*/ 0 h 5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1"/>
              <a:gd name="T28" fmla="*/ 0 h 53"/>
              <a:gd name="T29" fmla="*/ 31 w 31"/>
              <a:gd name="T30" fmla="*/ 53 h 5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1" h="53">
                <a:moveTo>
                  <a:pt x="21" y="0"/>
                </a:moveTo>
                <a:cubicBezTo>
                  <a:pt x="12" y="3"/>
                  <a:pt x="8" y="5"/>
                  <a:pt x="6" y="14"/>
                </a:cubicBezTo>
                <a:cubicBezTo>
                  <a:pt x="4" y="23"/>
                  <a:pt x="0" y="23"/>
                  <a:pt x="3" y="31"/>
                </a:cubicBezTo>
                <a:cubicBezTo>
                  <a:pt x="7" y="39"/>
                  <a:pt x="5" y="36"/>
                  <a:pt x="3" y="44"/>
                </a:cubicBezTo>
                <a:cubicBezTo>
                  <a:pt x="2" y="53"/>
                  <a:pt x="14" y="53"/>
                  <a:pt x="16" y="44"/>
                </a:cubicBezTo>
                <a:cubicBezTo>
                  <a:pt x="19" y="36"/>
                  <a:pt x="16" y="28"/>
                  <a:pt x="19" y="23"/>
                </a:cubicBezTo>
                <a:cubicBezTo>
                  <a:pt x="21" y="18"/>
                  <a:pt x="22" y="11"/>
                  <a:pt x="25" y="11"/>
                </a:cubicBezTo>
                <a:cubicBezTo>
                  <a:pt x="28" y="11"/>
                  <a:pt x="31" y="2"/>
                  <a:pt x="31" y="2"/>
                </a:cubicBezTo>
                <a:lnTo>
                  <a:pt x="21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42" name="Freeform 476"/>
          <p:cNvSpPr>
            <a:spLocks/>
          </p:cNvSpPr>
          <p:nvPr userDrawn="1"/>
        </p:nvSpPr>
        <p:spPr bwMode="auto">
          <a:xfrm>
            <a:off x="5907755" y="3291027"/>
            <a:ext cx="11725" cy="43552"/>
          </a:xfrm>
          <a:custGeom>
            <a:avLst/>
            <a:gdLst>
              <a:gd name="T0" fmla="*/ 2147483646 w 13"/>
              <a:gd name="T1" fmla="*/ 0 h 48"/>
              <a:gd name="T2" fmla="*/ 2147483646 w 13"/>
              <a:gd name="T3" fmla="*/ 2147483646 h 48"/>
              <a:gd name="T4" fmla="*/ 2147483646 w 13"/>
              <a:gd name="T5" fmla="*/ 2147483646 h 48"/>
              <a:gd name="T6" fmla="*/ 2147483646 w 13"/>
              <a:gd name="T7" fmla="*/ 2147483646 h 48"/>
              <a:gd name="T8" fmla="*/ 2147483646 w 13"/>
              <a:gd name="T9" fmla="*/ 0 h 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48"/>
              <a:gd name="T17" fmla="*/ 13 w 13"/>
              <a:gd name="T18" fmla="*/ 48 h 4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48">
                <a:moveTo>
                  <a:pt x="12" y="0"/>
                </a:moveTo>
                <a:cubicBezTo>
                  <a:pt x="12" y="5"/>
                  <a:pt x="12" y="17"/>
                  <a:pt x="8" y="21"/>
                </a:cubicBezTo>
                <a:cubicBezTo>
                  <a:pt x="4" y="25"/>
                  <a:pt x="0" y="41"/>
                  <a:pt x="2" y="45"/>
                </a:cubicBezTo>
                <a:cubicBezTo>
                  <a:pt x="3" y="48"/>
                  <a:pt x="10" y="35"/>
                  <a:pt x="12" y="27"/>
                </a:cubicBezTo>
                <a:cubicBezTo>
                  <a:pt x="13" y="20"/>
                  <a:pt x="12" y="0"/>
                  <a:pt x="12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43" name="Freeform 477"/>
          <p:cNvSpPr>
            <a:spLocks/>
          </p:cNvSpPr>
          <p:nvPr userDrawn="1"/>
        </p:nvSpPr>
        <p:spPr bwMode="auto">
          <a:xfrm>
            <a:off x="6026686" y="3218999"/>
            <a:ext cx="45228" cy="35176"/>
          </a:xfrm>
          <a:custGeom>
            <a:avLst/>
            <a:gdLst>
              <a:gd name="T0" fmla="*/ 2147483646 w 49"/>
              <a:gd name="T1" fmla="*/ 2147483646 h 37"/>
              <a:gd name="T2" fmla="*/ 2147483646 w 49"/>
              <a:gd name="T3" fmla="*/ 2147483646 h 37"/>
              <a:gd name="T4" fmla="*/ 2147483646 w 49"/>
              <a:gd name="T5" fmla="*/ 2147483646 h 37"/>
              <a:gd name="T6" fmla="*/ 2147483646 w 49"/>
              <a:gd name="T7" fmla="*/ 2147483646 h 37"/>
              <a:gd name="T8" fmla="*/ 2147483646 w 49"/>
              <a:gd name="T9" fmla="*/ 2147483646 h 37"/>
              <a:gd name="T10" fmla="*/ 2147483646 w 49"/>
              <a:gd name="T11" fmla="*/ 2147483646 h 37"/>
              <a:gd name="T12" fmla="*/ 2147483646 w 49"/>
              <a:gd name="T13" fmla="*/ 2147483646 h 37"/>
              <a:gd name="T14" fmla="*/ 2147483646 w 49"/>
              <a:gd name="T15" fmla="*/ 2147483646 h 37"/>
              <a:gd name="T16" fmla="*/ 2147483646 w 49"/>
              <a:gd name="T17" fmla="*/ 2147483646 h 3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9"/>
              <a:gd name="T28" fmla="*/ 0 h 37"/>
              <a:gd name="T29" fmla="*/ 49 w 49"/>
              <a:gd name="T30" fmla="*/ 37 h 3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9" h="37">
                <a:moveTo>
                  <a:pt x="35" y="3"/>
                </a:moveTo>
                <a:cubicBezTo>
                  <a:pt x="28" y="1"/>
                  <a:pt x="26" y="0"/>
                  <a:pt x="23" y="10"/>
                </a:cubicBezTo>
                <a:cubicBezTo>
                  <a:pt x="19" y="19"/>
                  <a:pt x="20" y="15"/>
                  <a:pt x="15" y="19"/>
                </a:cubicBezTo>
                <a:cubicBezTo>
                  <a:pt x="10" y="22"/>
                  <a:pt x="0" y="19"/>
                  <a:pt x="7" y="26"/>
                </a:cubicBezTo>
                <a:cubicBezTo>
                  <a:pt x="14" y="33"/>
                  <a:pt x="15" y="37"/>
                  <a:pt x="21" y="35"/>
                </a:cubicBezTo>
                <a:cubicBezTo>
                  <a:pt x="26" y="34"/>
                  <a:pt x="24" y="27"/>
                  <a:pt x="28" y="31"/>
                </a:cubicBezTo>
                <a:cubicBezTo>
                  <a:pt x="32" y="35"/>
                  <a:pt x="32" y="28"/>
                  <a:pt x="36" y="24"/>
                </a:cubicBezTo>
                <a:cubicBezTo>
                  <a:pt x="39" y="20"/>
                  <a:pt x="41" y="15"/>
                  <a:pt x="45" y="14"/>
                </a:cubicBezTo>
                <a:cubicBezTo>
                  <a:pt x="49" y="13"/>
                  <a:pt x="38" y="4"/>
                  <a:pt x="35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44" name="Freeform 478"/>
          <p:cNvSpPr>
            <a:spLocks/>
          </p:cNvSpPr>
          <p:nvPr userDrawn="1"/>
        </p:nvSpPr>
        <p:spPr bwMode="auto">
          <a:xfrm>
            <a:off x="6046787" y="3198897"/>
            <a:ext cx="20101" cy="15075"/>
          </a:xfrm>
          <a:custGeom>
            <a:avLst/>
            <a:gdLst>
              <a:gd name="T0" fmla="*/ 2147483646 w 22"/>
              <a:gd name="T1" fmla="*/ 2147483646 h 17"/>
              <a:gd name="T2" fmla="*/ 2147483646 w 22"/>
              <a:gd name="T3" fmla="*/ 2147483646 h 17"/>
              <a:gd name="T4" fmla="*/ 2147483646 w 22"/>
              <a:gd name="T5" fmla="*/ 2147483646 h 17"/>
              <a:gd name="T6" fmla="*/ 2147483646 w 22"/>
              <a:gd name="T7" fmla="*/ 2147483646 h 17"/>
              <a:gd name="T8" fmla="*/ 2147483646 w 22"/>
              <a:gd name="T9" fmla="*/ 2147483646 h 17"/>
              <a:gd name="T10" fmla="*/ 2147483646 w 22"/>
              <a:gd name="T11" fmla="*/ 0 h 17"/>
              <a:gd name="T12" fmla="*/ 2147483646 w 22"/>
              <a:gd name="T13" fmla="*/ 2147483646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2"/>
              <a:gd name="T22" fmla="*/ 0 h 17"/>
              <a:gd name="T23" fmla="*/ 22 w 22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2" h="17">
                <a:moveTo>
                  <a:pt x="7" y="2"/>
                </a:moveTo>
                <a:cubicBezTo>
                  <a:pt x="4" y="5"/>
                  <a:pt x="0" y="7"/>
                  <a:pt x="2" y="11"/>
                </a:cubicBezTo>
                <a:cubicBezTo>
                  <a:pt x="5" y="16"/>
                  <a:pt x="9" y="16"/>
                  <a:pt x="11" y="16"/>
                </a:cubicBezTo>
                <a:cubicBezTo>
                  <a:pt x="14" y="17"/>
                  <a:pt x="15" y="16"/>
                  <a:pt x="18" y="14"/>
                </a:cubicBezTo>
                <a:cubicBezTo>
                  <a:pt x="20" y="13"/>
                  <a:pt x="22" y="6"/>
                  <a:pt x="22" y="6"/>
                </a:cubicBezTo>
                <a:cubicBezTo>
                  <a:pt x="22" y="6"/>
                  <a:pt x="19" y="0"/>
                  <a:pt x="15" y="0"/>
                </a:cubicBezTo>
                <a:cubicBezTo>
                  <a:pt x="11" y="0"/>
                  <a:pt x="7" y="2"/>
                  <a:pt x="7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45" name="Freeform 479"/>
          <p:cNvSpPr>
            <a:spLocks/>
          </p:cNvSpPr>
          <p:nvPr userDrawn="1"/>
        </p:nvSpPr>
        <p:spPr bwMode="auto">
          <a:xfrm>
            <a:off x="5979784" y="3136920"/>
            <a:ext cx="26801" cy="26801"/>
          </a:xfrm>
          <a:custGeom>
            <a:avLst/>
            <a:gdLst>
              <a:gd name="T0" fmla="*/ 2147483646 w 30"/>
              <a:gd name="T1" fmla="*/ 2147483646 h 29"/>
              <a:gd name="T2" fmla="*/ 2147483646 w 30"/>
              <a:gd name="T3" fmla="*/ 2147483646 h 29"/>
              <a:gd name="T4" fmla="*/ 2147483646 w 30"/>
              <a:gd name="T5" fmla="*/ 2147483646 h 29"/>
              <a:gd name="T6" fmla="*/ 2147483646 w 30"/>
              <a:gd name="T7" fmla="*/ 2147483646 h 29"/>
              <a:gd name="T8" fmla="*/ 2147483646 w 30"/>
              <a:gd name="T9" fmla="*/ 2147483646 h 29"/>
              <a:gd name="T10" fmla="*/ 2147483646 w 30"/>
              <a:gd name="T11" fmla="*/ 2147483646 h 2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"/>
              <a:gd name="T19" fmla="*/ 0 h 29"/>
              <a:gd name="T20" fmla="*/ 30 w 30"/>
              <a:gd name="T21" fmla="*/ 29 h 2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" h="29">
                <a:moveTo>
                  <a:pt x="14" y="1"/>
                </a:moveTo>
                <a:cubicBezTo>
                  <a:pt x="10" y="1"/>
                  <a:pt x="9" y="0"/>
                  <a:pt x="6" y="6"/>
                </a:cubicBezTo>
                <a:cubicBezTo>
                  <a:pt x="2" y="13"/>
                  <a:pt x="0" y="14"/>
                  <a:pt x="5" y="20"/>
                </a:cubicBezTo>
                <a:cubicBezTo>
                  <a:pt x="10" y="26"/>
                  <a:pt x="17" y="29"/>
                  <a:pt x="19" y="22"/>
                </a:cubicBezTo>
                <a:cubicBezTo>
                  <a:pt x="21" y="16"/>
                  <a:pt x="19" y="11"/>
                  <a:pt x="24" y="13"/>
                </a:cubicBezTo>
                <a:cubicBezTo>
                  <a:pt x="30" y="14"/>
                  <a:pt x="14" y="1"/>
                  <a:pt x="14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46" name="Freeform 480"/>
          <p:cNvSpPr>
            <a:spLocks/>
          </p:cNvSpPr>
          <p:nvPr userDrawn="1"/>
        </p:nvSpPr>
        <p:spPr bwMode="auto">
          <a:xfrm>
            <a:off x="5395176" y="3552342"/>
            <a:ext cx="314917" cy="311567"/>
          </a:xfrm>
          <a:custGeom>
            <a:avLst/>
            <a:gdLst>
              <a:gd name="T0" fmla="*/ 2147483646 w 336"/>
              <a:gd name="T1" fmla="*/ 2147483646 h 335"/>
              <a:gd name="T2" fmla="*/ 2147483646 w 336"/>
              <a:gd name="T3" fmla="*/ 2147483646 h 335"/>
              <a:gd name="T4" fmla="*/ 2147483646 w 336"/>
              <a:gd name="T5" fmla="*/ 2147483646 h 335"/>
              <a:gd name="T6" fmla="*/ 2147483646 w 336"/>
              <a:gd name="T7" fmla="*/ 2147483646 h 335"/>
              <a:gd name="T8" fmla="*/ 2147483646 w 336"/>
              <a:gd name="T9" fmla="*/ 2147483646 h 335"/>
              <a:gd name="T10" fmla="*/ 2147483646 w 336"/>
              <a:gd name="T11" fmla="*/ 2147483646 h 335"/>
              <a:gd name="T12" fmla="*/ 2147483646 w 336"/>
              <a:gd name="T13" fmla="*/ 2147483646 h 335"/>
              <a:gd name="T14" fmla="*/ 2147483646 w 336"/>
              <a:gd name="T15" fmla="*/ 2147483646 h 335"/>
              <a:gd name="T16" fmla="*/ 2147483646 w 336"/>
              <a:gd name="T17" fmla="*/ 2147483646 h 335"/>
              <a:gd name="T18" fmla="*/ 2147483646 w 336"/>
              <a:gd name="T19" fmla="*/ 2147483646 h 335"/>
              <a:gd name="T20" fmla="*/ 2147483646 w 336"/>
              <a:gd name="T21" fmla="*/ 2147483646 h 335"/>
              <a:gd name="T22" fmla="*/ 2147483646 w 336"/>
              <a:gd name="T23" fmla="*/ 2147483646 h 335"/>
              <a:gd name="T24" fmla="*/ 2147483646 w 336"/>
              <a:gd name="T25" fmla="*/ 2147483646 h 335"/>
              <a:gd name="T26" fmla="*/ 2147483646 w 336"/>
              <a:gd name="T27" fmla="*/ 2147483646 h 335"/>
              <a:gd name="T28" fmla="*/ 2147483646 w 336"/>
              <a:gd name="T29" fmla="*/ 2147483646 h 335"/>
              <a:gd name="T30" fmla="*/ 2147483646 w 336"/>
              <a:gd name="T31" fmla="*/ 2147483646 h 335"/>
              <a:gd name="T32" fmla="*/ 2147483646 w 336"/>
              <a:gd name="T33" fmla="*/ 0 h 335"/>
              <a:gd name="T34" fmla="*/ 2147483646 w 336"/>
              <a:gd name="T35" fmla="*/ 2147483646 h 335"/>
              <a:gd name="T36" fmla="*/ 2147483646 w 336"/>
              <a:gd name="T37" fmla="*/ 2147483646 h 335"/>
              <a:gd name="T38" fmla="*/ 2147483646 w 336"/>
              <a:gd name="T39" fmla="*/ 2147483646 h 335"/>
              <a:gd name="T40" fmla="*/ 2147483646 w 336"/>
              <a:gd name="T41" fmla="*/ 2147483646 h 335"/>
              <a:gd name="T42" fmla="*/ 2147483646 w 336"/>
              <a:gd name="T43" fmla="*/ 2147483646 h 335"/>
              <a:gd name="T44" fmla="*/ 2147483646 w 336"/>
              <a:gd name="T45" fmla="*/ 2147483646 h 335"/>
              <a:gd name="T46" fmla="*/ 2147483646 w 336"/>
              <a:gd name="T47" fmla="*/ 2147483646 h 335"/>
              <a:gd name="T48" fmla="*/ 2147483646 w 336"/>
              <a:gd name="T49" fmla="*/ 2147483646 h 335"/>
              <a:gd name="T50" fmla="*/ 2147483646 w 336"/>
              <a:gd name="T51" fmla="*/ 2147483646 h 335"/>
              <a:gd name="T52" fmla="*/ 2147483646 w 336"/>
              <a:gd name="T53" fmla="*/ 2147483646 h 335"/>
              <a:gd name="T54" fmla="*/ 2147483646 w 336"/>
              <a:gd name="T55" fmla="*/ 2147483646 h 335"/>
              <a:gd name="T56" fmla="*/ 2147483646 w 336"/>
              <a:gd name="T57" fmla="*/ 2147483646 h 335"/>
              <a:gd name="T58" fmla="*/ 2147483646 w 336"/>
              <a:gd name="T59" fmla="*/ 2147483646 h 335"/>
              <a:gd name="T60" fmla="*/ 2147483646 w 336"/>
              <a:gd name="T61" fmla="*/ 2147483646 h 335"/>
              <a:gd name="T62" fmla="*/ 2147483646 w 336"/>
              <a:gd name="T63" fmla="*/ 2147483646 h 335"/>
              <a:gd name="T64" fmla="*/ 2147483646 w 336"/>
              <a:gd name="T65" fmla="*/ 2147483646 h 335"/>
              <a:gd name="T66" fmla="*/ 2147483646 w 336"/>
              <a:gd name="T67" fmla="*/ 2147483646 h 335"/>
              <a:gd name="T68" fmla="*/ 2147483646 w 336"/>
              <a:gd name="T69" fmla="*/ 2147483646 h 335"/>
              <a:gd name="T70" fmla="*/ 2147483646 w 336"/>
              <a:gd name="T71" fmla="*/ 2147483646 h 335"/>
              <a:gd name="T72" fmla="*/ 2147483646 w 336"/>
              <a:gd name="T73" fmla="*/ 2147483646 h 335"/>
              <a:gd name="T74" fmla="*/ 2147483646 w 336"/>
              <a:gd name="T75" fmla="*/ 2147483646 h 335"/>
              <a:gd name="T76" fmla="*/ 2147483646 w 336"/>
              <a:gd name="T77" fmla="*/ 2147483646 h 335"/>
              <a:gd name="T78" fmla="*/ 2147483646 w 336"/>
              <a:gd name="T79" fmla="*/ 2147483646 h 335"/>
              <a:gd name="T80" fmla="*/ 2147483646 w 336"/>
              <a:gd name="T81" fmla="*/ 2147483646 h 335"/>
              <a:gd name="T82" fmla="*/ 2147483646 w 336"/>
              <a:gd name="T83" fmla="*/ 2147483646 h 335"/>
              <a:gd name="T84" fmla="*/ 2147483646 w 336"/>
              <a:gd name="T85" fmla="*/ 2147483646 h 335"/>
              <a:gd name="T86" fmla="*/ 2147483646 w 336"/>
              <a:gd name="T87" fmla="*/ 2147483646 h 335"/>
              <a:gd name="T88" fmla="*/ 2147483646 w 336"/>
              <a:gd name="T89" fmla="*/ 2147483646 h 335"/>
              <a:gd name="T90" fmla="*/ 2147483646 w 336"/>
              <a:gd name="T91" fmla="*/ 2147483646 h 335"/>
              <a:gd name="T92" fmla="*/ 2147483646 w 336"/>
              <a:gd name="T93" fmla="*/ 2147483646 h 335"/>
              <a:gd name="T94" fmla="*/ 2147483646 w 336"/>
              <a:gd name="T95" fmla="*/ 2147483646 h 335"/>
              <a:gd name="T96" fmla="*/ 2147483646 w 336"/>
              <a:gd name="T97" fmla="*/ 2147483646 h 335"/>
              <a:gd name="T98" fmla="*/ 2147483646 w 336"/>
              <a:gd name="T99" fmla="*/ 2147483646 h 335"/>
              <a:gd name="T100" fmla="*/ 2147483646 w 336"/>
              <a:gd name="T101" fmla="*/ 2147483646 h 335"/>
              <a:gd name="T102" fmla="*/ 2147483646 w 336"/>
              <a:gd name="T103" fmla="*/ 2147483646 h 33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336"/>
              <a:gd name="T157" fmla="*/ 0 h 335"/>
              <a:gd name="T158" fmla="*/ 336 w 336"/>
              <a:gd name="T159" fmla="*/ 335 h 33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336" h="335">
                <a:moveTo>
                  <a:pt x="327" y="286"/>
                </a:moveTo>
                <a:cubicBezTo>
                  <a:pt x="330" y="280"/>
                  <a:pt x="332" y="271"/>
                  <a:pt x="325" y="267"/>
                </a:cubicBezTo>
                <a:cubicBezTo>
                  <a:pt x="322" y="265"/>
                  <a:pt x="316" y="267"/>
                  <a:pt x="314" y="264"/>
                </a:cubicBezTo>
                <a:cubicBezTo>
                  <a:pt x="313" y="263"/>
                  <a:pt x="316" y="260"/>
                  <a:pt x="315" y="258"/>
                </a:cubicBezTo>
                <a:cubicBezTo>
                  <a:pt x="314" y="255"/>
                  <a:pt x="312" y="255"/>
                  <a:pt x="311" y="254"/>
                </a:cubicBezTo>
                <a:cubicBezTo>
                  <a:pt x="304" y="244"/>
                  <a:pt x="310" y="237"/>
                  <a:pt x="313" y="227"/>
                </a:cubicBezTo>
                <a:cubicBezTo>
                  <a:pt x="316" y="220"/>
                  <a:pt x="316" y="217"/>
                  <a:pt x="314" y="210"/>
                </a:cubicBezTo>
                <a:cubicBezTo>
                  <a:pt x="312" y="205"/>
                  <a:pt x="314" y="195"/>
                  <a:pt x="311" y="191"/>
                </a:cubicBezTo>
                <a:cubicBezTo>
                  <a:pt x="306" y="184"/>
                  <a:pt x="297" y="195"/>
                  <a:pt x="291" y="194"/>
                </a:cubicBezTo>
                <a:cubicBezTo>
                  <a:pt x="282" y="192"/>
                  <a:pt x="286" y="185"/>
                  <a:pt x="290" y="180"/>
                </a:cubicBezTo>
                <a:cubicBezTo>
                  <a:pt x="294" y="174"/>
                  <a:pt x="299" y="167"/>
                  <a:pt x="302" y="160"/>
                </a:cubicBezTo>
                <a:cubicBezTo>
                  <a:pt x="304" y="156"/>
                  <a:pt x="303" y="150"/>
                  <a:pt x="306" y="147"/>
                </a:cubicBezTo>
                <a:cubicBezTo>
                  <a:pt x="309" y="144"/>
                  <a:pt x="313" y="145"/>
                  <a:pt x="315" y="143"/>
                </a:cubicBezTo>
                <a:cubicBezTo>
                  <a:pt x="323" y="139"/>
                  <a:pt x="321" y="132"/>
                  <a:pt x="321" y="123"/>
                </a:cubicBezTo>
                <a:cubicBezTo>
                  <a:pt x="321" y="118"/>
                  <a:pt x="321" y="112"/>
                  <a:pt x="323" y="107"/>
                </a:cubicBezTo>
                <a:cubicBezTo>
                  <a:pt x="325" y="100"/>
                  <a:pt x="329" y="96"/>
                  <a:pt x="332" y="91"/>
                </a:cubicBezTo>
                <a:cubicBezTo>
                  <a:pt x="334" y="87"/>
                  <a:pt x="336" y="81"/>
                  <a:pt x="334" y="79"/>
                </a:cubicBezTo>
                <a:cubicBezTo>
                  <a:pt x="334" y="79"/>
                  <a:pt x="327" y="79"/>
                  <a:pt x="326" y="78"/>
                </a:cubicBezTo>
                <a:cubicBezTo>
                  <a:pt x="320" y="77"/>
                  <a:pt x="315" y="74"/>
                  <a:pt x="309" y="73"/>
                </a:cubicBezTo>
                <a:cubicBezTo>
                  <a:pt x="305" y="73"/>
                  <a:pt x="302" y="73"/>
                  <a:pt x="299" y="71"/>
                </a:cubicBezTo>
                <a:cubicBezTo>
                  <a:pt x="296" y="69"/>
                  <a:pt x="296" y="66"/>
                  <a:pt x="292" y="65"/>
                </a:cubicBezTo>
                <a:cubicBezTo>
                  <a:pt x="285" y="64"/>
                  <a:pt x="279" y="68"/>
                  <a:pt x="271" y="65"/>
                </a:cubicBezTo>
                <a:cubicBezTo>
                  <a:pt x="267" y="62"/>
                  <a:pt x="263" y="59"/>
                  <a:pt x="261" y="55"/>
                </a:cubicBezTo>
                <a:cubicBezTo>
                  <a:pt x="259" y="52"/>
                  <a:pt x="258" y="46"/>
                  <a:pt x="257" y="45"/>
                </a:cubicBezTo>
                <a:cubicBezTo>
                  <a:pt x="252" y="41"/>
                  <a:pt x="247" y="51"/>
                  <a:pt x="242" y="44"/>
                </a:cubicBezTo>
                <a:cubicBezTo>
                  <a:pt x="237" y="38"/>
                  <a:pt x="237" y="33"/>
                  <a:pt x="230" y="30"/>
                </a:cubicBezTo>
                <a:cubicBezTo>
                  <a:pt x="227" y="28"/>
                  <a:pt x="226" y="29"/>
                  <a:pt x="223" y="28"/>
                </a:cubicBezTo>
                <a:cubicBezTo>
                  <a:pt x="220" y="27"/>
                  <a:pt x="220" y="28"/>
                  <a:pt x="217" y="25"/>
                </a:cubicBezTo>
                <a:cubicBezTo>
                  <a:pt x="212" y="19"/>
                  <a:pt x="215" y="15"/>
                  <a:pt x="206" y="14"/>
                </a:cubicBezTo>
                <a:cubicBezTo>
                  <a:pt x="201" y="14"/>
                  <a:pt x="203" y="17"/>
                  <a:pt x="199" y="12"/>
                </a:cubicBezTo>
                <a:cubicBezTo>
                  <a:pt x="197" y="9"/>
                  <a:pt x="196" y="5"/>
                  <a:pt x="195" y="2"/>
                </a:cubicBezTo>
                <a:cubicBezTo>
                  <a:pt x="195" y="2"/>
                  <a:pt x="195" y="2"/>
                  <a:pt x="195" y="2"/>
                </a:cubicBezTo>
                <a:cubicBezTo>
                  <a:pt x="194" y="1"/>
                  <a:pt x="194" y="1"/>
                  <a:pt x="194" y="1"/>
                </a:cubicBezTo>
                <a:cubicBezTo>
                  <a:pt x="193" y="1"/>
                  <a:pt x="193" y="0"/>
                  <a:pt x="193" y="0"/>
                </a:cubicBezTo>
                <a:cubicBezTo>
                  <a:pt x="190" y="0"/>
                  <a:pt x="183" y="5"/>
                  <a:pt x="178" y="5"/>
                </a:cubicBezTo>
                <a:cubicBezTo>
                  <a:pt x="173" y="6"/>
                  <a:pt x="169" y="8"/>
                  <a:pt x="170" y="16"/>
                </a:cubicBezTo>
                <a:cubicBezTo>
                  <a:pt x="171" y="24"/>
                  <a:pt x="180" y="28"/>
                  <a:pt x="171" y="34"/>
                </a:cubicBezTo>
                <a:cubicBezTo>
                  <a:pt x="161" y="39"/>
                  <a:pt x="164" y="44"/>
                  <a:pt x="156" y="47"/>
                </a:cubicBezTo>
                <a:cubicBezTo>
                  <a:pt x="148" y="50"/>
                  <a:pt x="135" y="49"/>
                  <a:pt x="135" y="57"/>
                </a:cubicBezTo>
                <a:cubicBezTo>
                  <a:pt x="136" y="66"/>
                  <a:pt x="137" y="65"/>
                  <a:pt x="139" y="68"/>
                </a:cubicBezTo>
                <a:cubicBezTo>
                  <a:pt x="142" y="70"/>
                  <a:pt x="139" y="68"/>
                  <a:pt x="131" y="70"/>
                </a:cubicBezTo>
                <a:cubicBezTo>
                  <a:pt x="123" y="72"/>
                  <a:pt x="113" y="74"/>
                  <a:pt x="108" y="72"/>
                </a:cubicBezTo>
                <a:cubicBezTo>
                  <a:pt x="103" y="71"/>
                  <a:pt x="97" y="76"/>
                  <a:pt x="97" y="69"/>
                </a:cubicBezTo>
                <a:cubicBezTo>
                  <a:pt x="98" y="62"/>
                  <a:pt x="102" y="54"/>
                  <a:pt x="95" y="59"/>
                </a:cubicBezTo>
                <a:cubicBezTo>
                  <a:pt x="88" y="64"/>
                  <a:pt x="87" y="69"/>
                  <a:pt x="84" y="64"/>
                </a:cubicBezTo>
                <a:cubicBezTo>
                  <a:pt x="82" y="58"/>
                  <a:pt x="81" y="49"/>
                  <a:pt x="78" y="54"/>
                </a:cubicBezTo>
                <a:cubicBezTo>
                  <a:pt x="76" y="60"/>
                  <a:pt x="74" y="61"/>
                  <a:pt x="80" y="68"/>
                </a:cubicBezTo>
                <a:cubicBezTo>
                  <a:pt x="86" y="75"/>
                  <a:pt x="89" y="76"/>
                  <a:pt x="90" y="83"/>
                </a:cubicBezTo>
                <a:cubicBezTo>
                  <a:pt x="91" y="90"/>
                  <a:pt x="92" y="99"/>
                  <a:pt x="94" y="101"/>
                </a:cubicBezTo>
                <a:cubicBezTo>
                  <a:pt x="97" y="102"/>
                  <a:pt x="90" y="107"/>
                  <a:pt x="85" y="103"/>
                </a:cubicBezTo>
                <a:cubicBezTo>
                  <a:pt x="81" y="99"/>
                  <a:pt x="81" y="91"/>
                  <a:pt x="75" y="98"/>
                </a:cubicBezTo>
                <a:cubicBezTo>
                  <a:pt x="70" y="105"/>
                  <a:pt x="68" y="98"/>
                  <a:pt x="64" y="102"/>
                </a:cubicBezTo>
                <a:cubicBezTo>
                  <a:pt x="59" y="106"/>
                  <a:pt x="60" y="97"/>
                  <a:pt x="56" y="101"/>
                </a:cubicBezTo>
                <a:cubicBezTo>
                  <a:pt x="52" y="105"/>
                  <a:pt x="52" y="99"/>
                  <a:pt x="48" y="97"/>
                </a:cubicBezTo>
                <a:cubicBezTo>
                  <a:pt x="44" y="94"/>
                  <a:pt x="43" y="90"/>
                  <a:pt x="39" y="94"/>
                </a:cubicBezTo>
                <a:cubicBezTo>
                  <a:pt x="36" y="99"/>
                  <a:pt x="34" y="98"/>
                  <a:pt x="30" y="101"/>
                </a:cubicBezTo>
                <a:cubicBezTo>
                  <a:pt x="27" y="104"/>
                  <a:pt x="34" y="104"/>
                  <a:pt x="21" y="104"/>
                </a:cubicBezTo>
                <a:cubicBezTo>
                  <a:pt x="8" y="104"/>
                  <a:pt x="0" y="104"/>
                  <a:pt x="7" y="108"/>
                </a:cubicBezTo>
                <a:cubicBezTo>
                  <a:pt x="14" y="112"/>
                  <a:pt x="22" y="112"/>
                  <a:pt x="20" y="113"/>
                </a:cubicBezTo>
                <a:cubicBezTo>
                  <a:pt x="14" y="118"/>
                  <a:pt x="11" y="112"/>
                  <a:pt x="11" y="117"/>
                </a:cubicBezTo>
                <a:cubicBezTo>
                  <a:pt x="11" y="122"/>
                  <a:pt x="17" y="123"/>
                  <a:pt x="17" y="123"/>
                </a:cubicBezTo>
                <a:cubicBezTo>
                  <a:pt x="17" y="123"/>
                  <a:pt x="7" y="120"/>
                  <a:pt x="10" y="126"/>
                </a:cubicBezTo>
                <a:cubicBezTo>
                  <a:pt x="12" y="131"/>
                  <a:pt x="14" y="130"/>
                  <a:pt x="21" y="132"/>
                </a:cubicBezTo>
                <a:cubicBezTo>
                  <a:pt x="29" y="135"/>
                  <a:pt x="29" y="132"/>
                  <a:pt x="33" y="132"/>
                </a:cubicBezTo>
                <a:cubicBezTo>
                  <a:pt x="36" y="132"/>
                  <a:pt x="38" y="127"/>
                  <a:pt x="41" y="135"/>
                </a:cubicBezTo>
                <a:cubicBezTo>
                  <a:pt x="44" y="142"/>
                  <a:pt x="49" y="147"/>
                  <a:pt x="53" y="143"/>
                </a:cubicBezTo>
                <a:cubicBezTo>
                  <a:pt x="58" y="139"/>
                  <a:pt x="62" y="129"/>
                  <a:pt x="64" y="138"/>
                </a:cubicBezTo>
                <a:cubicBezTo>
                  <a:pt x="66" y="148"/>
                  <a:pt x="62" y="153"/>
                  <a:pt x="67" y="151"/>
                </a:cubicBezTo>
                <a:cubicBezTo>
                  <a:pt x="72" y="149"/>
                  <a:pt x="68" y="147"/>
                  <a:pt x="71" y="157"/>
                </a:cubicBezTo>
                <a:cubicBezTo>
                  <a:pt x="75" y="168"/>
                  <a:pt x="67" y="160"/>
                  <a:pt x="75" y="168"/>
                </a:cubicBezTo>
                <a:cubicBezTo>
                  <a:pt x="82" y="175"/>
                  <a:pt x="78" y="174"/>
                  <a:pt x="86" y="179"/>
                </a:cubicBezTo>
                <a:cubicBezTo>
                  <a:pt x="94" y="185"/>
                  <a:pt x="104" y="200"/>
                  <a:pt x="106" y="205"/>
                </a:cubicBezTo>
                <a:cubicBezTo>
                  <a:pt x="107" y="209"/>
                  <a:pt x="97" y="208"/>
                  <a:pt x="105" y="216"/>
                </a:cubicBezTo>
                <a:cubicBezTo>
                  <a:pt x="113" y="224"/>
                  <a:pt x="113" y="231"/>
                  <a:pt x="116" y="242"/>
                </a:cubicBezTo>
                <a:cubicBezTo>
                  <a:pt x="118" y="252"/>
                  <a:pt x="104" y="216"/>
                  <a:pt x="103" y="224"/>
                </a:cubicBezTo>
                <a:cubicBezTo>
                  <a:pt x="101" y="232"/>
                  <a:pt x="97" y="241"/>
                  <a:pt x="100" y="250"/>
                </a:cubicBezTo>
                <a:cubicBezTo>
                  <a:pt x="103" y="260"/>
                  <a:pt x="100" y="260"/>
                  <a:pt x="98" y="266"/>
                </a:cubicBezTo>
                <a:cubicBezTo>
                  <a:pt x="96" y="272"/>
                  <a:pt x="100" y="297"/>
                  <a:pt x="87" y="298"/>
                </a:cubicBezTo>
                <a:cubicBezTo>
                  <a:pt x="87" y="298"/>
                  <a:pt x="86" y="298"/>
                  <a:pt x="85" y="299"/>
                </a:cubicBezTo>
                <a:cubicBezTo>
                  <a:pt x="86" y="299"/>
                  <a:pt x="86" y="299"/>
                  <a:pt x="86" y="299"/>
                </a:cubicBezTo>
                <a:cubicBezTo>
                  <a:pt x="88" y="301"/>
                  <a:pt x="90" y="301"/>
                  <a:pt x="92" y="303"/>
                </a:cubicBezTo>
                <a:cubicBezTo>
                  <a:pt x="94" y="305"/>
                  <a:pt x="95" y="307"/>
                  <a:pt x="98" y="309"/>
                </a:cubicBezTo>
                <a:cubicBezTo>
                  <a:pt x="101" y="312"/>
                  <a:pt x="105" y="312"/>
                  <a:pt x="109" y="314"/>
                </a:cubicBezTo>
                <a:cubicBezTo>
                  <a:pt x="113" y="316"/>
                  <a:pt x="115" y="319"/>
                  <a:pt x="120" y="320"/>
                </a:cubicBezTo>
                <a:cubicBezTo>
                  <a:pt x="123" y="320"/>
                  <a:pt x="127" y="320"/>
                  <a:pt x="130" y="321"/>
                </a:cubicBezTo>
                <a:cubicBezTo>
                  <a:pt x="132" y="321"/>
                  <a:pt x="133" y="323"/>
                  <a:pt x="135" y="323"/>
                </a:cubicBezTo>
                <a:cubicBezTo>
                  <a:pt x="137" y="324"/>
                  <a:pt x="139" y="324"/>
                  <a:pt x="142" y="324"/>
                </a:cubicBezTo>
                <a:cubicBezTo>
                  <a:pt x="143" y="324"/>
                  <a:pt x="146" y="325"/>
                  <a:pt x="148" y="324"/>
                </a:cubicBezTo>
                <a:cubicBezTo>
                  <a:pt x="149" y="324"/>
                  <a:pt x="151" y="322"/>
                  <a:pt x="153" y="321"/>
                </a:cubicBezTo>
                <a:cubicBezTo>
                  <a:pt x="162" y="317"/>
                  <a:pt x="164" y="327"/>
                  <a:pt x="171" y="330"/>
                </a:cubicBezTo>
                <a:cubicBezTo>
                  <a:pt x="175" y="331"/>
                  <a:pt x="179" y="330"/>
                  <a:pt x="182" y="331"/>
                </a:cubicBezTo>
                <a:cubicBezTo>
                  <a:pt x="186" y="332"/>
                  <a:pt x="190" y="335"/>
                  <a:pt x="194" y="335"/>
                </a:cubicBezTo>
                <a:cubicBezTo>
                  <a:pt x="196" y="334"/>
                  <a:pt x="197" y="332"/>
                  <a:pt x="200" y="332"/>
                </a:cubicBezTo>
                <a:cubicBezTo>
                  <a:pt x="201" y="331"/>
                  <a:pt x="203" y="332"/>
                  <a:pt x="205" y="332"/>
                </a:cubicBezTo>
                <a:cubicBezTo>
                  <a:pt x="207" y="332"/>
                  <a:pt x="211" y="330"/>
                  <a:pt x="212" y="331"/>
                </a:cubicBezTo>
                <a:cubicBezTo>
                  <a:pt x="213" y="331"/>
                  <a:pt x="213" y="331"/>
                  <a:pt x="213" y="331"/>
                </a:cubicBezTo>
                <a:cubicBezTo>
                  <a:pt x="210" y="326"/>
                  <a:pt x="207" y="319"/>
                  <a:pt x="208" y="315"/>
                </a:cubicBezTo>
                <a:cubicBezTo>
                  <a:pt x="210" y="310"/>
                  <a:pt x="206" y="305"/>
                  <a:pt x="214" y="304"/>
                </a:cubicBezTo>
                <a:cubicBezTo>
                  <a:pt x="222" y="303"/>
                  <a:pt x="227" y="288"/>
                  <a:pt x="237" y="294"/>
                </a:cubicBezTo>
                <a:cubicBezTo>
                  <a:pt x="247" y="300"/>
                  <a:pt x="250" y="307"/>
                  <a:pt x="254" y="301"/>
                </a:cubicBezTo>
                <a:cubicBezTo>
                  <a:pt x="258" y="295"/>
                  <a:pt x="261" y="297"/>
                  <a:pt x="267" y="303"/>
                </a:cubicBezTo>
                <a:cubicBezTo>
                  <a:pt x="274" y="309"/>
                  <a:pt x="281" y="313"/>
                  <a:pt x="289" y="311"/>
                </a:cubicBezTo>
                <a:cubicBezTo>
                  <a:pt x="296" y="309"/>
                  <a:pt x="305" y="303"/>
                  <a:pt x="309" y="297"/>
                </a:cubicBezTo>
                <a:cubicBezTo>
                  <a:pt x="312" y="293"/>
                  <a:pt x="320" y="288"/>
                  <a:pt x="326" y="286"/>
                </a:cubicBezTo>
                <a:cubicBezTo>
                  <a:pt x="327" y="286"/>
                  <a:pt x="327" y="286"/>
                  <a:pt x="327" y="28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47" name="Freeform 481"/>
          <p:cNvSpPr>
            <a:spLocks/>
          </p:cNvSpPr>
          <p:nvPr userDrawn="1"/>
        </p:nvSpPr>
        <p:spPr bwMode="auto">
          <a:xfrm>
            <a:off x="5282945" y="3872284"/>
            <a:ext cx="83755" cy="169184"/>
          </a:xfrm>
          <a:custGeom>
            <a:avLst/>
            <a:gdLst>
              <a:gd name="T0" fmla="*/ 2147483646 w 90"/>
              <a:gd name="T1" fmla="*/ 2147483646 h 181"/>
              <a:gd name="T2" fmla="*/ 2147483646 w 90"/>
              <a:gd name="T3" fmla="*/ 2147483646 h 181"/>
              <a:gd name="T4" fmla="*/ 2147483646 w 90"/>
              <a:gd name="T5" fmla="*/ 2147483646 h 181"/>
              <a:gd name="T6" fmla="*/ 2147483646 w 90"/>
              <a:gd name="T7" fmla="*/ 2147483646 h 181"/>
              <a:gd name="T8" fmla="*/ 2147483646 w 90"/>
              <a:gd name="T9" fmla="*/ 2147483646 h 181"/>
              <a:gd name="T10" fmla="*/ 2147483646 w 90"/>
              <a:gd name="T11" fmla="*/ 2147483646 h 181"/>
              <a:gd name="T12" fmla="*/ 2147483646 w 90"/>
              <a:gd name="T13" fmla="*/ 2147483646 h 181"/>
              <a:gd name="T14" fmla="*/ 2147483646 w 90"/>
              <a:gd name="T15" fmla="*/ 2147483646 h 181"/>
              <a:gd name="T16" fmla="*/ 2147483646 w 90"/>
              <a:gd name="T17" fmla="*/ 2147483646 h 181"/>
              <a:gd name="T18" fmla="*/ 2147483646 w 90"/>
              <a:gd name="T19" fmla="*/ 2147483646 h 181"/>
              <a:gd name="T20" fmla="*/ 2147483646 w 90"/>
              <a:gd name="T21" fmla="*/ 2147483646 h 181"/>
              <a:gd name="T22" fmla="*/ 2147483646 w 90"/>
              <a:gd name="T23" fmla="*/ 2147483646 h 181"/>
              <a:gd name="T24" fmla="*/ 2147483646 w 90"/>
              <a:gd name="T25" fmla="*/ 2147483646 h 181"/>
              <a:gd name="T26" fmla="*/ 2147483646 w 90"/>
              <a:gd name="T27" fmla="*/ 2147483646 h 181"/>
              <a:gd name="T28" fmla="*/ 2147483646 w 90"/>
              <a:gd name="T29" fmla="*/ 2147483646 h 181"/>
              <a:gd name="T30" fmla="*/ 2147483646 w 90"/>
              <a:gd name="T31" fmla="*/ 2147483646 h 181"/>
              <a:gd name="T32" fmla="*/ 2147483646 w 90"/>
              <a:gd name="T33" fmla="*/ 2147483646 h 181"/>
              <a:gd name="T34" fmla="*/ 2147483646 w 90"/>
              <a:gd name="T35" fmla="*/ 2147483646 h 181"/>
              <a:gd name="T36" fmla="*/ 2147483646 w 90"/>
              <a:gd name="T37" fmla="*/ 2147483646 h 181"/>
              <a:gd name="T38" fmla="*/ 2147483646 w 90"/>
              <a:gd name="T39" fmla="*/ 2147483646 h 181"/>
              <a:gd name="T40" fmla="*/ 2147483646 w 90"/>
              <a:gd name="T41" fmla="*/ 2147483646 h 181"/>
              <a:gd name="T42" fmla="*/ 2147483646 w 90"/>
              <a:gd name="T43" fmla="*/ 2147483646 h 181"/>
              <a:gd name="T44" fmla="*/ 2147483646 w 90"/>
              <a:gd name="T45" fmla="*/ 2147483646 h 181"/>
              <a:gd name="T46" fmla="*/ 2147483646 w 90"/>
              <a:gd name="T47" fmla="*/ 2147483646 h 181"/>
              <a:gd name="T48" fmla="*/ 2147483646 w 90"/>
              <a:gd name="T49" fmla="*/ 2147483646 h 181"/>
              <a:gd name="T50" fmla="*/ 2147483646 w 90"/>
              <a:gd name="T51" fmla="*/ 2147483646 h 181"/>
              <a:gd name="T52" fmla="*/ 2147483646 w 90"/>
              <a:gd name="T53" fmla="*/ 2147483646 h 181"/>
              <a:gd name="T54" fmla="*/ 2147483646 w 90"/>
              <a:gd name="T55" fmla="*/ 2147483646 h 181"/>
              <a:gd name="T56" fmla="*/ 2147483646 w 90"/>
              <a:gd name="T57" fmla="*/ 2147483646 h 181"/>
              <a:gd name="T58" fmla="*/ 2147483646 w 90"/>
              <a:gd name="T59" fmla="*/ 2147483646 h 181"/>
              <a:gd name="T60" fmla="*/ 2147483646 w 90"/>
              <a:gd name="T61" fmla="*/ 2147483646 h 181"/>
              <a:gd name="T62" fmla="*/ 2147483646 w 90"/>
              <a:gd name="T63" fmla="*/ 2147483646 h 181"/>
              <a:gd name="T64" fmla="*/ 2147483646 w 90"/>
              <a:gd name="T65" fmla="*/ 2147483646 h 181"/>
              <a:gd name="T66" fmla="*/ 2147483646 w 90"/>
              <a:gd name="T67" fmla="*/ 2147483646 h 181"/>
              <a:gd name="T68" fmla="*/ 2147483646 w 90"/>
              <a:gd name="T69" fmla="*/ 2147483646 h 181"/>
              <a:gd name="T70" fmla="*/ 2147483646 w 90"/>
              <a:gd name="T71" fmla="*/ 2147483646 h 181"/>
              <a:gd name="T72" fmla="*/ 2147483646 w 90"/>
              <a:gd name="T73" fmla="*/ 2147483646 h 18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90"/>
              <a:gd name="T112" fmla="*/ 0 h 181"/>
              <a:gd name="T113" fmla="*/ 90 w 90"/>
              <a:gd name="T114" fmla="*/ 181 h 181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90" h="181">
                <a:moveTo>
                  <a:pt x="62" y="172"/>
                </a:moveTo>
                <a:cubicBezTo>
                  <a:pt x="62" y="173"/>
                  <a:pt x="61" y="174"/>
                  <a:pt x="60" y="175"/>
                </a:cubicBezTo>
                <a:cubicBezTo>
                  <a:pt x="55" y="180"/>
                  <a:pt x="57" y="179"/>
                  <a:pt x="48" y="174"/>
                </a:cubicBezTo>
                <a:cubicBezTo>
                  <a:pt x="40" y="168"/>
                  <a:pt x="40" y="170"/>
                  <a:pt x="27" y="175"/>
                </a:cubicBezTo>
                <a:cubicBezTo>
                  <a:pt x="14" y="181"/>
                  <a:pt x="24" y="164"/>
                  <a:pt x="24" y="164"/>
                </a:cubicBezTo>
                <a:cubicBezTo>
                  <a:pt x="24" y="164"/>
                  <a:pt x="26" y="155"/>
                  <a:pt x="26" y="150"/>
                </a:cubicBezTo>
                <a:cubicBezTo>
                  <a:pt x="26" y="144"/>
                  <a:pt x="26" y="143"/>
                  <a:pt x="24" y="139"/>
                </a:cubicBezTo>
                <a:cubicBezTo>
                  <a:pt x="22" y="135"/>
                  <a:pt x="25" y="132"/>
                  <a:pt x="23" y="124"/>
                </a:cubicBezTo>
                <a:cubicBezTo>
                  <a:pt x="20" y="115"/>
                  <a:pt x="19" y="130"/>
                  <a:pt x="17" y="119"/>
                </a:cubicBezTo>
                <a:cubicBezTo>
                  <a:pt x="16" y="108"/>
                  <a:pt x="14" y="120"/>
                  <a:pt x="7" y="119"/>
                </a:cubicBezTo>
                <a:cubicBezTo>
                  <a:pt x="0" y="117"/>
                  <a:pt x="7" y="113"/>
                  <a:pt x="12" y="104"/>
                </a:cubicBezTo>
                <a:cubicBezTo>
                  <a:pt x="16" y="94"/>
                  <a:pt x="20" y="79"/>
                  <a:pt x="24" y="64"/>
                </a:cubicBezTo>
                <a:cubicBezTo>
                  <a:pt x="28" y="48"/>
                  <a:pt x="31" y="39"/>
                  <a:pt x="28" y="24"/>
                </a:cubicBezTo>
                <a:cubicBezTo>
                  <a:pt x="25" y="8"/>
                  <a:pt x="27" y="13"/>
                  <a:pt x="29" y="8"/>
                </a:cubicBezTo>
                <a:cubicBezTo>
                  <a:pt x="29" y="7"/>
                  <a:pt x="29" y="6"/>
                  <a:pt x="29" y="6"/>
                </a:cubicBezTo>
                <a:cubicBezTo>
                  <a:pt x="30" y="5"/>
                  <a:pt x="30" y="5"/>
                  <a:pt x="30" y="5"/>
                </a:cubicBezTo>
                <a:cubicBezTo>
                  <a:pt x="33" y="4"/>
                  <a:pt x="35" y="0"/>
                  <a:pt x="37" y="1"/>
                </a:cubicBezTo>
                <a:cubicBezTo>
                  <a:pt x="39" y="1"/>
                  <a:pt x="39" y="3"/>
                  <a:pt x="40" y="4"/>
                </a:cubicBezTo>
                <a:cubicBezTo>
                  <a:pt x="41" y="5"/>
                  <a:pt x="42" y="6"/>
                  <a:pt x="43" y="7"/>
                </a:cubicBezTo>
                <a:cubicBezTo>
                  <a:pt x="44" y="9"/>
                  <a:pt x="43" y="13"/>
                  <a:pt x="43" y="15"/>
                </a:cubicBezTo>
                <a:cubicBezTo>
                  <a:pt x="45" y="15"/>
                  <a:pt x="46" y="14"/>
                  <a:pt x="48" y="14"/>
                </a:cubicBezTo>
                <a:cubicBezTo>
                  <a:pt x="51" y="13"/>
                  <a:pt x="52" y="15"/>
                  <a:pt x="55" y="15"/>
                </a:cubicBezTo>
                <a:cubicBezTo>
                  <a:pt x="60" y="16"/>
                  <a:pt x="63" y="10"/>
                  <a:pt x="69" y="10"/>
                </a:cubicBezTo>
                <a:cubicBezTo>
                  <a:pt x="71" y="10"/>
                  <a:pt x="72" y="11"/>
                  <a:pt x="74" y="10"/>
                </a:cubicBezTo>
                <a:cubicBezTo>
                  <a:pt x="77" y="10"/>
                  <a:pt x="79" y="8"/>
                  <a:pt x="81" y="9"/>
                </a:cubicBezTo>
                <a:cubicBezTo>
                  <a:pt x="83" y="10"/>
                  <a:pt x="90" y="18"/>
                  <a:pt x="90" y="21"/>
                </a:cubicBezTo>
                <a:cubicBezTo>
                  <a:pt x="90" y="24"/>
                  <a:pt x="83" y="28"/>
                  <a:pt x="81" y="31"/>
                </a:cubicBezTo>
                <a:cubicBezTo>
                  <a:pt x="79" y="34"/>
                  <a:pt x="77" y="37"/>
                  <a:pt x="75" y="41"/>
                </a:cubicBezTo>
                <a:cubicBezTo>
                  <a:pt x="74" y="44"/>
                  <a:pt x="72" y="48"/>
                  <a:pt x="73" y="51"/>
                </a:cubicBezTo>
                <a:cubicBezTo>
                  <a:pt x="73" y="54"/>
                  <a:pt x="74" y="54"/>
                  <a:pt x="75" y="56"/>
                </a:cubicBezTo>
                <a:cubicBezTo>
                  <a:pt x="76" y="59"/>
                  <a:pt x="71" y="65"/>
                  <a:pt x="75" y="66"/>
                </a:cubicBezTo>
                <a:cubicBezTo>
                  <a:pt x="76" y="72"/>
                  <a:pt x="69" y="78"/>
                  <a:pt x="72" y="83"/>
                </a:cubicBezTo>
                <a:cubicBezTo>
                  <a:pt x="68" y="85"/>
                  <a:pt x="64" y="91"/>
                  <a:pt x="63" y="95"/>
                </a:cubicBezTo>
                <a:cubicBezTo>
                  <a:pt x="63" y="100"/>
                  <a:pt x="69" y="104"/>
                  <a:pt x="71" y="110"/>
                </a:cubicBezTo>
                <a:cubicBezTo>
                  <a:pt x="72" y="114"/>
                  <a:pt x="67" y="119"/>
                  <a:pt x="68" y="125"/>
                </a:cubicBezTo>
                <a:cubicBezTo>
                  <a:pt x="68" y="129"/>
                  <a:pt x="71" y="131"/>
                  <a:pt x="71" y="135"/>
                </a:cubicBezTo>
                <a:cubicBezTo>
                  <a:pt x="70" y="146"/>
                  <a:pt x="52" y="161"/>
                  <a:pt x="62" y="17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48" name="Freeform 482"/>
          <p:cNvSpPr>
            <a:spLocks/>
          </p:cNvSpPr>
          <p:nvPr userDrawn="1"/>
        </p:nvSpPr>
        <p:spPr bwMode="auto">
          <a:xfrm>
            <a:off x="6199221" y="2582463"/>
            <a:ext cx="53603" cy="51928"/>
          </a:xfrm>
          <a:custGeom>
            <a:avLst/>
            <a:gdLst>
              <a:gd name="T0" fmla="*/ 2147483646 w 57"/>
              <a:gd name="T1" fmla="*/ 0 h 55"/>
              <a:gd name="T2" fmla="*/ 2147483646 w 57"/>
              <a:gd name="T3" fmla="*/ 2147483646 h 55"/>
              <a:gd name="T4" fmla="*/ 2147483646 w 57"/>
              <a:gd name="T5" fmla="*/ 2147483646 h 55"/>
              <a:gd name="T6" fmla="*/ 2147483646 w 57"/>
              <a:gd name="T7" fmla="*/ 2147483646 h 55"/>
              <a:gd name="T8" fmla="*/ 2147483646 w 57"/>
              <a:gd name="T9" fmla="*/ 2147483646 h 55"/>
              <a:gd name="T10" fmla="*/ 0 w 57"/>
              <a:gd name="T11" fmla="*/ 2147483646 h 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7"/>
              <a:gd name="T19" fmla="*/ 0 h 55"/>
              <a:gd name="T20" fmla="*/ 57 w 57"/>
              <a:gd name="T21" fmla="*/ 55 h 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7" h="55">
                <a:moveTo>
                  <a:pt x="57" y="0"/>
                </a:moveTo>
                <a:cubicBezTo>
                  <a:pt x="54" y="14"/>
                  <a:pt x="54" y="19"/>
                  <a:pt x="41" y="26"/>
                </a:cubicBezTo>
                <a:cubicBezTo>
                  <a:pt x="36" y="29"/>
                  <a:pt x="30" y="30"/>
                  <a:pt x="24" y="33"/>
                </a:cubicBezTo>
                <a:cubicBezTo>
                  <a:pt x="15" y="37"/>
                  <a:pt x="15" y="40"/>
                  <a:pt x="11" y="44"/>
                </a:cubicBezTo>
                <a:cubicBezTo>
                  <a:pt x="8" y="48"/>
                  <a:pt x="6" y="50"/>
                  <a:pt x="2" y="53"/>
                </a:cubicBezTo>
                <a:cubicBezTo>
                  <a:pt x="1" y="54"/>
                  <a:pt x="1" y="55"/>
                  <a:pt x="0" y="55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49" name="Freeform 483"/>
          <p:cNvSpPr>
            <a:spLocks/>
          </p:cNvSpPr>
          <p:nvPr userDrawn="1"/>
        </p:nvSpPr>
        <p:spPr bwMode="auto">
          <a:xfrm>
            <a:off x="6199221" y="2582463"/>
            <a:ext cx="53603" cy="51928"/>
          </a:xfrm>
          <a:custGeom>
            <a:avLst/>
            <a:gdLst>
              <a:gd name="T0" fmla="*/ 2147483646 w 57"/>
              <a:gd name="T1" fmla="*/ 0 h 55"/>
              <a:gd name="T2" fmla="*/ 2147483646 w 57"/>
              <a:gd name="T3" fmla="*/ 2147483646 h 55"/>
              <a:gd name="T4" fmla="*/ 2147483646 w 57"/>
              <a:gd name="T5" fmla="*/ 2147483646 h 55"/>
              <a:gd name="T6" fmla="*/ 2147483646 w 57"/>
              <a:gd name="T7" fmla="*/ 2147483646 h 55"/>
              <a:gd name="T8" fmla="*/ 2147483646 w 57"/>
              <a:gd name="T9" fmla="*/ 2147483646 h 55"/>
              <a:gd name="T10" fmla="*/ 0 w 57"/>
              <a:gd name="T11" fmla="*/ 2147483646 h 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7"/>
              <a:gd name="T19" fmla="*/ 0 h 55"/>
              <a:gd name="T20" fmla="*/ 57 w 57"/>
              <a:gd name="T21" fmla="*/ 55 h 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7" h="55">
                <a:moveTo>
                  <a:pt x="57" y="0"/>
                </a:moveTo>
                <a:cubicBezTo>
                  <a:pt x="54" y="14"/>
                  <a:pt x="54" y="19"/>
                  <a:pt x="41" y="26"/>
                </a:cubicBezTo>
                <a:cubicBezTo>
                  <a:pt x="36" y="29"/>
                  <a:pt x="30" y="30"/>
                  <a:pt x="24" y="33"/>
                </a:cubicBezTo>
                <a:cubicBezTo>
                  <a:pt x="15" y="37"/>
                  <a:pt x="15" y="40"/>
                  <a:pt x="11" y="44"/>
                </a:cubicBezTo>
                <a:cubicBezTo>
                  <a:pt x="8" y="48"/>
                  <a:pt x="6" y="50"/>
                  <a:pt x="2" y="53"/>
                </a:cubicBezTo>
                <a:cubicBezTo>
                  <a:pt x="1" y="54"/>
                  <a:pt x="1" y="55"/>
                  <a:pt x="0" y="55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50" name="Freeform 484"/>
          <p:cNvSpPr>
            <a:spLocks/>
          </p:cNvSpPr>
          <p:nvPr userDrawn="1"/>
        </p:nvSpPr>
        <p:spPr bwMode="auto">
          <a:xfrm>
            <a:off x="5633041" y="2480281"/>
            <a:ext cx="626484" cy="777243"/>
          </a:xfrm>
          <a:custGeom>
            <a:avLst/>
            <a:gdLst>
              <a:gd name="T0" fmla="*/ 2147483646 w 671"/>
              <a:gd name="T1" fmla="*/ 2147483646 h 832"/>
              <a:gd name="T2" fmla="*/ 2147483646 w 671"/>
              <a:gd name="T3" fmla="*/ 2147483646 h 832"/>
              <a:gd name="T4" fmla="*/ 2147483646 w 671"/>
              <a:gd name="T5" fmla="*/ 2147483646 h 832"/>
              <a:gd name="T6" fmla="*/ 2147483646 w 671"/>
              <a:gd name="T7" fmla="*/ 2147483646 h 832"/>
              <a:gd name="T8" fmla="*/ 2147483646 w 671"/>
              <a:gd name="T9" fmla="*/ 2147483646 h 832"/>
              <a:gd name="T10" fmla="*/ 2147483646 w 671"/>
              <a:gd name="T11" fmla="*/ 2147483646 h 832"/>
              <a:gd name="T12" fmla="*/ 2147483646 w 671"/>
              <a:gd name="T13" fmla="*/ 2147483646 h 832"/>
              <a:gd name="T14" fmla="*/ 2147483646 w 671"/>
              <a:gd name="T15" fmla="*/ 2147483646 h 832"/>
              <a:gd name="T16" fmla="*/ 2147483646 w 671"/>
              <a:gd name="T17" fmla="*/ 2147483646 h 832"/>
              <a:gd name="T18" fmla="*/ 2147483646 w 671"/>
              <a:gd name="T19" fmla="*/ 2147483646 h 832"/>
              <a:gd name="T20" fmla="*/ 2147483646 w 671"/>
              <a:gd name="T21" fmla="*/ 2147483646 h 832"/>
              <a:gd name="T22" fmla="*/ 2147483646 w 671"/>
              <a:gd name="T23" fmla="*/ 2147483646 h 832"/>
              <a:gd name="T24" fmla="*/ 2147483646 w 671"/>
              <a:gd name="T25" fmla="*/ 2147483646 h 832"/>
              <a:gd name="T26" fmla="*/ 2147483646 w 671"/>
              <a:gd name="T27" fmla="*/ 2147483646 h 832"/>
              <a:gd name="T28" fmla="*/ 2147483646 w 671"/>
              <a:gd name="T29" fmla="*/ 2147483646 h 832"/>
              <a:gd name="T30" fmla="*/ 2147483646 w 671"/>
              <a:gd name="T31" fmla="*/ 2147483646 h 832"/>
              <a:gd name="T32" fmla="*/ 2147483646 w 671"/>
              <a:gd name="T33" fmla="*/ 2147483646 h 832"/>
              <a:gd name="T34" fmla="*/ 2147483646 w 671"/>
              <a:gd name="T35" fmla="*/ 2147483646 h 832"/>
              <a:gd name="T36" fmla="*/ 2147483646 w 671"/>
              <a:gd name="T37" fmla="*/ 2147483646 h 832"/>
              <a:gd name="T38" fmla="*/ 2147483646 w 671"/>
              <a:gd name="T39" fmla="*/ 2147483646 h 832"/>
              <a:gd name="T40" fmla="*/ 2147483646 w 671"/>
              <a:gd name="T41" fmla="*/ 2147483646 h 832"/>
              <a:gd name="T42" fmla="*/ 2147483646 w 671"/>
              <a:gd name="T43" fmla="*/ 2147483646 h 832"/>
              <a:gd name="T44" fmla="*/ 2147483646 w 671"/>
              <a:gd name="T45" fmla="*/ 2147483646 h 832"/>
              <a:gd name="T46" fmla="*/ 2147483646 w 671"/>
              <a:gd name="T47" fmla="*/ 2147483646 h 832"/>
              <a:gd name="T48" fmla="*/ 2147483646 w 671"/>
              <a:gd name="T49" fmla="*/ 2147483646 h 832"/>
              <a:gd name="T50" fmla="*/ 2147483646 w 671"/>
              <a:gd name="T51" fmla="*/ 2147483646 h 832"/>
              <a:gd name="T52" fmla="*/ 2147483646 w 671"/>
              <a:gd name="T53" fmla="*/ 2147483646 h 832"/>
              <a:gd name="T54" fmla="*/ 2147483646 w 671"/>
              <a:gd name="T55" fmla="*/ 2147483646 h 832"/>
              <a:gd name="T56" fmla="*/ 2147483646 w 671"/>
              <a:gd name="T57" fmla="*/ 2147483646 h 832"/>
              <a:gd name="T58" fmla="*/ 2147483646 w 671"/>
              <a:gd name="T59" fmla="*/ 2147483646 h 832"/>
              <a:gd name="T60" fmla="*/ 2147483646 w 671"/>
              <a:gd name="T61" fmla="*/ 2147483646 h 832"/>
              <a:gd name="T62" fmla="*/ 2147483646 w 671"/>
              <a:gd name="T63" fmla="*/ 2147483646 h 832"/>
              <a:gd name="T64" fmla="*/ 2147483646 w 671"/>
              <a:gd name="T65" fmla="*/ 2147483646 h 832"/>
              <a:gd name="T66" fmla="*/ 2147483646 w 671"/>
              <a:gd name="T67" fmla="*/ 2147483646 h 832"/>
              <a:gd name="T68" fmla="*/ 2147483646 w 671"/>
              <a:gd name="T69" fmla="*/ 2147483646 h 832"/>
              <a:gd name="T70" fmla="*/ 2147483646 w 671"/>
              <a:gd name="T71" fmla="*/ 2147483646 h 832"/>
              <a:gd name="T72" fmla="*/ 2147483646 w 671"/>
              <a:gd name="T73" fmla="*/ 2147483646 h 832"/>
              <a:gd name="T74" fmla="*/ 2147483646 w 671"/>
              <a:gd name="T75" fmla="*/ 2147483646 h 832"/>
              <a:gd name="T76" fmla="*/ 2147483646 w 671"/>
              <a:gd name="T77" fmla="*/ 2147483646 h 832"/>
              <a:gd name="T78" fmla="*/ 2147483646 w 671"/>
              <a:gd name="T79" fmla="*/ 2147483646 h 832"/>
              <a:gd name="T80" fmla="*/ 2147483646 w 671"/>
              <a:gd name="T81" fmla="*/ 2147483646 h 832"/>
              <a:gd name="T82" fmla="*/ 2147483646 w 671"/>
              <a:gd name="T83" fmla="*/ 2147483646 h 832"/>
              <a:gd name="T84" fmla="*/ 2147483646 w 671"/>
              <a:gd name="T85" fmla="*/ 2147483646 h 832"/>
              <a:gd name="T86" fmla="*/ 2147483646 w 671"/>
              <a:gd name="T87" fmla="*/ 2147483646 h 832"/>
              <a:gd name="T88" fmla="*/ 2147483646 w 671"/>
              <a:gd name="T89" fmla="*/ 2147483646 h 832"/>
              <a:gd name="T90" fmla="*/ 2147483646 w 671"/>
              <a:gd name="T91" fmla="*/ 2147483646 h 832"/>
              <a:gd name="T92" fmla="*/ 2147483646 w 671"/>
              <a:gd name="T93" fmla="*/ 2147483646 h 832"/>
              <a:gd name="T94" fmla="*/ 2147483646 w 671"/>
              <a:gd name="T95" fmla="*/ 2147483646 h 832"/>
              <a:gd name="T96" fmla="*/ 2147483646 w 671"/>
              <a:gd name="T97" fmla="*/ 2147483646 h 832"/>
              <a:gd name="T98" fmla="*/ 2147483646 w 671"/>
              <a:gd name="T99" fmla="*/ 2147483646 h 832"/>
              <a:gd name="T100" fmla="*/ 2147483646 w 671"/>
              <a:gd name="T101" fmla="*/ 2147483646 h 832"/>
              <a:gd name="T102" fmla="*/ 2147483646 w 671"/>
              <a:gd name="T103" fmla="*/ 2147483646 h 832"/>
              <a:gd name="T104" fmla="*/ 2147483646 w 671"/>
              <a:gd name="T105" fmla="*/ 2147483646 h 832"/>
              <a:gd name="T106" fmla="*/ 2147483646 w 671"/>
              <a:gd name="T107" fmla="*/ 2147483646 h 832"/>
              <a:gd name="T108" fmla="*/ 2147483646 w 671"/>
              <a:gd name="T109" fmla="*/ 2147483646 h 832"/>
              <a:gd name="T110" fmla="*/ 2147483646 w 671"/>
              <a:gd name="T111" fmla="*/ 2147483646 h 832"/>
              <a:gd name="T112" fmla="*/ 2147483646 w 671"/>
              <a:gd name="T113" fmla="*/ 2147483646 h 832"/>
              <a:gd name="T114" fmla="*/ 2147483646 w 671"/>
              <a:gd name="T115" fmla="*/ 2147483646 h 832"/>
              <a:gd name="T116" fmla="*/ 2147483646 w 671"/>
              <a:gd name="T117" fmla="*/ 2147483646 h 832"/>
              <a:gd name="T118" fmla="*/ 2147483646 w 671"/>
              <a:gd name="T119" fmla="*/ 2147483646 h 832"/>
              <a:gd name="T120" fmla="*/ 2147483646 w 671"/>
              <a:gd name="T121" fmla="*/ 2147483646 h 832"/>
              <a:gd name="T122" fmla="*/ 2147483646 w 671"/>
              <a:gd name="T123" fmla="*/ 2147483646 h 83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71"/>
              <a:gd name="T187" fmla="*/ 0 h 832"/>
              <a:gd name="T188" fmla="*/ 671 w 671"/>
              <a:gd name="T189" fmla="*/ 832 h 83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71" h="832">
                <a:moveTo>
                  <a:pt x="663" y="109"/>
                </a:moveTo>
                <a:cubicBezTo>
                  <a:pt x="660" y="123"/>
                  <a:pt x="661" y="129"/>
                  <a:pt x="648" y="135"/>
                </a:cubicBezTo>
                <a:cubicBezTo>
                  <a:pt x="642" y="138"/>
                  <a:pt x="637" y="140"/>
                  <a:pt x="631" y="143"/>
                </a:cubicBezTo>
                <a:cubicBezTo>
                  <a:pt x="621" y="146"/>
                  <a:pt x="622" y="149"/>
                  <a:pt x="617" y="154"/>
                </a:cubicBezTo>
                <a:cubicBezTo>
                  <a:pt x="614" y="157"/>
                  <a:pt x="612" y="159"/>
                  <a:pt x="610" y="162"/>
                </a:cubicBezTo>
                <a:cubicBezTo>
                  <a:pt x="608" y="164"/>
                  <a:pt x="608" y="164"/>
                  <a:pt x="608" y="164"/>
                </a:cubicBezTo>
                <a:cubicBezTo>
                  <a:pt x="607" y="161"/>
                  <a:pt x="607" y="161"/>
                  <a:pt x="607" y="161"/>
                </a:cubicBezTo>
                <a:cubicBezTo>
                  <a:pt x="604" y="152"/>
                  <a:pt x="608" y="145"/>
                  <a:pt x="611" y="136"/>
                </a:cubicBezTo>
                <a:cubicBezTo>
                  <a:pt x="614" y="123"/>
                  <a:pt x="615" y="121"/>
                  <a:pt x="608" y="109"/>
                </a:cubicBezTo>
                <a:cubicBezTo>
                  <a:pt x="589" y="114"/>
                  <a:pt x="591" y="104"/>
                  <a:pt x="578" y="97"/>
                </a:cubicBezTo>
                <a:cubicBezTo>
                  <a:pt x="570" y="93"/>
                  <a:pt x="564" y="98"/>
                  <a:pt x="555" y="100"/>
                </a:cubicBezTo>
                <a:cubicBezTo>
                  <a:pt x="543" y="103"/>
                  <a:pt x="540" y="106"/>
                  <a:pt x="535" y="119"/>
                </a:cubicBezTo>
                <a:cubicBezTo>
                  <a:pt x="533" y="127"/>
                  <a:pt x="531" y="125"/>
                  <a:pt x="532" y="133"/>
                </a:cubicBezTo>
                <a:cubicBezTo>
                  <a:pt x="532" y="137"/>
                  <a:pt x="536" y="143"/>
                  <a:pt x="537" y="146"/>
                </a:cubicBezTo>
                <a:cubicBezTo>
                  <a:pt x="532" y="151"/>
                  <a:pt x="527" y="156"/>
                  <a:pt x="525" y="162"/>
                </a:cubicBezTo>
                <a:cubicBezTo>
                  <a:pt x="524" y="167"/>
                  <a:pt x="529" y="170"/>
                  <a:pt x="526" y="176"/>
                </a:cubicBezTo>
                <a:cubicBezTo>
                  <a:pt x="526" y="178"/>
                  <a:pt x="517" y="184"/>
                  <a:pt x="514" y="188"/>
                </a:cubicBezTo>
                <a:cubicBezTo>
                  <a:pt x="510" y="194"/>
                  <a:pt x="508" y="203"/>
                  <a:pt x="505" y="210"/>
                </a:cubicBezTo>
                <a:cubicBezTo>
                  <a:pt x="500" y="204"/>
                  <a:pt x="497" y="196"/>
                  <a:pt x="492" y="191"/>
                </a:cubicBezTo>
                <a:cubicBezTo>
                  <a:pt x="489" y="195"/>
                  <a:pt x="485" y="196"/>
                  <a:pt x="481" y="196"/>
                </a:cubicBezTo>
                <a:cubicBezTo>
                  <a:pt x="478" y="184"/>
                  <a:pt x="456" y="202"/>
                  <a:pt x="443" y="194"/>
                </a:cubicBezTo>
                <a:cubicBezTo>
                  <a:pt x="429" y="185"/>
                  <a:pt x="429" y="157"/>
                  <a:pt x="410" y="154"/>
                </a:cubicBezTo>
                <a:cubicBezTo>
                  <a:pt x="407" y="160"/>
                  <a:pt x="409" y="166"/>
                  <a:pt x="407" y="172"/>
                </a:cubicBezTo>
                <a:cubicBezTo>
                  <a:pt x="402" y="157"/>
                  <a:pt x="384" y="164"/>
                  <a:pt x="378" y="173"/>
                </a:cubicBezTo>
                <a:cubicBezTo>
                  <a:pt x="403" y="186"/>
                  <a:pt x="365" y="200"/>
                  <a:pt x="380" y="212"/>
                </a:cubicBezTo>
                <a:cubicBezTo>
                  <a:pt x="372" y="213"/>
                  <a:pt x="366" y="212"/>
                  <a:pt x="359" y="210"/>
                </a:cubicBezTo>
                <a:cubicBezTo>
                  <a:pt x="352" y="207"/>
                  <a:pt x="348" y="202"/>
                  <a:pt x="340" y="206"/>
                </a:cubicBezTo>
                <a:cubicBezTo>
                  <a:pt x="326" y="212"/>
                  <a:pt x="332" y="232"/>
                  <a:pt x="324" y="244"/>
                </a:cubicBezTo>
                <a:cubicBezTo>
                  <a:pt x="313" y="232"/>
                  <a:pt x="299" y="250"/>
                  <a:pt x="293" y="260"/>
                </a:cubicBezTo>
                <a:cubicBezTo>
                  <a:pt x="290" y="265"/>
                  <a:pt x="291" y="271"/>
                  <a:pt x="289" y="278"/>
                </a:cubicBezTo>
                <a:cubicBezTo>
                  <a:pt x="286" y="285"/>
                  <a:pt x="279" y="291"/>
                  <a:pt x="275" y="297"/>
                </a:cubicBezTo>
                <a:cubicBezTo>
                  <a:pt x="279" y="298"/>
                  <a:pt x="282" y="301"/>
                  <a:pt x="285" y="302"/>
                </a:cubicBezTo>
                <a:cubicBezTo>
                  <a:pt x="272" y="318"/>
                  <a:pt x="260" y="347"/>
                  <a:pt x="260" y="368"/>
                </a:cubicBezTo>
                <a:cubicBezTo>
                  <a:pt x="249" y="366"/>
                  <a:pt x="233" y="354"/>
                  <a:pt x="234" y="377"/>
                </a:cubicBezTo>
                <a:cubicBezTo>
                  <a:pt x="234" y="382"/>
                  <a:pt x="240" y="386"/>
                  <a:pt x="240" y="393"/>
                </a:cubicBezTo>
                <a:cubicBezTo>
                  <a:pt x="240" y="402"/>
                  <a:pt x="234" y="414"/>
                  <a:pt x="232" y="423"/>
                </a:cubicBezTo>
                <a:cubicBezTo>
                  <a:pt x="228" y="436"/>
                  <a:pt x="220" y="456"/>
                  <a:pt x="221" y="469"/>
                </a:cubicBezTo>
                <a:cubicBezTo>
                  <a:pt x="222" y="480"/>
                  <a:pt x="236" y="489"/>
                  <a:pt x="226" y="501"/>
                </a:cubicBezTo>
                <a:cubicBezTo>
                  <a:pt x="220" y="498"/>
                  <a:pt x="207" y="493"/>
                  <a:pt x="200" y="494"/>
                </a:cubicBezTo>
                <a:cubicBezTo>
                  <a:pt x="187" y="496"/>
                  <a:pt x="187" y="513"/>
                  <a:pt x="185" y="524"/>
                </a:cubicBezTo>
                <a:cubicBezTo>
                  <a:pt x="183" y="536"/>
                  <a:pt x="178" y="551"/>
                  <a:pt x="177" y="562"/>
                </a:cubicBezTo>
                <a:cubicBezTo>
                  <a:pt x="177" y="575"/>
                  <a:pt x="182" y="572"/>
                  <a:pt x="186" y="583"/>
                </a:cubicBezTo>
                <a:cubicBezTo>
                  <a:pt x="192" y="600"/>
                  <a:pt x="180" y="621"/>
                  <a:pt x="187" y="637"/>
                </a:cubicBezTo>
                <a:cubicBezTo>
                  <a:pt x="191" y="646"/>
                  <a:pt x="201" y="650"/>
                  <a:pt x="201" y="661"/>
                </a:cubicBezTo>
                <a:cubicBezTo>
                  <a:pt x="201" y="668"/>
                  <a:pt x="195" y="678"/>
                  <a:pt x="189" y="676"/>
                </a:cubicBezTo>
                <a:cubicBezTo>
                  <a:pt x="194" y="696"/>
                  <a:pt x="207" y="725"/>
                  <a:pt x="189" y="739"/>
                </a:cubicBezTo>
                <a:cubicBezTo>
                  <a:pt x="181" y="745"/>
                  <a:pt x="176" y="744"/>
                  <a:pt x="173" y="758"/>
                </a:cubicBezTo>
                <a:cubicBezTo>
                  <a:pt x="171" y="768"/>
                  <a:pt x="173" y="780"/>
                  <a:pt x="164" y="785"/>
                </a:cubicBezTo>
                <a:cubicBezTo>
                  <a:pt x="163" y="782"/>
                  <a:pt x="161" y="779"/>
                  <a:pt x="159" y="777"/>
                </a:cubicBezTo>
                <a:cubicBezTo>
                  <a:pt x="157" y="775"/>
                  <a:pt x="157" y="775"/>
                  <a:pt x="157" y="775"/>
                </a:cubicBezTo>
                <a:cubicBezTo>
                  <a:pt x="157" y="775"/>
                  <a:pt x="158" y="769"/>
                  <a:pt x="153" y="770"/>
                </a:cubicBezTo>
                <a:cubicBezTo>
                  <a:pt x="149" y="771"/>
                  <a:pt x="146" y="774"/>
                  <a:pt x="145" y="766"/>
                </a:cubicBezTo>
                <a:cubicBezTo>
                  <a:pt x="144" y="758"/>
                  <a:pt x="145" y="751"/>
                  <a:pt x="145" y="751"/>
                </a:cubicBezTo>
                <a:cubicBezTo>
                  <a:pt x="145" y="751"/>
                  <a:pt x="148" y="731"/>
                  <a:pt x="143" y="733"/>
                </a:cubicBezTo>
                <a:cubicBezTo>
                  <a:pt x="138" y="735"/>
                  <a:pt x="135" y="737"/>
                  <a:pt x="137" y="742"/>
                </a:cubicBezTo>
                <a:cubicBezTo>
                  <a:pt x="140" y="746"/>
                  <a:pt x="137" y="751"/>
                  <a:pt x="137" y="751"/>
                </a:cubicBezTo>
                <a:cubicBezTo>
                  <a:pt x="140" y="758"/>
                  <a:pt x="140" y="758"/>
                  <a:pt x="140" y="758"/>
                </a:cubicBezTo>
                <a:cubicBezTo>
                  <a:pt x="139" y="762"/>
                  <a:pt x="139" y="762"/>
                  <a:pt x="139" y="762"/>
                </a:cubicBezTo>
                <a:cubicBezTo>
                  <a:pt x="139" y="762"/>
                  <a:pt x="147" y="766"/>
                  <a:pt x="137" y="772"/>
                </a:cubicBezTo>
                <a:cubicBezTo>
                  <a:pt x="128" y="779"/>
                  <a:pt x="122" y="782"/>
                  <a:pt x="119" y="781"/>
                </a:cubicBezTo>
                <a:cubicBezTo>
                  <a:pt x="117" y="779"/>
                  <a:pt x="114" y="786"/>
                  <a:pt x="114" y="786"/>
                </a:cubicBezTo>
                <a:cubicBezTo>
                  <a:pt x="112" y="795"/>
                  <a:pt x="112" y="795"/>
                  <a:pt x="112" y="795"/>
                </a:cubicBezTo>
                <a:cubicBezTo>
                  <a:pt x="112" y="795"/>
                  <a:pt x="99" y="814"/>
                  <a:pt x="97" y="813"/>
                </a:cubicBezTo>
                <a:cubicBezTo>
                  <a:pt x="94" y="812"/>
                  <a:pt x="90" y="811"/>
                  <a:pt x="90" y="811"/>
                </a:cubicBezTo>
                <a:cubicBezTo>
                  <a:pt x="80" y="821"/>
                  <a:pt x="80" y="821"/>
                  <a:pt x="80" y="821"/>
                </a:cubicBezTo>
                <a:cubicBezTo>
                  <a:pt x="69" y="824"/>
                  <a:pt x="69" y="824"/>
                  <a:pt x="69" y="824"/>
                </a:cubicBezTo>
                <a:cubicBezTo>
                  <a:pt x="57" y="828"/>
                  <a:pt x="57" y="828"/>
                  <a:pt x="57" y="828"/>
                </a:cubicBezTo>
                <a:cubicBezTo>
                  <a:pt x="57" y="828"/>
                  <a:pt x="52" y="832"/>
                  <a:pt x="48" y="829"/>
                </a:cubicBezTo>
                <a:cubicBezTo>
                  <a:pt x="44" y="825"/>
                  <a:pt x="43" y="816"/>
                  <a:pt x="43" y="816"/>
                </a:cubicBezTo>
                <a:cubicBezTo>
                  <a:pt x="43" y="816"/>
                  <a:pt x="38" y="811"/>
                  <a:pt x="31" y="810"/>
                </a:cubicBezTo>
                <a:cubicBezTo>
                  <a:pt x="23" y="808"/>
                  <a:pt x="19" y="807"/>
                  <a:pt x="17" y="805"/>
                </a:cubicBezTo>
                <a:cubicBezTo>
                  <a:pt x="15" y="802"/>
                  <a:pt x="12" y="799"/>
                  <a:pt x="12" y="795"/>
                </a:cubicBezTo>
                <a:cubicBezTo>
                  <a:pt x="13" y="791"/>
                  <a:pt x="12" y="784"/>
                  <a:pt x="17" y="782"/>
                </a:cubicBezTo>
                <a:cubicBezTo>
                  <a:pt x="23" y="781"/>
                  <a:pt x="29" y="786"/>
                  <a:pt x="29" y="786"/>
                </a:cubicBezTo>
                <a:cubicBezTo>
                  <a:pt x="31" y="779"/>
                  <a:pt x="31" y="779"/>
                  <a:pt x="31" y="779"/>
                </a:cubicBezTo>
                <a:cubicBezTo>
                  <a:pt x="31" y="779"/>
                  <a:pt x="29" y="777"/>
                  <a:pt x="27" y="775"/>
                </a:cubicBezTo>
                <a:cubicBezTo>
                  <a:pt x="26" y="772"/>
                  <a:pt x="32" y="761"/>
                  <a:pt x="33" y="757"/>
                </a:cubicBezTo>
                <a:cubicBezTo>
                  <a:pt x="33" y="753"/>
                  <a:pt x="33" y="751"/>
                  <a:pt x="33" y="751"/>
                </a:cubicBezTo>
                <a:cubicBezTo>
                  <a:pt x="33" y="751"/>
                  <a:pt x="28" y="755"/>
                  <a:pt x="25" y="758"/>
                </a:cubicBezTo>
                <a:cubicBezTo>
                  <a:pt x="23" y="762"/>
                  <a:pt x="18" y="759"/>
                  <a:pt x="15" y="763"/>
                </a:cubicBezTo>
                <a:cubicBezTo>
                  <a:pt x="12" y="767"/>
                  <a:pt x="8" y="772"/>
                  <a:pt x="6" y="766"/>
                </a:cubicBezTo>
                <a:cubicBezTo>
                  <a:pt x="4" y="759"/>
                  <a:pt x="6" y="748"/>
                  <a:pt x="9" y="748"/>
                </a:cubicBezTo>
                <a:cubicBezTo>
                  <a:pt x="11" y="748"/>
                  <a:pt x="13" y="743"/>
                  <a:pt x="15" y="747"/>
                </a:cubicBezTo>
                <a:cubicBezTo>
                  <a:pt x="17" y="752"/>
                  <a:pt x="16" y="748"/>
                  <a:pt x="20" y="747"/>
                </a:cubicBezTo>
                <a:cubicBezTo>
                  <a:pt x="23" y="746"/>
                  <a:pt x="36" y="738"/>
                  <a:pt x="31" y="737"/>
                </a:cubicBezTo>
                <a:cubicBezTo>
                  <a:pt x="26" y="737"/>
                  <a:pt x="22" y="738"/>
                  <a:pt x="24" y="735"/>
                </a:cubicBezTo>
                <a:cubicBezTo>
                  <a:pt x="27" y="731"/>
                  <a:pt x="28" y="730"/>
                  <a:pt x="30" y="726"/>
                </a:cubicBezTo>
                <a:cubicBezTo>
                  <a:pt x="32" y="723"/>
                  <a:pt x="27" y="724"/>
                  <a:pt x="32" y="718"/>
                </a:cubicBezTo>
                <a:cubicBezTo>
                  <a:pt x="37" y="712"/>
                  <a:pt x="41" y="698"/>
                  <a:pt x="43" y="702"/>
                </a:cubicBezTo>
                <a:cubicBezTo>
                  <a:pt x="45" y="705"/>
                  <a:pt x="49" y="697"/>
                  <a:pt x="49" y="697"/>
                </a:cubicBezTo>
                <a:cubicBezTo>
                  <a:pt x="49" y="697"/>
                  <a:pt x="41" y="692"/>
                  <a:pt x="39" y="695"/>
                </a:cubicBezTo>
                <a:cubicBezTo>
                  <a:pt x="36" y="698"/>
                  <a:pt x="33" y="699"/>
                  <a:pt x="33" y="702"/>
                </a:cubicBezTo>
                <a:cubicBezTo>
                  <a:pt x="32" y="705"/>
                  <a:pt x="32" y="707"/>
                  <a:pt x="31" y="710"/>
                </a:cubicBezTo>
                <a:cubicBezTo>
                  <a:pt x="30" y="713"/>
                  <a:pt x="34" y="712"/>
                  <a:pt x="26" y="718"/>
                </a:cubicBezTo>
                <a:cubicBezTo>
                  <a:pt x="19" y="723"/>
                  <a:pt x="11" y="722"/>
                  <a:pt x="10" y="719"/>
                </a:cubicBezTo>
                <a:cubicBezTo>
                  <a:pt x="10" y="717"/>
                  <a:pt x="14" y="715"/>
                  <a:pt x="9" y="716"/>
                </a:cubicBezTo>
                <a:cubicBezTo>
                  <a:pt x="4" y="716"/>
                  <a:pt x="3" y="723"/>
                  <a:pt x="2" y="716"/>
                </a:cubicBezTo>
                <a:cubicBezTo>
                  <a:pt x="2" y="708"/>
                  <a:pt x="7" y="703"/>
                  <a:pt x="10" y="705"/>
                </a:cubicBezTo>
                <a:cubicBezTo>
                  <a:pt x="14" y="708"/>
                  <a:pt x="14" y="705"/>
                  <a:pt x="16" y="705"/>
                </a:cubicBezTo>
                <a:cubicBezTo>
                  <a:pt x="19" y="705"/>
                  <a:pt x="21" y="703"/>
                  <a:pt x="21" y="703"/>
                </a:cubicBezTo>
                <a:cubicBezTo>
                  <a:pt x="21" y="703"/>
                  <a:pt x="18" y="698"/>
                  <a:pt x="17" y="696"/>
                </a:cubicBezTo>
                <a:cubicBezTo>
                  <a:pt x="17" y="694"/>
                  <a:pt x="15" y="693"/>
                  <a:pt x="13" y="695"/>
                </a:cubicBezTo>
                <a:cubicBezTo>
                  <a:pt x="11" y="697"/>
                  <a:pt x="6" y="696"/>
                  <a:pt x="6" y="694"/>
                </a:cubicBezTo>
                <a:cubicBezTo>
                  <a:pt x="6" y="693"/>
                  <a:pt x="10" y="681"/>
                  <a:pt x="7" y="680"/>
                </a:cubicBezTo>
                <a:cubicBezTo>
                  <a:pt x="4" y="680"/>
                  <a:pt x="0" y="680"/>
                  <a:pt x="2" y="676"/>
                </a:cubicBezTo>
                <a:cubicBezTo>
                  <a:pt x="3" y="672"/>
                  <a:pt x="4" y="671"/>
                  <a:pt x="4" y="671"/>
                </a:cubicBezTo>
                <a:cubicBezTo>
                  <a:pt x="14" y="673"/>
                  <a:pt x="14" y="673"/>
                  <a:pt x="14" y="673"/>
                </a:cubicBezTo>
                <a:cubicBezTo>
                  <a:pt x="14" y="673"/>
                  <a:pt x="21" y="672"/>
                  <a:pt x="23" y="672"/>
                </a:cubicBezTo>
                <a:cubicBezTo>
                  <a:pt x="25" y="672"/>
                  <a:pt x="35" y="672"/>
                  <a:pt x="39" y="671"/>
                </a:cubicBezTo>
                <a:cubicBezTo>
                  <a:pt x="42" y="669"/>
                  <a:pt x="44" y="668"/>
                  <a:pt x="48" y="674"/>
                </a:cubicBezTo>
                <a:cubicBezTo>
                  <a:pt x="52" y="680"/>
                  <a:pt x="58" y="680"/>
                  <a:pt x="58" y="677"/>
                </a:cubicBezTo>
                <a:cubicBezTo>
                  <a:pt x="58" y="673"/>
                  <a:pt x="50" y="668"/>
                  <a:pt x="56" y="667"/>
                </a:cubicBezTo>
                <a:cubicBezTo>
                  <a:pt x="61" y="666"/>
                  <a:pt x="62" y="668"/>
                  <a:pt x="65" y="665"/>
                </a:cubicBezTo>
                <a:cubicBezTo>
                  <a:pt x="68" y="662"/>
                  <a:pt x="59" y="655"/>
                  <a:pt x="63" y="649"/>
                </a:cubicBezTo>
                <a:cubicBezTo>
                  <a:pt x="63" y="649"/>
                  <a:pt x="56" y="652"/>
                  <a:pt x="57" y="656"/>
                </a:cubicBezTo>
                <a:cubicBezTo>
                  <a:pt x="58" y="660"/>
                  <a:pt x="53" y="661"/>
                  <a:pt x="49" y="662"/>
                </a:cubicBezTo>
                <a:cubicBezTo>
                  <a:pt x="45" y="662"/>
                  <a:pt x="42" y="665"/>
                  <a:pt x="41" y="665"/>
                </a:cubicBezTo>
                <a:cubicBezTo>
                  <a:pt x="39" y="665"/>
                  <a:pt x="40" y="657"/>
                  <a:pt x="38" y="657"/>
                </a:cubicBezTo>
                <a:cubicBezTo>
                  <a:pt x="36" y="657"/>
                  <a:pt x="31" y="663"/>
                  <a:pt x="25" y="665"/>
                </a:cubicBezTo>
                <a:cubicBezTo>
                  <a:pt x="19" y="666"/>
                  <a:pt x="20" y="666"/>
                  <a:pt x="16" y="666"/>
                </a:cubicBezTo>
                <a:cubicBezTo>
                  <a:pt x="12" y="667"/>
                  <a:pt x="9" y="667"/>
                  <a:pt x="9" y="667"/>
                </a:cubicBezTo>
                <a:cubicBezTo>
                  <a:pt x="9" y="667"/>
                  <a:pt x="5" y="666"/>
                  <a:pt x="5" y="662"/>
                </a:cubicBezTo>
                <a:cubicBezTo>
                  <a:pt x="6" y="657"/>
                  <a:pt x="10" y="655"/>
                  <a:pt x="12" y="653"/>
                </a:cubicBezTo>
                <a:cubicBezTo>
                  <a:pt x="14" y="651"/>
                  <a:pt x="10" y="645"/>
                  <a:pt x="10" y="645"/>
                </a:cubicBezTo>
                <a:cubicBezTo>
                  <a:pt x="3" y="634"/>
                  <a:pt x="3" y="634"/>
                  <a:pt x="3" y="634"/>
                </a:cubicBezTo>
                <a:cubicBezTo>
                  <a:pt x="12" y="627"/>
                  <a:pt x="12" y="627"/>
                  <a:pt x="12" y="627"/>
                </a:cubicBezTo>
                <a:cubicBezTo>
                  <a:pt x="12" y="627"/>
                  <a:pt x="12" y="628"/>
                  <a:pt x="15" y="630"/>
                </a:cubicBezTo>
                <a:cubicBezTo>
                  <a:pt x="19" y="632"/>
                  <a:pt x="22" y="630"/>
                  <a:pt x="25" y="629"/>
                </a:cubicBezTo>
                <a:cubicBezTo>
                  <a:pt x="28" y="629"/>
                  <a:pt x="34" y="630"/>
                  <a:pt x="34" y="630"/>
                </a:cubicBezTo>
                <a:cubicBezTo>
                  <a:pt x="32" y="619"/>
                  <a:pt x="32" y="619"/>
                  <a:pt x="32" y="619"/>
                </a:cubicBezTo>
                <a:cubicBezTo>
                  <a:pt x="28" y="611"/>
                  <a:pt x="28" y="611"/>
                  <a:pt x="28" y="611"/>
                </a:cubicBezTo>
                <a:cubicBezTo>
                  <a:pt x="32" y="604"/>
                  <a:pt x="32" y="604"/>
                  <a:pt x="32" y="604"/>
                </a:cubicBezTo>
                <a:cubicBezTo>
                  <a:pt x="32" y="604"/>
                  <a:pt x="36" y="611"/>
                  <a:pt x="38" y="611"/>
                </a:cubicBezTo>
                <a:cubicBezTo>
                  <a:pt x="41" y="611"/>
                  <a:pt x="38" y="601"/>
                  <a:pt x="42" y="599"/>
                </a:cubicBezTo>
                <a:cubicBezTo>
                  <a:pt x="45" y="597"/>
                  <a:pt x="42" y="593"/>
                  <a:pt x="46" y="598"/>
                </a:cubicBezTo>
                <a:cubicBezTo>
                  <a:pt x="50" y="603"/>
                  <a:pt x="44" y="607"/>
                  <a:pt x="47" y="610"/>
                </a:cubicBezTo>
                <a:cubicBezTo>
                  <a:pt x="50" y="614"/>
                  <a:pt x="46" y="614"/>
                  <a:pt x="54" y="609"/>
                </a:cubicBezTo>
                <a:cubicBezTo>
                  <a:pt x="62" y="604"/>
                  <a:pt x="61" y="598"/>
                  <a:pt x="61" y="598"/>
                </a:cubicBezTo>
                <a:cubicBezTo>
                  <a:pt x="61" y="598"/>
                  <a:pt x="52" y="586"/>
                  <a:pt x="49" y="586"/>
                </a:cubicBezTo>
                <a:cubicBezTo>
                  <a:pt x="47" y="587"/>
                  <a:pt x="47" y="587"/>
                  <a:pt x="47" y="587"/>
                </a:cubicBezTo>
                <a:cubicBezTo>
                  <a:pt x="47" y="587"/>
                  <a:pt x="55" y="579"/>
                  <a:pt x="58" y="584"/>
                </a:cubicBezTo>
                <a:cubicBezTo>
                  <a:pt x="61" y="589"/>
                  <a:pt x="65" y="587"/>
                  <a:pt x="68" y="585"/>
                </a:cubicBezTo>
                <a:cubicBezTo>
                  <a:pt x="70" y="584"/>
                  <a:pt x="70" y="580"/>
                  <a:pt x="70" y="580"/>
                </a:cubicBezTo>
                <a:cubicBezTo>
                  <a:pt x="70" y="580"/>
                  <a:pt x="68" y="577"/>
                  <a:pt x="64" y="578"/>
                </a:cubicBezTo>
                <a:cubicBezTo>
                  <a:pt x="61" y="578"/>
                  <a:pt x="59" y="574"/>
                  <a:pt x="58" y="574"/>
                </a:cubicBezTo>
                <a:cubicBezTo>
                  <a:pt x="56" y="575"/>
                  <a:pt x="53" y="573"/>
                  <a:pt x="53" y="573"/>
                </a:cubicBezTo>
                <a:cubicBezTo>
                  <a:pt x="53" y="573"/>
                  <a:pt x="49" y="567"/>
                  <a:pt x="52" y="566"/>
                </a:cubicBezTo>
                <a:cubicBezTo>
                  <a:pt x="56" y="565"/>
                  <a:pt x="58" y="560"/>
                  <a:pt x="60" y="562"/>
                </a:cubicBezTo>
                <a:cubicBezTo>
                  <a:pt x="61" y="565"/>
                  <a:pt x="62" y="564"/>
                  <a:pt x="65" y="566"/>
                </a:cubicBezTo>
                <a:cubicBezTo>
                  <a:pt x="68" y="568"/>
                  <a:pt x="71" y="565"/>
                  <a:pt x="71" y="565"/>
                </a:cubicBezTo>
                <a:cubicBezTo>
                  <a:pt x="71" y="565"/>
                  <a:pt x="79" y="567"/>
                  <a:pt x="79" y="565"/>
                </a:cubicBezTo>
                <a:cubicBezTo>
                  <a:pt x="80" y="564"/>
                  <a:pt x="76" y="555"/>
                  <a:pt x="73" y="557"/>
                </a:cubicBezTo>
                <a:cubicBezTo>
                  <a:pt x="71" y="559"/>
                  <a:pt x="65" y="556"/>
                  <a:pt x="65" y="556"/>
                </a:cubicBezTo>
                <a:cubicBezTo>
                  <a:pt x="77" y="550"/>
                  <a:pt x="77" y="550"/>
                  <a:pt x="77" y="550"/>
                </a:cubicBezTo>
                <a:cubicBezTo>
                  <a:pt x="77" y="550"/>
                  <a:pt x="79" y="544"/>
                  <a:pt x="81" y="547"/>
                </a:cubicBezTo>
                <a:cubicBezTo>
                  <a:pt x="83" y="550"/>
                  <a:pt x="81" y="550"/>
                  <a:pt x="85" y="549"/>
                </a:cubicBezTo>
                <a:cubicBezTo>
                  <a:pt x="89" y="548"/>
                  <a:pt x="89" y="548"/>
                  <a:pt x="90" y="545"/>
                </a:cubicBezTo>
                <a:cubicBezTo>
                  <a:pt x="90" y="542"/>
                  <a:pt x="88" y="536"/>
                  <a:pt x="93" y="539"/>
                </a:cubicBezTo>
                <a:cubicBezTo>
                  <a:pt x="98" y="541"/>
                  <a:pt x="96" y="537"/>
                  <a:pt x="99" y="536"/>
                </a:cubicBezTo>
                <a:cubicBezTo>
                  <a:pt x="103" y="534"/>
                  <a:pt x="106" y="533"/>
                  <a:pt x="106" y="533"/>
                </a:cubicBezTo>
                <a:cubicBezTo>
                  <a:pt x="106" y="533"/>
                  <a:pt x="110" y="541"/>
                  <a:pt x="111" y="541"/>
                </a:cubicBezTo>
                <a:cubicBezTo>
                  <a:pt x="113" y="540"/>
                  <a:pt x="113" y="534"/>
                  <a:pt x="113" y="534"/>
                </a:cubicBezTo>
                <a:cubicBezTo>
                  <a:pt x="115" y="525"/>
                  <a:pt x="115" y="525"/>
                  <a:pt x="115" y="525"/>
                </a:cubicBezTo>
                <a:cubicBezTo>
                  <a:pt x="115" y="525"/>
                  <a:pt x="113" y="518"/>
                  <a:pt x="121" y="521"/>
                </a:cubicBezTo>
                <a:cubicBezTo>
                  <a:pt x="129" y="524"/>
                  <a:pt x="129" y="526"/>
                  <a:pt x="129" y="526"/>
                </a:cubicBezTo>
                <a:cubicBezTo>
                  <a:pt x="129" y="526"/>
                  <a:pt x="128" y="535"/>
                  <a:pt x="129" y="537"/>
                </a:cubicBezTo>
                <a:cubicBezTo>
                  <a:pt x="131" y="540"/>
                  <a:pt x="137" y="534"/>
                  <a:pt x="137" y="534"/>
                </a:cubicBezTo>
                <a:cubicBezTo>
                  <a:pt x="137" y="534"/>
                  <a:pt x="142" y="531"/>
                  <a:pt x="144" y="528"/>
                </a:cubicBezTo>
                <a:cubicBezTo>
                  <a:pt x="146" y="524"/>
                  <a:pt x="154" y="515"/>
                  <a:pt x="158" y="515"/>
                </a:cubicBezTo>
                <a:cubicBezTo>
                  <a:pt x="162" y="514"/>
                  <a:pt x="163" y="511"/>
                  <a:pt x="165" y="514"/>
                </a:cubicBezTo>
                <a:cubicBezTo>
                  <a:pt x="167" y="517"/>
                  <a:pt x="171" y="517"/>
                  <a:pt x="170" y="512"/>
                </a:cubicBezTo>
                <a:cubicBezTo>
                  <a:pt x="169" y="507"/>
                  <a:pt x="164" y="508"/>
                  <a:pt x="164" y="504"/>
                </a:cubicBezTo>
                <a:cubicBezTo>
                  <a:pt x="164" y="500"/>
                  <a:pt x="168" y="497"/>
                  <a:pt x="165" y="498"/>
                </a:cubicBezTo>
                <a:cubicBezTo>
                  <a:pt x="163" y="498"/>
                  <a:pt x="154" y="501"/>
                  <a:pt x="155" y="504"/>
                </a:cubicBezTo>
                <a:cubicBezTo>
                  <a:pt x="156" y="508"/>
                  <a:pt x="129" y="519"/>
                  <a:pt x="130" y="517"/>
                </a:cubicBezTo>
                <a:cubicBezTo>
                  <a:pt x="130" y="514"/>
                  <a:pt x="134" y="510"/>
                  <a:pt x="130" y="511"/>
                </a:cubicBezTo>
                <a:cubicBezTo>
                  <a:pt x="126" y="513"/>
                  <a:pt x="119" y="514"/>
                  <a:pt x="121" y="509"/>
                </a:cubicBezTo>
                <a:cubicBezTo>
                  <a:pt x="123" y="504"/>
                  <a:pt x="130" y="501"/>
                  <a:pt x="130" y="501"/>
                </a:cubicBezTo>
                <a:cubicBezTo>
                  <a:pt x="134" y="498"/>
                  <a:pt x="134" y="498"/>
                  <a:pt x="134" y="498"/>
                </a:cubicBezTo>
                <a:cubicBezTo>
                  <a:pt x="127" y="495"/>
                  <a:pt x="127" y="495"/>
                  <a:pt x="127" y="495"/>
                </a:cubicBezTo>
                <a:cubicBezTo>
                  <a:pt x="127" y="495"/>
                  <a:pt x="134" y="489"/>
                  <a:pt x="136" y="487"/>
                </a:cubicBezTo>
                <a:cubicBezTo>
                  <a:pt x="137" y="484"/>
                  <a:pt x="144" y="477"/>
                  <a:pt x="146" y="476"/>
                </a:cubicBezTo>
                <a:cubicBezTo>
                  <a:pt x="148" y="474"/>
                  <a:pt x="146" y="471"/>
                  <a:pt x="148" y="468"/>
                </a:cubicBezTo>
                <a:cubicBezTo>
                  <a:pt x="150" y="466"/>
                  <a:pt x="150" y="459"/>
                  <a:pt x="154" y="461"/>
                </a:cubicBezTo>
                <a:cubicBezTo>
                  <a:pt x="158" y="463"/>
                  <a:pt x="158" y="470"/>
                  <a:pt x="162" y="468"/>
                </a:cubicBezTo>
                <a:cubicBezTo>
                  <a:pt x="165" y="466"/>
                  <a:pt x="164" y="459"/>
                  <a:pt x="166" y="457"/>
                </a:cubicBezTo>
                <a:cubicBezTo>
                  <a:pt x="168" y="456"/>
                  <a:pt x="169" y="447"/>
                  <a:pt x="166" y="447"/>
                </a:cubicBezTo>
                <a:cubicBezTo>
                  <a:pt x="164" y="447"/>
                  <a:pt x="162" y="443"/>
                  <a:pt x="165" y="441"/>
                </a:cubicBezTo>
                <a:cubicBezTo>
                  <a:pt x="168" y="438"/>
                  <a:pt x="169" y="423"/>
                  <a:pt x="173" y="431"/>
                </a:cubicBezTo>
                <a:cubicBezTo>
                  <a:pt x="177" y="439"/>
                  <a:pt x="174" y="432"/>
                  <a:pt x="178" y="429"/>
                </a:cubicBezTo>
                <a:cubicBezTo>
                  <a:pt x="182" y="427"/>
                  <a:pt x="182" y="429"/>
                  <a:pt x="185" y="430"/>
                </a:cubicBezTo>
                <a:cubicBezTo>
                  <a:pt x="188" y="432"/>
                  <a:pt x="187" y="429"/>
                  <a:pt x="190" y="426"/>
                </a:cubicBezTo>
                <a:cubicBezTo>
                  <a:pt x="192" y="423"/>
                  <a:pt x="192" y="419"/>
                  <a:pt x="192" y="419"/>
                </a:cubicBezTo>
                <a:cubicBezTo>
                  <a:pt x="186" y="416"/>
                  <a:pt x="186" y="416"/>
                  <a:pt x="186" y="416"/>
                </a:cubicBezTo>
                <a:cubicBezTo>
                  <a:pt x="186" y="416"/>
                  <a:pt x="183" y="403"/>
                  <a:pt x="189" y="406"/>
                </a:cubicBezTo>
                <a:cubicBezTo>
                  <a:pt x="195" y="409"/>
                  <a:pt x="196" y="410"/>
                  <a:pt x="196" y="405"/>
                </a:cubicBezTo>
                <a:cubicBezTo>
                  <a:pt x="196" y="401"/>
                  <a:pt x="194" y="399"/>
                  <a:pt x="193" y="396"/>
                </a:cubicBezTo>
                <a:cubicBezTo>
                  <a:pt x="193" y="394"/>
                  <a:pt x="189" y="391"/>
                  <a:pt x="195" y="389"/>
                </a:cubicBezTo>
                <a:cubicBezTo>
                  <a:pt x="200" y="387"/>
                  <a:pt x="189" y="388"/>
                  <a:pt x="197" y="383"/>
                </a:cubicBezTo>
                <a:cubicBezTo>
                  <a:pt x="204" y="379"/>
                  <a:pt x="195" y="376"/>
                  <a:pt x="201" y="372"/>
                </a:cubicBezTo>
                <a:cubicBezTo>
                  <a:pt x="207" y="369"/>
                  <a:pt x="191" y="367"/>
                  <a:pt x="202" y="364"/>
                </a:cubicBezTo>
                <a:cubicBezTo>
                  <a:pt x="213" y="361"/>
                  <a:pt x="210" y="353"/>
                  <a:pt x="214" y="358"/>
                </a:cubicBezTo>
                <a:cubicBezTo>
                  <a:pt x="219" y="364"/>
                  <a:pt x="232" y="361"/>
                  <a:pt x="228" y="357"/>
                </a:cubicBezTo>
                <a:cubicBezTo>
                  <a:pt x="224" y="354"/>
                  <a:pt x="218" y="354"/>
                  <a:pt x="216" y="350"/>
                </a:cubicBezTo>
                <a:cubicBezTo>
                  <a:pt x="213" y="347"/>
                  <a:pt x="209" y="340"/>
                  <a:pt x="214" y="336"/>
                </a:cubicBezTo>
                <a:cubicBezTo>
                  <a:pt x="220" y="332"/>
                  <a:pt x="217" y="329"/>
                  <a:pt x="221" y="326"/>
                </a:cubicBezTo>
                <a:cubicBezTo>
                  <a:pt x="226" y="322"/>
                  <a:pt x="218" y="320"/>
                  <a:pt x="224" y="316"/>
                </a:cubicBezTo>
                <a:cubicBezTo>
                  <a:pt x="230" y="311"/>
                  <a:pt x="228" y="306"/>
                  <a:pt x="232" y="306"/>
                </a:cubicBezTo>
                <a:cubicBezTo>
                  <a:pt x="237" y="306"/>
                  <a:pt x="241" y="304"/>
                  <a:pt x="244" y="301"/>
                </a:cubicBezTo>
                <a:cubicBezTo>
                  <a:pt x="246" y="298"/>
                  <a:pt x="241" y="296"/>
                  <a:pt x="247" y="294"/>
                </a:cubicBezTo>
                <a:cubicBezTo>
                  <a:pt x="254" y="293"/>
                  <a:pt x="255" y="293"/>
                  <a:pt x="257" y="296"/>
                </a:cubicBezTo>
                <a:cubicBezTo>
                  <a:pt x="258" y="299"/>
                  <a:pt x="258" y="297"/>
                  <a:pt x="261" y="296"/>
                </a:cubicBezTo>
                <a:cubicBezTo>
                  <a:pt x="265" y="295"/>
                  <a:pt x="264" y="290"/>
                  <a:pt x="264" y="290"/>
                </a:cubicBezTo>
                <a:cubicBezTo>
                  <a:pt x="253" y="285"/>
                  <a:pt x="253" y="285"/>
                  <a:pt x="253" y="285"/>
                </a:cubicBezTo>
                <a:cubicBezTo>
                  <a:pt x="248" y="279"/>
                  <a:pt x="248" y="279"/>
                  <a:pt x="248" y="279"/>
                </a:cubicBezTo>
                <a:cubicBezTo>
                  <a:pt x="248" y="279"/>
                  <a:pt x="249" y="270"/>
                  <a:pt x="254" y="271"/>
                </a:cubicBezTo>
                <a:cubicBezTo>
                  <a:pt x="260" y="272"/>
                  <a:pt x="261" y="272"/>
                  <a:pt x="261" y="272"/>
                </a:cubicBezTo>
                <a:cubicBezTo>
                  <a:pt x="269" y="273"/>
                  <a:pt x="269" y="273"/>
                  <a:pt x="269" y="273"/>
                </a:cubicBezTo>
                <a:cubicBezTo>
                  <a:pt x="269" y="273"/>
                  <a:pt x="277" y="266"/>
                  <a:pt x="274" y="266"/>
                </a:cubicBezTo>
                <a:cubicBezTo>
                  <a:pt x="271" y="266"/>
                  <a:pt x="265" y="267"/>
                  <a:pt x="266" y="263"/>
                </a:cubicBezTo>
                <a:cubicBezTo>
                  <a:pt x="268" y="258"/>
                  <a:pt x="270" y="253"/>
                  <a:pt x="272" y="251"/>
                </a:cubicBezTo>
                <a:cubicBezTo>
                  <a:pt x="274" y="249"/>
                  <a:pt x="262" y="249"/>
                  <a:pt x="271" y="243"/>
                </a:cubicBezTo>
                <a:cubicBezTo>
                  <a:pt x="279" y="238"/>
                  <a:pt x="272" y="229"/>
                  <a:pt x="279" y="232"/>
                </a:cubicBezTo>
                <a:cubicBezTo>
                  <a:pt x="285" y="234"/>
                  <a:pt x="283" y="234"/>
                  <a:pt x="286" y="239"/>
                </a:cubicBezTo>
                <a:cubicBezTo>
                  <a:pt x="289" y="243"/>
                  <a:pt x="289" y="243"/>
                  <a:pt x="293" y="241"/>
                </a:cubicBezTo>
                <a:cubicBezTo>
                  <a:pt x="296" y="239"/>
                  <a:pt x="295" y="232"/>
                  <a:pt x="295" y="232"/>
                </a:cubicBezTo>
                <a:cubicBezTo>
                  <a:pt x="295" y="232"/>
                  <a:pt x="293" y="222"/>
                  <a:pt x="291" y="222"/>
                </a:cubicBezTo>
                <a:cubicBezTo>
                  <a:pt x="289" y="222"/>
                  <a:pt x="283" y="216"/>
                  <a:pt x="287" y="216"/>
                </a:cubicBezTo>
                <a:cubicBezTo>
                  <a:pt x="292" y="215"/>
                  <a:pt x="297" y="206"/>
                  <a:pt x="300" y="210"/>
                </a:cubicBezTo>
                <a:cubicBezTo>
                  <a:pt x="304" y="215"/>
                  <a:pt x="299" y="207"/>
                  <a:pt x="304" y="213"/>
                </a:cubicBezTo>
                <a:cubicBezTo>
                  <a:pt x="309" y="218"/>
                  <a:pt x="307" y="216"/>
                  <a:pt x="312" y="215"/>
                </a:cubicBezTo>
                <a:cubicBezTo>
                  <a:pt x="316" y="213"/>
                  <a:pt x="318" y="209"/>
                  <a:pt x="318" y="205"/>
                </a:cubicBezTo>
                <a:cubicBezTo>
                  <a:pt x="319" y="201"/>
                  <a:pt x="318" y="192"/>
                  <a:pt x="314" y="198"/>
                </a:cubicBezTo>
                <a:cubicBezTo>
                  <a:pt x="309" y="204"/>
                  <a:pt x="307" y="202"/>
                  <a:pt x="304" y="202"/>
                </a:cubicBezTo>
                <a:cubicBezTo>
                  <a:pt x="300" y="203"/>
                  <a:pt x="300" y="195"/>
                  <a:pt x="297" y="197"/>
                </a:cubicBezTo>
                <a:cubicBezTo>
                  <a:pt x="295" y="199"/>
                  <a:pt x="292" y="192"/>
                  <a:pt x="300" y="190"/>
                </a:cubicBezTo>
                <a:cubicBezTo>
                  <a:pt x="307" y="187"/>
                  <a:pt x="293" y="191"/>
                  <a:pt x="308" y="178"/>
                </a:cubicBezTo>
                <a:cubicBezTo>
                  <a:pt x="323" y="165"/>
                  <a:pt x="320" y="163"/>
                  <a:pt x="323" y="164"/>
                </a:cubicBezTo>
                <a:cubicBezTo>
                  <a:pt x="325" y="164"/>
                  <a:pt x="325" y="161"/>
                  <a:pt x="329" y="159"/>
                </a:cubicBezTo>
                <a:cubicBezTo>
                  <a:pt x="333" y="157"/>
                  <a:pt x="332" y="153"/>
                  <a:pt x="333" y="152"/>
                </a:cubicBezTo>
                <a:cubicBezTo>
                  <a:pt x="334" y="150"/>
                  <a:pt x="334" y="147"/>
                  <a:pt x="334" y="144"/>
                </a:cubicBezTo>
                <a:cubicBezTo>
                  <a:pt x="334" y="140"/>
                  <a:pt x="335" y="136"/>
                  <a:pt x="336" y="134"/>
                </a:cubicBezTo>
                <a:cubicBezTo>
                  <a:pt x="337" y="132"/>
                  <a:pt x="338" y="127"/>
                  <a:pt x="338" y="127"/>
                </a:cubicBezTo>
                <a:cubicBezTo>
                  <a:pt x="338" y="127"/>
                  <a:pt x="340" y="135"/>
                  <a:pt x="342" y="138"/>
                </a:cubicBezTo>
                <a:cubicBezTo>
                  <a:pt x="344" y="140"/>
                  <a:pt x="345" y="133"/>
                  <a:pt x="347" y="139"/>
                </a:cubicBezTo>
                <a:cubicBezTo>
                  <a:pt x="348" y="144"/>
                  <a:pt x="348" y="143"/>
                  <a:pt x="351" y="142"/>
                </a:cubicBezTo>
                <a:cubicBezTo>
                  <a:pt x="354" y="141"/>
                  <a:pt x="355" y="138"/>
                  <a:pt x="355" y="138"/>
                </a:cubicBezTo>
                <a:cubicBezTo>
                  <a:pt x="355" y="138"/>
                  <a:pt x="349" y="126"/>
                  <a:pt x="353" y="128"/>
                </a:cubicBezTo>
                <a:cubicBezTo>
                  <a:pt x="357" y="129"/>
                  <a:pt x="360" y="128"/>
                  <a:pt x="360" y="134"/>
                </a:cubicBezTo>
                <a:cubicBezTo>
                  <a:pt x="360" y="140"/>
                  <a:pt x="362" y="134"/>
                  <a:pt x="364" y="142"/>
                </a:cubicBezTo>
                <a:cubicBezTo>
                  <a:pt x="365" y="150"/>
                  <a:pt x="368" y="148"/>
                  <a:pt x="370" y="151"/>
                </a:cubicBezTo>
                <a:cubicBezTo>
                  <a:pt x="371" y="153"/>
                  <a:pt x="375" y="151"/>
                  <a:pt x="375" y="148"/>
                </a:cubicBezTo>
                <a:cubicBezTo>
                  <a:pt x="375" y="145"/>
                  <a:pt x="372" y="137"/>
                  <a:pt x="369" y="134"/>
                </a:cubicBezTo>
                <a:cubicBezTo>
                  <a:pt x="367" y="131"/>
                  <a:pt x="364" y="125"/>
                  <a:pt x="365" y="122"/>
                </a:cubicBezTo>
                <a:cubicBezTo>
                  <a:pt x="366" y="120"/>
                  <a:pt x="361" y="114"/>
                  <a:pt x="367" y="113"/>
                </a:cubicBezTo>
                <a:cubicBezTo>
                  <a:pt x="372" y="113"/>
                  <a:pt x="374" y="111"/>
                  <a:pt x="374" y="111"/>
                </a:cubicBezTo>
                <a:cubicBezTo>
                  <a:pt x="374" y="111"/>
                  <a:pt x="376" y="122"/>
                  <a:pt x="377" y="127"/>
                </a:cubicBezTo>
                <a:cubicBezTo>
                  <a:pt x="378" y="131"/>
                  <a:pt x="383" y="121"/>
                  <a:pt x="383" y="119"/>
                </a:cubicBezTo>
                <a:cubicBezTo>
                  <a:pt x="383" y="116"/>
                  <a:pt x="381" y="110"/>
                  <a:pt x="383" y="110"/>
                </a:cubicBezTo>
                <a:cubicBezTo>
                  <a:pt x="385" y="110"/>
                  <a:pt x="383" y="105"/>
                  <a:pt x="385" y="104"/>
                </a:cubicBezTo>
                <a:cubicBezTo>
                  <a:pt x="387" y="103"/>
                  <a:pt x="392" y="96"/>
                  <a:pt x="393" y="100"/>
                </a:cubicBezTo>
                <a:cubicBezTo>
                  <a:pt x="395" y="103"/>
                  <a:pt x="392" y="113"/>
                  <a:pt x="391" y="115"/>
                </a:cubicBezTo>
                <a:cubicBezTo>
                  <a:pt x="390" y="116"/>
                  <a:pt x="389" y="119"/>
                  <a:pt x="389" y="119"/>
                </a:cubicBezTo>
                <a:cubicBezTo>
                  <a:pt x="389" y="119"/>
                  <a:pt x="388" y="138"/>
                  <a:pt x="392" y="136"/>
                </a:cubicBezTo>
                <a:cubicBezTo>
                  <a:pt x="396" y="134"/>
                  <a:pt x="394" y="129"/>
                  <a:pt x="397" y="128"/>
                </a:cubicBezTo>
                <a:cubicBezTo>
                  <a:pt x="401" y="127"/>
                  <a:pt x="391" y="126"/>
                  <a:pt x="398" y="120"/>
                </a:cubicBezTo>
                <a:cubicBezTo>
                  <a:pt x="405" y="114"/>
                  <a:pt x="403" y="111"/>
                  <a:pt x="405" y="108"/>
                </a:cubicBezTo>
                <a:cubicBezTo>
                  <a:pt x="408" y="105"/>
                  <a:pt x="401" y="102"/>
                  <a:pt x="407" y="100"/>
                </a:cubicBezTo>
                <a:cubicBezTo>
                  <a:pt x="412" y="99"/>
                  <a:pt x="407" y="107"/>
                  <a:pt x="413" y="103"/>
                </a:cubicBezTo>
                <a:cubicBezTo>
                  <a:pt x="420" y="99"/>
                  <a:pt x="415" y="94"/>
                  <a:pt x="416" y="92"/>
                </a:cubicBezTo>
                <a:cubicBezTo>
                  <a:pt x="417" y="90"/>
                  <a:pt x="425" y="100"/>
                  <a:pt x="426" y="102"/>
                </a:cubicBezTo>
                <a:cubicBezTo>
                  <a:pt x="427" y="103"/>
                  <a:pt x="428" y="99"/>
                  <a:pt x="431" y="103"/>
                </a:cubicBezTo>
                <a:cubicBezTo>
                  <a:pt x="434" y="106"/>
                  <a:pt x="434" y="111"/>
                  <a:pt x="436" y="113"/>
                </a:cubicBezTo>
                <a:cubicBezTo>
                  <a:pt x="438" y="114"/>
                  <a:pt x="441" y="105"/>
                  <a:pt x="439" y="101"/>
                </a:cubicBezTo>
                <a:cubicBezTo>
                  <a:pt x="436" y="96"/>
                  <a:pt x="439" y="91"/>
                  <a:pt x="439" y="91"/>
                </a:cubicBezTo>
                <a:cubicBezTo>
                  <a:pt x="439" y="91"/>
                  <a:pt x="436" y="86"/>
                  <a:pt x="435" y="86"/>
                </a:cubicBezTo>
                <a:cubicBezTo>
                  <a:pt x="433" y="85"/>
                  <a:pt x="431" y="77"/>
                  <a:pt x="431" y="77"/>
                </a:cubicBezTo>
                <a:cubicBezTo>
                  <a:pt x="437" y="68"/>
                  <a:pt x="437" y="68"/>
                  <a:pt x="437" y="68"/>
                </a:cubicBezTo>
                <a:cubicBezTo>
                  <a:pt x="442" y="75"/>
                  <a:pt x="442" y="75"/>
                  <a:pt x="442" y="75"/>
                </a:cubicBezTo>
                <a:cubicBezTo>
                  <a:pt x="442" y="75"/>
                  <a:pt x="441" y="87"/>
                  <a:pt x="445" y="85"/>
                </a:cubicBezTo>
                <a:cubicBezTo>
                  <a:pt x="449" y="83"/>
                  <a:pt x="450" y="83"/>
                  <a:pt x="451" y="78"/>
                </a:cubicBezTo>
                <a:cubicBezTo>
                  <a:pt x="452" y="74"/>
                  <a:pt x="456" y="74"/>
                  <a:pt x="456" y="74"/>
                </a:cubicBezTo>
                <a:cubicBezTo>
                  <a:pt x="456" y="74"/>
                  <a:pt x="452" y="78"/>
                  <a:pt x="458" y="78"/>
                </a:cubicBezTo>
                <a:cubicBezTo>
                  <a:pt x="464" y="77"/>
                  <a:pt x="466" y="75"/>
                  <a:pt x="464" y="80"/>
                </a:cubicBezTo>
                <a:cubicBezTo>
                  <a:pt x="463" y="85"/>
                  <a:pt x="460" y="84"/>
                  <a:pt x="462" y="89"/>
                </a:cubicBezTo>
                <a:cubicBezTo>
                  <a:pt x="463" y="94"/>
                  <a:pt x="463" y="96"/>
                  <a:pt x="467" y="94"/>
                </a:cubicBezTo>
                <a:cubicBezTo>
                  <a:pt x="471" y="92"/>
                  <a:pt x="473" y="83"/>
                  <a:pt x="472" y="77"/>
                </a:cubicBezTo>
                <a:cubicBezTo>
                  <a:pt x="471" y="72"/>
                  <a:pt x="469" y="74"/>
                  <a:pt x="474" y="71"/>
                </a:cubicBezTo>
                <a:cubicBezTo>
                  <a:pt x="478" y="67"/>
                  <a:pt x="479" y="66"/>
                  <a:pt x="482" y="62"/>
                </a:cubicBezTo>
                <a:cubicBezTo>
                  <a:pt x="484" y="58"/>
                  <a:pt x="483" y="58"/>
                  <a:pt x="485" y="54"/>
                </a:cubicBezTo>
                <a:cubicBezTo>
                  <a:pt x="487" y="51"/>
                  <a:pt x="492" y="53"/>
                  <a:pt x="492" y="53"/>
                </a:cubicBezTo>
                <a:cubicBezTo>
                  <a:pt x="492" y="53"/>
                  <a:pt x="494" y="54"/>
                  <a:pt x="497" y="55"/>
                </a:cubicBezTo>
                <a:cubicBezTo>
                  <a:pt x="501" y="56"/>
                  <a:pt x="503" y="49"/>
                  <a:pt x="501" y="44"/>
                </a:cubicBezTo>
                <a:cubicBezTo>
                  <a:pt x="498" y="39"/>
                  <a:pt x="508" y="28"/>
                  <a:pt x="503" y="27"/>
                </a:cubicBezTo>
                <a:cubicBezTo>
                  <a:pt x="497" y="26"/>
                  <a:pt x="498" y="21"/>
                  <a:pt x="501" y="19"/>
                </a:cubicBezTo>
                <a:cubicBezTo>
                  <a:pt x="503" y="17"/>
                  <a:pt x="503" y="11"/>
                  <a:pt x="503" y="11"/>
                </a:cubicBezTo>
                <a:cubicBezTo>
                  <a:pt x="511" y="14"/>
                  <a:pt x="511" y="14"/>
                  <a:pt x="511" y="14"/>
                </a:cubicBezTo>
                <a:cubicBezTo>
                  <a:pt x="516" y="18"/>
                  <a:pt x="516" y="18"/>
                  <a:pt x="516" y="18"/>
                </a:cubicBezTo>
                <a:cubicBezTo>
                  <a:pt x="516" y="18"/>
                  <a:pt x="517" y="17"/>
                  <a:pt x="517" y="23"/>
                </a:cubicBezTo>
                <a:cubicBezTo>
                  <a:pt x="517" y="29"/>
                  <a:pt x="520" y="24"/>
                  <a:pt x="521" y="25"/>
                </a:cubicBezTo>
                <a:cubicBezTo>
                  <a:pt x="523" y="25"/>
                  <a:pt x="518" y="20"/>
                  <a:pt x="525" y="22"/>
                </a:cubicBezTo>
                <a:cubicBezTo>
                  <a:pt x="532" y="25"/>
                  <a:pt x="532" y="28"/>
                  <a:pt x="529" y="31"/>
                </a:cubicBezTo>
                <a:cubicBezTo>
                  <a:pt x="525" y="35"/>
                  <a:pt x="519" y="43"/>
                  <a:pt x="519" y="47"/>
                </a:cubicBezTo>
                <a:cubicBezTo>
                  <a:pt x="520" y="51"/>
                  <a:pt x="520" y="55"/>
                  <a:pt x="518" y="60"/>
                </a:cubicBezTo>
                <a:cubicBezTo>
                  <a:pt x="516" y="65"/>
                  <a:pt x="515" y="66"/>
                  <a:pt x="516" y="69"/>
                </a:cubicBezTo>
                <a:cubicBezTo>
                  <a:pt x="517" y="73"/>
                  <a:pt x="512" y="74"/>
                  <a:pt x="512" y="77"/>
                </a:cubicBezTo>
                <a:cubicBezTo>
                  <a:pt x="512" y="80"/>
                  <a:pt x="519" y="80"/>
                  <a:pt x="519" y="80"/>
                </a:cubicBezTo>
                <a:cubicBezTo>
                  <a:pt x="524" y="69"/>
                  <a:pt x="524" y="69"/>
                  <a:pt x="524" y="69"/>
                </a:cubicBezTo>
                <a:cubicBezTo>
                  <a:pt x="524" y="69"/>
                  <a:pt x="524" y="68"/>
                  <a:pt x="524" y="63"/>
                </a:cubicBezTo>
                <a:cubicBezTo>
                  <a:pt x="525" y="58"/>
                  <a:pt x="532" y="54"/>
                  <a:pt x="532" y="54"/>
                </a:cubicBezTo>
                <a:cubicBezTo>
                  <a:pt x="532" y="54"/>
                  <a:pt x="534" y="51"/>
                  <a:pt x="536" y="46"/>
                </a:cubicBezTo>
                <a:cubicBezTo>
                  <a:pt x="538" y="41"/>
                  <a:pt x="538" y="45"/>
                  <a:pt x="540" y="39"/>
                </a:cubicBezTo>
                <a:cubicBezTo>
                  <a:pt x="542" y="32"/>
                  <a:pt x="550" y="30"/>
                  <a:pt x="550" y="26"/>
                </a:cubicBezTo>
                <a:cubicBezTo>
                  <a:pt x="550" y="22"/>
                  <a:pt x="551" y="19"/>
                  <a:pt x="553" y="18"/>
                </a:cubicBezTo>
                <a:cubicBezTo>
                  <a:pt x="555" y="17"/>
                  <a:pt x="557" y="12"/>
                  <a:pt x="558" y="21"/>
                </a:cubicBezTo>
                <a:cubicBezTo>
                  <a:pt x="558" y="31"/>
                  <a:pt x="560" y="29"/>
                  <a:pt x="556" y="35"/>
                </a:cubicBezTo>
                <a:cubicBezTo>
                  <a:pt x="551" y="41"/>
                  <a:pt x="544" y="41"/>
                  <a:pt x="550" y="42"/>
                </a:cubicBezTo>
                <a:cubicBezTo>
                  <a:pt x="556" y="43"/>
                  <a:pt x="560" y="41"/>
                  <a:pt x="559" y="45"/>
                </a:cubicBezTo>
                <a:cubicBezTo>
                  <a:pt x="557" y="48"/>
                  <a:pt x="549" y="51"/>
                  <a:pt x="554" y="54"/>
                </a:cubicBezTo>
                <a:cubicBezTo>
                  <a:pt x="559" y="58"/>
                  <a:pt x="560" y="53"/>
                  <a:pt x="563" y="53"/>
                </a:cubicBezTo>
                <a:cubicBezTo>
                  <a:pt x="565" y="52"/>
                  <a:pt x="568" y="48"/>
                  <a:pt x="568" y="48"/>
                </a:cubicBezTo>
                <a:cubicBezTo>
                  <a:pt x="568" y="40"/>
                  <a:pt x="568" y="40"/>
                  <a:pt x="568" y="40"/>
                </a:cubicBezTo>
                <a:cubicBezTo>
                  <a:pt x="568" y="40"/>
                  <a:pt x="569" y="30"/>
                  <a:pt x="571" y="31"/>
                </a:cubicBezTo>
                <a:cubicBezTo>
                  <a:pt x="573" y="32"/>
                  <a:pt x="572" y="30"/>
                  <a:pt x="573" y="28"/>
                </a:cubicBezTo>
                <a:cubicBezTo>
                  <a:pt x="575" y="27"/>
                  <a:pt x="580" y="22"/>
                  <a:pt x="579" y="19"/>
                </a:cubicBezTo>
                <a:cubicBezTo>
                  <a:pt x="578" y="17"/>
                  <a:pt x="572" y="15"/>
                  <a:pt x="577" y="12"/>
                </a:cubicBezTo>
                <a:cubicBezTo>
                  <a:pt x="581" y="9"/>
                  <a:pt x="581" y="6"/>
                  <a:pt x="584" y="6"/>
                </a:cubicBezTo>
                <a:cubicBezTo>
                  <a:pt x="586" y="6"/>
                  <a:pt x="578" y="0"/>
                  <a:pt x="585" y="1"/>
                </a:cubicBezTo>
                <a:cubicBezTo>
                  <a:pt x="591" y="2"/>
                  <a:pt x="586" y="5"/>
                  <a:pt x="590" y="5"/>
                </a:cubicBezTo>
                <a:cubicBezTo>
                  <a:pt x="594" y="5"/>
                  <a:pt x="591" y="1"/>
                  <a:pt x="595" y="3"/>
                </a:cubicBezTo>
                <a:cubicBezTo>
                  <a:pt x="599" y="5"/>
                  <a:pt x="598" y="10"/>
                  <a:pt x="598" y="13"/>
                </a:cubicBezTo>
                <a:cubicBezTo>
                  <a:pt x="598" y="15"/>
                  <a:pt x="601" y="14"/>
                  <a:pt x="601" y="14"/>
                </a:cubicBezTo>
                <a:cubicBezTo>
                  <a:pt x="605" y="17"/>
                  <a:pt x="605" y="17"/>
                  <a:pt x="605" y="17"/>
                </a:cubicBezTo>
                <a:cubicBezTo>
                  <a:pt x="602" y="24"/>
                  <a:pt x="602" y="24"/>
                  <a:pt x="602" y="24"/>
                </a:cubicBezTo>
                <a:cubicBezTo>
                  <a:pt x="602" y="24"/>
                  <a:pt x="592" y="25"/>
                  <a:pt x="590" y="26"/>
                </a:cubicBezTo>
                <a:cubicBezTo>
                  <a:pt x="588" y="27"/>
                  <a:pt x="579" y="33"/>
                  <a:pt x="585" y="34"/>
                </a:cubicBezTo>
                <a:cubicBezTo>
                  <a:pt x="591" y="34"/>
                  <a:pt x="595" y="34"/>
                  <a:pt x="595" y="34"/>
                </a:cubicBezTo>
                <a:cubicBezTo>
                  <a:pt x="585" y="43"/>
                  <a:pt x="585" y="43"/>
                  <a:pt x="585" y="43"/>
                </a:cubicBezTo>
                <a:cubicBezTo>
                  <a:pt x="585" y="43"/>
                  <a:pt x="589" y="53"/>
                  <a:pt x="591" y="53"/>
                </a:cubicBezTo>
                <a:cubicBezTo>
                  <a:pt x="594" y="53"/>
                  <a:pt x="595" y="67"/>
                  <a:pt x="596" y="68"/>
                </a:cubicBezTo>
                <a:cubicBezTo>
                  <a:pt x="597" y="69"/>
                  <a:pt x="603" y="55"/>
                  <a:pt x="605" y="52"/>
                </a:cubicBezTo>
                <a:cubicBezTo>
                  <a:pt x="606" y="50"/>
                  <a:pt x="599" y="52"/>
                  <a:pt x="601" y="46"/>
                </a:cubicBezTo>
                <a:cubicBezTo>
                  <a:pt x="602" y="41"/>
                  <a:pt x="605" y="36"/>
                  <a:pt x="609" y="37"/>
                </a:cubicBezTo>
                <a:cubicBezTo>
                  <a:pt x="613" y="38"/>
                  <a:pt x="605" y="32"/>
                  <a:pt x="612" y="29"/>
                </a:cubicBezTo>
                <a:cubicBezTo>
                  <a:pt x="618" y="26"/>
                  <a:pt x="608" y="15"/>
                  <a:pt x="616" y="22"/>
                </a:cubicBezTo>
                <a:cubicBezTo>
                  <a:pt x="623" y="28"/>
                  <a:pt x="618" y="22"/>
                  <a:pt x="624" y="33"/>
                </a:cubicBezTo>
                <a:cubicBezTo>
                  <a:pt x="630" y="44"/>
                  <a:pt x="636" y="40"/>
                  <a:pt x="638" y="40"/>
                </a:cubicBezTo>
                <a:cubicBezTo>
                  <a:pt x="640" y="39"/>
                  <a:pt x="641" y="31"/>
                  <a:pt x="644" y="34"/>
                </a:cubicBezTo>
                <a:cubicBezTo>
                  <a:pt x="647" y="36"/>
                  <a:pt x="648" y="34"/>
                  <a:pt x="648" y="34"/>
                </a:cubicBezTo>
                <a:cubicBezTo>
                  <a:pt x="648" y="34"/>
                  <a:pt x="643" y="48"/>
                  <a:pt x="646" y="50"/>
                </a:cubicBezTo>
                <a:cubicBezTo>
                  <a:pt x="648" y="52"/>
                  <a:pt x="649" y="50"/>
                  <a:pt x="654" y="48"/>
                </a:cubicBezTo>
                <a:cubicBezTo>
                  <a:pt x="659" y="46"/>
                  <a:pt x="661" y="49"/>
                  <a:pt x="662" y="53"/>
                </a:cubicBezTo>
                <a:cubicBezTo>
                  <a:pt x="663" y="57"/>
                  <a:pt x="671" y="55"/>
                  <a:pt x="668" y="61"/>
                </a:cubicBezTo>
                <a:cubicBezTo>
                  <a:pt x="666" y="66"/>
                  <a:pt x="663" y="71"/>
                  <a:pt x="663" y="71"/>
                </a:cubicBezTo>
                <a:cubicBezTo>
                  <a:pt x="663" y="71"/>
                  <a:pt x="658" y="64"/>
                  <a:pt x="653" y="72"/>
                </a:cubicBezTo>
                <a:cubicBezTo>
                  <a:pt x="648" y="80"/>
                  <a:pt x="642" y="78"/>
                  <a:pt x="642" y="78"/>
                </a:cubicBezTo>
                <a:cubicBezTo>
                  <a:pt x="642" y="78"/>
                  <a:pt x="638" y="67"/>
                  <a:pt x="633" y="73"/>
                </a:cubicBezTo>
                <a:cubicBezTo>
                  <a:pt x="629" y="78"/>
                  <a:pt x="630" y="78"/>
                  <a:pt x="625" y="75"/>
                </a:cubicBezTo>
                <a:cubicBezTo>
                  <a:pt x="620" y="72"/>
                  <a:pt x="624" y="64"/>
                  <a:pt x="620" y="70"/>
                </a:cubicBezTo>
                <a:cubicBezTo>
                  <a:pt x="616" y="77"/>
                  <a:pt x="615" y="72"/>
                  <a:pt x="612" y="74"/>
                </a:cubicBezTo>
                <a:cubicBezTo>
                  <a:pt x="609" y="76"/>
                  <a:pt x="603" y="72"/>
                  <a:pt x="613" y="80"/>
                </a:cubicBezTo>
                <a:cubicBezTo>
                  <a:pt x="624" y="88"/>
                  <a:pt x="625" y="90"/>
                  <a:pt x="625" y="90"/>
                </a:cubicBezTo>
                <a:cubicBezTo>
                  <a:pt x="630" y="94"/>
                  <a:pt x="630" y="94"/>
                  <a:pt x="630" y="94"/>
                </a:cubicBezTo>
                <a:cubicBezTo>
                  <a:pt x="630" y="94"/>
                  <a:pt x="640" y="96"/>
                  <a:pt x="637" y="99"/>
                </a:cubicBezTo>
                <a:cubicBezTo>
                  <a:pt x="634" y="102"/>
                  <a:pt x="645" y="106"/>
                  <a:pt x="645" y="106"/>
                </a:cubicBezTo>
                <a:cubicBezTo>
                  <a:pt x="645" y="106"/>
                  <a:pt x="632" y="112"/>
                  <a:pt x="638" y="114"/>
                </a:cubicBezTo>
                <a:cubicBezTo>
                  <a:pt x="643" y="116"/>
                  <a:pt x="639" y="126"/>
                  <a:pt x="643" y="127"/>
                </a:cubicBezTo>
                <a:cubicBezTo>
                  <a:pt x="647" y="128"/>
                  <a:pt x="649" y="121"/>
                  <a:pt x="649" y="121"/>
                </a:cubicBezTo>
                <a:cubicBezTo>
                  <a:pt x="649" y="121"/>
                  <a:pt x="639" y="106"/>
                  <a:pt x="648" y="108"/>
                </a:cubicBezTo>
                <a:cubicBezTo>
                  <a:pt x="658" y="110"/>
                  <a:pt x="651" y="105"/>
                  <a:pt x="655" y="104"/>
                </a:cubicBezTo>
                <a:cubicBezTo>
                  <a:pt x="659" y="104"/>
                  <a:pt x="659" y="106"/>
                  <a:pt x="662" y="108"/>
                </a:cubicBezTo>
                <a:cubicBezTo>
                  <a:pt x="663" y="109"/>
                  <a:pt x="663" y="109"/>
                  <a:pt x="663" y="10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51" name="Freeform 485"/>
          <p:cNvSpPr>
            <a:spLocks/>
          </p:cNvSpPr>
          <p:nvPr userDrawn="1"/>
        </p:nvSpPr>
        <p:spPr bwMode="auto">
          <a:xfrm>
            <a:off x="5999884" y="3991215"/>
            <a:ext cx="18427" cy="16751"/>
          </a:xfrm>
          <a:custGeom>
            <a:avLst/>
            <a:gdLst>
              <a:gd name="T0" fmla="*/ 2147483646 w 19"/>
              <a:gd name="T1" fmla="*/ 0 h 18"/>
              <a:gd name="T2" fmla="*/ 2147483646 w 19"/>
              <a:gd name="T3" fmla="*/ 2147483646 h 18"/>
              <a:gd name="T4" fmla="*/ 2147483646 w 19"/>
              <a:gd name="T5" fmla="*/ 2147483646 h 18"/>
              <a:gd name="T6" fmla="*/ 2147483646 w 19"/>
              <a:gd name="T7" fmla="*/ 2147483646 h 18"/>
              <a:gd name="T8" fmla="*/ 2147483646 w 19"/>
              <a:gd name="T9" fmla="*/ 2147483646 h 18"/>
              <a:gd name="T10" fmla="*/ 2147483646 w 19"/>
              <a:gd name="T11" fmla="*/ 2147483646 h 18"/>
              <a:gd name="T12" fmla="*/ 2147483646 w 19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9"/>
              <a:gd name="T22" fmla="*/ 0 h 18"/>
              <a:gd name="T23" fmla="*/ 19 w 19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9" h="18">
                <a:moveTo>
                  <a:pt x="10" y="0"/>
                </a:moveTo>
                <a:cubicBezTo>
                  <a:pt x="8" y="4"/>
                  <a:pt x="11" y="6"/>
                  <a:pt x="7" y="8"/>
                </a:cubicBezTo>
                <a:cubicBezTo>
                  <a:pt x="4" y="10"/>
                  <a:pt x="0" y="6"/>
                  <a:pt x="4" y="10"/>
                </a:cubicBezTo>
                <a:cubicBezTo>
                  <a:pt x="8" y="15"/>
                  <a:pt x="14" y="18"/>
                  <a:pt x="16" y="16"/>
                </a:cubicBezTo>
                <a:cubicBezTo>
                  <a:pt x="18" y="15"/>
                  <a:pt x="19" y="14"/>
                  <a:pt x="19" y="11"/>
                </a:cubicBezTo>
                <a:cubicBezTo>
                  <a:pt x="19" y="9"/>
                  <a:pt x="17" y="5"/>
                  <a:pt x="15" y="5"/>
                </a:cubicBezTo>
                <a:cubicBezTo>
                  <a:pt x="14" y="5"/>
                  <a:pt x="10" y="0"/>
                  <a:pt x="1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52" name="Freeform 486"/>
          <p:cNvSpPr>
            <a:spLocks/>
          </p:cNvSpPr>
          <p:nvPr userDrawn="1"/>
        </p:nvSpPr>
        <p:spPr bwMode="auto">
          <a:xfrm>
            <a:off x="6008261" y="3979491"/>
            <a:ext cx="8375" cy="11725"/>
          </a:xfrm>
          <a:custGeom>
            <a:avLst/>
            <a:gdLst>
              <a:gd name="T0" fmla="*/ 2147483646 w 10"/>
              <a:gd name="T1" fmla="*/ 0 h 11"/>
              <a:gd name="T2" fmla="*/ 2147483646 w 10"/>
              <a:gd name="T3" fmla="*/ 2147483646 h 11"/>
              <a:gd name="T4" fmla="*/ 2147483646 w 10"/>
              <a:gd name="T5" fmla="*/ 2147483646 h 11"/>
              <a:gd name="T6" fmla="*/ 2147483646 w 10"/>
              <a:gd name="T7" fmla="*/ 2147483646 h 11"/>
              <a:gd name="T8" fmla="*/ 2147483646 w 10"/>
              <a:gd name="T9" fmla="*/ 0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"/>
              <a:gd name="T16" fmla="*/ 0 h 11"/>
              <a:gd name="T17" fmla="*/ 10 w 10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" h="11">
                <a:moveTo>
                  <a:pt x="3" y="0"/>
                </a:moveTo>
                <a:cubicBezTo>
                  <a:pt x="3" y="2"/>
                  <a:pt x="0" y="4"/>
                  <a:pt x="4" y="7"/>
                </a:cubicBezTo>
                <a:cubicBezTo>
                  <a:pt x="8" y="9"/>
                  <a:pt x="9" y="11"/>
                  <a:pt x="9" y="9"/>
                </a:cubicBezTo>
                <a:cubicBezTo>
                  <a:pt x="10" y="7"/>
                  <a:pt x="9" y="4"/>
                  <a:pt x="9" y="3"/>
                </a:cubicBezTo>
                <a:cubicBezTo>
                  <a:pt x="9" y="2"/>
                  <a:pt x="3" y="0"/>
                  <a:pt x="3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53" name="Freeform 487"/>
          <p:cNvSpPr>
            <a:spLocks/>
          </p:cNvSpPr>
          <p:nvPr userDrawn="1"/>
        </p:nvSpPr>
        <p:spPr bwMode="auto">
          <a:xfrm>
            <a:off x="5812274" y="3996241"/>
            <a:ext cx="78729" cy="51928"/>
          </a:xfrm>
          <a:custGeom>
            <a:avLst/>
            <a:gdLst>
              <a:gd name="T0" fmla="*/ 2147483646 w 84"/>
              <a:gd name="T1" fmla="*/ 2147483646 h 55"/>
              <a:gd name="T2" fmla="*/ 2147483646 w 84"/>
              <a:gd name="T3" fmla="*/ 2147483646 h 55"/>
              <a:gd name="T4" fmla="*/ 2147483646 w 84"/>
              <a:gd name="T5" fmla="*/ 2147483646 h 55"/>
              <a:gd name="T6" fmla="*/ 2147483646 w 84"/>
              <a:gd name="T7" fmla="*/ 2147483646 h 55"/>
              <a:gd name="T8" fmla="*/ 2147483646 w 84"/>
              <a:gd name="T9" fmla="*/ 2147483646 h 55"/>
              <a:gd name="T10" fmla="*/ 2147483646 w 84"/>
              <a:gd name="T11" fmla="*/ 2147483646 h 55"/>
              <a:gd name="T12" fmla="*/ 2147483646 w 84"/>
              <a:gd name="T13" fmla="*/ 2147483646 h 55"/>
              <a:gd name="T14" fmla="*/ 2147483646 w 84"/>
              <a:gd name="T15" fmla="*/ 2147483646 h 55"/>
              <a:gd name="T16" fmla="*/ 2147483646 w 84"/>
              <a:gd name="T17" fmla="*/ 2147483646 h 55"/>
              <a:gd name="T18" fmla="*/ 2147483646 w 84"/>
              <a:gd name="T19" fmla="*/ 2147483646 h 55"/>
              <a:gd name="T20" fmla="*/ 2147483646 w 84"/>
              <a:gd name="T21" fmla="*/ 2147483646 h 55"/>
              <a:gd name="T22" fmla="*/ 2147483646 w 84"/>
              <a:gd name="T23" fmla="*/ 2147483646 h 55"/>
              <a:gd name="T24" fmla="*/ 2147483646 w 84"/>
              <a:gd name="T25" fmla="*/ 2147483646 h 55"/>
              <a:gd name="T26" fmla="*/ 2147483646 w 84"/>
              <a:gd name="T27" fmla="*/ 2147483646 h 55"/>
              <a:gd name="T28" fmla="*/ 2147483646 w 84"/>
              <a:gd name="T29" fmla="*/ 2147483646 h 55"/>
              <a:gd name="T30" fmla="*/ 2147483646 w 84"/>
              <a:gd name="T31" fmla="*/ 2147483646 h 55"/>
              <a:gd name="T32" fmla="*/ 2147483646 w 84"/>
              <a:gd name="T33" fmla="*/ 2147483646 h 55"/>
              <a:gd name="T34" fmla="*/ 2147483646 w 84"/>
              <a:gd name="T35" fmla="*/ 2147483646 h 5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84"/>
              <a:gd name="T55" fmla="*/ 0 h 55"/>
              <a:gd name="T56" fmla="*/ 84 w 84"/>
              <a:gd name="T57" fmla="*/ 55 h 5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84" h="55">
                <a:moveTo>
                  <a:pt x="82" y="4"/>
                </a:moveTo>
                <a:cubicBezTo>
                  <a:pt x="80" y="1"/>
                  <a:pt x="78" y="2"/>
                  <a:pt x="73" y="5"/>
                </a:cubicBezTo>
                <a:cubicBezTo>
                  <a:pt x="69" y="8"/>
                  <a:pt x="62" y="7"/>
                  <a:pt x="59" y="8"/>
                </a:cubicBezTo>
                <a:cubicBezTo>
                  <a:pt x="55" y="9"/>
                  <a:pt x="48" y="12"/>
                  <a:pt x="44" y="11"/>
                </a:cubicBezTo>
                <a:cubicBezTo>
                  <a:pt x="41" y="11"/>
                  <a:pt x="37" y="11"/>
                  <a:pt x="33" y="8"/>
                </a:cubicBezTo>
                <a:cubicBezTo>
                  <a:pt x="28" y="5"/>
                  <a:pt x="24" y="0"/>
                  <a:pt x="21" y="4"/>
                </a:cubicBezTo>
                <a:cubicBezTo>
                  <a:pt x="19" y="8"/>
                  <a:pt x="13" y="10"/>
                  <a:pt x="13" y="10"/>
                </a:cubicBezTo>
                <a:cubicBezTo>
                  <a:pt x="13" y="10"/>
                  <a:pt x="0" y="13"/>
                  <a:pt x="3" y="17"/>
                </a:cubicBezTo>
                <a:cubicBezTo>
                  <a:pt x="7" y="21"/>
                  <a:pt x="7" y="19"/>
                  <a:pt x="15" y="22"/>
                </a:cubicBezTo>
                <a:cubicBezTo>
                  <a:pt x="23" y="26"/>
                  <a:pt x="23" y="25"/>
                  <a:pt x="28" y="31"/>
                </a:cubicBezTo>
                <a:cubicBezTo>
                  <a:pt x="33" y="37"/>
                  <a:pt x="35" y="41"/>
                  <a:pt x="40" y="43"/>
                </a:cubicBezTo>
                <a:cubicBezTo>
                  <a:pt x="46" y="45"/>
                  <a:pt x="47" y="38"/>
                  <a:pt x="50" y="41"/>
                </a:cubicBezTo>
                <a:cubicBezTo>
                  <a:pt x="54" y="44"/>
                  <a:pt x="52" y="46"/>
                  <a:pt x="58" y="49"/>
                </a:cubicBezTo>
                <a:cubicBezTo>
                  <a:pt x="64" y="53"/>
                  <a:pt x="63" y="54"/>
                  <a:pt x="68" y="54"/>
                </a:cubicBezTo>
                <a:cubicBezTo>
                  <a:pt x="74" y="55"/>
                  <a:pt x="76" y="52"/>
                  <a:pt x="76" y="47"/>
                </a:cubicBezTo>
                <a:cubicBezTo>
                  <a:pt x="76" y="43"/>
                  <a:pt x="79" y="38"/>
                  <a:pt x="77" y="35"/>
                </a:cubicBezTo>
                <a:cubicBezTo>
                  <a:pt x="75" y="33"/>
                  <a:pt x="70" y="32"/>
                  <a:pt x="73" y="27"/>
                </a:cubicBezTo>
                <a:cubicBezTo>
                  <a:pt x="75" y="23"/>
                  <a:pt x="84" y="8"/>
                  <a:pt x="82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54" name="Freeform 488"/>
          <p:cNvSpPr>
            <a:spLocks/>
          </p:cNvSpPr>
          <p:nvPr userDrawn="1"/>
        </p:nvSpPr>
        <p:spPr bwMode="auto">
          <a:xfrm>
            <a:off x="5721819" y="3843807"/>
            <a:ext cx="25127" cy="55279"/>
          </a:xfrm>
          <a:custGeom>
            <a:avLst/>
            <a:gdLst>
              <a:gd name="T0" fmla="*/ 2147483646 w 27"/>
              <a:gd name="T1" fmla="*/ 0 h 60"/>
              <a:gd name="T2" fmla="*/ 2147483646 w 27"/>
              <a:gd name="T3" fmla="*/ 2147483646 h 60"/>
              <a:gd name="T4" fmla="*/ 2147483646 w 27"/>
              <a:gd name="T5" fmla="*/ 2147483646 h 60"/>
              <a:gd name="T6" fmla="*/ 2147483646 w 27"/>
              <a:gd name="T7" fmla="*/ 2147483646 h 60"/>
              <a:gd name="T8" fmla="*/ 2147483646 w 27"/>
              <a:gd name="T9" fmla="*/ 2147483646 h 60"/>
              <a:gd name="T10" fmla="*/ 2147483646 w 27"/>
              <a:gd name="T11" fmla="*/ 2147483646 h 60"/>
              <a:gd name="T12" fmla="*/ 2147483646 w 27"/>
              <a:gd name="T13" fmla="*/ 2147483646 h 60"/>
              <a:gd name="T14" fmla="*/ 2147483646 w 27"/>
              <a:gd name="T15" fmla="*/ 2147483646 h 60"/>
              <a:gd name="T16" fmla="*/ 2147483646 w 27"/>
              <a:gd name="T17" fmla="*/ 2147483646 h 60"/>
              <a:gd name="T18" fmla="*/ 2147483646 w 27"/>
              <a:gd name="T19" fmla="*/ 2147483646 h 60"/>
              <a:gd name="T20" fmla="*/ 2147483646 w 27"/>
              <a:gd name="T21" fmla="*/ 2147483646 h 60"/>
              <a:gd name="T22" fmla="*/ 2147483646 w 27"/>
              <a:gd name="T23" fmla="*/ 2147483646 h 60"/>
              <a:gd name="T24" fmla="*/ 2147483646 w 27"/>
              <a:gd name="T25" fmla="*/ 2147483646 h 60"/>
              <a:gd name="T26" fmla="*/ 2147483646 w 27"/>
              <a:gd name="T27" fmla="*/ 2147483646 h 60"/>
              <a:gd name="T28" fmla="*/ 2147483646 w 27"/>
              <a:gd name="T29" fmla="*/ 0 h 6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7"/>
              <a:gd name="T46" fmla="*/ 0 h 60"/>
              <a:gd name="T47" fmla="*/ 27 w 27"/>
              <a:gd name="T48" fmla="*/ 60 h 6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7" h="60">
                <a:moveTo>
                  <a:pt x="22" y="0"/>
                </a:moveTo>
                <a:cubicBezTo>
                  <a:pt x="19" y="0"/>
                  <a:pt x="18" y="3"/>
                  <a:pt x="19" y="5"/>
                </a:cubicBezTo>
                <a:cubicBezTo>
                  <a:pt x="19" y="8"/>
                  <a:pt x="21" y="13"/>
                  <a:pt x="18" y="13"/>
                </a:cubicBezTo>
                <a:cubicBezTo>
                  <a:pt x="16" y="12"/>
                  <a:pt x="14" y="8"/>
                  <a:pt x="12" y="13"/>
                </a:cubicBezTo>
                <a:cubicBezTo>
                  <a:pt x="10" y="17"/>
                  <a:pt x="7" y="19"/>
                  <a:pt x="5" y="21"/>
                </a:cubicBezTo>
                <a:cubicBezTo>
                  <a:pt x="3" y="22"/>
                  <a:pt x="0" y="20"/>
                  <a:pt x="1" y="24"/>
                </a:cubicBezTo>
                <a:cubicBezTo>
                  <a:pt x="1" y="28"/>
                  <a:pt x="2" y="32"/>
                  <a:pt x="3" y="33"/>
                </a:cubicBezTo>
                <a:cubicBezTo>
                  <a:pt x="5" y="34"/>
                  <a:pt x="6" y="36"/>
                  <a:pt x="5" y="40"/>
                </a:cubicBezTo>
                <a:cubicBezTo>
                  <a:pt x="4" y="44"/>
                  <a:pt x="3" y="48"/>
                  <a:pt x="6" y="50"/>
                </a:cubicBezTo>
                <a:cubicBezTo>
                  <a:pt x="9" y="51"/>
                  <a:pt x="9" y="47"/>
                  <a:pt x="9" y="51"/>
                </a:cubicBezTo>
                <a:cubicBezTo>
                  <a:pt x="9" y="55"/>
                  <a:pt x="9" y="57"/>
                  <a:pt x="11" y="59"/>
                </a:cubicBezTo>
                <a:cubicBezTo>
                  <a:pt x="14" y="60"/>
                  <a:pt x="16" y="60"/>
                  <a:pt x="17" y="59"/>
                </a:cubicBezTo>
                <a:cubicBezTo>
                  <a:pt x="19" y="57"/>
                  <a:pt x="25" y="39"/>
                  <a:pt x="26" y="33"/>
                </a:cubicBezTo>
                <a:cubicBezTo>
                  <a:pt x="27" y="27"/>
                  <a:pt x="26" y="20"/>
                  <a:pt x="24" y="17"/>
                </a:cubicBezTo>
                <a:cubicBezTo>
                  <a:pt x="22" y="14"/>
                  <a:pt x="22" y="0"/>
                  <a:pt x="22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55" name="Freeform 489"/>
          <p:cNvSpPr>
            <a:spLocks/>
          </p:cNvSpPr>
          <p:nvPr userDrawn="1"/>
        </p:nvSpPr>
        <p:spPr bwMode="auto">
          <a:xfrm>
            <a:off x="5708419" y="3907460"/>
            <a:ext cx="45228" cy="73704"/>
          </a:xfrm>
          <a:custGeom>
            <a:avLst/>
            <a:gdLst>
              <a:gd name="T0" fmla="*/ 2147483646 w 48"/>
              <a:gd name="T1" fmla="*/ 2147483646 h 79"/>
              <a:gd name="T2" fmla="*/ 2147483646 w 48"/>
              <a:gd name="T3" fmla="*/ 2147483646 h 79"/>
              <a:gd name="T4" fmla="*/ 2147483646 w 48"/>
              <a:gd name="T5" fmla="*/ 2147483646 h 79"/>
              <a:gd name="T6" fmla="*/ 2147483646 w 48"/>
              <a:gd name="T7" fmla="*/ 2147483646 h 79"/>
              <a:gd name="T8" fmla="*/ 2147483646 w 48"/>
              <a:gd name="T9" fmla="*/ 2147483646 h 79"/>
              <a:gd name="T10" fmla="*/ 2147483646 w 48"/>
              <a:gd name="T11" fmla="*/ 2147483646 h 79"/>
              <a:gd name="T12" fmla="*/ 2147483646 w 48"/>
              <a:gd name="T13" fmla="*/ 2147483646 h 79"/>
              <a:gd name="T14" fmla="*/ 2147483646 w 48"/>
              <a:gd name="T15" fmla="*/ 2147483646 h 79"/>
              <a:gd name="T16" fmla="*/ 2147483646 w 48"/>
              <a:gd name="T17" fmla="*/ 2147483646 h 79"/>
              <a:gd name="T18" fmla="*/ 2147483646 w 48"/>
              <a:gd name="T19" fmla="*/ 2147483646 h 79"/>
              <a:gd name="T20" fmla="*/ 2147483646 w 48"/>
              <a:gd name="T21" fmla="*/ 2147483646 h 79"/>
              <a:gd name="T22" fmla="*/ 2147483646 w 48"/>
              <a:gd name="T23" fmla="*/ 2147483646 h 79"/>
              <a:gd name="T24" fmla="*/ 2147483646 w 48"/>
              <a:gd name="T25" fmla="*/ 2147483646 h 79"/>
              <a:gd name="T26" fmla="*/ 2147483646 w 48"/>
              <a:gd name="T27" fmla="*/ 2147483646 h 79"/>
              <a:gd name="T28" fmla="*/ 2147483646 w 48"/>
              <a:gd name="T29" fmla="*/ 2147483646 h 79"/>
              <a:gd name="T30" fmla="*/ 2147483646 w 48"/>
              <a:gd name="T31" fmla="*/ 2147483646 h 79"/>
              <a:gd name="T32" fmla="*/ 2147483646 w 48"/>
              <a:gd name="T33" fmla="*/ 2147483646 h 79"/>
              <a:gd name="T34" fmla="*/ 2147483646 w 48"/>
              <a:gd name="T35" fmla="*/ 2147483646 h 79"/>
              <a:gd name="T36" fmla="*/ 2147483646 w 48"/>
              <a:gd name="T37" fmla="*/ 2147483646 h 79"/>
              <a:gd name="T38" fmla="*/ 2147483646 w 48"/>
              <a:gd name="T39" fmla="*/ 2147483646 h 79"/>
              <a:gd name="T40" fmla="*/ 2147483646 w 48"/>
              <a:gd name="T41" fmla="*/ 2147483646 h 7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8"/>
              <a:gd name="T64" fmla="*/ 0 h 79"/>
              <a:gd name="T65" fmla="*/ 48 w 48"/>
              <a:gd name="T66" fmla="*/ 79 h 79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8" h="79">
                <a:moveTo>
                  <a:pt x="31" y="1"/>
                </a:moveTo>
                <a:cubicBezTo>
                  <a:pt x="29" y="0"/>
                  <a:pt x="28" y="3"/>
                  <a:pt x="26" y="5"/>
                </a:cubicBezTo>
                <a:cubicBezTo>
                  <a:pt x="23" y="7"/>
                  <a:pt x="18" y="11"/>
                  <a:pt x="15" y="10"/>
                </a:cubicBezTo>
                <a:cubicBezTo>
                  <a:pt x="12" y="9"/>
                  <a:pt x="9" y="10"/>
                  <a:pt x="9" y="7"/>
                </a:cubicBezTo>
                <a:cubicBezTo>
                  <a:pt x="9" y="5"/>
                  <a:pt x="9" y="1"/>
                  <a:pt x="7" y="2"/>
                </a:cubicBezTo>
                <a:cubicBezTo>
                  <a:pt x="6" y="3"/>
                  <a:pt x="0" y="10"/>
                  <a:pt x="4" y="14"/>
                </a:cubicBezTo>
                <a:cubicBezTo>
                  <a:pt x="8" y="17"/>
                  <a:pt x="7" y="19"/>
                  <a:pt x="9" y="22"/>
                </a:cubicBezTo>
                <a:cubicBezTo>
                  <a:pt x="10" y="25"/>
                  <a:pt x="13" y="31"/>
                  <a:pt x="14" y="36"/>
                </a:cubicBezTo>
                <a:cubicBezTo>
                  <a:pt x="15" y="40"/>
                  <a:pt x="11" y="54"/>
                  <a:pt x="10" y="57"/>
                </a:cubicBezTo>
                <a:cubicBezTo>
                  <a:pt x="9" y="60"/>
                  <a:pt x="4" y="59"/>
                  <a:pt x="9" y="62"/>
                </a:cubicBezTo>
                <a:cubicBezTo>
                  <a:pt x="13" y="65"/>
                  <a:pt x="12" y="70"/>
                  <a:pt x="14" y="74"/>
                </a:cubicBezTo>
                <a:cubicBezTo>
                  <a:pt x="16" y="79"/>
                  <a:pt x="18" y="74"/>
                  <a:pt x="22" y="75"/>
                </a:cubicBezTo>
                <a:cubicBezTo>
                  <a:pt x="26" y="76"/>
                  <a:pt x="36" y="63"/>
                  <a:pt x="37" y="65"/>
                </a:cubicBezTo>
                <a:cubicBezTo>
                  <a:pt x="38" y="67"/>
                  <a:pt x="37" y="73"/>
                  <a:pt x="40" y="70"/>
                </a:cubicBezTo>
                <a:cubicBezTo>
                  <a:pt x="43" y="68"/>
                  <a:pt x="45" y="66"/>
                  <a:pt x="44" y="60"/>
                </a:cubicBezTo>
                <a:cubicBezTo>
                  <a:pt x="43" y="54"/>
                  <a:pt x="43" y="47"/>
                  <a:pt x="44" y="43"/>
                </a:cubicBezTo>
                <a:cubicBezTo>
                  <a:pt x="46" y="39"/>
                  <a:pt x="48" y="35"/>
                  <a:pt x="46" y="33"/>
                </a:cubicBezTo>
                <a:cubicBezTo>
                  <a:pt x="44" y="30"/>
                  <a:pt x="47" y="24"/>
                  <a:pt x="47" y="22"/>
                </a:cubicBezTo>
                <a:cubicBezTo>
                  <a:pt x="47" y="20"/>
                  <a:pt x="47" y="16"/>
                  <a:pt x="45" y="12"/>
                </a:cubicBezTo>
                <a:cubicBezTo>
                  <a:pt x="43" y="8"/>
                  <a:pt x="41" y="5"/>
                  <a:pt x="41" y="3"/>
                </a:cubicBezTo>
                <a:cubicBezTo>
                  <a:pt x="41" y="1"/>
                  <a:pt x="31" y="1"/>
                  <a:pt x="31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56" name="Freeform 490"/>
          <p:cNvSpPr>
            <a:spLocks/>
          </p:cNvSpPr>
          <p:nvPr userDrawn="1"/>
        </p:nvSpPr>
        <p:spPr bwMode="auto">
          <a:xfrm>
            <a:off x="5572736" y="3942639"/>
            <a:ext cx="30152" cy="25125"/>
          </a:xfrm>
          <a:custGeom>
            <a:avLst/>
            <a:gdLst>
              <a:gd name="T0" fmla="*/ 2147483646 w 32"/>
              <a:gd name="T1" fmla="*/ 2147483646 h 27"/>
              <a:gd name="T2" fmla="*/ 2147483646 w 32"/>
              <a:gd name="T3" fmla="*/ 2147483646 h 27"/>
              <a:gd name="T4" fmla="*/ 2147483646 w 32"/>
              <a:gd name="T5" fmla="*/ 2147483646 h 27"/>
              <a:gd name="T6" fmla="*/ 2147483646 w 32"/>
              <a:gd name="T7" fmla="*/ 2147483646 h 27"/>
              <a:gd name="T8" fmla="*/ 2147483646 w 32"/>
              <a:gd name="T9" fmla="*/ 2147483646 h 27"/>
              <a:gd name="T10" fmla="*/ 2147483646 w 32"/>
              <a:gd name="T11" fmla="*/ 2147483646 h 27"/>
              <a:gd name="T12" fmla="*/ 2147483646 w 32"/>
              <a:gd name="T13" fmla="*/ 2147483646 h 27"/>
              <a:gd name="T14" fmla="*/ 2147483646 w 32"/>
              <a:gd name="T15" fmla="*/ 2147483646 h 2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2"/>
              <a:gd name="T25" fmla="*/ 0 h 27"/>
              <a:gd name="T26" fmla="*/ 32 w 32"/>
              <a:gd name="T27" fmla="*/ 27 h 2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2" h="27">
                <a:moveTo>
                  <a:pt x="18" y="2"/>
                </a:moveTo>
                <a:cubicBezTo>
                  <a:pt x="14" y="4"/>
                  <a:pt x="7" y="5"/>
                  <a:pt x="6" y="8"/>
                </a:cubicBezTo>
                <a:cubicBezTo>
                  <a:pt x="5" y="10"/>
                  <a:pt x="0" y="16"/>
                  <a:pt x="5" y="18"/>
                </a:cubicBezTo>
                <a:cubicBezTo>
                  <a:pt x="11" y="20"/>
                  <a:pt x="10" y="13"/>
                  <a:pt x="17" y="20"/>
                </a:cubicBezTo>
                <a:cubicBezTo>
                  <a:pt x="23" y="27"/>
                  <a:pt x="28" y="20"/>
                  <a:pt x="30" y="16"/>
                </a:cubicBezTo>
                <a:cubicBezTo>
                  <a:pt x="32" y="12"/>
                  <a:pt x="27" y="9"/>
                  <a:pt x="26" y="7"/>
                </a:cubicBezTo>
                <a:cubicBezTo>
                  <a:pt x="24" y="5"/>
                  <a:pt x="27" y="1"/>
                  <a:pt x="25" y="1"/>
                </a:cubicBezTo>
                <a:cubicBezTo>
                  <a:pt x="24" y="0"/>
                  <a:pt x="18" y="2"/>
                  <a:pt x="18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57" name="Freeform 491"/>
          <p:cNvSpPr>
            <a:spLocks/>
          </p:cNvSpPr>
          <p:nvPr userDrawn="1"/>
        </p:nvSpPr>
        <p:spPr bwMode="auto">
          <a:xfrm>
            <a:off x="5604563" y="3937612"/>
            <a:ext cx="20101" cy="10051"/>
          </a:xfrm>
          <a:custGeom>
            <a:avLst/>
            <a:gdLst>
              <a:gd name="T0" fmla="*/ 2147483646 w 22"/>
              <a:gd name="T1" fmla="*/ 2147483646 h 10"/>
              <a:gd name="T2" fmla="*/ 2147483646 w 22"/>
              <a:gd name="T3" fmla="*/ 2147483646 h 10"/>
              <a:gd name="T4" fmla="*/ 2147483646 w 22"/>
              <a:gd name="T5" fmla="*/ 2147483646 h 10"/>
              <a:gd name="T6" fmla="*/ 2147483646 w 22"/>
              <a:gd name="T7" fmla="*/ 2147483646 h 10"/>
              <a:gd name="T8" fmla="*/ 2147483646 w 22"/>
              <a:gd name="T9" fmla="*/ 0 h 10"/>
              <a:gd name="T10" fmla="*/ 2147483646 w 22"/>
              <a:gd name="T11" fmla="*/ 2147483646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2"/>
              <a:gd name="T19" fmla="*/ 0 h 10"/>
              <a:gd name="T20" fmla="*/ 22 w 22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2" h="10">
                <a:moveTo>
                  <a:pt x="8" y="1"/>
                </a:moveTo>
                <a:cubicBezTo>
                  <a:pt x="6" y="2"/>
                  <a:pt x="0" y="6"/>
                  <a:pt x="9" y="8"/>
                </a:cubicBezTo>
                <a:cubicBezTo>
                  <a:pt x="17" y="9"/>
                  <a:pt x="15" y="10"/>
                  <a:pt x="18" y="8"/>
                </a:cubicBezTo>
                <a:cubicBezTo>
                  <a:pt x="22" y="7"/>
                  <a:pt x="20" y="1"/>
                  <a:pt x="18" y="1"/>
                </a:cubicBezTo>
                <a:cubicBezTo>
                  <a:pt x="17" y="1"/>
                  <a:pt x="13" y="0"/>
                  <a:pt x="13" y="0"/>
                </a:cubicBezTo>
                <a:lnTo>
                  <a:pt x="8" y="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58" name="Freeform 492"/>
          <p:cNvSpPr>
            <a:spLocks/>
          </p:cNvSpPr>
          <p:nvPr userDrawn="1"/>
        </p:nvSpPr>
        <p:spPr bwMode="auto">
          <a:xfrm>
            <a:off x="5555986" y="3961065"/>
            <a:ext cx="13401" cy="16751"/>
          </a:xfrm>
          <a:custGeom>
            <a:avLst/>
            <a:gdLst>
              <a:gd name="T0" fmla="*/ 2147483646 w 14"/>
              <a:gd name="T1" fmla="*/ 2147483646 h 19"/>
              <a:gd name="T2" fmla="*/ 2147483646 w 14"/>
              <a:gd name="T3" fmla="*/ 2147483646 h 19"/>
              <a:gd name="T4" fmla="*/ 2147483646 w 14"/>
              <a:gd name="T5" fmla="*/ 2147483646 h 19"/>
              <a:gd name="T6" fmla="*/ 2147483646 w 14"/>
              <a:gd name="T7" fmla="*/ 2147483646 h 19"/>
              <a:gd name="T8" fmla="*/ 2147483646 w 14"/>
              <a:gd name="T9" fmla="*/ 2147483646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19"/>
              <a:gd name="T17" fmla="*/ 14 w 14"/>
              <a:gd name="T18" fmla="*/ 19 h 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19">
                <a:moveTo>
                  <a:pt x="2" y="9"/>
                </a:moveTo>
                <a:cubicBezTo>
                  <a:pt x="0" y="12"/>
                  <a:pt x="1" y="19"/>
                  <a:pt x="5" y="19"/>
                </a:cubicBezTo>
                <a:cubicBezTo>
                  <a:pt x="8" y="19"/>
                  <a:pt x="5" y="13"/>
                  <a:pt x="10" y="13"/>
                </a:cubicBezTo>
                <a:cubicBezTo>
                  <a:pt x="14" y="13"/>
                  <a:pt x="13" y="0"/>
                  <a:pt x="11" y="2"/>
                </a:cubicBezTo>
                <a:cubicBezTo>
                  <a:pt x="8" y="4"/>
                  <a:pt x="2" y="9"/>
                  <a:pt x="2" y="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59" name="Freeform 493"/>
          <p:cNvSpPr>
            <a:spLocks/>
          </p:cNvSpPr>
          <p:nvPr userDrawn="1"/>
        </p:nvSpPr>
        <p:spPr bwMode="auto">
          <a:xfrm>
            <a:off x="6293026" y="4068270"/>
            <a:ext cx="60303" cy="46903"/>
          </a:xfrm>
          <a:custGeom>
            <a:avLst/>
            <a:gdLst>
              <a:gd name="T0" fmla="*/ 2147483646 w 66"/>
              <a:gd name="T1" fmla="*/ 2147483646 h 49"/>
              <a:gd name="T2" fmla="*/ 2147483646 w 66"/>
              <a:gd name="T3" fmla="*/ 2147483646 h 49"/>
              <a:gd name="T4" fmla="*/ 2147483646 w 66"/>
              <a:gd name="T5" fmla="*/ 2147483646 h 49"/>
              <a:gd name="T6" fmla="*/ 2147483646 w 66"/>
              <a:gd name="T7" fmla="*/ 2147483646 h 49"/>
              <a:gd name="T8" fmla="*/ 2147483646 w 66"/>
              <a:gd name="T9" fmla="*/ 2147483646 h 49"/>
              <a:gd name="T10" fmla="*/ 2147483646 w 66"/>
              <a:gd name="T11" fmla="*/ 2147483646 h 49"/>
              <a:gd name="T12" fmla="*/ 2147483646 w 66"/>
              <a:gd name="T13" fmla="*/ 2147483646 h 49"/>
              <a:gd name="T14" fmla="*/ 2147483646 w 66"/>
              <a:gd name="T15" fmla="*/ 2147483646 h 49"/>
              <a:gd name="T16" fmla="*/ 2147483646 w 66"/>
              <a:gd name="T17" fmla="*/ 2147483646 h 49"/>
              <a:gd name="T18" fmla="*/ 2147483646 w 66"/>
              <a:gd name="T19" fmla="*/ 2147483646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6"/>
              <a:gd name="T31" fmla="*/ 0 h 49"/>
              <a:gd name="T32" fmla="*/ 66 w 66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6" h="49">
                <a:moveTo>
                  <a:pt x="25" y="21"/>
                </a:moveTo>
                <a:cubicBezTo>
                  <a:pt x="21" y="21"/>
                  <a:pt x="20" y="24"/>
                  <a:pt x="15" y="24"/>
                </a:cubicBezTo>
                <a:cubicBezTo>
                  <a:pt x="11" y="24"/>
                  <a:pt x="7" y="20"/>
                  <a:pt x="5" y="26"/>
                </a:cubicBezTo>
                <a:cubicBezTo>
                  <a:pt x="3" y="33"/>
                  <a:pt x="0" y="34"/>
                  <a:pt x="5" y="37"/>
                </a:cubicBezTo>
                <a:cubicBezTo>
                  <a:pt x="11" y="40"/>
                  <a:pt x="13" y="49"/>
                  <a:pt x="20" y="44"/>
                </a:cubicBezTo>
                <a:cubicBezTo>
                  <a:pt x="27" y="38"/>
                  <a:pt x="41" y="30"/>
                  <a:pt x="44" y="31"/>
                </a:cubicBezTo>
                <a:cubicBezTo>
                  <a:pt x="53" y="34"/>
                  <a:pt x="48" y="21"/>
                  <a:pt x="48" y="21"/>
                </a:cubicBezTo>
                <a:cubicBezTo>
                  <a:pt x="48" y="21"/>
                  <a:pt x="66" y="10"/>
                  <a:pt x="64" y="5"/>
                </a:cubicBezTo>
                <a:cubicBezTo>
                  <a:pt x="62" y="0"/>
                  <a:pt x="52" y="14"/>
                  <a:pt x="43" y="15"/>
                </a:cubicBezTo>
                <a:cubicBezTo>
                  <a:pt x="35" y="16"/>
                  <a:pt x="25" y="21"/>
                  <a:pt x="25" y="2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60" name="Freeform 494"/>
          <p:cNvSpPr>
            <a:spLocks/>
          </p:cNvSpPr>
          <p:nvPr userDrawn="1"/>
        </p:nvSpPr>
        <p:spPr bwMode="auto">
          <a:xfrm>
            <a:off x="6076939" y="4076646"/>
            <a:ext cx="75380" cy="26801"/>
          </a:xfrm>
          <a:custGeom>
            <a:avLst/>
            <a:gdLst>
              <a:gd name="T0" fmla="*/ 2147483646 w 80"/>
              <a:gd name="T1" fmla="*/ 2147483646 h 29"/>
              <a:gd name="T2" fmla="*/ 2147483646 w 80"/>
              <a:gd name="T3" fmla="*/ 2147483646 h 29"/>
              <a:gd name="T4" fmla="*/ 2147483646 w 80"/>
              <a:gd name="T5" fmla="*/ 2147483646 h 29"/>
              <a:gd name="T6" fmla="*/ 2147483646 w 80"/>
              <a:gd name="T7" fmla="*/ 2147483646 h 29"/>
              <a:gd name="T8" fmla="*/ 2147483646 w 80"/>
              <a:gd name="T9" fmla="*/ 2147483646 h 29"/>
              <a:gd name="T10" fmla="*/ 2147483646 w 80"/>
              <a:gd name="T11" fmla="*/ 2147483646 h 29"/>
              <a:gd name="T12" fmla="*/ 2147483646 w 80"/>
              <a:gd name="T13" fmla="*/ 2147483646 h 29"/>
              <a:gd name="T14" fmla="*/ 2147483646 w 80"/>
              <a:gd name="T15" fmla="*/ 2147483646 h 29"/>
              <a:gd name="T16" fmla="*/ 2147483646 w 80"/>
              <a:gd name="T17" fmla="*/ 2147483646 h 29"/>
              <a:gd name="T18" fmla="*/ 2147483646 w 80"/>
              <a:gd name="T19" fmla="*/ 2147483646 h 29"/>
              <a:gd name="T20" fmla="*/ 2147483646 w 80"/>
              <a:gd name="T21" fmla="*/ 2147483646 h 29"/>
              <a:gd name="T22" fmla="*/ 2147483646 w 80"/>
              <a:gd name="T23" fmla="*/ 2147483646 h 2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0"/>
              <a:gd name="T37" fmla="*/ 0 h 29"/>
              <a:gd name="T38" fmla="*/ 80 w 80"/>
              <a:gd name="T39" fmla="*/ 29 h 2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0" h="29">
                <a:moveTo>
                  <a:pt x="36" y="6"/>
                </a:moveTo>
                <a:cubicBezTo>
                  <a:pt x="30" y="8"/>
                  <a:pt x="21" y="3"/>
                  <a:pt x="21" y="3"/>
                </a:cubicBezTo>
                <a:cubicBezTo>
                  <a:pt x="21" y="3"/>
                  <a:pt x="14" y="0"/>
                  <a:pt x="12" y="2"/>
                </a:cubicBezTo>
                <a:cubicBezTo>
                  <a:pt x="9" y="4"/>
                  <a:pt x="0" y="9"/>
                  <a:pt x="6" y="12"/>
                </a:cubicBezTo>
                <a:cubicBezTo>
                  <a:pt x="13" y="15"/>
                  <a:pt x="22" y="13"/>
                  <a:pt x="28" y="16"/>
                </a:cubicBezTo>
                <a:cubicBezTo>
                  <a:pt x="35" y="19"/>
                  <a:pt x="35" y="19"/>
                  <a:pt x="41" y="24"/>
                </a:cubicBezTo>
                <a:cubicBezTo>
                  <a:pt x="48" y="29"/>
                  <a:pt x="48" y="21"/>
                  <a:pt x="58" y="22"/>
                </a:cubicBezTo>
                <a:cubicBezTo>
                  <a:pt x="68" y="23"/>
                  <a:pt x="71" y="22"/>
                  <a:pt x="74" y="19"/>
                </a:cubicBezTo>
                <a:cubicBezTo>
                  <a:pt x="77" y="16"/>
                  <a:pt x="80" y="12"/>
                  <a:pt x="76" y="12"/>
                </a:cubicBezTo>
                <a:cubicBezTo>
                  <a:pt x="72" y="12"/>
                  <a:pt x="59" y="12"/>
                  <a:pt x="56" y="12"/>
                </a:cubicBezTo>
                <a:cubicBezTo>
                  <a:pt x="54" y="12"/>
                  <a:pt x="41" y="12"/>
                  <a:pt x="41" y="12"/>
                </a:cubicBezTo>
                <a:lnTo>
                  <a:pt x="36" y="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61" name="Freeform 495"/>
          <p:cNvSpPr>
            <a:spLocks/>
          </p:cNvSpPr>
          <p:nvPr userDrawn="1"/>
        </p:nvSpPr>
        <p:spPr bwMode="auto">
          <a:xfrm>
            <a:off x="6108766" y="4006293"/>
            <a:ext cx="16751" cy="18425"/>
          </a:xfrm>
          <a:custGeom>
            <a:avLst/>
            <a:gdLst>
              <a:gd name="T0" fmla="*/ 2147483646 w 17"/>
              <a:gd name="T1" fmla="*/ 0 h 20"/>
              <a:gd name="T2" fmla="*/ 2147483646 w 17"/>
              <a:gd name="T3" fmla="*/ 2147483646 h 20"/>
              <a:gd name="T4" fmla="*/ 2147483646 w 17"/>
              <a:gd name="T5" fmla="*/ 2147483646 h 20"/>
              <a:gd name="T6" fmla="*/ 2147483646 w 17"/>
              <a:gd name="T7" fmla="*/ 2147483646 h 20"/>
              <a:gd name="T8" fmla="*/ 2147483646 w 17"/>
              <a:gd name="T9" fmla="*/ 2147483646 h 20"/>
              <a:gd name="T10" fmla="*/ 2147483646 w 17"/>
              <a:gd name="T11" fmla="*/ 2147483646 h 20"/>
              <a:gd name="T12" fmla="*/ 2147483646 w 17"/>
              <a:gd name="T13" fmla="*/ 2147483646 h 20"/>
              <a:gd name="T14" fmla="*/ 2147483646 w 17"/>
              <a:gd name="T15" fmla="*/ 0 h 2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7"/>
              <a:gd name="T25" fmla="*/ 0 h 20"/>
              <a:gd name="T26" fmla="*/ 17 w 17"/>
              <a:gd name="T27" fmla="*/ 20 h 2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7" h="20">
                <a:moveTo>
                  <a:pt x="4" y="0"/>
                </a:moveTo>
                <a:cubicBezTo>
                  <a:pt x="2" y="1"/>
                  <a:pt x="0" y="4"/>
                  <a:pt x="3" y="6"/>
                </a:cubicBezTo>
                <a:cubicBezTo>
                  <a:pt x="7" y="8"/>
                  <a:pt x="9" y="6"/>
                  <a:pt x="9" y="11"/>
                </a:cubicBezTo>
                <a:cubicBezTo>
                  <a:pt x="10" y="15"/>
                  <a:pt x="11" y="17"/>
                  <a:pt x="14" y="18"/>
                </a:cubicBezTo>
                <a:cubicBezTo>
                  <a:pt x="16" y="20"/>
                  <a:pt x="17" y="19"/>
                  <a:pt x="17" y="18"/>
                </a:cubicBezTo>
                <a:cubicBezTo>
                  <a:pt x="17" y="17"/>
                  <a:pt x="16" y="12"/>
                  <a:pt x="15" y="12"/>
                </a:cubicBezTo>
                <a:cubicBezTo>
                  <a:pt x="14" y="12"/>
                  <a:pt x="13" y="8"/>
                  <a:pt x="12" y="7"/>
                </a:cubicBezTo>
                <a:cubicBezTo>
                  <a:pt x="11" y="6"/>
                  <a:pt x="4" y="0"/>
                  <a:pt x="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62" name="Freeform 496"/>
          <p:cNvSpPr>
            <a:spLocks/>
          </p:cNvSpPr>
          <p:nvPr userDrawn="1"/>
        </p:nvSpPr>
        <p:spPr bwMode="auto">
          <a:xfrm>
            <a:off x="6127191" y="4021368"/>
            <a:ext cx="3351" cy="5025"/>
          </a:xfrm>
          <a:custGeom>
            <a:avLst/>
            <a:gdLst>
              <a:gd name="T0" fmla="*/ 2147483646 w 4"/>
              <a:gd name="T1" fmla="*/ 0 h 4"/>
              <a:gd name="T2" fmla="*/ 2147483646 w 4"/>
              <a:gd name="T3" fmla="*/ 2147483646 h 4"/>
              <a:gd name="T4" fmla="*/ 2147483646 w 4"/>
              <a:gd name="T5" fmla="*/ 2147483646 h 4"/>
              <a:gd name="T6" fmla="*/ 2147483646 w 4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4"/>
              <a:gd name="T14" fmla="*/ 4 w 4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4">
                <a:moveTo>
                  <a:pt x="2" y="0"/>
                </a:moveTo>
                <a:cubicBezTo>
                  <a:pt x="1" y="1"/>
                  <a:pt x="0" y="4"/>
                  <a:pt x="1" y="4"/>
                </a:cubicBezTo>
                <a:cubicBezTo>
                  <a:pt x="3" y="4"/>
                  <a:pt x="4" y="3"/>
                  <a:pt x="4" y="2"/>
                </a:cubicBezTo>
                <a:cubicBezTo>
                  <a:pt x="4" y="1"/>
                  <a:pt x="2" y="0"/>
                  <a:pt x="2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63" name="Freeform 497"/>
          <p:cNvSpPr>
            <a:spLocks/>
          </p:cNvSpPr>
          <p:nvPr userDrawn="1"/>
        </p:nvSpPr>
        <p:spPr bwMode="auto">
          <a:xfrm>
            <a:off x="6128868" y="4031418"/>
            <a:ext cx="5025" cy="6700"/>
          </a:xfrm>
          <a:custGeom>
            <a:avLst/>
            <a:gdLst>
              <a:gd name="T0" fmla="*/ 2147483646 w 5"/>
              <a:gd name="T1" fmla="*/ 0 h 7"/>
              <a:gd name="T2" fmla="*/ 2147483646 w 5"/>
              <a:gd name="T3" fmla="*/ 2147483646 h 7"/>
              <a:gd name="T4" fmla="*/ 2147483646 w 5"/>
              <a:gd name="T5" fmla="*/ 2147483646 h 7"/>
              <a:gd name="T6" fmla="*/ 2147483646 w 5"/>
              <a:gd name="T7" fmla="*/ 0 h 7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7"/>
              <a:gd name="T14" fmla="*/ 5 w 5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7">
                <a:moveTo>
                  <a:pt x="1" y="0"/>
                </a:moveTo>
                <a:cubicBezTo>
                  <a:pt x="1" y="1"/>
                  <a:pt x="0" y="7"/>
                  <a:pt x="2" y="7"/>
                </a:cubicBezTo>
                <a:cubicBezTo>
                  <a:pt x="3" y="7"/>
                  <a:pt x="5" y="4"/>
                  <a:pt x="5" y="4"/>
                </a:cubicBezTo>
                <a:lnTo>
                  <a:pt x="1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64" name="Freeform 498"/>
          <p:cNvSpPr>
            <a:spLocks/>
          </p:cNvSpPr>
          <p:nvPr userDrawn="1"/>
        </p:nvSpPr>
        <p:spPr bwMode="auto">
          <a:xfrm>
            <a:off x="6117141" y="4029743"/>
            <a:ext cx="10051" cy="8375"/>
          </a:xfrm>
          <a:custGeom>
            <a:avLst/>
            <a:gdLst>
              <a:gd name="T0" fmla="*/ 2147483646 w 10"/>
              <a:gd name="T1" fmla="*/ 2147483646 h 10"/>
              <a:gd name="T2" fmla="*/ 2147483646 w 10"/>
              <a:gd name="T3" fmla="*/ 2147483646 h 10"/>
              <a:gd name="T4" fmla="*/ 2147483646 w 10"/>
              <a:gd name="T5" fmla="*/ 2147483646 h 10"/>
              <a:gd name="T6" fmla="*/ 0 60000 65536"/>
              <a:gd name="T7" fmla="*/ 0 60000 65536"/>
              <a:gd name="T8" fmla="*/ 0 60000 65536"/>
              <a:gd name="T9" fmla="*/ 0 w 10"/>
              <a:gd name="T10" fmla="*/ 0 h 10"/>
              <a:gd name="T11" fmla="*/ 10 w 10"/>
              <a:gd name="T12" fmla="*/ 10 h 1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10">
                <a:moveTo>
                  <a:pt x="5" y="3"/>
                </a:moveTo>
                <a:cubicBezTo>
                  <a:pt x="0" y="5"/>
                  <a:pt x="7" y="10"/>
                  <a:pt x="7" y="10"/>
                </a:cubicBezTo>
                <a:cubicBezTo>
                  <a:pt x="7" y="10"/>
                  <a:pt x="10" y="0"/>
                  <a:pt x="5" y="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65" name="Freeform 499"/>
          <p:cNvSpPr>
            <a:spLocks/>
          </p:cNvSpPr>
          <p:nvPr userDrawn="1"/>
        </p:nvSpPr>
        <p:spPr bwMode="auto">
          <a:xfrm>
            <a:off x="6123842" y="4041469"/>
            <a:ext cx="5025" cy="5025"/>
          </a:xfrm>
          <a:custGeom>
            <a:avLst/>
            <a:gdLst>
              <a:gd name="T0" fmla="*/ 2147483646 w 6"/>
              <a:gd name="T1" fmla="*/ 2147483646 h 6"/>
              <a:gd name="T2" fmla="*/ 2147483646 w 6"/>
              <a:gd name="T3" fmla="*/ 2147483646 h 6"/>
              <a:gd name="T4" fmla="*/ 2147483646 w 6"/>
              <a:gd name="T5" fmla="*/ 2147483646 h 6"/>
              <a:gd name="T6" fmla="*/ 2147483646 w 6"/>
              <a:gd name="T7" fmla="*/ 2147483646 h 6"/>
              <a:gd name="T8" fmla="*/ 2147483646 w 6"/>
              <a:gd name="T9" fmla="*/ 2147483646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3" y="2"/>
                </a:moveTo>
                <a:cubicBezTo>
                  <a:pt x="2" y="2"/>
                  <a:pt x="0" y="6"/>
                  <a:pt x="3" y="6"/>
                </a:cubicBezTo>
                <a:cubicBezTo>
                  <a:pt x="5" y="6"/>
                  <a:pt x="6" y="5"/>
                  <a:pt x="6" y="4"/>
                </a:cubicBezTo>
                <a:cubicBezTo>
                  <a:pt x="6" y="2"/>
                  <a:pt x="5" y="0"/>
                  <a:pt x="3" y="1"/>
                </a:cubicBezTo>
                <a:cubicBezTo>
                  <a:pt x="1" y="2"/>
                  <a:pt x="3" y="2"/>
                  <a:pt x="3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66" name="Freeform 500"/>
          <p:cNvSpPr>
            <a:spLocks/>
          </p:cNvSpPr>
          <p:nvPr userDrawn="1"/>
        </p:nvSpPr>
        <p:spPr bwMode="auto">
          <a:xfrm>
            <a:off x="6105417" y="4024718"/>
            <a:ext cx="3351" cy="5025"/>
          </a:xfrm>
          <a:custGeom>
            <a:avLst/>
            <a:gdLst>
              <a:gd name="T0" fmla="*/ 2147483646 w 5"/>
              <a:gd name="T1" fmla="*/ 2147483646 h 5"/>
              <a:gd name="T2" fmla="*/ 2147483646 w 5"/>
              <a:gd name="T3" fmla="*/ 2147483646 h 5"/>
              <a:gd name="T4" fmla="*/ 2147483646 w 5"/>
              <a:gd name="T5" fmla="*/ 0 h 5"/>
              <a:gd name="T6" fmla="*/ 0 60000 65536"/>
              <a:gd name="T7" fmla="*/ 0 60000 65536"/>
              <a:gd name="T8" fmla="*/ 0 60000 65536"/>
              <a:gd name="T9" fmla="*/ 0 w 5"/>
              <a:gd name="T10" fmla="*/ 0 h 5"/>
              <a:gd name="T11" fmla="*/ 5 w 5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5">
                <a:moveTo>
                  <a:pt x="4" y="1"/>
                </a:moveTo>
                <a:cubicBezTo>
                  <a:pt x="0" y="0"/>
                  <a:pt x="0" y="5"/>
                  <a:pt x="2" y="5"/>
                </a:cubicBezTo>
                <a:cubicBezTo>
                  <a:pt x="4" y="5"/>
                  <a:pt x="5" y="0"/>
                  <a:pt x="3" y="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67" name="Freeform 501"/>
          <p:cNvSpPr>
            <a:spLocks/>
          </p:cNvSpPr>
          <p:nvPr userDrawn="1"/>
        </p:nvSpPr>
        <p:spPr bwMode="auto">
          <a:xfrm>
            <a:off x="6105417" y="4024718"/>
            <a:ext cx="3351" cy="5025"/>
          </a:xfrm>
          <a:custGeom>
            <a:avLst/>
            <a:gdLst>
              <a:gd name="T0" fmla="*/ 2147483646 w 5"/>
              <a:gd name="T1" fmla="*/ 2147483646 h 5"/>
              <a:gd name="T2" fmla="*/ 2147483646 w 5"/>
              <a:gd name="T3" fmla="*/ 2147483646 h 5"/>
              <a:gd name="T4" fmla="*/ 2147483646 w 5"/>
              <a:gd name="T5" fmla="*/ 0 h 5"/>
              <a:gd name="T6" fmla="*/ 0 60000 65536"/>
              <a:gd name="T7" fmla="*/ 0 60000 65536"/>
              <a:gd name="T8" fmla="*/ 0 60000 65536"/>
              <a:gd name="T9" fmla="*/ 0 w 5"/>
              <a:gd name="T10" fmla="*/ 0 h 5"/>
              <a:gd name="T11" fmla="*/ 5 w 5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5">
                <a:moveTo>
                  <a:pt x="4" y="1"/>
                </a:moveTo>
                <a:cubicBezTo>
                  <a:pt x="0" y="0"/>
                  <a:pt x="0" y="5"/>
                  <a:pt x="2" y="5"/>
                </a:cubicBezTo>
                <a:cubicBezTo>
                  <a:pt x="4" y="5"/>
                  <a:pt x="5" y="0"/>
                  <a:pt x="3" y="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68" name="Freeform 502"/>
          <p:cNvSpPr>
            <a:spLocks/>
          </p:cNvSpPr>
          <p:nvPr userDrawn="1"/>
        </p:nvSpPr>
        <p:spPr bwMode="auto">
          <a:xfrm>
            <a:off x="6107091" y="4034769"/>
            <a:ext cx="6700" cy="5025"/>
          </a:xfrm>
          <a:custGeom>
            <a:avLst/>
            <a:gdLst>
              <a:gd name="T0" fmla="*/ 2147483646 w 6"/>
              <a:gd name="T1" fmla="*/ 2147483646 h 5"/>
              <a:gd name="T2" fmla="*/ 2147483646 w 6"/>
              <a:gd name="T3" fmla="*/ 2147483646 h 5"/>
              <a:gd name="T4" fmla="*/ 2147483646 w 6"/>
              <a:gd name="T5" fmla="*/ 2147483646 h 5"/>
              <a:gd name="T6" fmla="*/ 0 60000 65536"/>
              <a:gd name="T7" fmla="*/ 0 60000 65536"/>
              <a:gd name="T8" fmla="*/ 0 60000 65536"/>
              <a:gd name="T9" fmla="*/ 0 w 6"/>
              <a:gd name="T10" fmla="*/ 0 h 5"/>
              <a:gd name="T11" fmla="*/ 6 w 6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5">
                <a:moveTo>
                  <a:pt x="3" y="1"/>
                </a:moveTo>
                <a:cubicBezTo>
                  <a:pt x="0" y="0"/>
                  <a:pt x="0" y="4"/>
                  <a:pt x="2" y="4"/>
                </a:cubicBezTo>
                <a:cubicBezTo>
                  <a:pt x="4" y="5"/>
                  <a:pt x="6" y="1"/>
                  <a:pt x="3" y="1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69" name="Freeform 503"/>
          <p:cNvSpPr>
            <a:spLocks/>
          </p:cNvSpPr>
          <p:nvPr userDrawn="1"/>
        </p:nvSpPr>
        <p:spPr bwMode="auto">
          <a:xfrm>
            <a:off x="6107091" y="4034769"/>
            <a:ext cx="6700" cy="5025"/>
          </a:xfrm>
          <a:custGeom>
            <a:avLst/>
            <a:gdLst>
              <a:gd name="T0" fmla="*/ 2147483646 w 6"/>
              <a:gd name="T1" fmla="*/ 2147483646 h 5"/>
              <a:gd name="T2" fmla="*/ 2147483646 w 6"/>
              <a:gd name="T3" fmla="*/ 2147483646 h 5"/>
              <a:gd name="T4" fmla="*/ 2147483646 w 6"/>
              <a:gd name="T5" fmla="*/ 2147483646 h 5"/>
              <a:gd name="T6" fmla="*/ 0 60000 65536"/>
              <a:gd name="T7" fmla="*/ 0 60000 65536"/>
              <a:gd name="T8" fmla="*/ 0 60000 65536"/>
              <a:gd name="T9" fmla="*/ 0 w 6"/>
              <a:gd name="T10" fmla="*/ 0 h 5"/>
              <a:gd name="T11" fmla="*/ 6 w 6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5">
                <a:moveTo>
                  <a:pt x="3" y="1"/>
                </a:moveTo>
                <a:cubicBezTo>
                  <a:pt x="0" y="0"/>
                  <a:pt x="0" y="4"/>
                  <a:pt x="2" y="4"/>
                </a:cubicBezTo>
                <a:cubicBezTo>
                  <a:pt x="4" y="5"/>
                  <a:pt x="6" y="1"/>
                  <a:pt x="3" y="1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70" name="Freeform 504"/>
          <p:cNvSpPr>
            <a:spLocks/>
          </p:cNvSpPr>
          <p:nvPr userDrawn="1"/>
        </p:nvSpPr>
        <p:spPr bwMode="auto">
          <a:xfrm>
            <a:off x="6113791" y="3935938"/>
            <a:ext cx="25127" cy="18425"/>
          </a:xfrm>
          <a:custGeom>
            <a:avLst/>
            <a:gdLst>
              <a:gd name="T0" fmla="*/ 2147483646 w 26"/>
              <a:gd name="T1" fmla="*/ 2147483646 h 20"/>
              <a:gd name="T2" fmla="*/ 2147483646 w 26"/>
              <a:gd name="T3" fmla="*/ 2147483646 h 20"/>
              <a:gd name="T4" fmla="*/ 2147483646 w 26"/>
              <a:gd name="T5" fmla="*/ 2147483646 h 20"/>
              <a:gd name="T6" fmla="*/ 2147483646 w 26"/>
              <a:gd name="T7" fmla="*/ 2147483646 h 20"/>
              <a:gd name="T8" fmla="*/ 2147483646 w 26"/>
              <a:gd name="T9" fmla="*/ 2147483646 h 20"/>
              <a:gd name="T10" fmla="*/ 2147483646 w 26"/>
              <a:gd name="T11" fmla="*/ 2147483646 h 20"/>
              <a:gd name="T12" fmla="*/ 2147483646 w 26"/>
              <a:gd name="T13" fmla="*/ 2147483646 h 20"/>
              <a:gd name="T14" fmla="*/ 2147483646 w 26"/>
              <a:gd name="T15" fmla="*/ 2147483646 h 20"/>
              <a:gd name="T16" fmla="*/ 2147483646 w 26"/>
              <a:gd name="T17" fmla="*/ 2147483646 h 20"/>
              <a:gd name="T18" fmla="*/ 2147483646 w 26"/>
              <a:gd name="T19" fmla="*/ 0 h 2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20"/>
              <a:gd name="T32" fmla="*/ 26 w 26"/>
              <a:gd name="T33" fmla="*/ 20 h 2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20">
                <a:moveTo>
                  <a:pt x="23" y="1"/>
                </a:moveTo>
                <a:cubicBezTo>
                  <a:pt x="21" y="3"/>
                  <a:pt x="19" y="4"/>
                  <a:pt x="17" y="6"/>
                </a:cubicBezTo>
                <a:cubicBezTo>
                  <a:pt x="13" y="3"/>
                  <a:pt x="11" y="7"/>
                  <a:pt x="11" y="11"/>
                </a:cubicBezTo>
                <a:cubicBezTo>
                  <a:pt x="7" y="12"/>
                  <a:pt x="0" y="8"/>
                  <a:pt x="4" y="16"/>
                </a:cubicBezTo>
                <a:cubicBezTo>
                  <a:pt x="6" y="18"/>
                  <a:pt x="8" y="20"/>
                  <a:pt x="10" y="17"/>
                </a:cubicBezTo>
                <a:cubicBezTo>
                  <a:pt x="11" y="15"/>
                  <a:pt x="10" y="10"/>
                  <a:pt x="14" y="13"/>
                </a:cubicBezTo>
                <a:cubicBezTo>
                  <a:pt x="14" y="11"/>
                  <a:pt x="18" y="6"/>
                  <a:pt x="21" y="8"/>
                </a:cubicBezTo>
                <a:cubicBezTo>
                  <a:pt x="22" y="7"/>
                  <a:pt x="22" y="5"/>
                  <a:pt x="22" y="4"/>
                </a:cubicBezTo>
                <a:cubicBezTo>
                  <a:pt x="24" y="4"/>
                  <a:pt x="26" y="3"/>
                  <a:pt x="26" y="1"/>
                </a:cubicBezTo>
                <a:cubicBezTo>
                  <a:pt x="26" y="1"/>
                  <a:pt x="25" y="1"/>
                  <a:pt x="25" y="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71" name="Freeform 505"/>
          <p:cNvSpPr>
            <a:spLocks/>
          </p:cNvSpPr>
          <p:nvPr userDrawn="1"/>
        </p:nvSpPr>
        <p:spPr bwMode="auto">
          <a:xfrm>
            <a:off x="6113791" y="3935938"/>
            <a:ext cx="25127" cy="18425"/>
          </a:xfrm>
          <a:custGeom>
            <a:avLst/>
            <a:gdLst>
              <a:gd name="T0" fmla="*/ 2147483646 w 26"/>
              <a:gd name="T1" fmla="*/ 2147483646 h 20"/>
              <a:gd name="T2" fmla="*/ 2147483646 w 26"/>
              <a:gd name="T3" fmla="*/ 2147483646 h 20"/>
              <a:gd name="T4" fmla="*/ 2147483646 w 26"/>
              <a:gd name="T5" fmla="*/ 2147483646 h 20"/>
              <a:gd name="T6" fmla="*/ 2147483646 w 26"/>
              <a:gd name="T7" fmla="*/ 2147483646 h 20"/>
              <a:gd name="T8" fmla="*/ 2147483646 w 26"/>
              <a:gd name="T9" fmla="*/ 2147483646 h 20"/>
              <a:gd name="T10" fmla="*/ 2147483646 w 26"/>
              <a:gd name="T11" fmla="*/ 2147483646 h 20"/>
              <a:gd name="T12" fmla="*/ 2147483646 w 26"/>
              <a:gd name="T13" fmla="*/ 2147483646 h 20"/>
              <a:gd name="T14" fmla="*/ 2147483646 w 26"/>
              <a:gd name="T15" fmla="*/ 2147483646 h 20"/>
              <a:gd name="T16" fmla="*/ 2147483646 w 26"/>
              <a:gd name="T17" fmla="*/ 2147483646 h 20"/>
              <a:gd name="T18" fmla="*/ 2147483646 w 26"/>
              <a:gd name="T19" fmla="*/ 0 h 2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20"/>
              <a:gd name="T32" fmla="*/ 26 w 26"/>
              <a:gd name="T33" fmla="*/ 20 h 2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20">
                <a:moveTo>
                  <a:pt x="23" y="1"/>
                </a:moveTo>
                <a:cubicBezTo>
                  <a:pt x="21" y="3"/>
                  <a:pt x="19" y="4"/>
                  <a:pt x="17" y="6"/>
                </a:cubicBezTo>
                <a:cubicBezTo>
                  <a:pt x="13" y="3"/>
                  <a:pt x="11" y="7"/>
                  <a:pt x="11" y="11"/>
                </a:cubicBezTo>
                <a:cubicBezTo>
                  <a:pt x="7" y="12"/>
                  <a:pt x="0" y="8"/>
                  <a:pt x="4" y="16"/>
                </a:cubicBezTo>
                <a:cubicBezTo>
                  <a:pt x="6" y="18"/>
                  <a:pt x="8" y="20"/>
                  <a:pt x="10" y="17"/>
                </a:cubicBezTo>
                <a:cubicBezTo>
                  <a:pt x="11" y="15"/>
                  <a:pt x="10" y="10"/>
                  <a:pt x="14" y="13"/>
                </a:cubicBezTo>
                <a:cubicBezTo>
                  <a:pt x="14" y="11"/>
                  <a:pt x="18" y="6"/>
                  <a:pt x="21" y="8"/>
                </a:cubicBezTo>
                <a:cubicBezTo>
                  <a:pt x="22" y="7"/>
                  <a:pt x="22" y="5"/>
                  <a:pt x="22" y="4"/>
                </a:cubicBezTo>
                <a:cubicBezTo>
                  <a:pt x="24" y="4"/>
                  <a:pt x="26" y="3"/>
                  <a:pt x="26" y="1"/>
                </a:cubicBezTo>
                <a:cubicBezTo>
                  <a:pt x="26" y="1"/>
                  <a:pt x="25" y="1"/>
                  <a:pt x="25" y="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72" name="Freeform 506"/>
          <p:cNvSpPr>
            <a:spLocks/>
          </p:cNvSpPr>
          <p:nvPr userDrawn="1"/>
        </p:nvSpPr>
        <p:spPr bwMode="auto">
          <a:xfrm>
            <a:off x="6127192" y="3925888"/>
            <a:ext cx="5025" cy="5025"/>
          </a:xfrm>
          <a:custGeom>
            <a:avLst/>
            <a:gdLst>
              <a:gd name="T0" fmla="*/ 2147483646 w 7"/>
              <a:gd name="T1" fmla="*/ 2147483646 h 6"/>
              <a:gd name="T2" fmla="*/ 2147483646 w 7"/>
              <a:gd name="T3" fmla="*/ 2147483646 h 6"/>
              <a:gd name="T4" fmla="*/ 2147483646 w 7"/>
              <a:gd name="T5" fmla="*/ 2147483646 h 6"/>
              <a:gd name="T6" fmla="*/ 2147483646 w 7"/>
              <a:gd name="T7" fmla="*/ 2147483646 h 6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6"/>
              <a:gd name="T14" fmla="*/ 7 w 7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6">
                <a:moveTo>
                  <a:pt x="5" y="1"/>
                </a:moveTo>
                <a:cubicBezTo>
                  <a:pt x="3" y="0"/>
                  <a:pt x="0" y="1"/>
                  <a:pt x="1" y="3"/>
                </a:cubicBezTo>
                <a:cubicBezTo>
                  <a:pt x="2" y="6"/>
                  <a:pt x="5" y="5"/>
                  <a:pt x="7" y="5"/>
                </a:cubicBezTo>
                <a:cubicBezTo>
                  <a:pt x="7" y="3"/>
                  <a:pt x="6" y="2"/>
                  <a:pt x="4" y="2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73" name="Freeform 507"/>
          <p:cNvSpPr>
            <a:spLocks/>
          </p:cNvSpPr>
          <p:nvPr userDrawn="1"/>
        </p:nvSpPr>
        <p:spPr bwMode="auto">
          <a:xfrm>
            <a:off x="6127192" y="3925888"/>
            <a:ext cx="5025" cy="5025"/>
          </a:xfrm>
          <a:custGeom>
            <a:avLst/>
            <a:gdLst>
              <a:gd name="T0" fmla="*/ 2147483646 w 7"/>
              <a:gd name="T1" fmla="*/ 2147483646 h 6"/>
              <a:gd name="T2" fmla="*/ 2147483646 w 7"/>
              <a:gd name="T3" fmla="*/ 2147483646 h 6"/>
              <a:gd name="T4" fmla="*/ 2147483646 w 7"/>
              <a:gd name="T5" fmla="*/ 2147483646 h 6"/>
              <a:gd name="T6" fmla="*/ 2147483646 w 7"/>
              <a:gd name="T7" fmla="*/ 2147483646 h 6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6"/>
              <a:gd name="T14" fmla="*/ 7 w 7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6">
                <a:moveTo>
                  <a:pt x="5" y="1"/>
                </a:moveTo>
                <a:cubicBezTo>
                  <a:pt x="3" y="0"/>
                  <a:pt x="0" y="1"/>
                  <a:pt x="1" y="3"/>
                </a:cubicBezTo>
                <a:cubicBezTo>
                  <a:pt x="2" y="6"/>
                  <a:pt x="5" y="5"/>
                  <a:pt x="7" y="5"/>
                </a:cubicBezTo>
                <a:cubicBezTo>
                  <a:pt x="7" y="3"/>
                  <a:pt x="6" y="2"/>
                  <a:pt x="4" y="2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74" name="Freeform 508"/>
          <p:cNvSpPr>
            <a:spLocks/>
          </p:cNvSpPr>
          <p:nvPr userDrawn="1"/>
        </p:nvSpPr>
        <p:spPr bwMode="auto">
          <a:xfrm>
            <a:off x="6138918" y="3984515"/>
            <a:ext cx="6700" cy="15076"/>
          </a:xfrm>
          <a:custGeom>
            <a:avLst/>
            <a:gdLst>
              <a:gd name="T0" fmla="*/ 2147483646 w 7"/>
              <a:gd name="T1" fmla="*/ 2147483646 h 16"/>
              <a:gd name="T2" fmla="*/ 0 w 7"/>
              <a:gd name="T3" fmla="*/ 2147483646 h 16"/>
              <a:gd name="T4" fmla="*/ 2147483646 w 7"/>
              <a:gd name="T5" fmla="*/ 2147483646 h 16"/>
              <a:gd name="T6" fmla="*/ 2147483646 w 7"/>
              <a:gd name="T7" fmla="*/ 2147483646 h 16"/>
              <a:gd name="T8" fmla="*/ 2147483646 w 7"/>
              <a:gd name="T9" fmla="*/ 2147483646 h 16"/>
              <a:gd name="T10" fmla="*/ 2147483646 w 7"/>
              <a:gd name="T11" fmla="*/ 2147483646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"/>
              <a:gd name="T19" fmla="*/ 0 h 16"/>
              <a:gd name="T20" fmla="*/ 7 w 7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" h="16">
                <a:moveTo>
                  <a:pt x="7" y="6"/>
                </a:moveTo>
                <a:cubicBezTo>
                  <a:pt x="5" y="5"/>
                  <a:pt x="1" y="0"/>
                  <a:pt x="0" y="5"/>
                </a:cubicBezTo>
                <a:cubicBezTo>
                  <a:pt x="0" y="8"/>
                  <a:pt x="4" y="7"/>
                  <a:pt x="4" y="10"/>
                </a:cubicBezTo>
                <a:cubicBezTo>
                  <a:pt x="4" y="11"/>
                  <a:pt x="2" y="13"/>
                  <a:pt x="2" y="14"/>
                </a:cubicBezTo>
                <a:cubicBezTo>
                  <a:pt x="3" y="16"/>
                  <a:pt x="5" y="14"/>
                  <a:pt x="6" y="13"/>
                </a:cubicBezTo>
                <a:cubicBezTo>
                  <a:pt x="7" y="12"/>
                  <a:pt x="7" y="7"/>
                  <a:pt x="6" y="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75" name="Freeform 509"/>
          <p:cNvSpPr>
            <a:spLocks/>
          </p:cNvSpPr>
          <p:nvPr userDrawn="1"/>
        </p:nvSpPr>
        <p:spPr bwMode="auto">
          <a:xfrm>
            <a:off x="6138918" y="3984515"/>
            <a:ext cx="6700" cy="15076"/>
          </a:xfrm>
          <a:custGeom>
            <a:avLst/>
            <a:gdLst>
              <a:gd name="T0" fmla="*/ 2147483646 w 7"/>
              <a:gd name="T1" fmla="*/ 2147483646 h 16"/>
              <a:gd name="T2" fmla="*/ 0 w 7"/>
              <a:gd name="T3" fmla="*/ 2147483646 h 16"/>
              <a:gd name="T4" fmla="*/ 2147483646 w 7"/>
              <a:gd name="T5" fmla="*/ 2147483646 h 16"/>
              <a:gd name="T6" fmla="*/ 2147483646 w 7"/>
              <a:gd name="T7" fmla="*/ 2147483646 h 16"/>
              <a:gd name="T8" fmla="*/ 2147483646 w 7"/>
              <a:gd name="T9" fmla="*/ 2147483646 h 16"/>
              <a:gd name="T10" fmla="*/ 2147483646 w 7"/>
              <a:gd name="T11" fmla="*/ 2147483646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"/>
              <a:gd name="T19" fmla="*/ 0 h 16"/>
              <a:gd name="T20" fmla="*/ 7 w 7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" h="16">
                <a:moveTo>
                  <a:pt x="7" y="6"/>
                </a:moveTo>
                <a:cubicBezTo>
                  <a:pt x="5" y="5"/>
                  <a:pt x="1" y="0"/>
                  <a:pt x="0" y="5"/>
                </a:cubicBezTo>
                <a:cubicBezTo>
                  <a:pt x="0" y="8"/>
                  <a:pt x="4" y="7"/>
                  <a:pt x="4" y="10"/>
                </a:cubicBezTo>
                <a:cubicBezTo>
                  <a:pt x="4" y="11"/>
                  <a:pt x="2" y="13"/>
                  <a:pt x="2" y="14"/>
                </a:cubicBezTo>
                <a:cubicBezTo>
                  <a:pt x="3" y="16"/>
                  <a:pt x="5" y="14"/>
                  <a:pt x="6" y="13"/>
                </a:cubicBezTo>
                <a:cubicBezTo>
                  <a:pt x="7" y="12"/>
                  <a:pt x="7" y="7"/>
                  <a:pt x="6" y="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76" name="Freeform 510"/>
          <p:cNvSpPr>
            <a:spLocks/>
          </p:cNvSpPr>
          <p:nvPr userDrawn="1"/>
        </p:nvSpPr>
        <p:spPr bwMode="auto">
          <a:xfrm>
            <a:off x="6175769" y="4046494"/>
            <a:ext cx="23451" cy="28476"/>
          </a:xfrm>
          <a:custGeom>
            <a:avLst/>
            <a:gdLst>
              <a:gd name="T0" fmla="*/ 2147483646 w 25"/>
              <a:gd name="T1" fmla="*/ 2147483646 h 30"/>
              <a:gd name="T2" fmla="*/ 2147483646 w 25"/>
              <a:gd name="T3" fmla="*/ 2147483646 h 30"/>
              <a:gd name="T4" fmla="*/ 2147483646 w 25"/>
              <a:gd name="T5" fmla="*/ 2147483646 h 30"/>
              <a:gd name="T6" fmla="*/ 2147483646 w 25"/>
              <a:gd name="T7" fmla="*/ 2147483646 h 30"/>
              <a:gd name="T8" fmla="*/ 2147483646 w 25"/>
              <a:gd name="T9" fmla="*/ 2147483646 h 30"/>
              <a:gd name="T10" fmla="*/ 2147483646 w 25"/>
              <a:gd name="T11" fmla="*/ 2147483646 h 30"/>
              <a:gd name="T12" fmla="*/ 2147483646 w 25"/>
              <a:gd name="T13" fmla="*/ 2147483646 h 30"/>
              <a:gd name="T14" fmla="*/ 2147483646 w 25"/>
              <a:gd name="T15" fmla="*/ 2147483646 h 30"/>
              <a:gd name="T16" fmla="*/ 2147483646 w 25"/>
              <a:gd name="T17" fmla="*/ 2147483646 h 30"/>
              <a:gd name="T18" fmla="*/ 2147483646 w 25"/>
              <a:gd name="T19" fmla="*/ 2147483646 h 3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5"/>
              <a:gd name="T31" fmla="*/ 0 h 30"/>
              <a:gd name="T32" fmla="*/ 25 w 25"/>
              <a:gd name="T33" fmla="*/ 30 h 3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5" h="30">
                <a:moveTo>
                  <a:pt x="20" y="19"/>
                </a:moveTo>
                <a:cubicBezTo>
                  <a:pt x="21" y="15"/>
                  <a:pt x="25" y="12"/>
                  <a:pt x="23" y="8"/>
                </a:cubicBezTo>
                <a:cubicBezTo>
                  <a:pt x="21" y="5"/>
                  <a:pt x="14" y="4"/>
                  <a:pt x="14" y="9"/>
                </a:cubicBezTo>
                <a:cubicBezTo>
                  <a:pt x="12" y="6"/>
                  <a:pt x="14" y="3"/>
                  <a:pt x="10" y="2"/>
                </a:cubicBezTo>
                <a:cubicBezTo>
                  <a:pt x="8" y="1"/>
                  <a:pt x="4" y="0"/>
                  <a:pt x="2" y="1"/>
                </a:cubicBezTo>
                <a:cubicBezTo>
                  <a:pt x="0" y="9"/>
                  <a:pt x="10" y="5"/>
                  <a:pt x="13" y="8"/>
                </a:cubicBezTo>
                <a:cubicBezTo>
                  <a:pt x="16" y="10"/>
                  <a:pt x="11" y="14"/>
                  <a:pt x="15" y="15"/>
                </a:cubicBezTo>
                <a:cubicBezTo>
                  <a:pt x="13" y="16"/>
                  <a:pt x="3" y="27"/>
                  <a:pt x="10" y="29"/>
                </a:cubicBezTo>
                <a:cubicBezTo>
                  <a:pt x="14" y="30"/>
                  <a:pt x="16" y="13"/>
                  <a:pt x="19" y="22"/>
                </a:cubicBezTo>
                <a:cubicBezTo>
                  <a:pt x="19" y="20"/>
                  <a:pt x="20" y="18"/>
                  <a:pt x="21" y="15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77" name="Freeform 511"/>
          <p:cNvSpPr>
            <a:spLocks/>
          </p:cNvSpPr>
          <p:nvPr userDrawn="1"/>
        </p:nvSpPr>
        <p:spPr bwMode="auto">
          <a:xfrm>
            <a:off x="6175769" y="4046494"/>
            <a:ext cx="23451" cy="28476"/>
          </a:xfrm>
          <a:custGeom>
            <a:avLst/>
            <a:gdLst>
              <a:gd name="T0" fmla="*/ 2147483646 w 25"/>
              <a:gd name="T1" fmla="*/ 2147483646 h 30"/>
              <a:gd name="T2" fmla="*/ 2147483646 w 25"/>
              <a:gd name="T3" fmla="*/ 2147483646 h 30"/>
              <a:gd name="T4" fmla="*/ 2147483646 w 25"/>
              <a:gd name="T5" fmla="*/ 2147483646 h 30"/>
              <a:gd name="T6" fmla="*/ 2147483646 w 25"/>
              <a:gd name="T7" fmla="*/ 2147483646 h 30"/>
              <a:gd name="T8" fmla="*/ 2147483646 w 25"/>
              <a:gd name="T9" fmla="*/ 2147483646 h 30"/>
              <a:gd name="T10" fmla="*/ 2147483646 w 25"/>
              <a:gd name="T11" fmla="*/ 2147483646 h 30"/>
              <a:gd name="T12" fmla="*/ 2147483646 w 25"/>
              <a:gd name="T13" fmla="*/ 2147483646 h 30"/>
              <a:gd name="T14" fmla="*/ 2147483646 w 25"/>
              <a:gd name="T15" fmla="*/ 2147483646 h 30"/>
              <a:gd name="T16" fmla="*/ 2147483646 w 25"/>
              <a:gd name="T17" fmla="*/ 2147483646 h 30"/>
              <a:gd name="T18" fmla="*/ 2147483646 w 25"/>
              <a:gd name="T19" fmla="*/ 2147483646 h 3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5"/>
              <a:gd name="T31" fmla="*/ 0 h 30"/>
              <a:gd name="T32" fmla="*/ 25 w 25"/>
              <a:gd name="T33" fmla="*/ 30 h 3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5" h="30">
                <a:moveTo>
                  <a:pt x="20" y="19"/>
                </a:moveTo>
                <a:cubicBezTo>
                  <a:pt x="21" y="15"/>
                  <a:pt x="25" y="12"/>
                  <a:pt x="23" y="8"/>
                </a:cubicBezTo>
                <a:cubicBezTo>
                  <a:pt x="21" y="5"/>
                  <a:pt x="14" y="4"/>
                  <a:pt x="14" y="9"/>
                </a:cubicBezTo>
                <a:cubicBezTo>
                  <a:pt x="12" y="6"/>
                  <a:pt x="14" y="3"/>
                  <a:pt x="10" y="2"/>
                </a:cubicBezTo>
                <a:cubicBezTo>
                  <a:pt x="8" y="1"/>
                  <a:pt x="4" y="0"/>
                  <a:pt x="2" y="1"/>
                </a:cubicBezTo>
                <a:cubicBezTo>
                  <a:pt x="0" y="9"/>
                  <a:pt x="10" y="5"/>
                  <a:pt x="13" y="8"/>
                </a:cubicBezTo>
                <a:cubicBezTo>
                  <a:pt x="16" y="10"/>
                  <a:pt x="11" y="14"/>
                  <a:pt x="15" y="15"/>
                </a:cubicBezTo>
                <a:cubicBezTo>
                  <a:pt x="13" y="16"/>
                  <a:pt x="3" y="27"/>
                  <a:pt x="10" y="29"/>
                </a:cubicBezTo>
                <a:cubicBezTo>
                  <a:pt x="14" y="30"/>
                  <a:pt x="16" y="13"/>
                  <a:pt x="19" y="22"/>
                </a:cubicBezTo>
                <a:cubicBezTo>
                  <a:pt x="19" y="20"/>
                  <a:pt x="20" y="18"/>
                  <a:pt x="21" y="15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78" name="Freeform 512"/>
          <p:cNvSpPr>
            <a:spLocks/>
          </p:cNvSpPr>
          <p:nvPr userDrawn="1"/>
        </p:nvSpPr>
        <p:spPr bwMode="auto">
          <a:xfrm>
            <a:off x="6100390" y="3976140"/>
            <a:ext cx="11727" cy="10051"/>
          </a:xfrm>
          <a:custGeom>
            <a:avLst/>
            <a:gdLst>
              <a:gd name="T0" fmla="*/ 2147483646 w 11"/>
              <a:gd name="T1" fmla="*/ 2147483646 h 12"/>
              <a:gd name="T2" fmla="*/ 2147483646 w 11"/>
              <a:gd name="T3" fmla="*/ 2147483646 h 12"/>
              <a:gd name="T4" fmla="*/ 2147483646 w 11"/>
              <a:gd name="T5" fmla="*/ 2147483646 h 12"/>
              <a:gd name="T6" fmla="*/ 2147483646 w 11"/>
              <a:gd name="T7" fmla="*/ 2147483646 h 12"/>
              <a:gd name="T8" fmla="*/ 2147483646 w 11"/>
              <a:gd name="T9" fmla="*/ 2147483646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12"/>
              <a:gd name="T17" fmla="*/ 11 w 11"/>
              <a:gd name="T18" fmla="*/ 12 h 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12">
                <a:moveTo>
                  <a:pt x="6" y="2"/>
                </a:moveTo>
                <a:cubicBezTo>
                  <a:pt x="5" y="0"/>
                  <a:pt x="1" y="0"/>
                  <a:pt x="1" y="3"/>
                </a:cubicBezTo>
                <a:cubicBezTo>
                  <a:pt x="0" y="6"/>
                  <a:pt x="4" y="6"/>
                  <a:pt x="5" y="7"/>
                </a:cubicBezTo>
                <a:cubicBezTo>
                  <a:pt x="7" y="9"/>
                  <a:pt x="9" y="12"/>
                  <a:pt x="10" y="8"/>
                </a:cubicBezTo>
                <a:cubicBezTo>
                  <a:pt x="11" y="5"/>
                  <a:pt x="7" y="3"/>
                  <a:pt x="5" y="2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79" name="Freeform 513"/>
          <p:cNvSpPr>
            <a:spLocks/>
          </p:cNvSpPr>
          <p:nvPr userDrawn="1"/>
        </p:nvSpPr>
        <p:spPr bwMode="auto">
          <a:xfrm>
            <a:off x="6100390" y="3976140"/>
            <a:ext cx="11727" cy="10051"/>
          </a:xfrm>
          <a:custGeom>
            <a:avLst/>
            <a:gdLst>
              <a:gd name="T0" fmla="*/ 2147483646 w 11"/>
              <a:gd name="T1" fmla="*/ 2147483646 h 12"/>
              <a:gd name="T2" fmla="*/ 2147483646 w 11"/>
              <a:gd name="T3" fmla="*/ 2147483646 h 12"/>
              <a:gd name="T4" fmla="*/ 2147483646 w 11"/>
              <a:gd name="T5" fmla="*/ 2147483646 h 12"/>
              <a:gd name="T6" fmla="*/ 2147483646 w 11"/>
              <a:gd name="T7" fmla="*/ 2147483646 h 12"/>
              <a:gd name="T8" fmla="*/ 2147483646 w 11"/>
              <a:gd name="T9" fmla="*/ 2147483646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12"/>
              <a:gd name="T17" fmla="*/ 11 w 11"/>
              <a:gd name="T18" fmla="*/ 12 h 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12">
                <a:moveTo>
                  <a:pt x="6" y="2"/>
                </a:moveTo>
                <a:cubicBezTo>
                  <a:pt x="5" y="0"/>
                  <a:pt x="1" y="0"/>
                  <a:pt x="1" y="3"/>
                </a:cubicBezTo>
                <a:cubicBezTo>
                  <a:pt x="0" y="6"/>
                  <a:pt x="4" y="6"/>
                  <a:pt x="5" y="7"/>
                </a:cubicBezTo>
                <a:cubicBezTo>
                  <a:pt x="7" y="9"/>
                  <a:pt x="9" y="12"/>
                  <a:pt x="10" y="8"/>
                </a:cubicBezTo>
                <a:cubicBezTo>
                  <a:pt x="11" y="5"/>
                  <a:pt x="7" y="3"/>
                  <a:pt x="5" y="2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80" name="Freeform 514"/>
          <p:cNvSpPr>
            <a:spLocks/>
          </p:cNvSpPr>
          <p:nvPr userDrawn="1"/>
        </p:nvSpPr>
        <p:spPr bwMode="auto">
          <a:xfrm>
            <a:off x="5862527" y="3773454"/>
            <a:ext cx="11727" cy="16751"/>
          </a:xfrm>
          <a:custGeom>
            <a:avLst/>
            <a:gdLst>
              <a:gd name="T0" fmla="*/ 2147483646 w 11"/>
              <a:gd name="T1" fmla="*/ 0 h 18"/>
              <a:gd name="T2" fmla="*/ 2147483646 w 11"/>
              <a:gd name="T3" fmla="*/ 2147483646 h 18"/>
              <a:gd name="T4" fmla="*/ 2147483646 w 11"/>
              <a:gd name="T5" fmla="*/ 2147483646 h 18"/>
              <a:gd name="T6" fmla="*/ 2147483646 w 11"/>
              <a:gd name="T7" fmla="*/ 2147483646 h 18"/>
              <a:gd name="T8" fmla="*/ 2147483646 w 11"/>
              <a:gd name="T9" fmla="*/ 2147483646 h 18"/>
              <a:gd name="T10" fmla="*/ 2147483646 w 11"/>
              <a:gd name="T11" fmla="*/ 2147483646 h 18"/>
              <a:gd name="T12" fmla="*/ 2147483646 w 11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"/>
              <a:gd name="T22" fmla="*/ 0 h 18"/>
              <a:gd name="T23" fmla="*/ 11 w 11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" h="18">
                <a:moveTo>
                  <a:pt x="3" y="0"/>
                </a:moveTo>
                <a:cubicBezTo>
                  <a:pt x="2" y="0"/>
                  <a:pt x="0" y="3"/>
                  <a:pt x="3" y="5"/>
                </a:cubicBezTo>
                <a:cubicBezTo>
                  <a:pt x="5" y="8"/>
                  <a:pt x="5" y="14"/>
                  <a:pt x="7" y="15"/>
                </a:cubicBezTo>
                <a:cubicBezTo>
                  <a:pt x="9" y="17"/>
                  <a:pt x="11" y="18"/>
                  <a:pt x="11" y="15"/>
                </a:cubicBezTo>
                <a:cubicBezTo>
                  <a:pt x="11" y="13"/>
                  <a:pt x="9" y="9"/>
                  <a:pt x="9" y="7"/>
                </a:cubicBezTo>
                <a:cubicBezTo>
                  <a:pt x="8" y="5"/>
                  <a:pt x="6" y="1"/>
                  <a:pt x="6" y="1"/>
                </a:cubicBezTo>
                <a:lnTo>
                  <a:pt x="3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81" name="Freeform 515"/>
          <p:cNvSpPr>
            <a:spLocks/>
          </p:cNvSpPr>
          <p:nvPr userDrawn="1"/>
        </p:nvSpPr>
        <p:spPr bwMode="auto">
          <a:xfrm>
            <a:off x="5867553" y="3790205"/>
            <a:ext cx="6700" cy="11727"/>
          </a:xfrm>
          <a:custGeom>
            <a:avLst/>
            <a:gdLst>
              <a:gd name="T0" fmla="*/ 0 w 8"/>
              <a:gd name="T1" fmla="*/ 0 h 13"/>
              <a:gd name="T2" fmla="*/ 2147483646 w 8"/>
              <a:gd name="T3" fmla="*/ 2147483646 h 13"/>
              <a:gd name="T4" fmla="*/ 2147483646 w 8"/>
              <a:gd name="T5" fmla="*/ 2147483646 h 13"/>
              <a:gd name="T6" fmla="*/ 2147483646 w 8"/>
              <a:gd name="T7" fmla="*/ 2147483646 h 13"/>
              <a:gd name="T8" fmla="*/ 0 w 8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13"/>
              <a:gd name="T17" fmla="*/ 8 w 8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13">
                <a:moveTo>
                  <a:pt x="0" y="0"/>
                </a:moveTo>
                <a:cubicBezTo>
                  <a:pt x="3" y="1"/>
                  <a:pt x="8" y="3"/>
                  <a:pt x="8" y="5"/>
                </a:cubicBezTo>
                <a:cubicBezTo>
                  <a:pt x="8" y="7"/>
                  <a:pt x="8" y="11"/>
                  <a:pt x="8" y="12"/>
                </a:cubicBezTo>
                <a:cubicBezTo>
                  <a:pt x="8" y="13"/>
                  <a:pt x="3" y="7"/>
                  <a:pt x="2" y="6"/>
                </a:cubicBezTo>
                <a:cubicBezTo>
                  <a:pt x="2" y="5"/>
                  <a:pt x="0" y="0"/>
                  <a:pt x="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82" name="Freeform 516"/>
          <p:cNvSpPr>
            <a:spLocks/>
          </p:cNvSpPr>
          <p:nvPr userDrawn="1"/>
        </p:nvSpPr>
        <p:spPr bwMode="auto">
          <a:xfrm>
            <a:off x="5877604" y="3805280"/>
            <a:ext cx="13401" cy="15075"/>
          </a:xfrm>
          <a:custGeom>
            <a:avLst/>
            <a:gdLst>
              <a:gd name="T0" fmla="*/ 0 w 13"/>
              <a:gd name="T1" fmla="*/ 0 h 16"/>
              <a:gd name="T2" fmla="*/ 2147483646 w 13"/>
              <a:gd name="T3" fmla="*/ 2147483646 h 16"/>
              <a:gd name="T4" fmla="*/ 0 w 13"/>
              <a:gd name="T5" fmla="*/ 0 h 16"/>
              <a:gd name="T6" fmla="*/ 0 60000 65536"/>
              <a:gd name="T7" fmla="*/ 0 60000 65536"/>
              <a:gd name="T8" fmla="*/ 0 60000 65536"/>
              <a:gd name="T9" fmla="*/ 0 w 13"/>
              <a:gd name="T10" fmla="*/ 0 h 16"/>
              <a:gd name="T11" fmla="*/ 13 w 13"/>
              <a:gd name="T12" fmla="*/ 16 h 1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" h="16">
                <a:moveTo>
                  <a:pt x="0" y="0"/>
                </a:moveTo>
                <a:cubicBezTo>
                  <a:pt x="0" y="0"/>
                  <a:pt x="7" y="6"/>
                  <a:pt x="10" y="11"/>
                </a:cubicBezTo>
                <a:cubicBezTo>
                  <a:pt x="13" y="16"/>
                  <a:pt x="1" y="4"/>
                  <a:pt x="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83" name="Freeform 517"/>
          <p:cNvSpPr>
            <a:spLocks/>
          </p:cNvSpPr>
          <p:nvPr userDrawn="1"/>
        </p:nvSpPr>
        <p:spPr bwMode="auto">
          <a:xfrm>
            <a:off x="5894353" y="3820357"/>
            <a:ext cx="15075" cy="11727"/>
          </a:xfrm>
          <a:custGeom>
            <a:avLst/>
            <a:gdLst>
              <a:gd name="T0" fmla="*/ 0 w 16"/>
              <a:gd name="T1" fmla="*/ 2147483646 h 14"/>
              <a:gd name="T2" fmla="*/ 2147483646 w 16"/>
              <a:gd name="T3" fmla="*/ 2147483646 h 14"/>
              <a:gd name="T4" fmla="*/ 2147483646 w 16"/>
              <a:gd name="T5" fmla="*/ 2147483646 h 14"/>
              <a:gd name="T6" fmla="*/ 2147483646 w 16"/>
              <a:gd name="T7" fmla="*/ 2147483646 h 14"/>
              <a:gd name="T8" fmla="*/ 0 w 16"/>
              <a:gd name="T9" fmla="*/ 2147483646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4"/>
              <a:gd name="T17" fmla="*/ 16 w 16"/>
              <a:gd name="T18" fmla="*/ 14 h 1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4">
                <a:moveTo>
                  <a:pt x="0" y="1"/>
                </a:moveTo>
                <a:cubicBezTo>
                  <a:pt x="0" y="0"/>
                  <a:pt x="5" y="7"/>
                  <a:pt x="6" y="8"/>
                </a:cubicBezTo>
                <a:cubicBezTo>
                  <a:pt x="8" y="9"/>
                  <a:pt x="14" y="10"/>
                  <a:pt x="14" y="10"/>
                </a:cubicBezTo>
                <a:cubicBezTo>
                  <a:pt x="14" y="10"/>
                  <a:pt x="16" y="14"/>
                  <a:pt x="14" y="14"/>
                </a:cubicBezTo>
                <a:cubicBezTo>
                  <a:pt x="13" y="14"/>
                  <a:pt x="2" y="6"/>
                  <a:pt x="0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84" name="Freeform 518"/>
          <p:cNvSpPr>
            <a:spLocks/>
          </p:cNvSpPr>
          <p:nvPr userDrawn="1"/>
        </p:nvSpPr>
        <p:spPr bwMode="auto">
          <a:xfrm>
            <a:off x="5294671" y="3806955"/>
            <a:ext cx="303191" cy="262991"/>
          </a:xfrm>
          <a:custGeom>
            <a:avLst/>
            <a:gdLst>
              <a:gd name="T0" fmla="*/ 2147483646 w 325"/>
              <a:gd name="T1" fmla="*/ 2147483646 h 281"/>
              <a:gd name="T2" fmla="*/ 2147483646 w 325"/>
              <a:gd name="T3" fmla="*/ 2147483646 h 281"/>
              <a:gd name="T4" fmla="*/ 2147483646 w 325"/>
              <a:gd name="T5" fmla="*/ 2147483646 h 281"/>
              <a:gd name="T6" fmla="*/ 2147483646 w 325"/>
              <a:gd name="T7" fmla="*/ 2147483646 h 281"/>
              <a:gd name="T8" fmla="*/ 2147483646 w 325"/>
              <a:gd name="T9" fmla="*/ 2147483646 h 281"/>
              <a:gd name="T10" fmla="*/ 2147483646 w 325"/>
              <a:gd name="T11" fmla="*/ 2147483646 h 281"/>
              <a:gd name="T12" fmla="*/ 2147483646 w 325"/>
              <a:gd name="T13" fmla="*/ 2147483646 h 281"/>
              <a:gd name="T14" fmla="*/ 2147483646 w 325"/>
              <a:gd name="T15" fmla="*/ 2147483646 h 281"/>
              <a:gd name="T16" fmla="*/ 2147483646 w 325"/>
              <a:gd name="T17" fmla="*/ 2147483646 h 281"/>
              <a:gd name="T18" fmla="*/ 2147483646 w 325"/>
              <a:gd name="T19" fmla="*/ 2147483646 h 281"/>
              <a:gd name="T20" fmla="*/ 2147483646 w 325"/>
              <a:gd name="T21" fmla="*/ 2147483646 h 281"/>
              <a:gd name="T22" fmla="*/ 2147483646 w 325"/>
              <a:gd name="T23" fmla="*/ 2147483646 h 281"/>
              <a:gd name="T24" fmla="*/ 2147483646 w 325"/>
              <a:gd name="T25" fmla="*/ 2147483646 h 281"/>
              <a:gd name="T26" fmla="*/ 2147483646 w 325"/>
              <a:gd name="T27" fmla="*/ 2147483646 h 281"/>
              <a:gd name="T28" fmla="*/ 2147483646 w 325"/>
              <a:gd name="T29" fmla="*/ 2147483646 h 281"/>
              <a:gd name="T30" fmla="*/ 2147483646 w 325"/>
              <a:gd name="T31" fmla="*/ 2147483646 h 281"/>
              <a:gd name="T32" fmla="*/ 2147483646 w 325"/>
              <a:gd name="T33" fmla="*/ 2147483646 h 281"/>
              <a:gd name="T34" fmla="*/ 2147483646 w 325"/>
              <a:gd name="T35" fmla="*/ 2147483646 h 281"/>
              <a:gd name="T36" fmla="*/ 2147483646 w 325"/>
              <a:gd name="T37" fmla="*/ 2147483646 h 281"/>
              <a:gd name="T38" fmla="*/ 2147483646 w 325"/>
              <a:gd name="T39" fmla="*/ 2147483646 h 281"/>
              <a:gd name="T40" fmla="*/ 2147483646 w 325"/>
              <a:gd name="T41" fmla="*/ 2147483646 h 281"/>
              <a:gd name="T42" fmla="*/ 2147483646 w 325"/>
              <a:gd name="T43" fmla="*/ 2147483646 h 281"/>
              <a:gd name="T44" fmla="*/ 2147483646 w 325"/>
              <a:gd name="T45" fmla="*/ 2147483646 h 281"/>
              <a:gd name="T46" fmla="*/ 2147483646 w 325"/>
              <a:gd name="T47" fmla="*/ 2147483646 h 281"/>
              <a:gd name="T48" fmla="*/ 2147483646 w 325"/>
              <a:gd name="T49" fmla="*/ 2147483646 h 281"/>
              <a:gd name="T50" fmla="*/ 2147483646 w 325"/>
              <a:gd name="T51" fmla="*/ 2147483646 h 281"/>
              <a:gd name="T52" fmla="*/ 2147483646 w 325"/>
              <a:gd name="T53" fmla="*/ 2147483646 h 281"/>
              <a:gd name="T54" fmla="*/ 2147483646 w 325"/>
              <a:gd name="T55" fmla="*/ 2147483646 h 281"/>
              <a:gd name="T56" fmla="*/ 2147483646 w 325"/>
              <a:gd name="T57" fmla="*/ 2147483646 h 281"/>
              <a:gd name="T58" fmla="*/ 2147483646 w 325"/>
              <a:gd name="T59" fmla="*/ 2147483646 h 281"/>
              <a:gd name="T60" fmla="*/ 2147483646 w 325"/>
              <a:gd name="T61" fmla="*/ 2147483646 h 281"/>
              <a:gd name="T62" fmla="*/ 2147483646 w 325"/>
              <a:gd name="T63" fmla="*/ 2147483646 h 281"/>
              <a:gd name="T64" fmla="*/ 2147483646 w 325"/>
              <a:gd name="T65" fmla="*/ 2147483646 h 281"/>
              <a:gd name="T66" fmla="*/ 2147483646 w 325"/>
              <a:gd name="T67" fmla="*/ 2147483646 h 281"/>
              <a:gd name="T68" fmla="*/ 2147483646 w 325"/>
              <a:gd name="T69" fmla="*/ 2147483646 h 281"/>
              <a:gd name="T70" fmla="*/ 2147483646 w 325"/>
              <a:gd name="T71" fmla="*/ 2147483646 h 281"/>
              <a:gd name="T72" fmla="*/ 2147483646 w 325"/>
              <a:gd name="T73" fmla="*/ 2147483646 h 281"/>
              <a:gd name="T74" fmla="*/ 2147483646 w 325"/>
              <a:gd name="T75" fmla="*/ 2147483646 h 281"/>
              <a:gd name="T76" fmla="*/ 2147483646 w 325"/>
              <a:gd name="T77" fmla="*/ 2147483646 h 281"/>
              <a:gd name="T78" fmla="*/ 2147483646 w 325"/>
              <a:gd name="T79" fmla="*/ 2147483646 h 281"/>
              <a:gd name="T80" fmla="*/ 2147483646 w 325"/>
              <a:gd name="T81" fmla="*/ 2147483646 h 281"/>
              <a:gd name="T82" fmla="*/ 2147483646 w 325"/>
              <a:gd name="T83" fmla="*/ 2147483646 h 281"/>
              <a:gd name="T84" fmla="*/ 2147483646 w 325"/>
              <a:gd name="T85" fmla="*/ 2147483646 h 281"/>
              <a:gd name="T86" fmla="*/ 2147483646 w 325"/>
              <a:gd name="T87" fmla="*/ 2147483646 h 281"/>
              <a:gd name="T88" fmla="*/ 2147483646 w 325"/>
              <a:gd name="T89" fmla="*/ 2147483646 h 281"/>
              <a:gd name="T90" fmla="*/ 2147483646 w 325"/>
              <a:gd name="T91" fmla="*/ 2147483646 h 281"/>
              <a:gd name="T92" fmla="*/ 2147483646 w 325"/>
              <a:gd name="T93" fmla="*/ 2147483646 h 281"/>
              <a:gd name="T94" fmla="*/ 2147483646 w 325"/>
              <a:gd name="T95" fmla="*/ 2147483646 h 281"/>
              <a:gd name="T96" fmla="*/ 2147483646 w 325"/>
              <a:gd name="T97" fmla="*/ 2147483646 h 28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25"/>
              <a:gd name="T148" fmla="*/ 0 h 281"/>
              <a:gd name="T149" fmla="*/ 325 w 325"/>
              <a:gd name="T150" fmla="*/ 281 h 28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25" h="281">
                <a:moveTo>
                  <a:pt x="17" y="74"/>
                </a:moveTo>
                <a:cubicBezTo>
                  <a:pt x="20" y="73"/>
                  <a:pt x="22" y="69"/>
                  <a:pt x="24" y="70"/>
                </a:cubicBezTo>
                <a:cubicBezTo>
                  <a:pt x="26" y="70"/>
                  <a:pt x="26" y="72"/>
                  <a:pt x="27" y="73"/>
                </a:cubicBezTo>
                <a:cubicBezTo>
                  <a:pt x="28" y="74"/>
                  <a:pt x="29" y="75"/>
                  <a:pt x="30" y="76"/>
                </a:cubicBezTo>
                <a:cubicBezTo>
                  <a:pt x="31" y="78"/>
                  <a:pt x="30" y="82"/>
                  <a:pt x="30" y="84"/>
                </a:cubicBezTo>
                <a:cubicBezTo>
                  <a:pt x="32" y="84"/>
                  <a:pt x="33" y="83"/>
                  <a:pt x="35" y="83"/>
                </a:cubicBezTo>
                <a:cubicBezTo>
                  <a:pt x="38" y="82"/>
                  <a:pt x="39" y="84"/>
                  <a:pt x="42" y="84"/>
                </a:cubicBezTo>
                <a:cubicBezTo>
                  <a:pt x="47" y="85"/>
                  <a:pt x="50" y="79"/>
                  <a:pt x="56" y="79"/>
                </a:cubicBezTo>
                <a:cubicBezTo>
                  <a:pt x="58" y="79"/>
                  <a:pt x="59" y="80"/>
                  <a:pt x="61" y="79"/>
                </a:cubicBezTo>
                <a:cubicBezTo>
                  <a:pt x="64" y="79"/>
                  <a:pt x="66" y="77"/>
                  <a:pt x="68" y="78"/>
                </a:cubicBezTo>
                <a:cubicBezTo>
                  <a:pt x="70" y="79"/>
                  <a:pt x="77" y="87"/>
                  <a:pt x="77" y="90"/>
                </a:cubicBezTo>
                <a:cubicBezTo>
                  <a:pt x="77" y="93"/>
                  <a:pt x="70" y="97"/>
                  <a:pt x="68" y="100"/>
                </a:cubicBezTo>
                <a:cubicBezTo>
                  <a:pt x="66" y="103"/>
                  <a:pt x="64" y="106"/>
                  <a:pt x="62" y="110"/>
                </a:cubicBezTo>
                <a:cubicBezTo>
                  <a:pt x="61" y="113"/>
                  <a:pt x="59" y="117"/>
                  <a:pt x="60" y="120"/>
                </a:cubicBezTo>
                <a:cubicBezTo>
                  <a:pt x="60" y="123"/>
                  <a:pt x="61" y="123"/>
                  <a:pt x="62" y="125"/>
                </a:cubicBezTo>
                <a:cubicBezTo>
                  <a:pt x="63" y="128"/>
                  <a:pt x="58" y="134"/>
                  <a:pt x="62" y="135"/>
                </a:cubicBezTo>
                <a:cubicBezTo>
                  <a:pt x="63" y="141"/>
                  <a:pt x="56" y="147"/>
                  <a:pt x="59" y="152"/>
                </a:cubicBezTo>
                <a:cubicBezTo>
                  <a:pt x="55" y="154"/>
                  <a:pt x="51" y="160"/>
                  <a:pt x="50" y="164"/>
                </a:cubicBezTo>
                <a:cubicBezTo>
                  <a:pt x="50" y="169"/>
                  <a:pt x="56" y="173"/>
                  <a:pt x="58" y="179"/>
                </a:cubicBezTo>
                <a:cubicBezTo>
                  <a:pt x="59" y="183"/>
                  <a:pt x="54" y="188"/>
                  <a:pt x="55" y="194"/>
                </a:cubicBezTo>
                <a:cubicBezTo>
                  <a:pt x="55" y="198"/>
                  <a:pt x="58" y="200"/>
                  <a:pt x="58" y="204"/>
                </a:cubicBezTo>
                <a:cubicBezTo>
                  <a:pt x="57" y="215"/>
                  <a:pt x="39" y="230"/>
                  <a:pt x="49" y="241"/>
                </a:cubicBezTo>
                <a:cubicBezTo>
                  <a:pt x="50" y="241"/>
                  <a:pt x="50" y="241"/>
                  <a:pt x="50" y="241"/>
                </a:cubicBezTo>
                <a:cubicBezTo>
                  <a:pt x="54" y="237"/>
                  <a:pt x="56" y="235"/>
                  <a:pt x="60" y="239"/>
                </a:cubicBezTo>
                <a:cubicBezTo>
                  <a:pt x="64" y="244"/>
                  <a:pt x="52" y="242"/>
                  <a:pt x="64" y="244"/>
                </a:cubicBezTo>
                <a:cubicBezTo>
                  <a:pt x="77" y="245"/>
                  <a:pt x="78" y="240"/>
                  <a:pt x="79" y="245"/>
                </a:cubicBezTo>
                <a:cubicBezTo>
                  <a:pt x="80" y="251"/>
                  <a:pt x="72" y="252"/>
                  <a:pt x="75" y="258"/>
                </a:cubicBezTo>
                <a:cubicBezTo>
                  <a:pt x="78" y="263"/>
                  <a:pt x="78" y="267"/>
                  <a:pt x="80" y="270"/>
                </a:cubicBezTo>
                <a:cubicBezTo>
                  <a:pt x="83" y="273"/>
                  <a:pt x="89" y="271"/>
                  <a:pt x="94" y="276"/>
                </a:cubicBezTo>
                <a:cubicBezTo>
                  <a:pt x="99" y="281"/>
                  <a:pt x="101" y="276"/>
                  <a:pt x="104" y="271"/>
                </a:cubicBezTo>
                <a:cubicBezTo>
                  <a:pt x="108" y="265"/>
                  <a:pt x="111" y="260"/>
                  <a:pt x="117" y="261"/>
                </a:cubicBezTo>
                <a:cubicBezTo>
                  <a:pt x="123" y="262"/>
                  <a:pt x="123" y="263"/>
                  <a:pt x="127" y="258"/>
                </a:cubicBezTo>
                <a:cubicBezTo>
                  <a:pt x="130" y="254"/>
                  <a:pt x="126" y="251"/>
                  <a:pt x="134" y="254"/>
                </a:cubicBezTo>
                <a:cubicBezTo>
                  <a:pt x="142" y="257"/>
                  <a:pt x="145" y="258"/>
                  <a:pt x="150" y="257"/>
                </a:cubicBezTo>
                <a:cubicBezTo>
                  <a:pt x="155" y="256"/>
                  <a:pt x="156" y="255"/>
                  <a:pt x="161" y="255"/>
                </a:cubicBezTo>
                <a:cubicBezTo>
                  <a:pt x="166" y="255"/>
                  <a:pt x="167" y="259"/>
                  <a:pt x="170" y="258"/>
                </a:cubicBezTo>
                <a:cubicBezTo>
                  <a:pt x="174" y="257"/>
                  <a:pt x="178" y="254"/>
                  <a:pt x="180" y="253"/>
                </a:cubicBezTo>
                <a:cubicBezTo>
                  <a:pt x="181" y="252"/>
                  <a:pt x="188" y="254"/>
                  <a:pt x="190" y="250"/>
                </a:cubicBezTo>
                <a:cubicBezTo>
                  <a:pt x="192" y="247"/>
                  <a:pt x="195" y="242"/>
                  <a:pt x="196" y="241"/>
                </a:cubicBezTo>
                <a:cubicBezTo>
                  <a:pt x="197" y="240"/>
                  <a:pt x="197" y="238"/>
                  <a:pt x="198" y="236"/>
                </a:cubicBezTo>
                <a:cubicBezTo>
                  <a:pt x="200" y="235"/>
                  <a:pt x="196" y="231"/>
                  <a:pt x="199" y="229"/>
                </a:cubicBezTo>
                <a:cubicBezTo>
                  <a:pt x="202" y="227"/>
                  <a:pt x="205" y="225"/>
                  <a:pt x="212" y="227"/>
                </a:cubicBezTo>
                <a:cubicBezTo>
                  <a:pt x="218" y="229"/>
                  <a:pt x="222" y="227"/>
                  <a:pt x="223" y="226"/>
                </a:cubicBezTo>
                <a:cubicBezTo>
                  <a:pt x="224" y="224"/>
                  <a:pt x="223" y="219"/>
                  <a:pt x="222" y="216"/>
                </a:cubicBezTo>
                <a:cubicBezTo>
                  <a:pt x="222" y="212"/>
                  <a:pt x="224" y="209"/>
                  <a:pt x="224" y="209"/>
                </a:cubicBezTo>
                <a:cubicBezTo>
                  <a:pt x="225" y="208"/>
                  <a:pt x="230" y="203"/>
                  <a:pt x="231" y="199"/>
                </a:cubicBezTo>
                <a:cubicBezTo>
                  <a:pt x="233" y="196"/>
                  <a:pt x="239" y="192"/>
                  <a:pt x="240" y="192"/>
                </a:cubicBezTo>
                <a:cubicBezTo>
                  <a:pt x="242" y="191"/>
                  <a:pt x="243" y="187"/>
                  <a:pt x="244" y="185"/>
                </a:cubicBezTo>
                <a:cubicBezTo>
                  <a:pt x="245" y="184"/>
                  <a:pt x="240" y="181"/>
                  <a:pt x="235" y="174"/>
                </a:cubicBezTo>
                <a:cubicBezTo>
                  <a:pt x="230" y="168"/>
                  <a:pt x="231" y="163"/>
                  <a:pt x="231" y="161"/>
                </a:cubicBezTo>
                <a:cubicBezTo>
                  <a:pt x="232" y="158"/>
                  <a:pt x="234" y="156"/>
                  <a:pt x="234" y="154"/>
                </a:cubicBezTo>
                <a:cubicBezTo>
                  <a:pt x="234" y="153"/>
                  <a:pt x="239" y="148"/>
                  <a:pt x="243" y="141"/>
                </a:cubicBezTo>
                <a:cubicBezTo>
                  <a:pt x="246" y="134"/>
                  <a:pt x="249" y="128"/>
                  <a:pt x="253" y="125"/>
                </a:cubicBezTo>
                <a:cubicBezTo>
                  <a:pt x="256" y="121"/>
                  <a:pt x="259" y="118"/>
                  <a:pt x="259" y="114"/>
                </a:cubicBezTo>
                <a:cubicBezTo>
                  <a:pt x="260" y="111"/>
                  <a:pt x="263" y="107"/>
                  <a:pt x="271" y="106"/>
                </a:cubicBezTo>
                <a:cubicBezTo>
                  <a:pt x="279" y="106"/>
                  <a:pt x="287" y="99"/>
                  <a:pt x="288" y="100"/>
                </a:cubicBezTo>
                <a:cubicBezTo>
                  <a:pt x="289" y="101"/>
                  <a:pt x="300" y="91"/>
                  <a:pt x="304" y="89"/>
                </a:cubicBezTo>
                <a:cubicBezTo>
                  <a:pt x="307" y="87"/>
                  <a:pt x="325" y="80"/>
                  <a:pt x="320" y="72"/>
                </a:cubicBezTo>
                <a:cubicBezTo>
                  <a:pt x="315" y="63"/>
                  <a:pt x="324" y="65"/>
                  <a:pt x="322" y="60"/>
                </a:cubicBezTo>
                <a:cubicBezTo>
                  <a:pt x="322" y="60"/>
                  <a:pt x="322" y="59"/>
                  <a:pt x="321" y="58"/>
                </a:cubicBezTo>
                <a:cubicBezTo>
                  <a:pt x="320" y="57"/>
                  <a:pt x="320" y="57"/>
                  <a:pt x="320" y="57"/>
                </a:cubicBezTo>
                <a:cubicBezTo>
                  <a:pt x="319" y="56"/>
                  <a:pt x="315" y="58"/>
                  <a:pt x="313" y="58"/>
                </a:cubicBezTo>
                <a:cubicBezTo>
                  <a:pt x="311" y="57"/>
                  <a:pt x="309" y="57"/>
                  <a:pt x="307" y="58"/>
                </a:cubicBezTo>
                <a:cubicBezTo>
                  <a:pt x="305" y="58"/>
                  <a:pt x="303" y="60"/>
                  <a:pt x="301" y="61"/>
                </a:cubicBezTo>
                <a:cubicBezTo>
                  <a:pt x="298" y="61"/>
                  <a:pt x="294" y="58"/>
                  <a:pt x="290" y="57"/>
                </a:cubicBezTo>
                <a:cubicBezTo>
                  <a:pt x="286" y="56"/>
                  <a:pt x="282" y="57"/>
                  <a:pt x="279" y="56"/>
                </a:cubicBezTo>
                <a:cubicBezTo>
                  <a:pt x="271" y="53"/>
                  <a:pt x="270" y="43"/>
                  <a:pt x="260" y="47"/>
                </a:cubicBezTo>
                <a:cubicBezTo>
                  <a:pt x="259" y="48"/>
                  <a:pt x="257" y="50"/>
                  <a:pt x="256" y="50"/>
                </a:cubicBezTo>
                <a:cubicBezTo>
                  <a:pt x="254" y="51"/>
                  <a:pt x="251" y="50"/>
                  <a:pt x="249" y="50"/>
                </a:cubicBezTo>
                <a:cubicBezTo>
                  <a:pt x="247" y="50"/>
                  <a:pt x="245" y="50"/>
                  <a:pt x="243" y="49"/>
                </a:cubicBezTo>
                <a:cubicBezTo>
                  <a:pt x="241" y="49"/>
                  <a:pt x="240" y="47"/>
                  <a:pt x="238" y="47"/>
                </a:cubicBezTo>
                <a:cubicBezTo>
                  <a:pt x="235" y="46"/>
                  <a:pt x="231" y="46"/>
                  <a:pt x="228" y="46"/>
                </a:cubicBezTo>
                <a:cubicBezTo>
                  <a:pt x="223" y="45"/>
                  <a:pt x="221" y="42"/>
                  <a:pt x="217" y="40"/>
                </a:cubicBezTo>
                <a:cubicBezTo>
                  <a:pt x="213" y="38"/>
                  <a:pt x="209" y="38"/>
                  <a:pt x="206" y="35"/>
                </a:cubicBezTo>
                <a:cubicBezTo>
                  <a:pt x="203" y="33"/>
                  <a:pt x="202" y="31"/>
                  <a:pt x="200" y="29"/>
                </a:cubicBezTo>
                <a:cubicBezTo>
                  <a:pt x="197" y="27"/>
                  <a:pt x="196" y="27"/>
                  <a:pt x="194" y="25"/>
                </a:cubicBezTo>
                <a:cubicBezTo>
                  <a:pt x="193" y="25"/>
                  <a:pt x="193" y="25"/>
                  <a:pt x="193" y="25"/>
                </a:cubicBezTo>
                <a:cubicBezTo>
                  <a:pt x="192" y="25"/>
                  <a:pt x="192" y="25"/>
                  <a:pt x="192" y="25"/>
                </a:cubicBezTo>
                <a:cubicBezTo>
                  <a:pt x="182" y="27"/>
                  <a:pt x="180" y="31"/>
                  <a:pt x="173" y="26"/>
                </a:cubicBezTo>
                <a:cubicBezTo>
                  <a:pt x="164" y="20"/>
                  <a:pt x="164" y="23"/>
                  <a:pt x="156" y="26"/>
                </a:cubicBezTo>
                <a:cubicBezTo>
                  <a:pt x="147" y="28"/>
                  <a:pt x="148" y="22"/>
                  <a:pt x="143" y="22"/>
                </a:cubicBezTo>
                <a:cubicBezTo>
                  <a:pt x="138" y="22"/>
                  <a:pt x="138" y="20"/>
                  <a:pt x="132" y="23"/>
                </a:cubicBezTo>
                <a:cubicBezTo>
                  <a:pt x="126" y="25"/>
                  <a:pt x="128" y="24"/>
                  <a:pt x="113" y="23"/>
                </a:cubicBezTo>
                <a:cubicBezTo>
                  <a:pt x="98" y="23"/>
                  <a:pt x="96" y="19"/>
                  <a:pt x="92" y="21"/>
                </a:cubicBezTo>
                <a:cubicBezTo>
                  <a:pt x="87" y="23"/>
                  <a:pt x="87" y="12"/>
                  <a:pt x="82" y="16"/>
                </a:cubicBezTo>
                <a:cubicBezTo>
                  <a:pt x="77" y="19"/>
                  <a:pt x="81" y="19"/>
                  <a:pt x="71" y="20"/>
                </a:cubicBezTo>
                <a:cubicBezTo>
                  <a:pt x="61" y="21"/>
                  <a:pt x="63" y="23"/>
                  <a:pt x="58" y="21"/>
                </a:cubicBezTo>
                <a:cubicBezTo>
                  <a:pt x="52" y="19"/>
                  <a:pt x="47" y="18"/>
                  <a:pt x="42" y="16"/>
                </a:cubicBezTo>
                <a:cubicBezTo>
                  <a:pt x="36" y="13"/>
                  <a:pt x="38" y="0"/>
                  <a:pt x="30" y="12"/>
                </a:cubicBezTo>
                <a:cubicBezTo>
                  <a:pt x="23" y="23"/>
                  <a:pt x="20" y="17"/>
                  <a:pt x="23" y="23"/>
                </a:cubicBezTo>
                <a:cubicBezTo>
                  <a:pt x="25" y="30"/>
                  <a:pt x="32" y="27"/>
                  <a:pt x="19" y="34"/>
                </a:cubicBezTo>
                <a:cubicBezTo>
                  <a:pt x="6" y="40"/>
                  <a:pt x="4" y="41"/>
                  <a:pt x="4" y="45"/>
                </a:cubicBezTo>
                <a:cubicBezTo>
                  <a:pt x="4" y="48"/>
                  <a:pt x="0" y="46"/>
                  <a:pt x="5" y="50"/>
                </a:cubicBezTo>
                <a:cubicBezTo>
                  <a:pt x="10" y="54"/>
                  <a:pt x="16" y="50"/>
                  <a:pt x="13" y="58"/>
                </a:cubicBezTo>
                <a:cubicBezTo>
                  <a:pt x="11" y="66"/>
                  <a:pt x="7" y="63"/>
                  <a:pt x="11" y="66"/>
                </a:cubicBezTo>
                <a:cubicBezTo>
                  <a:pt x="14" y="68"/>
                  <a:pt x="16" y="70"/>
                  <a:pt x="16" y="73"/>
                </a:cubicBezTo>
                <a:cubicBezTo>
                  <a:pt x="16" y="75"/>
                  <a:pt x="16" y="75"/>
                  <a:pt x="16" y="75"/>
                </a:cubicBezTo>
                <a:lnTo>
                  <a:pt x="17" y="7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85" name="Freeform 519"/>
          <p:cNvSpPr>
            <a:spLocks/>
          </p:cNvSpPr>
          <p:nvPr userDrawn="1"/>
        </p:nvSpPr>
        <p:spPr bwMode="auto">
          <a:xfrm>
            <a:off x="5577761" y="3538940"/>
            <a:ext cx="92131" cy="73704"/>
          </a:xfrm>
          <a:custGeom>
            <a:avLst/>
            <a:gdLst>
              <a:gd name="T0" fmla="*/ 0 w 99"/>
              <a:gd name="T1" fmla="*/ 2147483646 h 79"/>
              <a:gd name="T2" fmla="*/ 2147483646 w 99"/>
              <a:gd name="T3" fmla="*/ 2147483646 h 79"/>
              <a:gd name="T4" fmla="*/ 2147483646 w 99"/>
              <a:gd name="T5" fmla="*/ 2147483646 h 79"/>
              <a:gd name="T6" fmla="*/ 2147483646 w 99"/>
              <a:gd name="T7" fmla="*/ 2147483646 h 79"/>
              <a:gd name="T8" fmla="*/ 2147483646 w 99"/>
              <a:gd name="T9" fmla="*/ 2147483646 h 79"/>
              <a:gd name="T10" fmla="*/ 2147483646 w 99"/>
              <a:gd name="T11" fmla="*/ 2147483646 h 79"/>
              <a:gd name="T12" fmla="*/ 2147483646 w 99"/>
              <a:gd name="T13" fmla="*/ 2147483646 h 79"/>
              <a:gd name="T14" fmla="*/ 2147483646 w 99"/>
              <a:gd name="T15" fmla="*/ 2147483646 h 79"/>
              <a:gd name="T16" fmla="*/ 2147483646 w 99"/>
              <a:gd name="T17" fmla="*/ 2147483646 h 79"/>
              <a:gd name="T18" fmla="*/ 2147483646 w 99"/>
              <a:gd name="T19" fmla="*/ 2147483646 h 79"/>
              <a:gd name="T20" fmla="*/ 2147483646 w 99"/>
              <a:gd name="T21" fmla="*/ 2147483646 h 79"/>
              <a:gd name="T22" fmla="*/ 2147483646 w 99"/>
              <a:gd name="T23" fmla="*/ 2147483646 h 79"/>
              <a:gd name="T24" fmla="*/ 2147483646 w 99"/>
              <a:gd name="T25" fmla="*/ 2147483646 h 79"/>
              <a:gd name="T26" fmla="*/ 2147483646 w 99"/>
              <a:gd name="T27" fmla="*/ 2147483646 h 79"/>
              <a:gd name="T28" fmla="*/ 2147483646 w 99"/>
              <a:gd name="T29" fmla="*/ 2147483646 h 79"/>
              <a:gd name="T30" fmla="*/ 2147483646 w 99"/>
              <a:gd name="T31" fmla="*/ 2147483646 h 79"/>
              <a:gd name="T32" fmla="*/ 2147483646 w 99"/>
              <a:gd name="T33" fmla="*/ 2147483646 h 79"/>
              <a:gd name="T34" fmla="*/ 2147483646 w 99"/>
              <a:gd name="T35" fmla="*/ 2147483646 h 79"/>
              <a:gd name="T36" fmla="*/ 2147483646 w 99"/>
              <a:gd name="T37" fmla="*/ 2147483646 h 79"/>
              <a:gd name="T38" fmla="*/ 2147483646 w 99"/>
              <a:gd name="T39" fmla="*/ 2147483646 h 79"/>
              <a:gd name="T40" fmla="*/ 2147483646 w 99"/>
              <a:gd name="T41" fmla="*/ 2147483646 h 79"/>
              <a:gd name="T42" fmla="*/ 2147483646 w 99"/>
              <a:gd name="T43" fmla="*/ 0 h 79"/>
              <a:gd name="T44" fmla="*/ 2147483646 w 99"/>
              <a:gd name="T45" fmla="*/ 2147483646 h 79"/>
              <a:gd name="T46" fmla="*/ 2147483646 w 99"/>
              <a:gd name="T47" fmla="*/ 2147483646 h 79"/>
              <a:gd name="T48" fmla="*/ 2147483646 w 99"/>
              <a:gd name="T49" fmla="*/ 2147483646 h 79"/>
              <a:gd name="T50" fmla="*/ 2147483646 w 99"/>
              <a:gd name="T51" fmla="*/ 2147483646 h 79"/>
              <a:gd name="T52" fmla="*/ 2147483646 w 99"/>
              <a:gd name="T53" fmla="*/ 2147483646 h 79"/>
              <a:gd name="T54" fmla="*/ 2147483646 w 99"/>
              <a:gd name="T55" fmla="*/ 2147483646 h 79"/>
              <a:gd name="T56" fmla="*/ 2147483646 w 99"/>
              <a:gd name="T57" fmla="*/ 2147483646 h 79"/>
              <a:gd name="T58" fmla="*/ 2147483646 w 99"/>
              <a:gd name="T59" fmla="*/ 2147483646 h 79"/>
              <a:gd name="T60" fmla="*/ 2147483646 w 99"/>
              <a:gd name="T61" fmla="*/ 2147483646 h 79"/>
              <a:gd name="T62" fmla="*/ 0 w 99"/>
              <a:gd name="T63" fmla="*/ 2147483646 h 79"/>
              <a:gd name="T64" fmla="*/ 0 w 99"/>
              <a:gd name="T65" fmla="*/ 2147483646 h 79"/>
              <a:gd name="T66" fmla="*/ 0 w 99"/>
              <a:gd name="T67" fmla="*/ 2147483646 h 7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9"/>
              <a:gd name="T103" fmla="*/ 0 h 79"/>
              <a:gd name="T104" fmla="*/ 99 w 99"/>
              <a:gd name="T105" fmla="*/ 79 h 7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9" h="79">
                <a:moveTo>
                  <a:pt x="0" y="15"/>
                </a:moveTo>
                <a:cubicBezTo>
                  <a:pt x="1" y="18"/>
                  <a:pt x="2" y="22"/>
                  <a:pt x="4" y="25"/>
                </a:cubicBezTo>
                <a:cubicBezTo>
                  <a:pt x="8" y="30"/>
                  <a:pt x="6" y="27"/>
                  <a:pt x="11" y="27"/>
                </a:cubicBezTo>
                <a:cubicBezTo>
                  <a:pt x="20" y="28"/>
                  <a:pt x="17" y="32"/>
                  <a:pt x="22" y="38"/>
                </a:cubicBezTo>
                <a:cubicBezTo>
                  <a:pt x="25" y="41"/>
                  <a:pt x="25" y="40"/>
                  <a:pt x="28" y="41"/>
                </a:cubicBezTo>
                <a:cubicBezTo>
                  <a:pt x="31" y="42"/>
                  <a:pt x="32" y="41"/>
                  <a:pt x="35" y="43"/>
                </a:cubicBezTo>
                <a:cubicBezTo>
                  <a:pt x="42" y="46"/>
                  <a:pt x="42" y="51"/>
                  <a:pt x="47" y="57"/>
                </a:cubicBezTo>
                <a:cubicBezTo>
                  <a:pt x="52" y="64"/>
                  <a:pt x="57" y="54"/>
                  <a:pt x="62" y="58"/>
                </a:cubicBezTo>
                <a:cubicBezTo>
                  <a:pt x="63" y="59"/>
                  <a:pt x="64" y="65"/>
                  <a:pt x="66" y="68"/>
                </a:cubicBezTo>
                <a:cubicBezTo>
                  <a:pt x="68" y="72"/>
                  <a:pt x="72" y="75"/>
                  <a:pt x="76" y="78"/>
                </a:cubicBezTo>
                <a:cubicBezTo>
                  <a:pt x="78" y="78"/>
                  <a:pt x="79" y="79"/>
                  <a:pt x="80" y="79"/>
                </a:cubicBezTo>
                <a:cubicBezTo>
                  <a:pt x="81" y="79"/>
                  <a:pt x="81" y="79"/>
                  <a:pt x="81" y="79"/>
                </a:cubicBezTo>
                <a:cubicBezTo>
                  <a:pt x="84" y="74"/>
                  <a:pt x="82" y="73"/>
                  <a:pt x="82" y="68"/>
                </a:cubicBezTo>
                <a:cubicBezTo>
                  <a:pt x="82" y="62"/>
                  <a:pt x="94" y="51"/>
                  <a:pt x="94" y="51"/>
                </a:cubicBezTo>
                <a:cubicBezTo>
                  <a:pt x="93" y="45"/>
                  <a:pt x="94" y="44"/>
                  <a:pt x="97" y="39"/>
                </a:cubicBezTo>
                <a:cubicBezTo>
                  <a:pt x="99" y="35"/>
                  <a:pt x="94" y="28"/>
                  <a:pt x="94" y="28"/>
                </a:cubicBezTo>
                <a:cubicBezTo>
                  <a:pt x="92" y="27"/>
                  <a:pt x="91" y="27"/>
                  <a:pt x="88" y="27"/>
                </a:cubicBezTo>
                <a:cubicBezTo>
                  <a:pt x="87" y="27"/>
                  <a:pt x="86" y="28"/>
                  <a:pt x="85" y="28"/>
                </a:cubicBezTo>
                <a:cubicBezTo>
                  <a:pt x="83" y="27"/>
                  <a:pt x="84" y="26"/>
                  <a:pt x="83" y="25"/>
                </a:cubicBezTo>
                <a:cubicBezTo>
                  <a:pt x="80" y="23"/>
                  <a:pt x="77" y="23"/>
                  <a:pt x="76" y="19"/>
                </a:cubicBezTo>
                <a:cubicBezTo>
                  <a:pt x="76" y="15"/>
                  <a:pt x="78" y="9"/>
                  <a:pt x="79" y="6"/>
                </a:cubicBezTo>
                <a:cubicBezTo>
                  <a:pt x="81" y="0"/>
                  <a:pt x="80" y="1"/>
                  <a:pt x="74" y="0"/>
                </a:cubicBezTo>
                <a:cubicBezTo>
                  <a:pt x="71" y="0"/>
                  <a:pt x="68" y="1"/>
                  <a:pt x="64" y="1"/>
                </a:cubicBezTo>
                <a:cubicBezTo>
                  <a:pt x="61" y="0"/>
                  <a:pt x="54" y="0"/>
                  <a:pt x="51" y="2"/>
                </a:cubicBezTo>
                <a:cubicBezTo>
                  <a:pt x="49" y="3"/>
                  <a:pt x="47" y="11"/>
                  <a:pt x="43" y="6"/>
                </a:cubicBezTo>
                <a:cubicBezTo>
                  <a:pt x="41" y="8"/>
                  <a:pt x="36" y="13"/>
                  <a:pt x="33" y="12"/>
                </a:cubicBezTo>
                <a:cubicBezTo>
                  <a:pt x="31" y="12"/>
                  <a:pt x="28" y="9"/>
                  <a:pt x="27" y="8"/>
                </a:cubicBezTo>
                <a:cubicBezTo>
                  <a:pt x="24" y="6"/>
                  <a:pt x="22" y="6"/>
                  <a:pt x="18" y="4"/>
                </a:cubicBezTo>
                <a:cubicBezTo>
                  <a:pt x="18" y="3"/>
                  <a:pt x="18" y="3"/>
                  <a:pt x="18" y="3"/>
                </a:cubicBezTo>
                <a:cubicBezTo>
                  <a:pt x="17" y="3"/>
                  <a:pt x="17" y="3"/>
                  <a:pt x="17" y="3"/>
                </a:cubicBezTo>
                <a:cubicBezTo>
                  <a:pt x="15" y="6"/>
                  <a:pt x="12" y="9"/>
                  <a:pt x="10" y="12"/>
                </a:cubicBezTo>
                <a:cubicBezTo>
                  <a:pt x="8" y="14"/>
                  <a:pt x="3" y="14"/>
                  <a:pt x="0" y="14"/>
                </a:cubicBezTo>
                <a:cubicBezTo>
                  <a:pt x="0" y="14"/>
                  <a:pt x="0" y="14"/>
                  <a:pt x="0" y="14"/>
                </a:cubicBezTo>
                <a:lnTo>
                  <a:pt x="0" y="1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86" name="Freeform 520"/>
          <p:cNvSpPr>
            <a:spLocks/>
          </p:cNvSpPr>
          <p:nvPr userDrawn="1"/>
        </p:nvSpPr>
        <p:spPr bwMode="auto">
          <a:xfrm>
            <a:off x="5594513" y="3450162"/>
            <a:ext cx="98831" cy="115581"/>
          </a:xfrm>
          <a:custGeom>
            <a:avLst/>
            <a:gdLst>
              <a:gd name="T0" fmla="*/ 2147483646 w 105"/>
              <a:gd name="T1" fmla="*/ 2147483646 h 124"/>
              <a:gd name="T2" fmla="*/ 2147483646 w 105"/>
              <a:gd name="T3" fmla="*/ 2147483646 h 124"/>
              <a:gd name="T4" fmla="*/ 2147483646 w 105"/>
              <a:gd name="T5" fmla="*/ 2147483646 h 124"/>
              <a:gd name="T6" fmla="*/ 2147483646 w 105"/>
              <a:gd name="T7" fmla="*/ 2147483646 h 124"/>
              <a:gd name="T8" fmla="*/ 2147483646 w 105"/>
              <a:gd name="T9" fmla="*/ 2147483646 h 124"/>
              <a:gd name="T10" fmla="*/ 2147483646 w 105"/>
              <a:gd name="T11" fmla="*/ 2147483646 h 124"/>
              <a:gd name="T12" fmla="*/ 2147483646 w 105"/>
              <a:gd name="T13" fmla="*/ 2147483646 h 124"/>
              <a:gd name="T14" fmla="*/ 2147483646 w 105"/>
              <a:gd name="T15" fmla="*/ 2147483646 h 124"/>
              <a:gd name="T16" fmla="*/ 2147483646 w 105"/>
              <a:gd name="T17" fmla="*/ 2147483646 h 124"/>
              <a:gd name="T18" fmla="*/ 2147483646 w 105"/>
              <a:gd name="T19" fmla="*/ 2147483646 h 124"/>
              <a:gd name="T20" fmla="*/ 2147483646 w 105"/>
              <a:gd name="T21" fmla="*/ 2147483646 h 124"/>
              <a:gd name="T22" fmla="*/ 2147483646 w 105"/>
              <a:gd name="T23" fmla="*/ 2147483646 h 124"/>
              <a:gd name="T24" fmla="*/ 0 w 105"/>
              <a:gd name="T25" fmla="*/ 2147483646 h 124"/>
              <a:gd name="T26" fmla="*/ 0 w 105"/>
              <a:gd name="T27" fmla="*/ 2147483646 h 124"/>
              <a:gd name="T28" fmla="*/ 0 w 105"/>
              <a:gd name="T29" fmla="*/ 2147483646 h 124"/>
              <a:gd name="T30" fmla="*/ 2147483646 w 105"/>
              <a:gd name="T31" fmla="*/ 2147483646 h 124"/>
              <a:gd name="T32" fmla="*/ 2147483646 w 105"/>
              <a:gd name="T33" fmla="*/ 2147483646 h 124"/>
              <a:gd name="T34" fmla="*/ 2147483646 w 105"/>
              <a:gd name="T35" fmla="*/ 2147483646 h 124"/>
              <a:gd name="T36" fmla="*/ 2147483646 w 105"/>
              <a:gd name="T37" fmla="*/ 2147483646 h 124"/>
              <a:gd name="T38" fmla="*/ 2147483646 w 105"/>
              <a:gd name="T39" fmla="*/ 2147483646 h 124"/>
              <a:gd name="T40" fmla="*/ 2147483646 w 105"/>
              <a:gd name="T41" fmla="*/ 2147483646 h 124"/>
              <a:gd name="T42" fmla="*/ 2147483646 w 105"/>
              <a:gd name="T43" fmla="*/ 2147483646 h 124"/>
              <a:gd name="T44" fmla="*/ 2147483646 w 105"/>
              <a:gd name="T45" fmla="*/ 2147483646 h 124"/>
              <a:gd name="T46" fmla="*/ 2147483646 w 105"/>
              <a:gd name="T47" fmla="*/ 2147483646 h 124"/>
              <a:gd name="T48" fmla="*/ 2147483646 w 105"/>
              <a:gd name="T49" fmla="*/ 2147483646 h 124"/>
              <a:gd name="T50" fmla="*/ 2147483646 w 105"/>
              <a:gd name="T51" fmla="*/ 2147483646 h 124"/>
              <a:gd name="T52" fmla="*/ 2147483646 w 105"/>
              <a:gd name="T53" fmla="*/ 2147483646 h 124"/>
              <a:gd name="T54" fmla="*/ 2147483646 w 105"/>
              <a:gd name="T55" fmla="*/ 2147483646 h 124"/>
              <a:gd name="T56" fmla="*/ 2147483646 w 105"/>
              <a:gd name="T57" fmla="*/ 2147483646 h 124"/>
              <a:gd name="T58" fmla="*/ 2147483646 w 105"/>
              <a:gd name="T59" fmla="*/ 2147483646 h 124"/>
              <a:gd name="T60" fmla="*/ 2147483646 w 105"/>
              <a:gd name="T61" fmla="*/ 2147483646 h 124"/>
              <a:gd name="T62" fmla="*/ 2147483646 w 105"/>
              <a:gd name="T63" fmla="*/ 2147483646 h 124"/>
              <a:gd name="T64" fmla="*/ 2147483646 w 105"/>
              <a:gd name="T65" fmla="*/ 2147483646 h 124"/>
              <a:gd name="T66" fmla="*/ 2147483646 w 105"/>
              <a:gd name="T67" fmla="*/ 2147483646 h 124"/>
              <a:gd name="T68" fmla="*/ 2147483646 w 105"/>
              <a:gd name="T69" fmla="*/ 2147483646 h 124"/>
              <a:gd name="T70" fmla="*/ 2147483646 w 105"/>
              <a:gd name="T71" fmla="*/ 2147483646 h 124"/>
              <a:gd name="T72" fmla="*/ 2147483646 w 105"/>
              <a:gd name="T73" fmla="*/ 2147483646 h 124"/>
              <a:gd name="T74" fmla="*/ 2147483646 w 105"/>
              <a:gd name="T75" fmla="*/ 2147483646 h 124"/>
              <a:gd name="T76" fmla="*/ 2147483646 w 105"/>
              <a:gd name="T77" fmla="*/ 2147483646 h 124"/>
              <a:gd name="T78" fmla="*/ 2147483646 w 105"/>
              <a:gd name="T79" fmla="*/ 2147483646 h 124"/>
              <a:gd name="T80" fmla="*/ 2147483646 w 105"/>
              <a:gd name="T81" fmla="*/ 2147483646 h 124"/>
              <a:gd name="T82" fmla="*/ 2147483646 w 105"/>
              <a:gd name="T83" fmla="*/ 2147483646 h 124"/>
              <a:gd name="T84" fmla="*/ 2147483646 w 105"/>
              <a:gd name="T85" fmla="*/ 2147483646 h 124"/>
              <a:gd name="T86" fmla="*/ 2147483646 w 105"/>
              <a:gd name="T87" fmla="*/ 2147483646 h 124"/>
              <a:gd name="T88" fmla="*/ 2147483646 w 105"/>
              <a:gd name="T89" fmla="*/ 2147483646 h 124"/>
              <a:gd name="T90" fmla="*/ 2147483646 w 105"/>
              <a:gd name="T91" fmla="*/ 2147483646 h 124"/>
              <a:gd name="T92" fmla="*/ 2147483646 w 105"/>
              <a:gd name="T93" fmla="*/ 2147483646 h 124"/>
              <a:gd name="T94" fmla="*/ 2147483646 w 105"/>
              <a:gd name="T95" fmla="*/ 2147483646 h 124"/>
              <a:gd name="T96" fmla="*/ 2147483646 w 105"/>
              <a:gd name="T97" fmla="*/ 2147483646 h 124"/>
              <a:gd name="T98" fmla="*/ 2147483646 w 105"/>
              <a:gd name="T99" fmla="*/ 2147483646 h 124"/>
              <a:gd name="T100" fmla="*/ 2147483646 w 105"/>
              <a:gd name="T101" fmla="*/ 2147483646 h 124"/>
              <a:gd name="T102" fmla="*/ 2147483646 w 105"/>
              <a:gd name="T103" fmla="*/ 2147483646 h 124"/>
              <a:gd name="T104" fmla="*/ 2147483646 w 105"/>
              <a:gd name="T105" fmla="*/ 2147483646 h 124"/>
              <a:gd name="T106" fmla="*/ 2147483646 w 105"/>
              <a:gd name="T107" fmla="*/ 2147483646 h 124"/>
              <a:gd name="T108" fmla="*/ 2147483646 w 105"/>
              <a:gd name="T109" fmla="*/ 2147483646 h 124"/>
              <a:gd name="T110" fmla="*/ 2147483646 w 105"/>
              <a:gd name="T111" fmla="*/ 2147483646 h 124"/>
              <a:gd name="T112" fmla="*/ 2147483646 w 105"/>
              <a:gd name="T113" fmla="*/ 2147483646 h 124"/>
              <a:gd name="T114" fmla="*/ 2147483646 w 105"/>
              <a:gd name="T115" fmla="*/ 2147483646 h 124"/>
              <a:gd name="T116" fmla="*/ 2147483646 w 105"/>
              <a:gd name="T117" fmla="*/ 2147483646 h 12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05"/>
              <a:gd name="T178" fmla="*/ 0 h 124"/>
              <a:gd name="T179" fmla="*/ 105 w 105"/>
              <a:gd name="T180" fmla="*/ 124 h 12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05" h="124">
                <a:moveTo>
                  <a:pt x="76" y="124"/>
                </a:moveTo>
                <a:cubicBezTo>
                  <a:pt x="74" y="123"/>
                  <a:pt x="73" y="123"/>
                  <a:pt x="70" y="123"/>
                </a:cubicBezTo>
                <a:cubicBezTo>
                  <a:pt x="69" y="123"/>
                  <a:pt x="68" y="124"/>
                  <a:pt x="67" y="124"/>
                </a:cubicBezTo>
                <a:cubicBezTo>
                  <a:pt x="65" y="123"/>
                  <a:pt x="66" y="122"/>
                  <a:pt x="65" y="121"/>
                </a:cubicBezTo>
                <a:cubicBezTo>
                  <a:pt x="62" y="119"/>
                  <a:pt x="59" y="119"/>
                  <a:pt x="58" y="115"/>
                </a:cubicBezTo>
                <a:cubicBezTo>
                  <a:pt x="58" y="111"/>
                  <a:pt x="60" y="105"/>
                  <a:pt x="61" y="101"/>
                </a:cubicBezTo>
                <a:cubicBezTo>
                  <a:pt x="63" y="96"/>
                  <a:pt x="62" y="96"/>
                  <a:pt x="56" y="96"/>
                </a:cubicBezTo>
                <a:cubicBezTo>
                  <a:pt x="53" y="96"/>
                  <a:pt x="50" y="97"/>
                  <a:pt x="46" y="96"/>
                </a:cubicBezTo>
                <a:cubicBezTo>
                  <a:pt x="43" y="96"/>
                  <a:pt x="37" y="96"/>
                  <a:pt x="33" y="98"/>
                </a:cubicBezTo>
                <a:cubicBezTo>
                  <a:pt x="31" y="99"/>
                  <a:pt x="29" y="107"/>
                  <a:pt x="25" y="102"/>
                </a:cubicBezTo>
                <a:cubicBezTo>
                  <a:pt x="23" y="104"/>
                  <a:pt x="18" y="109"/>
                  <a:pt x="15" y="108"/>
                </a:cubicBezTo>
                <a:cubicBezTo>
                  <a:pt x="13" y="108"/>
                  <a:pt x="10" y="105"/>
                  <a:pt x="9" y="104"/>
                </a:cubicBezTo>
                <a:cubicBezTo>
                  <a:pt x="6" y="102"/>
                  <a:pt x="4" y="101"/>
                  <a:pt x="0" y="100"/>
                </a:cubicBezTo>
                <a:cubicBezTo>
                  <a:pt x="0" y="99"/>
                  <a:pt x="0" y="99"/>
                  <a:pt x="0" y="99"/>
                </a:cubicBezTo>
                <a:cubicBezTo>
                  <a:pt x="0" y="98"/>
                  <a:pt x="0" y="98"/>
                  <a:pt x="0" y="98"/>
                </a:cubicBezTo>
                <a:cubicBezTo>
                  <a:pt x="1" y="98"/>
                  <a:pt x="2" y="97"/>
                  <a:pt x="2" y="97"/>
                </a:cubicBezTo>
                <a:cubicBezTo>
                  <a:pt x="3" y="96"/>
                  <a:pt x="6" y="91"/>
                  <a:pt x="11" y="95"/>
                </a:cubicBezTo>
                <a:cubicBezTo>
                  <a:pt x="15" y="98"/>
                  <a:pt x="16" y="96"/>
                  <a:pt x="17" y="95"/>
                </a:cubicBezTo>
                <a:cubicBezTo>
                  <a:pt x="18" y="94"/>
                  <a:pt x="16" y="89"/>
                  <a:pt x="16" y="87"/>
                </a:cubicBezTo>
                <a:cubicBezTo>
                  <a:pt x="16" y="85"/>
                  <a:pt x="12" y="82"/>
                  <a:pt x="15" y="80"/>
                </a:cubicBezTo>
                <a:cubicBezTo>
                  <a:pt x="18" y="79"/>
                  <a:pt x="20" y="77"/>
                  <a:pt x="20" y="76"/>
                </a:cubicBezTo>
                <a:cubicBezTo>
                  <a:pt x="21" y="74"/>
                  <a:pt x="20" y="73"/>
                  <a:pt x="22" y="71"/>
                </a:cubicBezTo>
                <a:cubicBezTo>
                  <a:pt x="24" y="69"/>
                  <a:pt x="23" y="66"/>
                  <a:pt x="24" y="64"/>
                </a:cubicBezTo>
                <a:cubicBezTo>
                  <a:pt x="25" y="62"/>
                  <a:pt x="30" y="56"/>
                  <a:pt x="32" y="51"/>
                </a:cubicBezTo>
                <a:cubicBezTo>
                  <a:pt x="35" y="47"/>
                  <a:pt x="36" y="34"/>
                  <a:pt x="37" y="30"/>
                </a:cubicBezTo>
                <a:cubicBezTo>
                  <a:pt x="37" y="26"/>
                  <a:pt x="34" y="20"/>
                  <a:pt x="38" y="16"/>
                </a:cubicBezTo>
                <a:cubicBezTo>
                  <a:pt x="41" y="12"/>
                  <a:pt x="51" y="6"/>
                  <a:pt x="60" y="4"/>
                </a:cubicBezTo>
                <a:cubicBezTo>
                  <a:pt x="69" y="1"/>
                  <a:pt x="72" y="7"/>
                  <a:pt x="82" y="1"/>
                </a:cubicBezTo>
                <a:cubicBezTo>
                  <a:pt x="82" y="1"/>
                  <a:pt x="76" y="6"/>
                  <a:pt x="66" y="6"/>
                </a:cubicBezTo>
                <a:cubicBezTo>
                  <a:pt x="56" y="6"/>
                  <a:pt x="54" y="10"/>
                  <a:pt x="51" y="13"/>
                </a:cubicBezTo>
                <a:cubicBezTo>
                  <a:pt x="48" y="16"/>
                  <a:pt x="43" y="21"/>
                  <a:pt x="44" y="25"/>
                </a:cubicBezTo>
                <a:cubicBezTo>
                  <a:pt x="45" y="28"/>
                  <a:pt x="44" y="29"/>
                  <a:pt x="48" y="32"/>
                </a:cubicBezTo>
                <a:cubicBezTo>
                  <a:pt x="51" y="36"/>
                  <a:pt x="54" y="36"/>
                  <a:pt x="53" y="40"/>
                </a:cubicBezTo>
                <a:cubicBezTo>
                  <a:pt x="51" y="44"/>
                  <a:pt x="46" y="47"/>
                  <a:pt x="51" y="47"/>
                </a:cubicBezTo>
                <a:cubicBezTo>
                  <a:pt x="56" y="47"/>
                  <a:pt x="57" y="45"/>
                  <a:pt x="58" y="42"/>
                </a:cubicBezTo>
                <a:cubicBezTo>
                  <a:pt x="59" y="38"/>
                  <a:pt x="54" y="24"/>
                  <a:pt x="56" y="21"/>
                </a:cubicBezTo>
                <a:cubicBezTo>
                  <a:pt x="58" y="17"/>
                  <a:pt x="59" y="11"/>
                  <a:pt x="62" y="11"/>
                </a:cubicBezTo>
                <a:cubicBezTo>
                  <a:pt x="66" y="11"/>
                  <a:pt x="70" y="9"/>
                  <a:pt x="70" y="9"/>
                </a:cubicBezTo>
                <a:cubicBezTo>
                  <a:pt x="70" y="9"/>
                  <a:pt x="77" y="13"/>
                  <a:pt x="83" y="10"/>
                </a:cubicBezTo>
                <a:cubicBezTo>
                  <a:pt x="89" y="6"/>
                  <a:pt x="90" y="0"/>
                  <a:pt x="92" y="5"/>
                </a:cubicBezTo>
                <a:cubicBezTo>
                  <a:pt x="95" y="10"/>
                  <a:pt x="96" y="15"/>
                  <a:pt x="99" y="15"/>
                </a:cubicBezTo>
                <a:cubicBezTo>
                  <a:pt x="102" y="15"/>
                  <a:pt x="101" y="10"/>
                  <a:pt x="103" y="10"/>
                </a:cubicBezTo>
                <a:cubicBezTo>
                  <a:pt x="105" y="11"/>
                  <a:pt x="105" y="11"/>
                  <a:pt x="105" y="11"/>
                </a:cubicBezTo>
                <a:cubicBezTo>
                  <a:pt x="104" y="14"/>
                  <a:pt x="104" y="14"/>
                  <a:pt x="104" y="14"/>
                </a:cubicBezTo>
                <a:cubicBezTo>
                  <a:pt x="104" y="15"/>
                  <a:pt x="104" y="17"/>
                  <a:pt x="103" y="17"/>
                </a:cubicBezTo>
                <a:cubicBezTo>
                  <a:pt x="101" y="22"/>
                  <a:pt x="98" y="23"/>
                  <a:pt x="100" y="29"/>
                </a:cubicBezTo>
                <a:cubicBezTo>
                  <a:pt x="101" y="32"/>
                  <a:pt x="102" y="31"/>
                  <a:pt x="100" y="34"/>
                </a:cubicBezTo>
                <a:cubicBezTo>
                  <a:pt x="98" y="38"/>
                  <a:pt x="95" y="41"/>
                  <a:pt x="94" y="45"/>
                </a:cubicBezTo>
                <a:cubicBezTo>
                  <a:pt x="94" y="49"/>
                  <a:pt x="97" y="53"/>
                  <a:pt x="100" y="56"/>
                </a:cubicBezTo>
                <a:cubicBezTo>
                  <a:pt x="96" y="61"/>
                  <a:pt x="91" y="69"/>
                  <a:pt x="89" y="76"/>
                </a:cubicBezTo>
                <a:cubicBezTo>
                  <a:pt x="88" y="75"/>
                  <a:pt x="87" y="73"/>
                  <a:pt x="85" y="74"/>
                </a:cubicBezTo>
                <a:cubicBezTo>
                  <a:pt x="83" y="74"/>
                  <a:pt x="82" y="77"/>
                  <a:pt x="81" y="77"/>
                </a:cubicBezTo>
                <a:cubicBezTo>
                  <a:pt x="79" y="77"/>
                  <a:pt x="79" y="75"/>
                  <a:pt x="77" y="76"/>
                </a:cubicBezTo>
                <a:cubicBezTo>
                  <a:pt x="76" y="76"/>
                  <a:pt x="77" y="79"/>
                  <a:pt x="77" y="81"/>
                </a:cubicBezTo>
                <a:cubicBezTo>
                  <a:pt x="73" y="79"/>
                  <a:pt x="70" y="84"/>
                  <a:pt x="71" y="87"/>
                </a:cubicBezTo>
                <a:cubicBezTo>
                  <a:pt x="72" y="91"/>
                  <a:pt x="74" y="99"/>
                  <a:pt x="76" y="102"/>
                </a:cubicBezTo>
                <a:cubicBezTo>
                  <a:pt x="75" y="104"/>
                  <a:pt x="72" y="106"/>
                  <a:pt x="70" y="108"/>
                </a:cubicBezTo>
                <a:cubicBezTo>
                  <a:pt x="70" y="110"/>
                  <a:pt x="72" y="112"/>
                  <a:pt x="73" y="114"/>
                </a:cubicBezTo>
                <a:cubicBezTo>
                  <a:pt x="74" y="117"/>
                  <a:pt x="76" y="120"/>
                  <a:pt x="76" y="12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87" name="Freeform 521"/>
          <p:cNvSpPr>
            <a:spLocks/>
          </p:cNvSpPr>
          <p:nvPr userDrawn="1"/>
        </p:nvSpPr>
        <p:spPr bwMode="auto">
          <a:xfrm>
            <a:off x="5808924" y="3548991"/>
            <a:ext cx="157459" cy="98831"/>
          </a:xfrm>
          <a:custGeom>
            <a:avLst/>
            <a:gdLst>
              <a:gd name="T0" fmla="*/ 2147483646 w 168"/>
              <a:gd name="T1" fmla="*/ 2147483646 h 106"/>
              <a:gd name="T2" fmla="*/ 2147483646 w 168"/>
              <a:gd name="T3" fmla="*/ 2147483646 h 106"/>
              <a:gd name="T4" fmla="*/ 2147483646 w 168"/>
              <a:gd name="T5" fmla="*/ 2147483646 h 106"/>
              <a:gd name="T6" fmla="*/ 2147483646 w 168"/>
              <a:gd name="T7" fmla="*/ 2147483646 h 106"/>
              <a:gd name="T8" fmla="*/ 2147483646 w 168"/>
              <a:gd name="T9" fmla="*/ 2147483646 h 106"/>
              <a:gd name="T10" fmla="*/ 2147483646 w 168"/>
              <a:gd name="T11" fmla="*/ 2147483646 h 106"/>
              <a:gd name="T12" fmla="*/ 2147483646 w 168"/>
              <a:gd name="T13" fmla="*/ 2147483646 h 106"/>
              <a:gd name="T14" fmla="*/ 2147483646 w 168"/>
              <a:gd name="T15" fmla="*/ 2147483646 h 106"/>
              <a:gd name="T16" fmla="*/ 2147483646 w 168"/>
              <a:gd name="T17" fmla="*/ 2147483646 h 106"/>
              <a:gd name="T18" fmla="*/ 2147483646 w 168"/>
              <a:gd name="T19" fmla="*/ 2147483646 h 106"/>
              <a:gd name="T20" fmla="*/ 2147483646 w 168"/>
              <a:gd name="T21" fmla="*/ 2147483646 h 106"/>
              <a:gd name="T22" fmla="*/ 2147483646 w 168"/>
              <a:gd name="T23" fmla="*/ 2147483646 h 106"/>
              <a:gd name="T24" fmla="*/ 2147483646 w 168"/>
              <a:gd name="T25" fmla="*/ 2147483646 h 106"/>
              <a:gd name="T26" fmla="*/ 2147483646 w 168"/>
              <a:gd name="T27" fmla="*/ 2147483646 h 106"/>
              <a:gd name="T28" fmla="*/ 2147483646 w 168"/>
              <a:gd name="T29" fmla="*/ 2147483646 h 106"/>
              <a:gd name="T30" fmla="*/ 0 w 168"/>
              <a:gd name="T31" fmla="*/ 2147483646 h 106"/>
              <a:gd name="T32" fmla="*/ 2147483646 w 168"/>
              <a:gd name="T33" fmla="*/ 2147483646 h 106"/>
              <a:gd name="T34" fmla="*/ 2147483646 w 168"/>
              <a:gd name="T35" fmla="*/ 2147483646 h 106"/>
              <a:gd name="T36" fmla="*/ 2147483646 w 168"/>
              <a:gd name="T37" fmla="*/ 2147483646 h 106"/>
              <a:gd name="T38" fmla="*/ 2147483646 w 168"/>
              <a:gd name="T39" fmla="*/ 2147483646 h 106"/>
              <a:gd name="T40" fmla="*/ 2147483646 w 168"/>
              <a:gd name="T41" fmla="*/ 2147483646 h 106"/>
              <a:gd name="T42" fmla="*/ 2147483646 w 168"/>
              <a:gd name="T43" fmla="*/ 2147483646 h 106"/>
              <a:gd name="T44" fmla="*/ 2147483646 w 168"/>
              <a:gd name="T45" fmla="*/ 0 h 106"/>
              <a:gd name="T46" fmla="*/ 2147483646 w 168"/>
              <a:gd name="T47" fmla="*/ 2147483646 h 106"/>
              <a:gd name="T48" fmla="*/ 2147483646 w 168"/>
              <a:gd name="T49" fmla="*/ 2147483646 h 106"/>
              <a:gd name="T50" fmla="*/ 2147483646 w 168"/>
              <a:gd name="T51" fmla="*/ 2147483646 h 106"/>
              <a:gd name="T52" fmla="*/ 2147483646 w 168"/>
              <a:gd name="T53" fmla="*/ 2147483646 h 106"/>
              <a:gd name="T54" fmla="*/ 2147483646 w 168"/>
              <a:gd name="T55" fmla="*/ 2147483646 h 106"/>
              <a:gd name="T56" fmla="*/ 2147483646 w 168"/>
              <a:gd name="T57" fmla="*/ 2147483646 h 106"/>
              <a:gd name="T58" fmla="*/ 2147483646 w 168"/>
              <a:gd name="T59" fmla="*/ 2147483646 h 106"/>
              <a:gd name="T60" fmla="*/ 2147483646 w 168"/>
              <a:gd name="T61" fmla="*/ 2147483646 h 106"/>
              <a:gd name="T62" fmla="*/ 2147483646 w 168"/>
              <a:gd name="T63" fmla="*/ 2147483646 h 106"/>
              <a:gd name="T64" fmla="*/ 2147483646 w 168"/>
              <a:gd name="T65" fmla="*/ 2147483646 h 106"/>
              <a:gd name="T66" fmla="*/ 2147483646 w 168"/>
              <a:gd name="T67" fmla="*/ 2147483646 h 106"/>
              <a:gd name="T68" fmla="*/ 2147483646 w 168"/>
              <a:gd name="T69" fmla="*/ 2147483646 h 106"/>
              <a:gd name="T70" fmla="*/ 2147483646 w 168"/>
              <a:gd name="T71" fmla="*/ 2147483646 h 106"/>
              <a:gd name="T72" fmla="*/ 2147483646 w 168"/>
              <a:gd name="T73" fmla="*/ 2147483646 h 106"/>
              <a:gd name="T74" fmla="*/ 2147483646 w 168"/>
              <a:gd name="T75" fmla="*/ 2147483646 h 106"/>
              <a:gd name="T76" fmla="*/ 2147483646 w 168"/>
              <a:gd name="T77" fmla="*/ 2147483646 h 106"/>
              <a:gd name="T78" fmla="*/ 2147483646 w 168"/>
              <a:gd name="T79" fmla="*/ 2147483646 h 106"/>
              <a:gd name="T80" fmla="*/ 2147483646 w 168"/>
              <a:gd name="T81" fmla="*/ 2147483646 h 106"/>
              <a:gd name="T82" fmla="*/ 2147483646 w 168"/>
              <a:gd name="T83" fmla="*/ 2147483646 h 106"/>
              <a:gd name="T84" fmla="*/ 2147483646 w 168"/>
              <a:gd name="T85" fmla="*/ 2147483646 h 106"/>
              <a:gd name="T86" fmla="*/ 2147483646 w 168"/>
              <a:gd name="T87" fmla="*/ 2147483646 h 106"/>
              <a:gd name="T88" fmla="*/ 2147483646 w 168"/>
              <a:gd name="T89" fmla="*/ 2147483646 h 106"/>
              <a:gd name="T90" fmla="*/ 2147483646 w 168"/>
              <a:gd name="T91" fmla="*/ 2147483646 h 10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8"/>
              <a:gd name="T139" fmla="*/ 0 h 106"/>
              <a:gd name="T140" fmla="*/ 168 w 168"/>
              <a:gd name="T141" fmla="*/ 106 h 10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8" h="106">
                <a:moveTo>
                  <a:pt x="119" y="93"/>
                </a:moveTo>
                <a:cubicBezTo>
                  <a:pt x="115" y="89"/>
                  <a:pt x="116" y="89"/>
                  <a:pt x="111" y="89"/>
                </a:cubicBezTo>
                <a:cubicBezTo>
                  <a:pt x="106" y="90"/>
                  <a:pt x="101" y="92"/>
                  <a:pt x="96" y="91"/>
                </a:cubicBezTo>
                <a:cubicBezTo>
                  <a:pt x="89" y="91"/>
                  <a:pt x="87" y="80"/>
                  <a:pt x="81" y="80"/>
                </a:cubicBezTo>
                <a:cubicBezTo>
                  <a:pt x="77" y="80"/>
                  <a:pt x="75" y="87"/>
                  <a:pt x="73" y="90"/>
                </a:cubicBezTo>
                <a:cubicBezTo>
                  <a:pt x="71" y="92"/>
                  <a:pt x="71" y="92"/>
                  <a:pt x="68" y="94"/>
                </a:cubicBezTo>
                <a:cubicBezTo>
                  <a:pt x="64" y="96"/>
                  <a:pt x="58" y="106"/>
                  <a:pt x="54" y="105"/>
                </a:cubicBezTo>
                <a:cubicBezTo>
                  <a:pt x="52" y="105"/>
                  <a:pt x="46" y="102"/>
                  <a:pt x="44" y="100"/>
                </a:cubicBezTo>
                <a:cubicBezTo>
                  <a:pt x="43" y="100"/>
                  <a:pt x="43" y="100"/>
                  <a:pt x="42" y="98"/>
                </a:cubicBezTo>
                <a:cubicBezTo>
                  <a:pt x="40" y="97"/>
                  <a:pt x="40" y="95"/>
                  <a:pt x="39" y="93"/>
                </a:cubicBezTo>
                <a:cubicBezTo>
                  <a:pt x="37" y="92"/>
                  <a:pt x="34" y="91"/>
                  <a:pt x="34" y="90"/>
                </a:cubicBezTo>
                <a:cubicBezTo>
                  <a:pt x="31" y="88"/>
                  <a:pt x="31" y="82"/>
                  <a:pt x="31" y="78"/>
                </a:cubicBezTo>
                <a:cubicBezTo>
                  <a:pt x="28" y="78"/>
                  <a:pt x="24" y="80"/>
                  <a:pt x="22" y="82"/>
                </a:cubicBezTo>
                <a:cubicBezTo>
                  <a:pt x="21" y="77"/>
                  <a:pt x="23" y="72"/>
                  <a:pt x="23" y="68"/>
                </a:cubicBezTo>
                <a:cubicBezTo>
                  <a:pt x="17" y="67"/>
                  <a:pt x="14" y="65"/>
                  <a:pt x="11" y="60"/>
                </a:cubicBezTo>
                <a:cubicBezTo>
                  <a:pt x="8" y="52"/>
                  <a:pt x="4" y="44"/>
                  <a:pt x="0" y="37"/>
                </a:cubicBezTo>
                <a:cubicBezTo>
                  <a:pt x="4" y="36"/>
                  <a:pt x="9" y="35"/>
                  <a:pt x="13" y="33"/>
                </a:cubicBezTo>
                <a:cubicBezTo>
                  <a:pt x="20" y="31"/>
                  <a:pt x="24" y="25"/>
                  <a:pt x="31" y="23"/>
                </a:cubicBezTo>
                <a:cubicBezTo>
                  <a:pt x="39" y="20"/>
                  <a:pt x="46" y="13"/>
                  <a:pt x="50" y="5"/>
                </a:cubicBezTo>
                <a:cubicBezTo>
                  <a:pt x="55" y="7"/>
                  <a:pt x="58" y="11"/>
                  <a:pt x="63" y="14"/>
                </a:cubicBezTo>
                <a:cubicBezTo>
                  <a:pt x="64" y="10"/>
                  <a:pt x="65" y="7"/>
                  <a:pt x="67" y="4"/>
                </a:cubicBezTo>
                <a:cubicBezTo>
                  <a:pt x="68" y="4"/>
                  <a:pt x="68" y="3"/>
                  <a:pt x="69" y="3"/>
                </a:cubicBezTo>
                <a:cubicBezTo>
                  <a:pt x="70" y="0"/>
                  <a:pt x="70" y="0"/>
                  <a:pt x="70" y="0"/>
                </a:cubicBezTo>
                <a:cubicBezTo>
                  <a:pt x="71" y="1"/>
                  <a:pt x="76" y="1"/>
                  <a:pt x="78" y="3"/>
                </a:cubicBezTo>
                <a:cubicBezTo>
                  <a:pt x="83" y="8"/>
                  <a:pt x="79" y="15"/>
                  <a:pt x="83" y="20"/>
                </a:cubicBezTo>
                <a:cubicBezTo>
                  <a:pt x="85" y="17"/>
                  <a:pt x="89" y="15"/>
                  <a:pt x="92" y="17"/>
                </a:cubicBezTo>
                <a:cubicBezTo>
                  <a:pt x="93" y="18"/>
                  <a:pt x="94" y="21"/>
                  <a:pt x="95" y="22"/>
                </a:cubicBezTo>
                <a:cubicBezTo>
                  <a:pt x="97" y="23"/>
                  <a:pt x="98" y="21"/>
                  <a:pt x="99" y="24"/>
                </a:cubicBezTo>
                <a:cubicBezTo>
                  <a:pt x="102" y="23"/>
                  <a:pt x="104" y="21"/>
                  <a:pt x="108" y="21"/>
                </a:cubicBezTo>
                <a:cubicBezTo>
                  <a:pt x="109" y="25"/>
                  <a:pt x="108" y="30"/>
                  <a:pt x="107" y="34"/>
                </a:cubicBezTo>
                <a:cubicBezTo>
                  <a:pt x="111" y="35"/>
                  <a:pt x="115" y="40"/>
                  <a:pt x="119" y="41"/>
                </a:cubicBezTo>
                <a:cubicBezTo>
                  <a:pt x="119" y="39"/>
                  <a:pt x="118" y="31"/>
                  <a:pt x="120" y="29"/>
                </a:cubicBezTo>
                <a:cubicBezTo>
                  <a:pt x="121" y="27"/>
                  <a:pt x="128" y="28"/>
                  <a:pt x="130" y="28"/>
                </a:cubicBezTo>
                <a:cubicBezTo>
                  <a:pt x="132" y="28"/>
                  <a:pt x="136" y="26"/>
                  <a:pt x="138" y="28"/>
                </a:cubicBezTo>
                <a:cubicBezTo>
                  <a:pt x="139" y="30"/>
                  <a:pt x="137" y="38"/>
                  <a:pt x="136" y="40"/>
                </a:cubicBezTo>
                <a:cubicBezTo>
                  <a:pt x="140" y="40"/>
                  <a:pt x="142" y="34"/>
                  <a:pt x="146" y="34"/>
                </a:cubicBezTo>
                <a:cubicBezTo>
                  <a:pt x="147" y="37"/>
                  <a:pt x="148" y="46"/>
                  <a:pt x="151" y="48"/>
                </a:cubicBezTo>
                <a:cubicBezTo>
                  <a:pt x="153" y="50"/>
                  <a:pt x="155" y="47"/>
                  <a:pt x="159" y="46"/>
                </a:cubicBezTo>
                <a:cubicBezTo>
                  <a:pt x="160" y="46"/>
                  <a:pt x="163" y="45"/>
                  <a:pt x="165" y="47"/>
                </a:cubicBezTo>
                <a:cubicBezTo>
                  <a:pt x="167" y="50"/>
                  <a:pt x="162" y="55"/>
                  <a:pt x="163" y="57"/>
                </a:cubicBezTo>
                <a:cubicBezTo>
                  <a:pt x="168" y="64"/>
                  <a:pt x="168" y="64"/>
                  <a:pt x="168" y="64"/>
                </a:cubicBezTo>
                <a:cubicBezTo>
                  <a:pt x="165" y="70"/>
                  <a:pt x="153" y="62"/>
                  <a:pt x="149" y="67"/>
                </a:cubicBezTo>
                <a:cubicBezTo>
                  <a:pt x="147" y="70"/>
                  <a:pt x="148" y="77"/>
                  <a:pt x="145" y="80"/>
                </a:cubicBezTo>
                <a:cubicBezTo>
                  <a:pt x="142" y="82"/>
                  <a:pt x="141" y="82"/>
                  <a:pt x="138" y="82"/>
                </a:cubicBezTo>
                <a:cubicBezTo>
                  <a:pt x="133" y="82"/>
                  <a:pt x="126" y="80"/>
                  <a:pt x="123" y="84"/>
                </a:cubicBezTo>
                <a:cubicBezTo>
                  <a:pt x="121" y="86"/>
                  <a:pt x="119" y="91"/>
                  <a:pt x="119" y="9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88" name="Freeform 522"/>
          <p:cNvSpPr>
            <a:spLocks/>
          </p:cNvSpPr>
          <p:nvPr userDrawn="1"/>
        </p:nvSpPr>
        <p:spPr bwMode="auto">
          <a:xfrm>
            <a:off x="5746946" y="3624372"/>
            <a:ext cx="175884" cy="100505"/>
          </a:xfrm>
          <a:custGeom>
            <a:avLst/>
            <a:gdLst>
              <a:gd name="T0" fmla="*/ 2147483646 w 188"/>
              <a:gd name="T1" fmla="*/ 2147483646 h 108"/>
              <a:gd name="T2" fmla="*/ 2147483646 w 188"/>
              <a:gd name="T3" fmla="*/ 2147483646 h 108"/>
              <a:gd name="T4" fmla="*/ 2147483646 w 188"/>
              <a:gd name="T5" fmla="*/ 2147483646 h 108"/>
              <a:gd name="T6" fmla="*/ 2147483646 w 188"/>
              <a:gd name="T7" fmla="*/ 2147483646 h 108"/>
              <a:gd name="T8" fmla="*/ 2147483646 w 188"/>
              <a:gd name="T9" fmla="*/ 2147483646 h 108"/>
              <a:gd name="T10" fmla="*/ 2147483646 w 188"/>
              <a:gd name="T11" fmla="*/ 2147483646 h 108"/>
              <a:gd name="T12" fmla="*/ 2147483646 w 188"/>
              <a:gd name="T13" fmla="*/ 2147483646 h 108"/>
              <a:gd name="T14" fmla="*/ 2147483646 w 188"/>
              <a:gd name="T15" fmla="*/ 2147483646 h 108"/>
              <a:gd name="T16" fmla="*/ 2147483646 w 188"/>
              <a:gd name="T17" fmla="*/ 2147483646 h 108"/>
              <a:gd name="T18" fmla="*/ 2147483646 w 188"/>
              <a:gd name="T19" fmla="*/ 2147483646 h 108"/>
              <a:gd name="T20" fmla="*/ 2147483646 w 188"/>
              <a:gd name="T21" fmla="*/ 2147483646 h 108"/>
              <a:gd name="T22" fmla="*/ 2147483646 w 188"/>
              <a:gd name="T23" fmla="*/ 2147483646 h 108"/>
              <a:gd name="T24" fmla="*/ 2147483646 w 188"/>
              <a:gd name="T25" fmla="*/ 2147483646 h 108"/>
              <a:gd name="T26" fmla="*/ 2147483646 w 188"/>
              <a:gd name="T27" fmla="*/ 2147483646 h 108"/>
              <a:gd name="T28" fmla="*/ 2147483646 w 188"/>
              <a:gd name="T29" fmla="*/ 2147483646 h 108"/>
              <a:gd name="T30" fmla="*/ 2147483646 w 188"/>
              <a:gd name="T31" fmla="*/ 2147483646 h 108"/>
              <a:gd name="T32" fmla="*/ 2147483646 w 188"/>
              <a:gd name="T33" fmla="*/ 2147483646 h 108"/>
              <a:gd name="T34" fmla="*/ 2147483646 w 188"/>
              <a:gd name="T35" fmla="*/ 2147483646 h 108"/>
              <a:gd name="T36" fmla="*/ 2147483646 w 188"/>
              <a:gd name="T37" fmla="*/ 2147483646 h 108"/>
              <a:gd name="T38" fmla="*/ 2147483646 w 188"/>
              <a:gd name="T39" fmla="*/ 2147483646 h 108"/>
              <a:gd name="T40" fmla="*/ 2147483646 w 188"/>
              <a:gd name="T41" fmla="*/ 2147483646 h 108"/>
              <a:gd name="T42" fmla="*/ 2147483646 w 188"/>
              <a:gd name="T43" fmla="*/ 2147483646 h 108"/>
              <a:gd name="T44" fmla="*/ 2147483646 w 188"/>
              <a:gd name="T45" fmla="*/ 2147483646 h 108"/>
              <a:gd name="T46" fmla="*/ 2147483646 w 188"/>
              <a:gd name="T47" fmla="*/ 2147483646 h 108"/>
              <a:gd name="T48" fmla="*/ 2147483646 w 188"/>
              <a:gd name="T49" fmla="*/ 2147483646 h 108"/>
              <a:gd name="T50" fmla="*/ 2147483646 w 188"/>
              <a:gd name="T51" fmla="*/ 2147483646 h 108"/>
              <a:gd name="T52" fmla="*/ 2147483646 w 188"/>
              <a:gd name="T53" fmla="*/ 2147483646 h 108"/>
              <a:gd name="T54" fmla="*/ 2147483646 w 188"/>
              <a:gd name="T55" fmla="*/ 2147483646 h 108"/>
              <a:gd name="T56" fmla="*/ 0 w 188"/>
              <a:gd name="T57" fmla="*/ 2147483646 h 108"/>
              <a:gd name="T58" fmla="*/ 2147483646 w 188"/>
              <a:gd name="T59" fmla="*/ 2147483646 h 108"/>
              <a:gd name="T60" fmla="*/ 2147483646 w 188"/>
              <a:gd name="T61" fmla="*/ 2147483646 h 108"/>
              <a:gd name="T62" fmla="*/ 2147483646 w 188"/>
              <a:gd name="T63" fmla="*/ 2147483646 h 108"/>
              <a:gd name="T64" fmla="*/ 2147483646 w 188"/>
              <a:gd name="T65" fmla="*/ 2147483646 h 108"/>
              <a:gd name="T66" fmla="*/ 2147483646 w 188"/>
              <a:gd name="T67" fmla="*/ 2147483646 h 108"/>
              <a:gd name="T68" fmla="*/ 2147483646 w 188"/>
              <a:gd name="T69" fmla="*/ 2147483646 h 108"/>
              <a:gd name="T70" fmla="*/ 2147483646 w 188"/>
              <a:gd name="T71" fmla="*/ 2147483646 h 108"/>
              <a:gd name="T72" fmla="*/ 2147483646 w 188"/>
              <a:gd name="T73" fmla="*/ 2147483646 h 108"/>
              <a:gd name="T74" fmla="*/ 2147483646 w 188"/>
              <a:gd name="T75" fmla="*/ 2147483646 h 108"/>
              <a:gd name="T76" fmla="*/ 2147483646 w 188"/>
              <a:gd name="T77" fmla="*/ 2147483646 h 108"/>
              <a:gd name="T78" fmla="*/ 2147483646 w 188"/>
              <a:gd name="T79" fmla="*/ 2147483646 h 108"/>
              <a:gd name="T80" fmla="*/ 2147483646 w 188"/>
              <a:gd name="T81" fmla="*/ 2147483646 h 108"/>
              <a:gd name="T82" fmla="*/ 2147483646 w 188"/>
              <a:gd name="T83" fmla="*/ 2147483646 h 108"/>
              <a:gd name="T84" fmla="*/ 2147483646 w 188"/>
              <a:gd name="T85" fmla="*/ 2147483646 h 108"/>
              <a:gd name="T86" fmla="*/ 2147483646 w 188"/>
              <a:gd name="T87" fmla="*/ 2147483646 h 108"/>
              <a:gd name="T88" fmla="*/ 2147483646 w 188"/>
              <a:gd name="T89" fmla="*/ 2147483646 h 108"/>
              <a:gd name="T90" fmla="*/ 2147483646 w 188"/>
              <a:gd name="T91" fmla="*/ 2147483646 h 108"/>
              <a:gd name="T92" fmla="*/ 2147483646 w 188"/>
              <a:gd name="T93" fmla="*/ 2147483646 h 108"/>
              <a:gd name="T94" fmla="*/ 2147483646 w 188"/>
              <a:gd name="T95" fmla="*/ 2147483646 h 108"/>
              <a:gd name="T96" fmla="*/ 2147483646 w 188"/>
              <a:gd name="T97" fmla="*/ 2147483646 h 108"/>
              <a:gd name="T98" fmla="*/ 2147483646 w 188"/>
              <a:gd name="T99" fmla="*/ 2147483646 h 108"/>
              <a:gd name="T100" fmla="*/ 2147483646 w 188"/>
              <a:gd name="T101" fmla="*/ 2147483646 h 108"/>
              <a:gd name="T102" fmla="*/ 2147483646 w 188"/>
              <a:gd name="T103" fmla="*/ 2147483646 h 108"/>
              <a:gd name="T104" fmla="*/ 2147483646 w 188"/>
              <a:gd name="T105" fmla="*/ 2147483646 h 108"/>
              <a:gd name="T106" fmla="*/ 2147483646 w 188"/>
              <a:gd name="T107" fmla="*/ 2147483646 h 108"/>
              <a:gd name="T108" fmla="*/ 2147483646 w 188"/>
              <a:gd name="T109" fmla="*/ 2147483646 h 108"/>
              <a:gd name="T110" fmla="*/ 2147483646 w 188"/>
              <a:gd name="T111" fmla="*/ 0 h 108"/>
              <a:gd name="T112" fmla="*/ 2147483646 w 188"/>
              <a:gd name="T113" fmla="*/ 2147483646 h 108"/>
              <a:gd name="T114" fmla="*/ 2147483646 w 188"/>
              <a:gd name="T115" fmla="*/ 2147483646 h 108"/>
              <a:gd name="T116" fmla="*/ 2147483646 w 188"/>
              <a:gd name="T117" fmla="*/ 2147483646 h 108"/>
              <a:gd name="T118" fmla="*/ 2147483646 w 188"/>
              <a:gd name="T119" fmla="*/ 2147483646 h 108"/>
              <a:gd name="T120" fmla="*/ 2147483646 w 188"/>
              <a:gd name="T121" fmla="*/ 2147483646 h 10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88"/>
              <a:gd name="T184" fmla="*/ 0 h 108"/>
              <a:gd name="T185" fmla="*/ 188 w 188"/>
              <a:gd name="T186" fmla="*/ 108 h 10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88" h="108">
                <a:moveTo>
                  <a:pt x="184" y="36"/>
                </a:moveTo>
                <a:cubicBezTo>
                  <a:pt x="185" y="41"/>
                  <a:pt x="188" y="46"/>
                  <a:pt x="186" y="51"/>
                </a:cubicBezTo>
                <a:cubicBezTo>
                  <a:pt x="184" y="55"/>
                  <a:pt x="179" y="57"/>
                  <a:pt x="178" y="61"/>
                </a:cubicBezTo>
                <a:cubicBezTo>
                  <a:pt x="178" y="64"/>
                  <a:pt x="181" y="66"/>
                  <a:pt x="179" y="70"/>
                </a:cubicBezTo>
                <a:cubicBezTo>
                  <a:pt x="175" y="77"/>
                  <a:pt x="166" y="80"/>
                  <a:pt x="165" y="88"/>
                </a:cubicBezTo>
                <a:cubicBezTo>
                  <a:pt x="164" y="91"/>
                  <a:pt x="166" y="96"/>
                  <a:pt x="162" y="98"/>
                </a:cubicBezTo>
                <a:cubicBezTo>
                  <a:pt x="159" y="99"/>
                  <a:pt x="157" y="96"/>
                  <a:pt x="156" y="94"/>
                </a:cubicBezTo>
                <a:cubicBezTo>
                  <a:pt x="154" y="95"/>
                  <a:pt x="153" y="97"/>
                  <a:pt x="152" y="98"/>
                </a:cubicBezTo>
                <a:cubicBezTo>
                  <a:pt x="149" y="97"/>
                  <a:pt x="145" y="97"/>
                  <a:pt x="142" y="97"/>
                </a:cubicBezTo>
                <a:cubicBezTo>
                  <a:pt x="138" y="96"/>
                  <a:pt x="137" y="96"/>
                  <a:pt x="134" y="99"/>
                </a:cubicBezTo>
                <a:cubicBezTo>
                  <a:pt x="131" y="101"/>
                  <a:pt x="128" y="106"/>
                  <a:pt x="124" y="107"/>
                </a:cubicBezTo>
                <a:cubicBezTo>
                  <a:pt x="117" y="108"/>
                  <a:pt x="110" y="103"/>
                  <a:pt x="103" y="103"/>
                </a:cubicBezTo>
                <a:cubicBezTo>
                  <a:pt x="102" y="104"/>
                  <a:pt x="102" y="104"/>
                  <a:pt x="102" y="104"/>
                </a:cubicBezTo>
                <a:cubicBezTo>
                  <a:pt x="102" y="103"/>
                  <a:pt x="102" y="103"/>
                  <a:pt x="102" y="103"/>
                </a:cubicBezTo>
                <a:cubicBezTo>
                  <a:pt x="101" y="102"/>
                  <a:pt x="99" y="102"/>
                  <a:pt x="97" y="101"/>
                </a:cubicBezTo>
                <a:cubicBezTo>
                  <a:pt x="95" y="100"/>
                  <a:pt x="93" y="98"/>
                  <a:pt x="91" y="97"/>
                </a:cubicBezTo>
                <a:cubicBezTo>
                  <a:pt x="88" y="96"/>
                  <a:pt x="88" y="96"/>
                  <a:pt x="86" y="96"/>
                </a:cubicBezTo>
                <a:cubicBezTo>
                  <a:pt x="82" y="97"/>
                  <a:pt x="80" y="98"/>
                  <a:pt x="76" y="97"/>
                </a:cubicBezTo>
                <a:cubicBezTo>
                  <a:pt x="71" y="96"/>
                  <a:pt x="68" y="90"/>
                  <a:pt x="65" y="86"/>
                </a:cubicBezTo>
                <a:cubicBezTo>
                  <a:pt x="64" y="85"/>
                  <a:pt x="63" y="84"/>
                  <a:pt x="62" y="84"/>
                </a:cubicBezTo>
                <a:cubicBezTo>
                  <a:pt x="61" y="84"/>
                  <a:pt x="60" y="85"/>
                  <a:pt x="59" y="85"/>
                </a:cubicBezTo>
                <a:cubicBezTo>
                  <a:pt x="57" y="85"/>
                  <a:pt x="56" y="84"/>
                  <a:pt x="54" y="84"/>
                </a:cubicBezTo>
                <a:cubicBezTo>
                  <a:pt x="49" y="84"/>
                  <a:pt x="45" y="88"/>
                  <a:pt x="41" y="90"/>
                </a:cubicBezTo>
                <a:cubicBezTo>
                  <a:pt x="36" y="93"/>
                  <a:pt x="33" y="92"/>
                  <a:pt x="29" y="90"/>
                </a:cubicBezTo>
                <a:cubicBezTo>
                  <a:pt x="26" y="89"/>
                  <a:pt x="23" y="89"/>
                  <a:pt x="21" y="89"/>
                </a:cubicBezTo>
                <a:cubicBezTo>
                  <a:pt x="21" y="89"/>
                  <a:pt x="20" y="88"/>
                  <a:pt x="19" y="88"/>
                </a:cubicBezTo>
                <a:cubicBezTo>
                  <a:pt x="17" y="88"/>
                  <a:pt x="16" y="94"/>
                  <a:pt x="13" y="93"/>
                </a:cubicBezTo>
                <a:cubicBezTo>
                  <a:pt x="11" y="93"/>
                  <a:pt x="10" y="88"/>
                  <a:pt x="9" y="87"/>
                </a:cubicBezTo>
                <a:cubicBezTo>
                  <a:pt x="7" y="84"/>
                  <a:pt x="3" y="85"/>
                  <a:pt x="0" y="85"/>
                </a:cubicBezTo>
                <a:cubicBezTo>
                  <a:pt x="0" y="80"/>
                  <a:pt x="4" y="75"/>
                  <a:pt x="5" y="70"/>
                </a:cubicBezTo>
                <a:cubicBezTo>
                  <a:pt x="6" y="67"/>
                  <a:pt x="5" y="67"/>
                  <a:pt x="2" y="66"/>
                </a:cubicBezTo>
                <a:cubicBezTo>
                  <a:pt x="2" y="66"/>
                  <a:pt x="8" y="65"/>
                  <a:pt x="9" y="66"/>
                </a:cubicBezTo>
                <a:cubicBezTo>
                  <a:pt x="11" y="66"/>
                  <a:pt x="13" y="68"/>
                  <a:pt x="15" y="69"/>
                </a:cubicBezTo>
                <a:cubicBezTo>
                  <a:pt x="16" y="70"/>
                  <a:pt x="17" y="72"/>
                  <a:pt x="19" y="72"/>
                </a:cubicBezTo>
                <a:cubicBezTo>
                  <a:pt x="20" y="72"/>
                  <a:pt x="22" y="70"/>
                  <a:pt x="24" y="70"/>
                </a:cubicBezTo>
                <a:cubicBezTo>
                  <a:pt x="25" y="69"/>
                  <a:pt x="27" y="67"/>
                  <a:pt x="28" y="65"/>
                </a:cubicBezTo>
                <a:cubicBezTo>
                  <a:pt x="29" y="65"/>
                  <a:pt x="30" y="62"/>
                  <a:pt x="31" y="62"/>
                </a:cubicBezTo>
                <a:cubicBezTo>
                  <a:pt x="34" y="61"/>
                  <a:pt x="40" y="68"/>
                  <a:pt x="42" y="69"/>
                </a:cubicBezTo>
                <a:cubicBezTo>
                  <a:pt x="46" y="72"/>
                  <a:pt x="51" y="66"/>
                  <a:pt x="55" y="64"/>
                </a:cubicBezTo>
                <a:cubicBezTo>
                  <a:pt x="58" y="61"/>
                  <a:pt x="63" y="58"/>
                  <a:pt x="67" y="56"/>
                </a:cubicBezTo>
                <a:cubicBezTo>
                  <a:pt x="70" y="55"/>
                  <a:pt x="71" y="55"/>
                  <a:pt x="74" y="57"/>
                </a:cubicBezTo>
                <a:cubicBezTo>
                  <a:pt x="77" y="58"/>
                  <a:pt x="79" y="59"/>
                  <a:pt x="82" y="58"/>
                </a:cubicBezTo>
                <a:cubicBezTo>
                  <a:pt x="82" y="58"/>
                  <a:pt x="83" y="57"/>
                  <a:pt x="84" y="57"/>
                </a:cubicBezTo>
                <a:cubicBezTo>
                  <a:pt x="85" y="56"/>
                  <a:pt x="86" y="57"/>
                  <a:pt x="87" y="57"/>
                </a:cubicBezTo>
                <a:cubicBezTo>
                  <a:pt x="89" y="58"/>
                  <a:pt x="91" y="59"/>
                  <a:pt x="93" y="60"/>
                </a:cubicBezTo>
                <a:cubicBezTo>
                  <a:pt x="93" y="56"/>
                  <a:pt x="91" y="52"/>
                  <a:pt x="90" y="49"/>
                </a:cubicBezTo>
                <a:cubicBezTo>
                  <a:pt x="89" y="46"/>
                  <a:pt x="87" y="45"/>
                  <a:pt x="84" y="43"/>
                </a:cubicBezTo>
                <a:cubicBezTo>
                  <a:pt x="86" y="39"/>
                  <a:pt x="92" y="35"/>
                  <a:pt x="96" y="32"/>
                </a:cubicBezTo>
                <a:cubicBezTo>
                  <a:pt x="97" y="30"/>
                  <a:pt x="98" y="29"/>
                  <a:pt x="100" y="30"/>
                </a:cubicBezTo>
                <a:cubicBezTo>
                  <a:pt x="101" y="30"/>
                  <a:pt x="101" y="31"/>
                  <a:pt x="102" y="32"/>
                </a:cubicBezTo>
                <a:cubicBezTo>
                  <a:pt x="102" y="24"/>
                  <a:pt x="108" y="18"/>
                  <a:pt x="108" y="18"/>
                </a:cubicBezTo>
                <a:cubicBezTo>
                  <a:pt x="109" y="19"/>
                  <a:pt x="110" y="20"/>
                  <a:pt x="111" y="20"/>
                </a:cubicBezTo>
                <a:cubicBezTo>
                  <a:pt x="113" y="22"/>
                  <a:pt x="119" y="25"/>
                  <a:pt x="121" y="25"/>
                </a:cubicBezTo>
                <a:cubicBezTo>
                  <a:pt x="125" y="26"/>
                  <a:pt x="131" y="16"/>
                  <a:pt x="135" y="14"/>
                </a:cubicBezTo>
                <a:cubicBezTo>
                  <a:pt x="138" y="12"/>
                  <a:pt x="138" y="12"/>
                  <a:pt x="140" y="10"/>
                </a:cubicBezTo>
                <a:cubicBezTo>
                  <a:pt x="142" y="7"/>
                  <a:pt x="144" y="0"/>
                  <a:pt x="148" y="0"/>
                </a:cubicBezTo>
                <a:cubicBezTo>
                  <a:pt x="153" y="0"/>
                  <a:pt x="156" y="11"/>
                  <a:pt x="163" y="11"/>
                </a:cubicBezTo>
                <a:cubicBezTo>
                  <a:pt x="167" y="12"/>
                  <a:pt x="173" y="10"/>
                  <a:pt x="178" y="9"/>
                </a:cubicBezTo>
                <a:cubicBezTo>
                  <a:pt x="183" y="9"/>
                  <a:pt x="183" y="9"/>
                  <a:pt x="186" y="13"/>
                </a:cubicBezTo>
                <a:cubicBezTo>
                  <a:pt x="186" y="14"/>
                  <a:pt x="186" y="14"/>
                  <a:pt x="186" y="14"/>
                </a:cubicBezTo>
                <a:cubicBezTo>
                  <a:pt x="186" y="21"/>
                  <a:pt x="187" y="30"/>
                  <a:pt x="185" y="3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89" name="Freeform 523"/>
          <p:cNvSpPr>
            <a:spLocks/>
          </p:cNvSpPr>
          <p:nvPr userDrawn="1"/>
        </p:nvSpPr>
        <p:spPr bwMode="auto">
          <a:xfrm>
            <a:off x="5746946" y="3624372"/>
            <a:ext cx="175884" cy="100505"/>
          </a:xfrm>
          <a:custGeom>
            <a:avLst/>
            <a:gdLst>
              <a:gd name="T0" fmla="*/ 2147483646 w 188"/>
              <a:gd name="T1" fmla="*/ 2147483646 h 108"/>
              <a:gd name="T2" fmla="*/ 2147483646 w 188"/>
              <a:gd name="T3" fmla="*/ 2147483646 h 108"/>
              <a:gd name="T4" fmla="*/ 2147483646 w 188"/>
              <a:gd name="T5" fmla="*/ 2147483646 h 108"/>
              <a:gd name="T6" fmla="*/ 2147483646 w 188"/>
              <a:gd name="T7" fmla="*/ 2147483646 h 108"/>
              <a:gd name="T8" fmla="*/ 2147483646 w 188"/>
              <a:gd name="T9" fmla="*/ 2147483646 h 108"/>
              <a:gd name="T10" fmla="*/ 2147483646 w 188"/>
              <a:gd name="T11" fmla="*/ 2147483646 h 108"/>
              <a:gd name="T12" fmla="*/ 2147483646 w 188"/>
              <a:gd name="T13" fmla="*/ 2147483646 h 108"/>
              <a:gd name="T14" fmla="*/ 2147483646 w 188"/>
              <a:gd name="T15" fmla="*/ 2147483646 h 108"/>
              <a:gd name="T16" fmla="*/ 2147483646 w 188"/>
              <a:gd name="T17" fmla="*/ 2147483646 h 108"/>
              <a:gd name="T18" fmla="*/ 2147483646 w 188"/>
              <a:gd name="T19" fmla="*/ 2147483646 h 108"/>
              <a:gd name="T20" fmla="*/ 2147483646 w 188"/>
              <a:gd name="T21" fmla="*/ 2147483646 h 108"/>
              <a:gd name="T22" fmla="*/ 2147483646 w 188"/>
              <a:gd name="T23" fmla="*/ 2147483646 h 108"/>
              <a:gd name="T24" fmla="*/ 2147483646 w 188"/>
              <a:gd name="T25" fmla="*/ 2147483646 h 108"/>
              <a:gd name="T26" fmla="*/ 2147483646 w 188"/>
              <a:gd name="T27" fmla="*/ 2147483646 h 108"/>
              <a:gd name="T28" fmla="*/ 2147483646 w 188"/>
              <a:gd name="T29" fmla="*/ 2147483646 h 108"/>
              <a:gd name="T30" fmla="*/ 2147483646 w 188"/>
              <a:gd name="T31" fmla="*/ 2147483646 h 108"/>
              <a:gd name="T32" fmla="*/ 2147483646 w 188"/>
              <a:gd name="T33" fmla="*/ 2147483646 h 108"/>
              <a:gd name="T34" fmla="*/ 2147483646 w 188"/>
              <a:gd name="T35" fmla="*/ 2147483646 h 108"/>
              <a:gd name="T36" fmla="*/ 2147483646 w 188"/>
              <a:gd name="T37" fmla="*/ 2147483646 h 108"/>
              <a:gd name="T38" fmla="*/ 2147483646 w 188"/>
              <a:gd name="T39" fmla="*/ 2147483646 h 108"/>
              <a:gd name="T40" fmla="*/ 2147483646 w 188"/>
              <a:gd name="T41" fmla="*/ 2147483646 h 108"/>
              <a:gd name="T42" fmla="*/ 2147483646 w 188"/>
              <a:gd name="T43" fmla="*/ 2147483646 h 108"/>
              <a:gd name="T44" fmla="*/ 2147483646 w 188"/>
              <a:gd name="T45" fmla="*/ 2147483646 h 108"/>
              <a:gd name="T46" fmla="*/ 2147483646 w 188"/>
              <a:gd name="T47" fmla="*/ 2147483646 h 108"/>
              <a:gd name="T48" fmla="*/ 2147483646 w 188"/>
              <a:gd name="T49" fmla="*/ 2147483646 h 108"/>
              <a:gd name="T50" fmla="*/ 2147483646 w 188"/>
              <a:gd name="T51" fmla="*/ 2147483646 h 108"/>
              <a:gd name="T52" fmla="*/ 2147483646 w 188"/>
              <a:gd name="T53" fmla="*/ 2147483646 h 108"/>
              <a:gd name="T54" fmla="*/ 2147483646 w 188"/>
              <a:gd name="T55" fmla="*/ 2147483646 h 108"/>
              <a:gd name="T56" fmla="*/ 0 w 188"/>
              <a:gd name="T57" fmla="*/ 2147483646 h 108"/>
              <a:gd name="T58" fmla="*/ 2147483646 w 188"/>
              <a:gd name="T59" fmla="*/ 2147483646 h 108"/>
              <a:gd name="T60" fmla="*/ 2147483646 w 188"/>
              <a:gd name="T61" fmla="*/ 2147483646 h 108"/>
              <a:gd name="T62" fmla="*/ 2147483646 w 188"/>
              <a:gd name="T63" fmla="*/ 2147483646 h 108"/>
              <a:gd name="T64" fmla="*/ 2147483646 w 188"/>
              <a:gd name="T65" fmla="*/ 2147483646 h 108"/>
              <a:gd name="T66" fmla="*/ 2147483646 w 188"/>
              <a:gd name="T67" fmla="*/ 2147483646 h 108"/>
              <a:gd name="T68" fmla="*/ 2147483646 w 188"/>
              <a:gd name="T69" fmla="*/ 2147483646 h 108"/>
              <a:gd name="T70" fmla="*/ 2147483646 w 188"/>
              <a:gd name="T71" fmla="*/ 2147483646 h 108"/>
              <a:gd name="T72" fmla="*/ 2147483646 w 188"/>
              <a:gd name="T73" fmla="*/ 2147483646 h 108"/>
              <a:gd name="T74" fmla="*/ 2147483646 w 188"/>
              <a:gd name="T75" fmla="*/ 2147483646 h 108"/>
              <a:gd name="T76" fmla="*/ 2147483646 w 188"/>
              <a:gd name="T77" fmla="*/ 2147483646 h 108"/>
              <a:gd name="T78" fmla="*/ 2147483646 w 188"/>
              <a:gd name="T79" fmla="*/ 2147483646 h 108"/>
              <a:gd name="T80" fmla="*/ 2147483646 w 188"/>
              <a:gd name="T81" fmla="*/ 2147483646 h 108"/>
              <a:gd name="T82" fmla="*/ 2147483646 w 188"/>
              <a:gd name="T83" fmla="*/ 2147483646 h 108"/>
              <a:gd name="T84" fmla="*/ 2147483646 w 188"/>
              <a:gd name="T85" fmla="*/ 2147483646 h 108"/>
              <a:gd name="T86" fmla="*/ 2147483646 w 188"/>
              <a:gd name="T87" fmla="*/ 2147483646 h 108"/>
              <a:gd name="T88" fmla="*/ 2147483646 w 188"/>
              <a:gd name="T89" fmla="*/ 2147483646 h 108"/>
              <a:gd name="T90" fmla="*/ 2147483646 w 188"/>
              <a:gd name="T91" fmla="*/ 2147483646 h 108"/>
              <a:gd name="T92" fmla="*/ 2147483646 w 188"/>
              <a:gd name="T93" fmla="*/ 2147483646 h 108"/>
              <a:gd name="T94" fmla="*/ 2147483646 w 188"/>
              <a:gd name="T95" fmla="*/ 2147483646 h 108"/>
              <a:gd name="T96" fmla="*/ 2147483646 w 188"/>
              <a:gd name="T97" fmla="*/ 2147483646 h 108"/>
              <a:gd name="T98" fmla="*/ 2147483646 w 188"/>
              <a:gd name="T99" fmla="*/ 2147483646 h 108"/>
              <a:gd name="T100" fmla="*/ 2147483646 w 188"/>
              <a:gd name="T101" fmla="*/ 2147483646 h 108"/>
              <a:gd name="T102" fmla="*/ 2147483646 w 188"/>
              <a:gd name="T103" fmla="*/ 2147483646 h 108"/>
              <a:gd name="T104" fmla="*/ 2147483646 w 188"/>
              <a:gd name="T105" fmla="*/ 2147483646 h 108"/>
              <a:gd name="T106" fmla="*/ 2147483646 w 188"/>
              <a:gd name="T107" fmla="*/ 2147483646 h 108"/>
              <a:gd name="T108" fmla="*/ 2147483646 w 188"/>
              <a:gd name="T109" fmla="*/ 2147483646 h 108"/>
              <a:gd name="T110" fmla="*/ 2147483646 w 188"/>
              <a:gd name="T111" fmla="*/ 0 h 108"/>
              <a:gd name="T112" fmla="*/ 2147483646 w 188"/>
              <a:gd name="T113" fmla="*/ 2147483646 h 108"/>
              <a:gd name="T114" fmla="*/ 2147483646 w 188"/>
              <a:gd name="T115" fmla="*/ 2147483646 h 108"/>
              <a:gd name="T116" fmla="*/ 2147483646 w 188"/>
              <a:gd name="T117" fmla="*/ 2147483646 h 108"/>
              <a:gd name="T118" fmla="*/ 2147483646 w 188"/>
              <a:gd name="T119" fmla="*/ 2147483646 h 108"/>
              <a:gd name="T120" fmla="*/ 2147483646 w 188"/>
              <a:gd name="T121" fmla="*/ 2147483646 h 10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88"/>
              <a:gd name="T184" fmla="*/ 0 h 108"/>
              <a:gd name="T185" fmla="*/ 188 w 188"/>
              <a:gd name="T186" fmla="*/ 108 h 10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88" h="108">
                <a:moveTo>
                  <a:pt x="184" y="36"/>
                </a:moveTo>
                <a:cubicBezTo>
                  <a:pt x="185" y="41"/>
                  <a:pt x="188" y="46"/>
                  <a:pt x="186" y="51"/>
                </a:cubicBezTo>
                <a:cubicBezTo>
                  <a:pt x="184" y="55"/>
                  <a:pt x="179" y="57"/>
                  <a:pt x="178" y="61"/>
                </a:cubicBezTo>
                <a:cubicBezTo>
                  <a:pt x="178" y="64"/>
                  <a:pt x="181" y="66"/>
                  <a:pt x="179" y="70"/>
                </a:cubicBezTo>
                <a:cubicBezTo>
                  <a:pt x="175" y="77"/>
                  <a:pt x="166" y="80"/>
                  <a:pt x="165" y="88"/>
                </a:cubicBezTo>
                <a:cubicBezTo>
                  <a:pt x="164" y="91"/>
                  <a:pt x="166" y="96"/>
                  <a:pt x="162" y="98"/>
                </a:cubicBezTo>
                <a:cubicBezTo>
                  <a:pt x="159" y="99"/>
                  <a:pt x="157" y="96"/>
                  <a:pt x="156" y="94"/>
                </a:cubicBezTo>
                <a:cubicBezTo>
                  <a:pt x="154" y="95"/>
                  <a:pt x="153" y="97"/>
                  <a:pt x="152" y="98"/>
                </a:cubicBezTo>
                <a:cubicBezTo>
                  <a:pt x="149" y="97"/>
                  <a:pt x="145" y="97"/>
                  <a:pt x="142" y="97"/>
                </a:cubicBezTo>
                <a:cubicBezTo>
                  <a:pt x="138" y="96"/>
                  <a:pt x="137" y="96"/>
                  <a:pt x="134" y="99"/>
                </a:cubicBezTo>
                <a:cubicBezTo>
                  <a:pt x="131" y="101"/>
                  <a:pt x="128" y="106"/>
                  <a:pt x="124" y="107"/>
                </a:cubicBezTo>
                <a:cubicBezTo>
                  <a:pt x="117" y="108"/>
                  <a:pt x="110" y="103"/>
                  <a:pt x="103" y="103"/>
                </a:cubicBezTo>
                <a:cubicBezTo>
                  <a:pt x="102" y="104"/>
                  <a:pt x="102" y="104"/>
                  <a:pt x="102" y="104"/>
                </a:cubicBezTo>
                <a:cubicBezTo>
                  <a:pt x="102" y="103"/>
                  <a:pt x="102" y="103"/>
                  <a:pt x="102" y="103"/>
                </a:cubicBezTo>
                <a:cubicBezTo>
                  <a:pt x="101" y="102"/>
                  <a:pt x="99" y="102"/>
                  <a:pt x="97" y="101"/>
                </a:cubicBezTo>
                <a:cubicBezTo>
                  <a:pt x="95" y="100"/>
                  <a:pt x="93" y="98"/>
                  <a:pt x="91" y="97"/>
                </a:cubicBezTo>
                <a:cubicBezTo>
                  <a:pt x="88" y="96"/>
                  <a:pt x="88" y="96"/>
                  <a:pt x="86" y="96"/>
                </a:cubicBezTo>
                <a:cubicBezTo>
                  <a:pt x="82" y="97"/>
                  <a:pt x="80" y="98"/>
                  <a:pt x="76" y="97"/>
                </a:cubicBezTo>
                <a:cubicBezTo>
                  <a:pt x="71" y="96"/>
                  <a:pt x="68" y="90"/>
                  <a:pt x="65" y="86"/>
                </a:cubicBezTo>
                <a:cubicBezTo>
                  <a:pt x="64" y="85"/>
                  <a:pt x="63" y="84"/>
                  <a:pt x="62" y="84"/>
                </a:cubicBezTo>
                <a:cubicBezTo>
                  <a:pt x="61" y="84"/>
                  <a:pt x="60" y="85"/>
                  <a:pt x="59" y="85"/>
                </a:cubicBezTo>
                <a:cubicBezTo>
                  <a:pt x="57" y="85"/>
                  <a:pt x="56" y="84"/>
                  <a:pt x="54" y="84"/>
                </a:cubicBezTo>
                <a:cubicBezTo>
                  <a:pt x="49" y="84"/>
                  <a:pt x="45" y="88"/>
                  <a:pt x="41" y="90"/>
                </a:cubicBezTo>
                <a:cubicBezTo>
                  <a:pt x="36" y="93"/>
                  <a:pt x="33" y="92"/>
                  <a:pt x="29" y="90"/>
                </a:cubicBezTo>
                <a:cubicBezTo>
                  <a:pt x="26" y="89"/>
                  <a:pt x="23" y="89"/>
                  <a:pt x="21" y="89"/>
                </a:cubicBezTo>
                <a:cubicBezTo>
                  <a:pt x="21" y="89"/>
                  <a:pt x="20" y="88"/>
                  <a:pt x="19" y="88"/>
                </a:cubicBezTo>
                <a:cubicBezTo>
                  <a:pt x="17" y="88"/>
                  <a:pt x="16" y="94"/>
                  <a:pt x="13" y="93"/>
                </a:cubicBezTo>
                <a:cubicBezTo>
                  <a:pt x="11" y="93"/>
                  <a:pt x="10" y="88"/>
                  <a:pt x="9" y="87"/>
                </a:cubicBezTo>
                <a:cubicBezTo>
                  <a:pt x="7" y="84"/>
                  <a:pt x="3" y="85"/>
                  <a:pt x="0" y="85"/>
                </a:cubicBezTo>
                <a:cubicBezTo>
                  <a:pt x="0" y="80"/>
                  <a:pt x="4" y="75"/>
                  <a:pt x="5" y="70"/>
                </a:cubicBezTo>
                <a:cubicBezTo>
                  <a:pt x="6" y="67"/>
                  <a:pt x="5" y="67"/>
                  <a:pt x="2" y="66"/>
                </a:cubicBezTo>
                <a:cubicBezTo>
                  <a:pt x="2" y="66"/>
                  <a:pt x="8" y="65"/>
                  <a:pt x="9" y="66"/>
                </a:cubicBezTo>
                <a:cubicBezTo>
                  <a:pt x="11" y="66"/>
                  <a:pt x="13" y="68"/>
                  <a:pt x="15" y="69"/>
                </a:cubicBezTo>
                <a:cubicBezTo>
                  <a:pt x="16" y="70"/>
                  <a:pt x="17" y="72"/>
                  <a:pt x="19" y="72"/>
                </a:cubicBezTo>
                <a:cubicBezTo>
                  <a:pt x="20" y="72"/>
                  <a:pt x="22" y="70"/>
                  <a:pt x="24" y="70"/>
                </a:cubicBezTo>
                <a:cubicBezTo>
                  <a:pt x="25" y="69"/>
                  <a:pt x="27" y="67"/>
                  <a:pt x="28" y="65"/>
                </a:cubicBezTo>
                <a:cubicBezTo>
                  <a:pt x="29" y="65"/>
                  <a:pt x="30" y="62"/>
                  <a:pt x="31" y="62"/>
                </a:cubicBezTo>
                <a:cubicBezTo>
                  <a:pt x="34" y="61"/>
                  <a:pt x="40" y="68"/>
                  <a:pt x="42" y="69"/>
                </a:cubicBezTo>
                <a:cubicBezTo>
                  <a:pt x="46" y="72"/>
                  <a:pt x="51" y="66"/>
                  <a:pt x="55" y="64"/>
                </a:cubicBezTo>
                <a:cubicBezTo>
                  <a:pt x="58" y="61"/>
                  <a:pt x="63" y="58"/>
                  <a:pt x="67" y="56"/>
                </a:cubicBezTo>
                <a:cubicBezTo>
                  <a:pt x="70" y="55"/>
                  <a:pt x="71" y="55"/>
                  <a:pt x="74" y="57"/>
                </a:cubicBezTo>
                <a:cubicBezTo>
                  <a:pt x="77" y="58"/>
                  <a:pt x="79" y="59"/>
                  <a:pt x="82" y="58"/>
                </a:cubicBezTo>
                <a:cubicBezTo>
                  <a:pt x="82" y="58"/>
                  <a:pt x="83" y="57"/>
                  <a:pt x="84" y="57"/>
                </a:cubicBezTo>
                <a:cubicBezTo>
                  <a:pt x="85" y="56"/>
                  <a:pt x="86" y="57"/>
                  <a:pt x="87" y="57"/>
                </a:cubicBezTo>
                <a:cubicBezTo>
                  <a:pt x="89" y="58"/>
                  <a:pt x="91" y="59"/>
                  <a:pt x="93" y="60"/>
                </a:cubicBezTo>
                <a:cubicBezTo>
                  <a:pt x="93" y="56"/>
                  <a:pt x="91" y="52"/>
                  <a:pt x="90" y="49"/>
                </a:cubicBezTo>
                <a:cubicBezTo>
                  <a:pt x="89" y="46"/>
                  <a:pt x="87" y="45"/>
                  <a:pt x="84" y="43"/>
                </a:cubicBezTo>
                <a:cubicBezTo>
                  <a:pt x="86" y="39"/>
                  <a:pt x="92" y="35"/>
                  <a:pt x="96" y="32"/>
                </a:cubicBezTo>
                <a:cubicBezTo>
                  <a:pt x="97" y="30"/>
                  <a:pt x="98" y="29"/>
                  <a:pt x="100" y="30"/>
                </a:cubicBezTo>
                <a:cubicBezTo>
                  <a:pt x="101" y="30"/>
                  <a:pt x="101" y="31"/>
                  <a:pt x="102" y="32"/>
                </a:cubicBezTo>
                <a:cubicBezTo>
                  <a:pt x="102" y="24"/>
                  <a:pt x="108" y="18"/>
                  <a:pt x="108" y="18"/>
                </a:cubicBezTo>
                <a:cubicBezTo>
                  <a:pt x="109" y="19"/>
                  <a:pt x="110" y="20"/>
                  <a:pt x="111" y="20"/>
                </a:cubicBezTo>
                <a:cubicBezTo>
                  <a:pt x="113" y="22"/>
                  <a:pt x="119" y="25"/>
                  <a:pt x="121" y="25"/>
                </a:cubicBezTo>
                <a:cubicBezTo>
                  <a:pt x="125" y="26"/>
                  <a:pt x="131" y="16"/>
                  <a:pt x="135" y="14"/>
                </a:cubicBezTo>
                <a:cubicBezTo>
                  <a:pt x="138" y="12"/>
                  <a:pt x="138" y="12"/>
                  <a:pt x="140" y="10"/>
                </a:cubicBezTo>
                <a:cubicBezTo>
                  <a:pt x="142" y="7"/>
                  <a:pt x="144" y="0"/>
                  <a:pt x="148" y="0"/>
                </a:cubicBezTo>
                <a:cubicBezTo>
                  <a:pt x="153" y="0"/>
                  <a:pt x="156" y="11"/>
                  <a:pt x="163" y="11"/>
                </a:cubicBezTo>
                <a:cubicBezTo>
                  <a:pt x="167" y="12"/>
                  <a:pt x="173" y="10"/>
                  <a:pt x="178" y="9"/>
                </a:cubicBezTo>
                <a:cubicBezTo>
                  <a:pt x="183" y="9"/>
                  <a:pt x="183" y="9"/>
                  <a:pt x="186" y="13"/>
                </a:cubicBezTo>
                <a:cubicBezTo>
                  <a:pt x="186" y="14"/>
                  <a:pt x="186" y="14"/>
                  <a:pt x="186" y="14"/>
                </a:cubicBezTo>
                <a:cubicBezTo>
                  <a:pt x="186" y="21"/>
                  <a:pt x="187" y="30"/>
                  <a:pt x="185" y="3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90" name="Freeform 524"/>
          <p:cNvSpPr>
            <a:spLocks/>
          </p:cNvSpPr>
          <p:nvPr userDrawn="1"/>
        </p:nvSpPr>
        <p:spPr bwMode="auto">
          <a:xfrm>
            <a:off x="5837402" y="3701426"/>
            <a:ext cx="80404" cy="58628"/>
          </a:xfrm>
          <a:custGeom>
            <a:avLst/>
            <a:gdLst>
              <a:gd name="T0" fmla="*/ 2147483646 w 85"/>
              <a:gd name="T1" fmla="*/ 2147483646 h 63"/>
              <a:gd name="T2" fmla="*/ 2147483646 w 85"/>
              <a:gd name="T3" fmla="*/ 2147483646 h 63"/>
              <a:gd name="T4" fmla="*/ 2147483646 w 85"/>
              <a:gd name="T5" fmla="*/ 2147483646 h 63"/>
              <a:gd name="T6" fmla="*/ 2147483646 w 85"/>
              <a:gd name="T7" fmla="*/ 2147483646 h 63"/>
              <a:gd name="T8" fmla="*/ 2147483646 w 85"/>
              <a:gd name="T9" fmla="*/ 2147483646 h 63"/>
              <a:gd name="T10" fmla="*/ 2147483646 w 85"/>
              <a:gd name="T11" fmla="*/ 2147483646 h 63"/>
              <a:gd name="T12" fmla="*/ 2147483646 w 85"/>
              <a:gd name="T13" fmla="*/ 2147483646 h 63"/>
              <a:gd name="T14" fmla="*/ 2147483646 w 85"/>
              <a:gd name="T15" fmla="*/ 2147483646 h 63"/>
              <a:gd name="T16" fmla="*/ 2147483646 w 85"/>
              <a:gd name="T17" fmla="*/ 0 h 63"/>
              <a:gd name="T18" fmla="*/ 2147483646 w 85"/>
              <a:gd name="T19" fmla="*/ 0 h 63"/>
              <a:gd name="T20" fmla="*/ 2147483646 w 85"/>
              <a:gd name="T21" fmla="*/ 2147483646 h 63"/>
              <a:gd name="T22" fmla="*/ 2147483646 w 85"/>
              <a:gd name="T23" fmla="*/ 2147483646 h 63"/>
              <a:gd name="T24" fmla="*/ 2147483646 w 85"/>
              <a:gd name="T25" fmla="*/ 2147483646 h 63"/>
              <a:gd name="T26" fmla="*/ 2147483646 w 85"/>
              <a:gd name="T27" fmla="*/ 2147483646 h 63"/>
              <a:gd name="T28" fmla="*/ 2147483646 w 85"/>
              <a:gd name="T29" fmla="*/ 2147483646 h 63"/>
              <a:gd name="T30" fmla="*/ 2147483646 w 85"/>
              <a:gd name="T31" fmla="*/ 2147483646 h 63"/>
              <a:gd name="T32" fmla="*/ 2147483646 w 85"/>
              <a:gd name="T33" fmla="*/ 2147483646 h 63"/>
              <a:gd name="T34" fmla="*/ 2147483646 w 85"/>
              <a:gd name="T35" fmla="*/ 2147483646 h 63"/>
              <a:gd name="T36" fmla="*/ 2147483646 w 85"/>
              <a:gd name="T37" fmla="*/ 2147483646 h 63"/>
              <a:gd name="T38" fmla="*/ 2147483646 w 85"/>
              <a:gd name="T39" fmla="*/ 2147483646 h 63"/>
              <a:gd name="T40" fmla="*/ 2147483646 w 85"/>
              <a:gd name="T41" fmla="*/ 2147483646 h 63"/>
              <a:gd name="T42" fmla="*/ 2147483646 w 85"/>
              <a:gd name="T43" fmla="*/ 2147483646 h 63"/>
              <a:gd name="T44" fmla="*/ 2147483646 w 85"/>
              <a:gd name="T45" fmla="*/ 2147483646 h 63"/>
              <a:gd name="T46" fmla="*/ 2147483646 w 85"/>
              <a:gd name="T47" fmla="*/ 2147483646 h 63"/>
              <a:gd name="T48" fmla="*/ 2147483646 w 85"/>
              <a:gd name="T49" fmla="*/ 2147483646 h 63"/>
              <a:gd name="T50" fmla="*/ 2147483646 w 85"/>
              <a:gd name="T51" fmla="*/ 2147483646 h 63"/>
              <a:gd name="T52" fmla="*/ 2147483646 w 85"/>
              <a:gd name="T53" fmla="*/ 2147483646 h 63"/>
              <a:gd name="T54" fmla="*/ 2147483646 w 85"/>
              <a:gd name="T55" fmla="*/ 2147483646 h 63"/>
              <a:gd name="T56" fmla="*/ 2147483646 w 85"/>
              <a:gd name="T57" fmla="*/ 2147483646 h 63"/>
              <a:gd name="T58" fmla="*/ 2147483646 w 85"/>
              <a:gd name="T59" fmla="*/ 2147483646 h 63"/>
              <a:gd name="T60" fmla="*/ 2147483646 w 85"/>
              <a:gd name="T61" fmla="*/ 2147483646 h 6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5"/>
              <a:gd name="T94" fmla="*/ 0 h 63"/>
              <a:gd name="T95" fmla="*/ 85 w 85"/>
              <a:gd name="T96" fmla="*/ 63 h 63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85" h="63">
                <a:moveTo>
                  <a:pt x="5" y="20"/>
                </a:moveTo>
                <a:cubicBezTo>
                  <a:pt x="12" y="20"/>
                  <a:pt x="19" y="25"/>
                  <a:pt x="26" y="24"/>
                </a:cubicBezTo>
                <a:cubicBezTo>
                  <a:pt x="30" y="23"/>
                  <a:pt x="33" y="18"/>
                  <a:pt x="36" y="16"/>
                </a:cubicBezTo>
                <a:cubicBezTo>
                  <a:pt x="39" y="13"/>
                  <a:pt x="40" y="13"/>
                  <a:pt x="44" y="14"/>
                </a:cubicBezTo>
                <a:cubicBezTo>
                  <a:pt x="47" y="14"/>
                  <a:pt x="51" y="14"/>
                  <a:pt x="54" y="15"/>
                </a:cubicBezTo>
                <a:cubicBezTo>
                  <a:pt x="55" y="14"/>
                  <a:pt x="56" y="12"/>
                  <a:pt x="58" y="11"/>
                </a:cubicBezTo>
                <a:cubicBezTo>
                  <a:pt x="59" y="13"/>
                  <a:pt x="61" y="16"/>
                  <a:pt x="64" y="15"/>
                </a:cubicBezTo>
                <a:cubicBezTo>
                  <a:pt x="68" y="13"/>
                  <a:pt x="66" y="8"/>
                  <a:pt x="67" y="5"/>
                </a:cubicBezTo>
                <a:cubicBezTo>
                  <a:pt x="67" y="3"/>
                  <a:pt x="68" y="1"/>
                  <a:pt x="69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73" y="5"/>
                  <a:pt x="76" y="11"/>
                  <a:pt x="80" y="15"/>
                </a:cubicBezTo>
                <a:cubicBezTo>
                  <a:pt x="85" y="18"/>
                  <a:pt x="85" y="18"/>
                  <a:pt x="85" y="18"/>
                </a:cubicBezTo>
                <a:cubicBezTo>
                  <a:pt x="81" y="20"/>
                  <a:pt x="77" y="22"/>
                  <a:pt x="74" y="23"/>
                </a:cubicBezTo>
                <a:cubicBezTo>
                  <a:pt x="71" y="24"/>
                  <a:pt x="69" y="26"/>
                  <a:pt x="67" y="27"/>
                </a:cubicBezTo>
                <a:cubicBezTo>
                  <a:pt x="65" y="28"/>
                  <a:pt x="59" y="30"/>
                  <a:pt x="58" y="31"/>
                </a:cubicBezTo>
                <a:cubicBezTo>
                  <a:pt x="56" y="35"/>
                  <a:pt x="63" y="40"/>
                  <a:pt x="63" y="44"/>
                </a:cubicBezTo>
                <a:cubicBezTo>
                  <a:pt x="62" y="47"/>
                  <a:pt x="56" y="48"/>
                  <a:pt x="54" y="49"/>
                </a:cubicBezTo>
                <a:cubicBezTo>
                  <a:pt x="53" y="53"/>
                  <a:pt x="53" y="57"/>
                  <a:pt x="55" y="61"/>
                </a:cubicBezTo>
                <a:cubicBezTo>
                  <a:pt x="46" y="61"/>
                  <a:pt x="38" y="62"/>
                  <a:pt x="32" y="54"/>
                </a:cubicBezTo>
                <a:cubicBezTo>
                  <a:pt x="29" y="56"/>
                  <a:pt x="30" y="61"/>
                  <a:pt x="28" y="62"/>
                </a:cubicBezTo>
                <a:cubicBezTo>
                  <a:pt x="27" y="63"/>
                  <a:pt x="23" y="62"/>
                  <a:pt x="22" y="62"/>
                </a:cubicBezTo>
                <a:cubicBezTo>
                  <a:pt x="18" y="62"/>
                  <a:pt x="5" y="58"/>
                  <a:pt x="4" y="60"/>
                </a:cubicBezTo>
                <a:cubicBezTo>
                  <a:pt x="4" y="58"/>
                  <a:pt x="4" y="58"/>
                  <a:pt x="4" y="58"/>
                </a:cubicBezTo>
                <a:cubicBezTo>
                  <a:pt x="5" y="57"/>
                  <a:pt x="6" y="55"/>
                  <a:pt x="6" y="52"/>
                </a:cubicBezTo>
                <a:cubicBezTo>
                  <a:pt x="7" y="49"/>
                  <a:pt x="7" y="48"/>
                  <a:pt x="6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4" y="45"/>
                  <a:pt x="2" y="42"/>
                  <a:pt x="3" y="40"/>
                </a:cubicBezTo>
                <a:cubicBezTo>
                  <a:pt x="3" y="38"/>
                  <a:pt x="6" y="37"/>
                  <a:pt x="6" y="35"/>
                </a:cubicBezTo>
                <a:cubicBezTo>
                  <a:pt x="0" y="34"/>
                  <a:pt x="2" y="27"/>
                  <a:pt x="3" y="24"/>
                </a:cubicBezTo>
                <a:cubicBezTo>
                  <a:pt x="4" y="22"/>
                  <a:pt x="5" y="21"/>
                  <a:pt x="4" y="21"/>
                </a:cubicBezTo>
                <a:lnTo>
                  <a:pt x="5" y="2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91" name="Freeform 525"/>
          <p:cNvSpPr>
            <a:spLocks/>
          </p:cNvSpPr>
          <p:nvPr userDrawn="1"/>
        </p:nvSpPr>
        <p:spPr bwMode="auto">
          <a:xfrm>
            <a:off x="5840751" y="3718176"/>
            <a:ext cx="139032" cy="125632"/>
          </a:xfrm>
          <a:custGeom>
            <a:avLst/>
            <a:gdLst>
              <a:gd name="T0" fmla="*/ 2147483646 w 148"/>
              <a:gd name="T1" fmla="*/ 2147483646 h 134"/>
              <a:gd name="T2" fmla="*/ 2147483646 w 148"/>
              <a:gd name="T3" fmla="*/ 2147483646 h 134"/>
              <a:gd name="T4" fmla="*/ 2147483646 w 148"/>
              <a:gd name="T5" fmla="*/ 2147483646 h 134"/>
              <a:gd name="T6" fmla="*/ 2147483646 w 148"/>
              <a:gd name="T7" fmla="*/ 2147483646 h 134"/>
              <a:gd name="T8" fmla="*/ 2147483646 w 148"/>
              <a:gd name="T9" fmla="*/ 2147483646 h 134"/>
              <a:gd name="T10" fmla="*/ 2147483646 w 148"/>
              <a:gd name="T11" fmla="*/ 2147483646 h 134"/>
              <a:gd name="T12" fmla="*/ 2147483646 w 148"/>
              <a:gd name="T13" fmla="*/ 2147483646 h 134"/>
              <a:gd name="T14" fmla="*/ 2147483646 w 148"/>
              <a:gd name="T15" fmla="*/ 2147483646 h 134"/>
              <a:gd name="T16" fmla="*/ 2147483646 w 148"/>
              <a:gd name="T17" fmla="*/ 2147483646 h 134"/>
              <a:gd name="T18" fmla="*/ 2147483646 w 148"/>
              <a:gd name="T19" fmla="*/ 2147483646 h 134"/>
              <a:gd name="T20" fmla="*/ 2147483646 w 148"/>
              <a:gd name="T21" fmla="*/ 2147483646 h 134"/>
              <a:gd name="T22" fmla="*/ 2147483646 w 148"/>
              <a:gd name="T23" fmla="*/ 2147483646 h 134"/>
              <a:gd name="T24" fmla="*/ 2147483646 w 148"/>
              <a:gd name="T25" fmla="*/ 2147483646 h 134"/>
              <a:gd name="T26" fmla="*/ 2147483646 w 148"/>
              <a:gd name="T27" fmla="*/ 2147483646 h 134"/>
              <a:gd name="T28" fmla="*/ 2147483646 w 148"/>
              <a:gd name="T29" fmla="*/ 2147483646 h 134"/>
              <a:gd name="T30" fmla="*/ 2147483646 w 148"/>
              <a:gd name="T31" fmla="*/ 2147483646 h 134"/>
              <a:gd name="T32" fmla="*/ 2147483646 w 148"/>
              <a:gd name="T33" fmla="*/ 2147483646 h 134"/>
              <a:gd name="T34" fmla="*/ 2147483646 w 148"/>
              <a:gd name="T35" fmla="*/ 2147483646 h 134"/>
              <a:gd name="T36" fmla="*/ 2147483646 w 148"/>
              <a:gd name="T37" fmla="*/ 2147483646 h 134"/>
              <a:gd name="T38" fmla="*/ 2147483646 w 148"/>
              <a:gd name="T39" fmla="*/ 2147483646 h 134"/>
              <a:gd name="T40" fmla="*/ 2147483646 w 148"/>
              <a:gd name="T41" fmla="*/ 2147483646 h 134"/>
              <a:gd name="T42" fmla="*/ 2147483646 w 148"/>
              <a:gd name="T43" fmla="*/ 2147483646 h 134"/>
              <a:gd name="T44" fmla="*/ 2147483646 w 148"/>
              <a:gd name="T45" fmla="*/ 0 h 134"/>
              <a:gd name="T46" fmla="*/ 2147483646 w 148"/>
              <a:gd name="T47" fmla="*/ 0 h 134"/>
              <a:gd name="T48" fmla="*/ 2147483646 w 148"/>
              <a:gd name="T49" fmla="*/ 2147483646 h 134"/>
              <a:gd name="T50" fmla="*/ 2147483646 w 148"/>
              <a:gd name="T51" fmla="*/ 2147483646 h 134"/>
              <a:gd name="T52" fmla="*/ 2147483646 w 148"/>
              <a:gd name="T53" fmla="*/ 2147483646 h 134"/>
              <a:gd name="T54" fmla="*/ 2147483646 w 148"/>
              <a:gd name="T55" fmla="*/ 2147483646 h 134"/>
              <a:gd name="T56" fmla="*/ 2147483646 w 148"/>
              <a:gd name="T57" fmla="*/ 2147483646 h 134"/>
              <a:gd name="T58" fmla="*/ 2147483646 w 148"/>
              <a:gd name="T59" fmla="*/ 2147483646 h 134"/>
              <a:gd name="T60" fmla="*/ 2147483646 w 148"/>
              <a:gd name="T61" fmla="*/ 2147483646 h 134"/>
              <a:gd name="T62" fmla="*/ 2147483646 w 148"/>
              <a:gd name="T63" fmla="*/ 2147483646 h 134"/>
              <a:gd name="T64" fmla="*/ 2147483646 w 148"/>
              <a:gd name="T65" fmla="*/ 2147483646 h 134"/>
              <a:gd name="T66" fmla="*/ 2147483646 w 148"/>
              <a:gd name="T67" fmla="*/ 2147483646 h 134"/>
              <a:gd name="T68" fmla="*/ 2147483646 w 148"/>
              <a:gd name="T69" fmla="*/ 2147483646 h 134"/>
              <a:gd name="T70" fmla="*/ 2147483646 w 148"/>
              <a:gd name="T71" fmla="*/ 2147483646 h 134"/>
              <a:gd name="T72" fmla="*/ 2147483646 w 148"/>
              <a:gd name="T73" fmla="*/ 2147483646 h 134"/>
              <a:gd name="T74" fmla="*/ 2147483646 w 148"/>
              <a:gd name="T75" fmla="*/ 2147483646 h 134"/>
              <a:gd name="T76" fmla="*/ 2147483646 w 148"/>
              <a:gd name="T77" fmla="*/ 2147483646 h 134"/>
              <a:gd name="T78" fmla="*/ 2147483646 w 148"/>
              <a:gd name="T79" fmla="*/ 2147483646 h 134"/>
              <a:gd name="T80" fmla="*/ 2147483646 w 148"/>
              <a:gd name="T81" fmla="*/ 2147483646 h 134"/>
              <a:gd name="T82" fmla="*/ 2147483646 w 148"/>
              <a:gd name="T83" fmla="*/ 2147483646 h 134"/>
              <a:gd name="T84" fmla="*/ 2147483646 w 148"/>
              <a:gd name="T85" fmla="*/ 2147483646 h 134"/>
              <a:gd name="T86" fmla="*/ 2147483646 w 148"/>
              <a:gd name="T87" fmla="*/ 2147483646 h 134"/>
              <a:gd name="T88" fmla="*/ 2147483646 w 148"/>
              <a:gd name="T89" fmla="*/ 2147483646 h 134"/>
              <a:gd name="T90" fmla="*/ 2147483646 w 148"/>
              <a:gd name="T91" fmla="*/ 2147483646 h 134"/>
              <a:gd name="T92" fmla="*/ 2147483646 w 148"/>
              <a:gd name="T93" fmla="*/ 2147483646 h 134"/>
              <a:gd name="T94" fmla="*/ 2147483646 w 148"/>
              <a:gd name="T95" fmla="*/ 2147483646 h 134"/>
              <a:gd name="T96" fmla="*/ 2147483646 w 148"/>
              <a:gd name="T97" fmla="*/ 2147483646 h 134"/>
              <a:gd name="T98" fmla="*/ 2147483646 w 148"/>
              <a:gd name="T99" fmla="*/ 2147483646 h 134"/>
              <a:gd name="T100" fmla="*/ 2147483646 w 148"/>
              <a:gd name="T101" fmla="*/ 2147483646 h 13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48"/>
              <a:gd name="T154" fmla="*/ 0 h 134"/>
              <a:gd name="T155" fmla="*/ 148 w 148"/>
              <a:gd name="T156" fmla="*/ 134 h 13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48" h="134">
                <a:moveTo>
                  <a:pt x="107" y="134"/>
                </a:moveTo>
                <a:cubicBezTo>
                  <a:pt x="109" y="129"/>
                  <a:pt x="105" y="127"/>
                  <a:pt x="101" y="122"/>
                </a:cubicBezTo>
                <a:cubicBezTo>
                  <a:pt x="95" y="115"/>
                  <a:pt x="92" y="106"/>
                  <a:pt x="84" y="100"/>
                </a:cubicBezTo>
                <a:cubicBezTo>
                  <a:pt x="81" y="99"/>
                  <a:pt x="78" y="98"/>
                  <a:pt x="77" y="95"/>
                </a:cubicBezTo>
                <a:cubicBezTo>
                  <a:pt x="75" y="92"/>
                  <a:pt x="77" y="88"/>
                  <a:pt x="75" y="84"/>
                </a:cubicBezTo>
                <a:cubicBezTo>
                  <a:pt x="72" y="75"/>
                  <a:pt x="55" y="70"/>
                  <a:pt x="58" y="60"/>
                </a:cubicBezTo>
                <a:cubicBezTo>
                  <a:pt x="59" y="57"/>
                  <a:pt x="61" y="52"/>
                  <a:pt x="63" y="52"/>
                </a:cubicBezTo>
                <a:cubicBezTo>
                  <a:pt x="64" y="52"/>
                  <a:pt x="68" y="55"/>
                  <a:pt x="69" y="55"/>
                </a:cubicBezTo>
                <a:cubicBezTo>
                  <a:pt x="76" y="56"/>
                  <a:pt x="83" y="53"/>
                  <a:pt x="89" y="52"/>
                </a:cubicBezTo>
                <a:cubicBezTo>
                  <a:pt x="96" y="52"/>
                  <a:pt x="97" y="55"/>
                  <a:pt x="102" y="59"/>
                </a:cubicBezTo>
                <a:cubicBezTo>
                  <a:pt x="109" y="62"/>
                  <a:pt x="112" y="57"/>
                  <a:pt x="118" y="56"/>
                </a:cubicBezTo>
                <a:cubicBezTo>
                  <a:pt x="124" y="56"/>
                  <a:pt x="128" y="61"/>
                  <a:pt x="132" y="65"/>
                </a:cubicBezTo>
                <a:cubicBezTo>
                  <a:pt x="139" y="71"/>
                  <a:pt x="138" y="62"/>
                  <a:pt x="145" y="61"/>
                </a:cubicBezTo>
                <a:cubicBezTo>
                  <a:pt x="146" y="57"/>
                  <a:pt x="148" y="52"/>
                  <a:pt x="148" y="48"/>
                </a:cubicBezTo>
                <a:cubicBezTo>
                  <a:pt x="146" y="48"/>
                  <a:pt x="143" y="48"/>
                  <a:pt x="141" y="48"/>
                </a:cubicBezTo>
                <a:cubicBezTo>
                  <a:pt x="141" y="45"/>
                  <a:pt x="142" y="38"/>
                  <a:pt x="138" y="37"/>
                </a:cubicBezTo>
                <a:cubicBezTo>
                  <a:pt x="139" y="35"/>
                  <a:pt x="141" y="32"/>
                  <a:pt x="141" y="30"/>
                </a:cubicBezTo>
                <a:cubicBezTo>
                  <a:pt x="142" y="28"/>
                  <a:pt x="139" y="24"/>
                  <a:pt x="138" y="23"/>
                </a:cubicBezTo>
                <a:cubicBezTo>
                  <a:pt x="138" y="22"/>
                  <a:pt x="138" y="22"/>
                  <a:pt x="138" y="22"/>
                </a:cubicBezTo>
                <a:cubicBezTo>
                  <a:pt x="134" y="24"/>
                  <a:pt x="129" y="25"/>
                  <a:pt x="125" y="25"/>
                </a:cubicBezTo>
                <a:cubicBezTo>
                  <a:pt x="121" y="25"/>
                  <a:pt x="114" y="16"/>
                  <a:pt x="111" y="25"/>
                </a:cubicBezTo>
                <a:cubicBezTo>
                  <a:pt x="102" y="20"/>
                  <a:pt x="95" y="13"/>
                  <a:pt x="88" y="6"/>
                </a:cubicBezTo>
                <a:cubicBezTo>
                  <a:pt x="86" y="3"/>
                  <a:pt x="84" y="2"/>
                  <a:pt x="81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77" y="1"/>
                  <a:pt x="74" y="3"/>
                  <a:pt x="70" y="4"/>
                </a:cubicBezTo>
                <a:cubicBezTo>
                  <a:pt x="68" y="5"/>
                  <a:pt x="66" y="7"/>
                  <a:pt x="64" y="8"/>
                </a:cubicBezTo>
                <a:cubicBezTo>
                  <a:pt x="62" y="9"/>
                  <a:pt x="56" y="11"/>
                  <a:pt x="55" y="12"/>
                </a:cubicBezTo>
                <a:cubicBezTo>
                  <a:pt x="53" y="16"/>
                  <a:pt x="60" y="21"/>
                  <a:pt x="60" y="25"/>
                </a:cubicBezTo>
                <a:cubicBezTo>
                  <a:pt x="59" y="28"/>
                  <a:pt x="53" y="29"/>
                  <a:pt x="51" y="30"/>
                </a:cubicBezTo>
                <a:cubicBezTo>
                  <a:pt x="50" y="34"/>
                  <a:pt x="50" y="38"/>
                  <a:pt x="52" y="42"/>
                </a:cubicBezTo>
                <a:cubicBezTo>
                  <a:pt x="42" y="42"/>
                  <a:pt x="35" y="43"/>
                  <a:pt x="29" y="35"/>
                </a:cubicBezTo>
                <a:cubicBezTo>
                  <a:pt x="26" y="37"/>
                  <a:pt x="27" y="42"/>
                  <a:pt x="25" y="43"/>
                </a:cubicBezTo>
                <a:cubicBezTo>
                  <a:pt x="24" y="44"/>
                  <a:pt x="20" y="43"/>
                  <a:pt x="19" y="43"/>
                </a:cubicBezTo>
                <a:cubicBezTo>
                  <a:pt x="15" y="43"/>
                  <a:pt x="2" y="39"/>
                  <a:pt x="1" y="41"/>
                </a:cubicBezTo>
                <a:cubicBezTo>
                  <a:pt x="1" y="42"/>
                  <a:pt x="1" y="42"/>
                  <a:pt x="1" y="42"/>
                </a:cubicBezTo>
                <a:cubicBezTo>
                  <a:pt x="0" y="46"/>
                  <a:pt x="0" y="48"/>
                  <a:pt x="2" y="49"/>
                </a:cubicBezTo>
                <a:cubicBezTo>
                  <a:pt x="4" y="52"/>
                  <a:pt x="2" y="54"/>
                  <a:pt x="6" y="60"/>
                </a:cubicBezTo>
                <a:cubicBezTo>
                  <a:pt x="10" y="66"/>
                  <a:pt x="11" y="71"/>
                  <a:pt x="15" y="64"/>
                </a:cubicBezTo>
                <a:cubicBezTo>
                  <a:pt x="18" y="58"/>
                  <a:pt x="18" y="57"/>
                  <a:pt x="20" y="51"/>
                </a:cubicBezTo>
                <a:cubicBezTo>
                  <a:pt x="22" y="45"/>
                  <a:pt x="22" y="44"/>
                  <a:pt x="26" y="49"/>
                </a:cubicBezTo>
                <a:cubicBezTo>
                  <a:pt x="31" y="54"/>
                  <a:pt x="37" y="57"/>
                  <a:pt x="38" y="61"/>
                </a:cubicBezTo>
                <a:cubicBezTo>
                  <a:pt x="40" y="65"/>
                  <a:pt x="34" y="59"/>
                  <a:pt x="36" y="66"/>
                </a:cubicBezTo>
                <a:cubicBezTo>
                  <a:pt x="39" y="74"/>
                  <a:pt x="44" y="79"/>
                  <a:pt x="46" y="81"/>
                </a:cubicBezTo>
                <a:cubicBezTo>
                  <a:pt x="48" y="84"/>
                  <a:pt x="54" y="88"/>
                  <a:pt x="47" y="87"/>
                </a:cubicBezTo>
                <a:cubicBezTo>
                  <a:pt x="40" y="87"/>
                  <a:pt x="38" y="87"/>
                  <a:pt x="44" y="92"/>
                </a:cubicBezTo>
                <a:cubicBezTo>
                  <a:pt x="51" y="98"/>
                  <a:pt x="55" y="101"/>
                  <a:pt x="59" y="105"/>
                </a:cubicBezTo>
                <a:cubicBezTo>
                  <a:pt x="63" y="110"/>
                  <a:pt x="62" y="111"/>
                  <a:pt x="66" y="114"/>
                </a:cubicBezTo>
                <a:cubicBezTo>
                  <a:pt x="70" y="117"/>
                  <a:pt x="73" y="116"/>
                  <a:pt x="78" y="116"/>
                </a:cubicBezTo>
                <a:cubicBezTo>
                  <a:pt x="82" y="117"/>
                  <a:pt x="80" y="111"/>
                  <a:pt x="86" y="118"/>
                </a:cubicBezTo>
                <a:cubicBezTo>
                  <a:pt x="91" y="125"/>
                  <a:pt x="92" y="128"/>
                  <a:pt x="97" y="130"/>
                </a:cubicBezTo>
                <a:cubicBezTo>
                  <a:pt x="101" y="133"/>
                  <a:pt x="102" y="129"/>
                  <a:pt x="107" y="13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92" name="Freeform 526"/>
          <p:cNvSpPr>
            <a:spLocks/>
          </p:cNvSpPr>
          <p:nvPr userDrawn="1"/>
        </p:nvSpPr>
        <p:spPr bwMode="auto">
          <a:xfrm>
            <a:off x="5892679" y="3766754"/>
            <a:ext cx="97156" cy="88780"/>
          </a:xfrm>
          <a:custGeom>
            <a:avLst/>
            <a:gdLst>
              <a:gd name="T0" fmla="*/ 2147483646 w 105"/>
              <a:gd name="T1" fmla="*/ 2147483646 h 95"/>
              <a:gd name="T2" fmla="*/ 2147483646 w 105"/>
              <a:gd name="T3" fmla="*/ 2147483646 h 95"/>
              <a:gd name="T4" fmla="*/ 2147483646 w 105"/>
              <a:gd name="T5" fmla="*/ 2147483646 h 95"/>
              <a:gd name="T6" fmla="*/ 2147483646 w 105"/>
              <a:gd name="T7" fmla="*/ 2147483646 h 95"/>
              <a:gd name="T8" fmla="*/ 2147483646 w 105"/>
              <a:gd name="T9" fmla="*/ 0 h 95"/>
              <a:gd name="T10" fmla="*/ 2147483646 w 105"/>
              <a:gd name="T11" fmla="*/ 2147483646 h 95"/>
              <a:gd name="T12" fmla="*/ 2147483646 w 105"/>
              <a:gd name="T13" fmla="*/ 0 h 95"/>
              <a:gd name="T14" fmla="*/ 2147483646 w 105"/>
              <a:gd name="T15" fmla="*/ 2147483646 h 95"/>
              <a:gd name="T16" fmla="*/ 2147483646 w 105"/>
              <a:gd name="T17" fmla="*/ 2147483646 h 95"/>
              <a:gd name="T18" fmla="*/ 2147483646 w 105"/>
              <a:gd name="T19" fmla="*/ 2147483646 h 95"/>
              <a:gd name="T20" fmla="*/ 2147483646 w 105"/>
              <a:gd name="T21" fmla="*/ 2147483646 h 95"/>
              <a:gd name="T22" fmla="*/ 2147483646 w 105"/>
              <a:gd name="T23" fmla="*/ 2147483646 h 95"/>
              <a:gd name="T24" fmla="*/ 2147483646 w 105"/>
              <a:gd name="T25" fmla="*/ 2147483646 h 95"/>
              <a:gd name="T26" fmla="*/ 2147483646 w 105"/>
              <a:gd name="T27" fmla="*/ 2147483646 h 95"/>
              <a:gd name="T28" fmla="*/ 2147483646 w 105"/>
              <a:gd name="T29" fmla="*/ 2147483646 h 95"/>
              <a:gd name="T30" fmla="*/ 2147483646 w 105"/>
              <a:gd name="T31" fmla="*/ 2147483646 h 95"/>
              <a:gd name="T32" fmla="*/ 2147483646 w 105"/>
              <a:gd name="T33" fmla="*/ 2147483646 h 95"/>
              <a:gd name="T34" fmla="*/ 2147483646 w 105"/>
              <a:gd name="T35" fmla="*/ 2147483646 h 95"/>
              <a:gd name="T36" fmla="*/ 2147483646 w 105"/>
              <a:gd name="T37" fmla="*/ 2147483646 h 95"/>
              <a:gd name="T38" fmla="*/ 2147483646 w 105"/>
              <a:gd name="T39" fmla="*/ 2147483646 h 95"/>
              <a:gd name="T40" fmla="*/ 2147483646 w 105"/>
              <a:gd name="T41" fmla="*/ 2147483646 h 95"/>
              <a:gd name="T42" fmla="*/ 2147483646 w 105"/>
              <a:gd name="T43" fmla="*/ 2147483646 h 95"/>
              <a:gd name="T44" fmla="*/ 2147483646 w 105"/>
              <a:gd name="T45" fmla="*/ 2147483646 h 95"/>
              <a:gd name="T46" fmla="*/ 2147483646 w 105"/>
              <a:gd name="T47" fmla="*/ 2147483646 h 95"/>
              <a:gd name="T48" fmla="*/ 2147483646 w 105"/>
              <a:gd name="T49" fmla="*/ 2147483646 h 95"/>
              <a:gd name="T50" fmla="*/ 2147483646 w 105"/>
              <a:gd name="T51" fmla="*/ 2147483646 h 95"/>
              <a:gd name="T52" fmla="*/ 2147483646 w 105"/>
              <a:gd name="T53" fmla="*/ 2147483646 h 9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05"/>
              <a:gd name="T82" fmla="*/ 0 h 95"/>
              <a:gd name="T83" fmla="*/ 105 w 105"/>
              <a:gd name="T84" fmla="*/ 95 h 95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05" h="95">
                <a:moveTo>
                  <a:pt x="90" y="9"/>
                </a:moveTo>
                <a:cubicBezTo>
                  <a:pt x="83" y="10"/>
                  <a:pt x="84" y="19"/>
                  <a:pt x="77" y="13"/>
                </a:cubicBezTo>
                <a:cubicBezTo>
                  <a:pt x="73" y="9"/>
                  <a:pt x="69" y="4"/>
                  <a:pt x="63" y="4"/>
                </a:cubicBezTo>
                <a:cubicBezTo>
                  <a:pt x="57" y="5"/>
                  <a:pt x="54" y="10"/>
                  <a:pt x="47" y="7"/>
                </a:cubicBezTo>
                <a:cubicBezTo>
                  <a:pt x="42" y="3"/>
                  <a:pt x="41" y="0"/>
                  <a:pt x="34" y="0"/>
                </a:cubicBezTo>
                <a:cubicBezTo>
                  <a:pt x="28" y="1"/>
                  <a:pt x="21" y="4"/>
                  <a:pt x="14" y="3"/>
                </a:cubicBezTo>
                <a:cubicBezTo>
                  <a:pt x="13" y="3"/>
                  <a:pt x="9" y="0"/>
                  <a:pt x="8" y="0"/>
                </a:cubicBezTo>
                <a:cubicBezTo>
                  <a:pt x="6" y="0"/>
                  <a:pt x="4" y="5"/>
                  <a:pt x="3" y="8"/>
                </a:cubicBezTo>
                <a:cubicBezTo>
                  <a:pt x="0" y="18"/>
                  <a:pt x="17" y="23"/>
                  <a:pt x="20" y="32"/>
                </a:cubicBezTo>
                <a:cubicBezTo>
                  <a:pt x="22" y="36"/>
                  <a:pt x="20" y="40"/>
                  <a:pt x="22" y="43"/>
                </a:cubicBezTo>
                <a:cubicBezTo>
                  <a:pt x="23" y="46"/>
                  <a:pt x="26" y="47"/>
                  <a:pt x="29" y="48"/>
                </a:cubicBezTo>
                <a:cubicBezTo>
                  <a:pt x="37" y="54"/>
                  <a:pt x="40" y="63"/>
                  <a:pt x="46" y="70"/>
                </a:cubicBezTo>
                <a:cubicBezTo>
                  <a:pt x="50" y="75"/>
                  <a:pt x="54" y="77"/>
                  <a:pt x="52" y="82"/>
                </a:cubicBezTo>
                <a:cubicBezTo>
                  <a:pt x="53" y="82"/>
                  <a:pt x="53" y="82"/>
                  <a:pt x="53" y="82"/>
                </a:cubicBezTo>
                <a:cubicBezTo>
                  <a:pt x="55" y="82"/>
                  <a:pt x="55" y="82"/>
                  <a:pt x="55" y="82"/>
                </a:cubicBezTo>
                <a:cubicBezTo>
                  <a:pt x="64" y="82"/>
                  <a:pt x="69" y="91"/>
                  <a:pt x="74" y="95"/>
                </a:cubicBezTo>
                <a:cubicBezTo>
                  <a:pt x="75" y="86"/>
                  <a:pt x="80" y="78"/>
                  <a:pt x="81" y="70"/>
                </a:cubicBezTo>
                <a:cubicBezTo>
                  <a:pt x="83" y="70"/>
                  <a:pt x="86" y="70"/>
                  <a:pt x="87" y="69"/>
                </a:cubicBezTo>
                <a:cubicBezTo>
                  <a:pt x="89" y="68"/>
                  <a:pt x="87" y="67"/>
                  <a:pt x="88" y="65"/>
                </a:cubicBezTo>
                <a:cubicBezTo>
                  <a:pt x="90" y="63"/>
                  <a:pt x="90" y="63"/>
                  <a:pt x="91" y="62"/>
                </a:cubicBezTo>
                <a:cubicBezTo>
                  <a:pt x="93" y="61"/>
                  <a:pt x="98" y="60"/>
                  <a:pt x="99" y="58"/>
                </a:cubicBezTo>
                <a:cubicBezTo>
                  <a:pt x="101" y="53"/>
                  <a:pt x="93" y="50"/>
                  <a:pt x="93" y="45"/>
                </a:cubicBezTo>
                <a:cubicBezTo>
                  <a:pt x="94" y="40"/>
                  <a:pt x="103" y="42"/>
                  <a:pt x="105" y="39"/>
                </a:cubicBezTo>
                <a:cubicBezTo>
                  <a:pt x="102" y="36"/>
                  <a:pt x="96" y="34"/>
                  <a:pt x="94" y="29"/>
                </a:cubicBezTo>
                <a:cubicBezTo>
                  <a:pt x="92" y="25"/>
                  <a:pt x="94" y="24"/>
                  <a:pt x="95" y="20"/>
                </a:cubicBezTo>
                <a:cubicBezTo>
                  <a:pt x="96" y="13"/>
                  <a:pt x="95" y="12"/>
                  <a:pt x="90" y="10"/>
                </a:cubicBezTo>
                <a:lnTo>
                  <a:pt x="90" y="9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93" name="Freeform 527"/>
          <p:cNvSpPr>
            <a:spLocks/>
          </p:cNvSpPr>
          <p:nvPr userDrawn="1"/>
        </p:nvSpPr>
        <p:spPr bwMode="auto">
          <a:xfrm>
            <a:off x="5974759" y="3850509"/>
            <a:ext cx="43552" cy="100505"/>
          </a:xfrm>
          <a:custGeom>
            <a:avLst/>
            <a:gdLst>
              <a:gd name="T0" fmla="*/ 2147483646 w 48"/>
              <a:gd name="T1" fmla="*/ 2147483646 h 107"/>
              <a:gd name="T2" fmla="*/ 2147483646 w 48"/>
              <a:gd name="T3" fmla="*/ 2147483646 h 107"/>
              <a:gd name="T4" fmla="*/ 2147483646 w 48"/>
              <a:gd name="T5" fmla="*/ 2147483646 h 107"/>
              <a:gd name="T6" fmla="*/ 2147483646 w 48"/>
              <a:gd name="T7" fmla="*/ 2147483646 h 107"/>
              <a:gd name="T8" fmla="*/ 2147483646 w 48"/>
              <a:gd name="T9" fmla="*/ 2147483646 h 107"/>
              <a:gd name="T10" fmla="*/ 2147483646 w 48"/>
              <a:gd name="T11" fmla="*/ 2147483646 h 107"/>
              <a:gd name="T12" fmla="*/ 2147483646 w 48"/>
              <a:gd name="T13" fmla="*/ 2147483646 h 107"/>
              <a:gd name="T14" fmla="*/ 2147483646 w 48"/>
              <a:gd name="T15" fmla="*/ 2147483646 h 107"/>
              <a:gd name="T16" fmla="*/ 2147483646 w 48"/>
              <a:gd name="T17" fmla="*/ 2147483646 h 107"/>
              <a:gd name="T18" fmla="*/ 2147483646 w 48"/>
              <a:gd name="T19" fmla="*/ 2147483646 h 107"/>
              <a:gd name="T20" fmla="*/ 2147483646 w 48"/>
              <a:gd name="T21" fmla="*/ 2147483646 h 107"/>
              <a:gd name="T22" fmla="*/ 2147483646 w 48"/>
              <a:gd name="T23" fmla="*/ 2147483646 h 107"/>
              <a:gd name="T24" fmla="*/ 2147483646 w 48"/>
              <a:gd name="T25" fmla="*/ 2147483646 h 107"/>
              <a:gd name="T26" fmla="*/ 2147483646 w 48"/>
              <a:gd name="T27" fmla="*/ 2147483646 h 107"/>
              <a:gd name="T28" fmla="*/ 2147483646 w 48"/>
              <a:gd name="T29" fmla="*/ 2147483646 h 107"/>
              <a:gd name="T30" fmla="*/ 2147483646 w 48"/>
              <a:gd name="T31" fmla="*/ 2147483646 h 107"/>
              <a:gd name="T32" fmla="*/ 2147483646 w 48"/>
              <a:gd name="T33" fmla="*/ 2147483646 h 107"/>
              <a:gd name="T34" fmla="*/ 2147483646 w 48"/>
              <a:gd name="T35" fmla="*/ 2147483646 h 107"/>
              <a:gd name="T36" fmla="*/ 2147483646 w 48"/>
              <a:gd name="T37" fmla="*/ 2147483646 h 10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48"/>
              <a:gd name="T58" fmla="*/ 0 h 107"/>
              <a:gd name="T59" fmla="*/ 48 w 48"/>
              <a:gd name="T60" fmla="*/ 107 h 10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48" h="107">
                <a:moveTo>
                  <a:pt x="44" y="68"/>
                </a:moveTo>
                <a:cubicBezTo>
                  <a:pt x="44" y="77"/>
                  <a:pt x="48" y="85"/>
                  <a:pt x="42" y="93"/>
                </a:cubicBezTo>
                <a:cubicBezTo>
                  <a:pt x="39" y="96"/>
                  <a:pt x="38" y="99"/>
                  <a:pt x="35" y="102"/>
                </a:cubicBezTo>
                <a:cubicBezTo>
                  <a:pt x="33" y="103"/>
                  <a:pt x="31" y="105"/>
                  <a:pt x="29" y="107"/>
                </a:cubicBezTo>
                <a:cubicBezTo>
                  <a:pt x="28" y="107"/>
                  <a:pt x="28" y="107"/>
                  <a:pt x="28" y="107"/>
                </a:cubicBezTo>
                <a:cubicBezTo>
                  <a:pt x="28" y="105"/>
                  <a:pt x="26" y="106"/>
                  <a:pt x="24" y="105"/>
                </a:cubicBezTo>
                <a:cubicBezTo>
                  <a:pt x="20" y="102"/>
                  <a:pt x="20" y="98"/>
                  <a:pt x="10" y="86"/>
                </a:cubicBezTo>
                <a:cubicBezTo>
                  <a:pt x="0" y="74"/>
                  <a:pt x="12" y="83"/>
                  <a:pt x="9" y="79"/>
                </a:cubicBezTo>
                <a:cubicBezTo>
                  <a:pt x="5" y="76"/>
                  <a:pt x="7" y="72"/>
                  <a:pt x="12" y="66"/>
                </a:cubicBezTo>
                <a:cubicBezTo>
                  <a:pt x="16" y="60"/>
                  <a:pt x="13" y="61"/>
                  <a:pt x="9" y="58"/>
                </a:cubicBezTo>
                <a:cubicBezTo>
                  <a:pt x="5" y="56"/>
                  <a:pt x="9" y="46"/>
                  <a:pt x="13" y="41"/>
                </a:cubicBezTo>
                <a:cubicBezTo>
                  <a:pt x="17" y="37"/>
                  <a:pt x="12" y="38"/>
                  <a:pt x="9" y="36"/>
                </a:cubicBezTo>
                <a:cubicBezTo>
                  <a:pt x="8" y="35"/>
                  <a:pt x="7" y="34"/>
                  <a:pt x="7" y="34"/>
                </a:cubicBezTo>
                <a:cubicBezTo>
                  <a:pt x="7" y="33"/>
                  <a:pt x="7" y="33"/>
                  <a:pt x="7" y="33"/>
                </a:cubicBezTo>
                <a:cubicBezTo>
                  <a:pt x="7" y="26"/>
                  <a:pt x="8" y="20"/>
                  <a:pt x="8" y="13"/>
                </a:cubicBezTo>
                <a:cubicBezTo>
                  <a:pt x="8" y="5"/>
                  <a:pt x="10" y="5"/>
                  <a:pt x="18" y="3"/>
                </a:cubicBezTo>
                <a:cubicBezTo>
                  <a:pt x="29" y="0"/>
                  <a:pt x="34" y="9"/>
                  <a:pt x="41" y="17"/>
                </a:cubicBezTo>
                <a:cubicBezTo>
                  <a:pt x="35" y="28"/>
                  <a:pt x="43" y="36"/>
                  <a:pt x="45" y="46"/>
                </a:cubicBezTo>
                <a:cubicBezTo>
                  <a:pt x="46" y="52"/>
                  <a:pt x="47" y="64"/>
                  <a:pt x="44" y="6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94" name="Freeform 528"/>
          <p:cNvSpPr>
            <a:spLocks/>
          </p:cNvSpPr>
          <p:nvPr userDrawn="1"/>
        </p:nvSpPr>
        <p:spPr bwMode="auto">
          <a:xfrm>
            <a:off x="6001560" y="3838783"/>
            <a:ext cx="73704" cy="77055"/>
          </a:xfrm>
          <a:custGeom>
            <a:avLst/>
            <a:gdLst>
              <a:gd name="T0" fmla="*/ 2147483646 w 79"/>
              <a:gd name="T1" fmla="*/ 2147483646 h 83"/>
              <a:gd name="T2" fmla="*/ 2147483646 w 79"/>
              <a:gd name="T3" fmla="*/ 2147483646 h 83"/>
              <a:gd name="T4" fmla="*/ 2147483646 w 79"/>
              <a:gd name="T5" fmla="*/ 2147483646 h 83"/>
              <a:gd name="T6" fmla="*/ 2147483646 w 79"/>
              <a:gd name="T7" fmla="*/ 2147483646 h 83"/>
              <a:gd name="T8" fmla="*/ 2147483646 w 79"/>
              <a:gd name="T9" fmla="*/ 2147483646 h 83"/>
              <a:gd name="T10" fmla="*/ 2147483646 w 79"/>
              <a:gd name="T11" fmla="*/ 2147483646 h 83"/>
              <a:gd name="T12" fmla="*/ 2147483646 w 79"/>
              <a:gd name="T13" fmla="*/ 2147483646 h 83"/>
              <a:gd name="T14" fmla="*/ 2147483646 w 79"/>
              <a:gd name="T15" fmla="*/ 2147483646 h 83"/>
              <a:gd name="T16" fmla="*/ 2147483646 w 79"/>
              <a:gd name="T17" fmla="*/ 2147483646 h 83"/>
              <a:gd name="T18" fmla="*/ 2147483646 w 79"/>
              <a:gd name="T19" fmla="*/ 2147483646 h 83"/>
              <a:gd name="T20" fmla="*/ 2147483646 w 79"/>
              <a:gd name="T21" fmla="*/ 2147483646 h 83"/>
              <a:gd name="T22" fmla="*/ 2147483646 w 79"/>
              <a:gd name="T23" fmla="*/ 2147483646 h 83"/>
              <a:gd name="T24" fmla="*/ 0 w 79"/>
              <a:gd name="T25" fmla="*/ 2147483646 h 83"/>
              <a:gd name="T26" fmla="*/ 0 w 79"/>
              <a:gd name="T27" fmla="*/ 2147483646 h 83"/>
              <a:gd name="T28" fmla="*/ 2147483646 w 79"/>
              <a:gd name="T29" fmla="*/ 2147483646 h 83"/>
              <a:gd name="T30" fmla="*/ 2147483646 w 79"/>
              <a:gd name="T31" fmla="*/ 2147483646 h 83"/>
              <a:gd name="T32" fmla="*/ 2147483646 w 79"/>
              <a:gd name="T33" fmla="*/ 2147483646 h 8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79"/>
              <a:gd name="T52" fmla="*/ 0 h 83"/>
              <a:gd name="T53" fmla="*/ 79 w 79"/>
              <a:gd name="T54" fmla="*/ 83 h 8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79" h="83">
                <a:moveTo>
                  <a:pt x="14" y="82"/>
                </a:moveTo>
                <a:cubicBezTo>
                  <a:pt x="22" y="80"/>
                  <a:pt x="31" y="78"/>
                  <a:pt x="38" y="83"/>
                </a:cubicBezTo>
                <a:cubicBezTo>
                  <a:pt x="41" y="79"/>
                  <a:pt x="42" y="73"/>
                  <a:pt x="46" y="72"/>
                </a:cubicBezTo>
                <a:cubicBezTo>
                  <a:pt x="48" y="71"/>
                  <a:pt x="52" y="72"/>
                  <a:pt x="54" y="72"/>
                </a:cubicBezTo>
                <a:cubicBezTo>
                  <a:pt x="58" y="71"/>
                  <a:pt x="62" y="69"/>
                  <a:pt x="65" y="68"/>
                </a:cubicBezTo>
                <a:cubicBezTo>
                  <a:pt x="69" y="66"/>
                  <a:pt x="73" y="63"/>
                  <a:pt x="75" y="58"/>
                </a:cubicBezTo>
                <a:cubicBezTo>
                  <a:pt x="79" y="51"/>
                  <a:pt x="67" y="39"/>
                  <a:pt x="63" y="32"/>
                </a:cubicBezTo>
                <a:cubicBezTo>
                  <a:pt x="61" y="28"/>
                  <a:pt x="57" y="25"/>
                  <a:pt x="58" y="21"/>
                </a:cubicBezTo>
                <a:cubicBezTo>
                  <a:pt x="57" y="22"/>
                  <a:pt x="57" y="22"/>
                  <a:pt x="57" y="22"/>
                </a:cubicBezTo>
                <a:cubicBezTo>
                  <a:pt x="51" y="25"/>
                  <a:pt x="44" y="32"/>
                  <a:pt x="38" y="28"/>
                </a:cubicBezTo>
                <a:cubicBezTo>
                  <a:pt x="30" y="23"/>
                  <a:pt x="25" y="10"/>
                  <a:pt x="18" y="3"/>
                </a:cubicBezTo>
                <a:cubicBezTo>
                  <a:pt x="14" y="0"/>
                  <a:pt x="7" y="1"/>
                  <a:pt x="4" y="6"/>
                </a:cubicBezTo>
                <a:cubicBezTo>
                  <a:pt x="2" y="9"/>
                  <a:pt x="1" y="15"/>
                  <a:pt x="0" y="19"/>
                </a:cubicBezTo>
                <a:cubicBezTo>
                  <a:pt x="0" y="19"/>
                  <a:pt x="0" y="19"/>
                  <a:pt x="0" y="19"/>
                </a:cubicBezTo>
                <a:cubicBezTo>
                  <a:pt x="4" y="22"/>
                  <a:pt x="7" y="26"/>
                  <a:pt x="11" y="31"/>
                </a:cubicBezTo>
                <a:cubicBezTo>
                  <a:pt x="5" y="42"/>
                  <a:pt x="13" y="49"/>
                  <a:pt x="15" y="60"/>
                </a:cubicBezTo>
                <a:cubicBezTo>
                  <a:pt x="16" y="66"/>
                  <a:pt x="17" y="78"/>
                  <a:pt x="14" y="8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95" name="Freeform 530"/>
          <p:cNvSpPr>
            <a:spLocks/>
          </p:cNvSpPr>
          <p:nvPr userDrawn="1"/>
        </p:nvSpPr>
        <p:spPr bwMode="auto">
          <a:xfrm>
            <a:off x="6055163" y="3801931"/>
            <a:ext cx="150759" cy="97156"/>
          </a:xfrm>
          <a:custGeom>
            <a:avLst/>
            <a:gdLst>
              <a:gd name="T0" fmla="*/ 2147483646 w 162"/>
              <a:gd name="T1" fmla="*/ 2147483646 h 103"/>
              <a:gd name="T2" fmla="*/ 2147483646 w 162"/>
              <a:gd name="T3" fmla="*/ 2147483646 h 103"/>
              <a:gd name="T4" fmla="*/ 2147483646 w 162"/>
              <a:gd name="T5" fmla="*/ 2147483646 h 103"/>
              <a:gd name="T6" fmla="*/ 2147483646 w 162"/>
              <a:gd name="T7" fmla="*/ 2147483646 h 103"/>
              <a:gd name="T8" fmla="*/ 2147483646 w 162"/>
              <a:gd name="T9" fmla="*/ 2147483646 h 103"/>
              <a:gd name="T10" fmla="*/ 2147483646 w 162"/>
              <a:gd name="T11" fmla="*/ 2147483646 h 103"/>
              <a:gd name="T12" fmla="*/ 2147483646 w 162"/>
              <a:gd name="T13" fmla="*/ 2147483646 h 103"/>
              <a:gd name="T14" fmla="*/ 2147483646 w 162"/>
              <a:gd name="T15" fmla="*/ 2147483646 h 103"/>
              <a:gd name="T16" fmla="*/ 2147483646 w 162"/>
              <a:gd name="T17" fmla="*/ 2147483646 h 103"/>
              <a:gd name="T18" fmla="*/ 2147483646 w 162"/>
              <a:gd name="T19" fmla="*/ 2147483646 h 103"/>
              <a:gd name="T20" fmla="*/ 2147483646 w 162"/>
              <a:gd name="T21" fmla="*/ 2147483646 h 103"/>
              <a:gd name="T22" fmla="*/ 2147483646 w 162"/>
              <a:gd name="T23" fmla="*/ 2147483646 h 103"/>
              <a:gd name="T24" fmla="*/ 2147483646 w 162"/>
              <a:gd name="T25" fmla="*/ 2147483646 h 103"/>
              <a:gd name="T26" fmla="*/ 2147483646 w 162"/>
              <a:gd name="T27" fmla="*/ 2147483646 h 103"/>
              <a:gd name="T28" fmla="*/ 2147483646 w 162"/>
              <a:gd name="T29" fmla="*/ 2147483646 h 103"/>
              <a:gd name="T30" fmla="*/ 2147483646 w 162"/>
              <a:gd name="T31" fmla="*/ 2147483646 h 103"/>
              <a:gd name="T32" fmla="*/ 2147483646 w 162"/>
              <a:gd name="T33" fmla="*/ 2147483646 h 103"/>
              <a:gd name="T34" fmla="*/ 2147483646 w 162"/>
              <a:gd name="T35" fmla="*/ 2147483646 h 103"/>
              <a:gd name="T36" fmla="*/ 2147483646 w 162"/>
              <a:gd name="T37" fmla="*/ 2147483646 h 103"/>
              <a:gd name="T38" fmla="*/ 2147483646 w 162"/>
              <a:gd name="T39" fmla="*/ 2147483646 h 103"/>
              <a:gd name="T40" fmla="*/ 2147483646 w 162"/>
              <a:gd name="T41" fmla="*/ 2147483646 h 103"/>
              <a:gd name="T42" fmla="*/ 2147483646 w 162"/>
              <a:gd name="T43" fmla="*/ 2147483646 h 103"/>
              <a:gd name="T44" fmla="*/ 2147483646 w 162"/>
              <a:gd name="T45" fmla="*/ 2147483646 h 103"/>
              <a:gd name="T46" fmla="*/ 2147483646 w 162"/>
              <a:gd name="T47" fmla="*/ 2147483646 h 103"/>
              <a:gd name="T48" fmla="*/ 2147483646 w 162"/>
              <a:gd name="T49" fmla="*/ 2147483646 h 103"/>
              <a:gd name="T50" fmla="*/ 2147483646 w 162"/>
              <a:gd name="T51" fmla="*/ 2147483646 h 103"/>
              <a:gd name="T52" fmla="*/ 2147483646 w 162"/>
              <a:gd name="T53" fmla="*/ 2147483646 h 103"/>
              <a:gd name="T54" fmla="*/ 2147483646 w 162"/>
              <a:gd name="T55" fmla="*/ 2147483646 h 103"/>
              <a:gd name="T56" fmla="*/ 2147483646 w 162"/>
              <a:gd name="T57" fmla="*/ 2147483646 h 103"/>
              <a:gd name="T58" fmla="*/ 2147483646 w 162"/>
              <a:gd name="T59" fmla="*/ 2147483646 h 103"/>
              <a:gd name="T60" fmla="*/ 2147483646 w 162"/>
              <a:gd name="T61" fmla="*/ 2147483646 h 10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62"/>
              <a:gd name="T94" fmla="*/ 0 h 103"/>
              <a:gd name="T95" fmla="*/ 162 w 162"/>
              <a:gd name="T96" fmla="*/ 103 h 103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62" h="103">
                <a:moveTo>
                  <a:pt x="19" y="98"/>
                </a:moveTo>
                <a:cubicBezTo>
                  <a:pt x="26" y="100"/>
                  <a:pt x="38" y="92"/>
                  <a:pt x="45" y="94"/>
                </a:cubicBezTo>
                <a:cubicBezTo>
                  <a:pt x="50" y="95"/>
                  <a:pt x="52" y="98"/>
                  <a:pt x="56" y="100"/>
                </a:cubicBezTo>
                <a:cubicBezTo>
                  <a:pt x="61" y="103"/>
                  <a:pt x="68" y="102"/>
                  <a:pt x="74" y="102"/>
                </a:cubicBezTo>
                <a:cubicBezTo>
                  <a:pt x="82" y="103"/>
                  <a:pt x="81" y="103"/>
                  <a:pt x="88" y="97"/>
                </a:cubicBezTo>
                <a:cubicBezTo>
                  <a:pt x="94" y="91"/>
                  <a:pt x="101" y="81"/>
                  <a:pt x="108" y="78"/>
                </a:cubicBezTo>
                <a:cubicBezTo>
                  <a:pt x="117" y="74"/>
                  <a:pt x="130" y="81"/>
                  <a:pt x="140" y="80"/>
                </a:cubicBezTo>
                <a:cubicBezTo>
                  <a:pt x="141" y="79"/>
                  <a:pt x="141" y="79"/>
                  <a:pt x="141" y="79"/>
                </a:cubicBezTo>
                <a:cubicBezTo>
                  <a:pt x="141" y="74"/>
                  <a:pt x="139" y="65"/>
                  <a:pt x="134" y="63"/>
                </a:cubicBezTo>
                <a:cubicBezTo>
                  <a:pt x="129" y="61"/>
                  <a:pt x="135" y="56"/>
                  <a:pt x="141" y="52"/>
                </a:cubicBezTo>
                <a:cubicBezTo>
                  <a:pt x="146" y="48"/>
                  <a:pt x="148" y="42"/>
                  <a:pt x="152" y="35"/>
                </a:cubicBezTo>
                <a:cubicBezTo>
                  <a:pt x="156" y="29"/>
                  <a:pt x="161" y="35"/>
                  <a:pt x="162" y="23"/>
                </a:cubicBezTo>
                <a:cubicBezTo>
                  <a:pt x="162" y="21"/>
                  <a:pt x="162" y="21"/>
                  <a:pt x="162" y="21"/>
                </a:cubicBezTo>
                <a:cubicBezTo>
                  <a:pt x="160" y="15"/>
                  <a:pt x="157" y="15"/>
                  <a:pt x="151" y="13"/>
                </a:cubicBezTo>
                <a:cubicBezTo>
                  <a:pt x="147" y="11"/>
                  <a:pt x="142" y="9"/>
                  <a:pt x="138" y="7"/>
                </a:cubicBezTo>
                <a:cubicBezTo>
                  <a:pt x="133" y="5"/>
                  <a:pt x="129" y="1"/>
                  <a:pt x="124" y="1"/>
                </a:cubicBezTo>
                <a:cubicBezTo>
                  <a:pt x="117" y="0"/>
                  <a:pt x="108" y="6"/>
                  <a:pt x="101" y="7"/>
                </a:cubicBezTo>
                <a:cubicBezTo>
                  <a:pt x="97" y="8"/>
                  <a:pt x="94" y="9"/>
                  <a:pt x="90" y="11"/>
                </a:cubicBezTo>
                <a:cubicBezTo>
                  <a:pt x="87" y="14"/>
                  <a:pt x="84" y="19"/>
                  <a:pt x="79" y="19"/>
                </a:cubicBezTo>
                <a:cubicBezTo>
                  <a:pt x="76" y="19"/>
                  <a:pt x="75" y="16"/>
                  <a:pt x="72" y="15"/>
                </a:cubicBezTo>
                <a:cubicBezTo>
                  <a:pt x="69" y="15"/>
                  <a:pt x="66" y="16"/>
                  <a:pt x="64" y="17"/>
                </a:cubicBezTo>
                <a:cubicBezTo>
                  <a:pt x="56" y="18"/>
                  <a:pt x="49" y="17"/>
                  <a:pt x="43" y="14"/>
                </a:cubicBezTo>
                <a:cubicBezTo>
                  <a:pt x="36" y="11"/>
                  <a:pt x="29" y="13"/>
                  <a:pt x="23" y="10"/>
                </a:cubicBezTo>
                <a:cubicBezTo>
                  <a:pt x="16" y="6"/>
                  <a:pt x="10" y="4"/>
                  <a:pt x="2" y="4"/>
                </a:cubicBezTo>
                <a:cubicBezTo>
                  <a:pt x="2" y="6"/>
                  <a:pt x="2" y="6"/>
                  <a:pt x="2" y="6"/>
                </a:cubicBezTo>
                <a:cubicBezTo>
                  <a:pt x="6" y="13"/>
                  <a:pt x="7" y="21"/>
                  <a:pt x="10" y="29"/>
                </a:cubicBezTo>
                <a:cubicBezTo>
                  <a:pt x="11" y="33"/>
                  <a:pt x="14" y="37"/>
                  <a:pt x="13" y="41"/>
                </a:cubicBezTo>
                <a:cubicBezTo>
                  <a:pt x="10" y="47"/>
                  <a:pt x="3" y="52"/>
                  <a:pt x="1" y="59"/>
                </a:cubicBezTo>
                <a:cubicBezTo>
                  <a:pt x="0" y="63"/>
                  <a:pt x="4" y="66"/>
                  <a:pt x="6" y="70"/>
                </a:cubicBezTo>
                <a:cubicBezTo>
                  <a:pt x="10" y="77"/>
                  <a:pt x="22" y="89"/>
                  <a:pt x="18" y="96"/>
                </a:cubicBezTo>
                <a:lnTo>
                  <a:pt x="19" y="9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96" name="Freeform 531"/>
          <p:cNvSpPr>
            <a:spLocks/>
          </p:cNvSpPr>
          <p:nvPr userDrawn="1"/>
        </p:nvSpPr>
        <p:spPr bwMode="auto">
          <a:xfrm>
            <a:off x="5999884" y="3877310"/>
            <a:ext cx="157459" cy="184260"/>
          </a:xfrm>
          <a:custGeom>
            <a:avLst/>
            <a:gdLst>
              <a:gd name="T0" fmla="*/ 2147483646 w 169"/>
              <a:gd name="T1" fmla="*/ 2147483646 h 199"/>
              <a:gd name="T2" fmla="*/ 2147483646 w 169"/>
              <a:gd name="T3" fmla="*/ 2147483646 h 199"/>
              <a:gd name="T4" fmla="*/ 2147483646 w 169"/>
              <a:gd name="T5" fmla="*/ 2147483646 h 199"/>
              <a:gd name="T6" fmla="*/ 2147483646 w 169"/>
              <a:gd name="T7" fmla="*/ 2147483646 h 199"/>
              <a:gd name="T8" fmla="*/ 2147483646 w 169"/>
              <a:gd name="T9" fmla="*/ 2147483646 h 199"/>
              <a:gd name="T10" fmla="*/ 2147483646 w 169"/>
              <a:gd name="T11" fmla="*/ 2147483646 h 199"/>
              <a:gd name="T12" fmla="*/ 2147483646 w 169"/>
              <a:gd name="T13" fmla="*/ 2147483646 h 199"/>
              <a:gd name="T14" fmla="*/ 2147483646 w 169"/>
              <a:gd name="T15" fmla="*/ 2147483646 h 199"/>
              <a:gd name="T16" fmla="*/ 2147483646 w 169"/>
              <a:gd name="T17" fmla="*/ 2147483646 h 199"/>
              <a:gd name="T18" fmla="*/ 2147483646 w 169"/>
              <a:gd name="T19" fmla="*/ 2147483646 h 199"/>
              <a:gd name="T20" fmla="*/ 2147483646 w 169"/>
              <a:gd name="T21" fmla="*/ 2147483646 h 199"/>
              <a:gd name="T22" fmla="*/ 2147483646 w 169"/>
              <a:gd name="T23" fmla="*/ 2147483646 h 199"/>
              <a:gd name="T24" fmla="*/ 2147483646 w 169"/>
              <a:gd name="T25" fmla="*/ 2147483646 h 199"/>
              <a:gd name="T26" fmla="*/ 2147483646 w 169"/>
              <a:gd name="T27" fmla="*/ 2147483646 h 199"/>
              <a:gd name="T28" fmla="*/ 2147483646 w 169"/>
              <a:gd name="T29" fmla="*/ 2147483646 h 199"/>
              <a:gd name="T30" fmla="*/ 2147483646 w 169"/>
              <a:gd name="T31" fmla="*/ 2147483646 h 199"/>
              <a:gd name="T32" fmla="*/ 2147483646 w 169"/>
              <a:gd name="T33" fmla="*/ 2147483646 h 199"/>
              <a:gd name="T34" fmla="*/ 2147483646 w 169"/>
              <a:gd name="T35" fmla="*/ 2147483646 h 199"/>
              <a:gd name="T36" fmla="*/ 2147483646 w 169"/>
              <a:gd name="T37" fmla="*/ 2147483646 h 199"/>
              <a:gd name="T38" fmla="*/ 2147483646 w 169"/>
              <a:gd name="T39" fmla="*/ 2147483646 h 199"/>
              <a:gd name="T40" fmla="*/ 2147483646 w 169"/>
              <a:gd name="T41" fmla="*/ 2147483646 h 199"/>
              <a:gd name="T42" fmla="*/ 2147483646 w 169"/>
              <a:gd name="T43" fmla="*/ 2147483646 h 199"/>
              <a:gd name="T44" fmla="*/ 2147483646 w 169"/>
              <a:gd name="T45" fmla="*/ 2147483646 h 199"/>
              <a:gd name="T46" fmla="*/ 2147483646 w 169"/>
              <a:gd name="T47" fmla="*/ 2147483646 h 199"/>
              <a:gd name="T48" fmla="*/ 2147483646 w 169"/>
              <a:gd name="T49" fmla="*/ 2147483646 h 199"/>
              <a:gd name="T50" fmla="*/ 2147483646 w 169"/>
              <a:gd name="T51" fmla="*/ 2147483646 h 199"/>
              <a:gd name="T52" fmla="*/ 2147483646 w 169"/>
              <a:gd name="T53" fmla="*/ 2147483646 h 199"/>
              <a:gd name="T54" fmla="*/ 2147483646 w 169"/>
              <a:gd name="T55" fmla="*/ 2147483646 h 199"/>
              <a:gd name="T56" fmla="*/ 2147483646 w 169"/>
              <a:gd name="T57" fmla="*/ 2147483646 h 199"/>
              <a:gd name="T58" fmla="*/ 2147483646 w 169"/>
              <a:gd name="T59" fmla="*/ 2147483646 h 199"/>
              <a:gd name="T60" fmla="*/ 2147483646 w 169"/>
              <a:gd name="T61" fmla="*/ 2147483646 h 199"/>
              <a:gd name="T62" fmla="*/ 2147483646 w 169"/>
              <a:gd name="T63" fmla="*/ 2147483646 h 199"/>
              <a:gd name="T64" fmla="*/ 2147483646 w 169"/>
              <a:gd name="T65" fmla="*/ 2147483646 h 199"/>
              <a:gd name="T66" fmla="*/ 2147483646 w 169"/>
              <a:gd name="T67" fmla="*/ 2147483646 h 199"/>
              <a:gd name="T68" fmla="*/ 2147483646 w 169"/>
              <a:gd name="T69" fmla="*/ 2147483646 h 199"/>
              <a:gd name="T70" fmla="*/ 2147483646 w 169"/>
              <a:gd name="T71" fmla="*/ 2147483646 h 199"/>
              <a:gd name="T72" fmla="*/ 2147483646 w 169"/>
              <a:gd name="T73" fmla="*/ 2147483646 h 199"/>
              <a:gd name="T74" fmla="*/ 2147483646 w 169"/>
              <a:gd name="T75" fmla="*/ 2147483646 h 199"/>
              <a:gd name="T76" fmla="*/ 2147483646 w 169"/>
              <a:gd name="T77" fmla="*/ 2147483646 h 199"/>
              <a:gd name="T78" fmla="*/ 2147483646 w 169"/>
              <a:gd name="T79" fmla="*/ 2147483646 h 199"/>
              <a:gd name="T80" fmla="*/ 2147483646 w 169"/>
              <a:gd name="T81" fmla="*/ 2147483646 h 199"/>
              <a:gd name="T82" fmla="*/ 2147483646 w 169"/>
              <a:gd name="T83" fmla="*/ 2147483646 h 199"/>
              <a:gd name="T84" fmla="*/ 2147483646 w 169"/>
              <a:gd name="T85" fmla="*/ 2147483646 h 199"/>
              <a:gd name="T86" fmla="*/ 2147483646 w 169"/>
              <a:gd name="T87" fmla="*/ 2147483646 h 199"/>
              <a:gd name="T88" fmla="*/ 2147483646 w 169"/>
              <a:gd name="T89" fmla="*/ 2147483646 h 199"/>
              <a:gd name="T90" fmla="*/ 2147483646 w 169"/>
              <a:gd name="T91" fmla="*/ 2147483646 h 199"/>
              <a:gd name="T92" fmla="*/ 2147483646 w 169"/>
              <a:gd name="T93" fmla="*/ 2147483646 h 199"/>
              <a:gd name="T94" fmla="*/ 2147483646 w 169"/>
              <a:gd name="T95" fmla="*/ 2147483646 h 199"/>
              <a:gd name="T96" fmla="*/ 2147483646 w 169"/>
              <a:gd name="T97" fmla="*/ 2147483646 h 199"/>
              <a:gd name="T98" fmla="*/ 2147483646 w 169"/>
              <a:gd name="T99" fmla="*/ 2147483646 h 199"/>
              <a:gd name="T100" fmla="*/ 2147483646 w 169"/>
              <a:gd name="T101" fmla="*/ 2147483646 h 199"/>
              <a:gd name="T102" fmla="*/ 2147483646 w 169"/>
              <a:gd name="T103" fmla="*/ 2147483646 h 199"/>
              <a:gd name="T104" fmla="*/ 2147483646 w 169"/>
              <a:gd name="T105" fmla="*/ 2147483646 h 199"/>
              <a:gd name="T106" fmla="*/ 2147483646 w 169"/>
              <a:gd name="T107" fmla="*/ 2147483646 h 199"/>
              <a:gd name="T108" fmla="*/ 2147483646 w 169"/>
              <a:gd name="T109" fmla="*/ 2147483646 h 19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9"/>
              <a:gd name="T166" fmla="*/ 0 h 199"/>
              <a:gd name="T167" fmla="*/ 169 w 169"/>
              <a:gd name="T168" fmla="*/ 199 h 19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9" h="199">
                <a:moveTo>
                  <a:pt x="16" y="42"/>
                </a:moveTo>
                <a:cubicBezTo>
                  <a:pt x="16" y="50"/>
                  <a:pt x="20" y="58"/>
                  <a:pt x="14" y="66"/>
                </a:cubicBezTo>
                <a:cubicBezTo>
                  <a:pt x="11" y="69"/>
                  <a:pt x="10" y="72"/>
                  <a:pt x="8" y="75"/>
                </a:cubicBezTo>
                <a:cubicBezTo>
                  <a:pt x="6" y="76"/>
                  <a:pt x="3" y="78"/>
                  <a:pt x="1" y="80"/>
                </a:cubicBezTo>
                <a:cubicBezTo>
                  <a:pt x="0" y="80"/>
                  <a:pt x="0" y="80"/>
                  <a:pt x="0" y="80"/>
                </a:cubicBezTo>
                <a:cubicBezTo>
                  <a:pt x="1" y="81"/>
                  <a:pt x="1" y="82"/>
                  <a:pt x="1" y="86"/>
                </a:cubicBezTo>
                <a:cubicBezTo>
                  <a:pt x="0" y="94"/>
                  <a:pt x="2" y="97"/>
                  <a:pt x="6" y="99"/>
                </a:cubicBezTo>
                <a:cubicBezTo>
                  <a:pt x="11" y="101"/>
                  <a:pt x="11" y="100"/>
                  <a:pt x="15" y="103"/>
                </a:cubicBezTo>
                <a:cubicBezTo>
                  <a:pt x="18" y="106"/>
                  <a:pt x="17" y="106"/>
                  <a:pt x="20" y="113"/>
                </a:cubicBezTo>
                <a:cubicBezTo>
                  <a:pt x="23" y="120"/>
                  <a:pt x="22" y="120"/>
                  <a:pt x="26" y="122"/>
                </a:cubicBezTo>
                <a:cubicBezTo>
                  <a:pt x="29" y="124"/>
                  <a:pt x="29" y="130"/>
                  <a:pt x="34" y="128"/>
                </a:cubicBezTo>
                <a:cubicBezTo>
                  <a:pt x="39" y="127"/>
                  <a:pt x="41" y="130"/>
                  <a:pt x="45" y="128"/>
                </a:cubicBezTo>
                <a:cubicBezTo>
                  <a:pt x="49" y="127"/>
                  <a:pt x="53" y="127"/>
                  <a:pt x="57" y="128"/>
                </a:cubicBezTo>
                <a:cubicBezTo>
                  <a:pt x="61" y="128"/>
                  <a:pt x="66" y="126"/>
                  <a:pt x="68" y="130"/>
                </a:cubicBezTo>
                <a:cubicBezTo>
                  <a:pt x="70" y="134"/>
                  <a:pt x="68" y="138"/>
                  <a:pt x="73" y="136"/>
                </a:cubicBezTo>
                <a:cubicBezTo>
                  <a:pt x="78" y="134"/>
                  <a:pt x="80" y="130"/>
                  <a:pt x="83" y="137"/>
                </a:cubicBezTo>
                <a:cubicBezTo>
                  <a:pt x="83" y="137"/>
                  <a:pt x="70" y="141"/>
                  <a:pt x="68" y="139"/>
                </a:cubicBezTo>
                <a:cubicBezTo>
                  <a:pt x="66" y="138"/>
                  <a:pt x="64" y="139"/>
                  <a:pt x="61" y="136"/>
                </a:cubicBezTo>
                <a:cubicBezTo>
                  <a:pt x="57" y="132"/>
                  <a:pt x="56" y="134"/>
                  <a:pt x="54" y="134"/>
                </a:cubicBezTo>
                <a:cubicBezTo>
                  <a:pt x="51" y="133"/>
                  <a:pt x="44" y="130"/>
                  <a:pt x="42" y="129"/>
                </a:cubicBezTo>
                <a:cubicBezTo>
                  <a:pt x="41" y="128"/>
                  <a:pt x="40" y="131"/>
                  <a:pt x="39" y="130"/>
                </a:cubicBezTo>
                <a:cubicBezTo>
                  <a:pt x="37" y="129"/>
                  <a:pt x="37" y="130"/>
                  <a:pt x="35" y="131"/>
                </a:cubicBezTo>
                <a:cubicBezTo>
                  <a:pt x="32" y="132"/>
                  <a:pt x="32" y="133"/>
                  <a:pt x="31" y="133"/>
                </a:cubicBezTo>
                <a:cubicBezTo>
                  <a:pt x="29" y="133"/>
                  <a:pt x="26" y="143"/>
                  <a:pt x="25" y="147"/>
                </a:cubicBezTo>
                <a:cubicBezTo>
                  <a:pt x="24" y="151"/>
                  <a:pt x="27" y="148"/>
                  <a:pt x="30" y="150"/>
                </a:cubicBezTo>
                <a:cubicBezTo>
                  <a:pt x="32" y="151"/>
                  <a:pt x="35" y="154"/>
                  <a:pt x="39" y="155"/>
                </a:cubicBezTo>
                <a:cubicBezTo>
                  <a:pt x="43" y="155"/>
                  <a:pt x="41" y="161"/>
                  <a:pt x="41" y="162"/>
                </a:cubicBezTo>
                <a:cubicBezTo>
                  <a:pt x="41" y="164"/>
                  <a:pt x="40" y="168"/>
                  <a:pt x="39" y="173"/>
                </a:cubicBezTo>
                <a:cubicBezTo>
                  <a:pt x="39" y="178"/>
                  <a:pt x="42" y="181"/>
                  <a:pt x="44" y="182"/>
                </a:cubicBezTo>
                <a:cubicBezTo>
                  <a:pt x="46" y="183"/>
                  <a:pt x="46" y="174"/>
                  <a:pt x="47" y="172"/>
                </a:cubicBezTo>
                <a:cubicBezTo>
                  <a:pt x="47" y="170"/>
                  <a:pt x="51" y="176"/>
                  <a:pt x="54" y="176"/>
                </a:cubicBezTo>
                <a:cubicBezTo>
                  <a:pt x="56" y="177"/>
                  <a:pt x="56" y="181"/>
                  <a:pt x="56" y="183"/>
                </a:cubicBezTo>
                <a:cubicBezTo>
                  <a:pt x="56" y="186"/>
                  <a:pt x="58" y="194"/>
                  <a:pt x="61" y="196"/>
                </a:cubicBezTo>
                <a:cubicBezTo>
                  <a:pt x="65" y="199"/>
                  <a:pt x="63" y="191"/>
                  <a:pt x="62" y="185"/>
                </a:cubicBezTo>
                <a:cubicBezTo>
                  <a:pt x="60" y="178"/>
                  <a:pt x="64" y="181"/>
                  <a:pt x="66" y="180"/>
                </a:cubicBezTo>
                <a:cubicBezTo>
                  <a:pt x="68" y="179"/>
                  <a:pt x="67" y="182"/>
                  <a:pt x="69" y="183"/>
                </a:cubicBezTo>
                <a:cubicBezTo>
                  <a:pt x="70" y="184"/>
                  <a:pt x="71" y="188"/>
                  <a:pt x="75" y="189"/>
                </a:cubicBezTo>
                <a:cubicBezTo>
                  <a:pt x="79" y="191"/>
                  <a:pt x="78" y="189"/>
                  <a:pt x="78" y="183"/>
                </a:cubicBezTo>
                <a:cubicBezTo>
                  <a:pt x="79" y="177"/>
                  <a:pt x="77" y="179"/>
                  <a:pt x="76" y="172"/>
                </a:cubicBezTo>
                <a:cubicBezTo>
                  <a:pt x="74" y="165"/>
                  <a:pt x="75" y="167"/>
                  <a:pt x="73" y="162"/>
                </a:cubicBezTo>
                <a:cubicBezTo>
                  <a:pt x="71" y="158"/>
                  <a:pt x="73" y="158"/>
                  <a:pt x="75" y="158"/>
                </a:cubicBezTo>
                <a:cubicBezTo>
                  <a:pt x="78" y="159"/>
                  <a:pt x="77" y="162"/>
                  <a:pt x="78" y="163"/>
                </a:cubicBezTo>
                <a:cubicBezTo>
                  <a:pt x="79" y="165"/>
                  <a:pt x="83" y="162"/>
                  <a:pt x="84" y="160"/>
                </a:cubicBezTo>
                <a:cubicBezTo>
                  <a:pt x="85" y="158"/>
                  <a:pt x="84" y="151"/>
                  <a:pt x="82" y="152"/>
                </a:cubicBezTo>
                <a:cubicBezTo>
                  <a:pt x="79" y="152"/>
                  <a:pt x="79" y="146"/>
                  <a:pt x="79" y="144"/>
                </a:cubicBezTo>
                <a:cubicBezTo>
                  <a:pt x="79" y="141"/>
                  <a:pt x="82" y="142"/>
                  <a:pt x="84" y="142"/>
                </a:cubicBezTo>
                <a:cubicBezTo>
                  <a:pt x="87" y="141"/>
                  <a:pt x="87" y="141"/>
                  <a:pt x="87" y="141"/>
                </a:cubicBezTo>
                <a:cubicBezTo>
                  <a:pt x="87" y="141"/>
                  <a:pt x="92" y="147"/>
                  <a:pt x="96" y="148"/>
                </a:cubicBezTo>
                <a:cubicBezTo>
                  <a:pt x="100" y="148"/>
                  <a:pt x="99" y="149"/>
                  <a:pt x="103" y="151"/>
                </a:cubicBezTo>
                <a:cubicBezTo>
                  <a:pt x="107" y="153"/>
                  <a:pt x="109" y="150"/>
                  <a:pt x="109" y="150"/>
                </a:cubicBezTo>
                <a:cubicBezTo>
                  <a:pt x="109" y="150"/>
                  <a:pt x="100" y="142"/>
                  <a:pt x="99" y="139"/>
                </a:cubicBezTo>
                <a:cubicBezTo>
                  <a:pt x="98" y="137"/>
                  <a:pt x="96" y="133"/>
                  <a:pt x="96" y="131"/>
                </a:cubicBezTo>
                <a:cubicBezTo>
                  <a:pt x="97" y="128"/>
                  <a:pt x="103" y="130"/>
                  <a:pt x="92" y="123"/>
                </a:cubicBezTo>
                <a:cubicBezTo>
                  <a:pt x="80" y="115"/>
                  <a:pt x="77" y="113"/>
                  <a:pt x="75" y="114"/>
                </a:cubicBezTo>
                <a:cubicBezTo>
                  <a:pt x="74" y="114"/>
                  <a:pt x="71" y="113"/>
                  <a:pt x="71" y="113"/>
                </a:cubicBezTo>
                <a:cubicBezTo>
                  <a:pt x="71" y="113"/>
                  <a:pt x="66" y="111"/>
                  <a:pt x="66" y="110"/>
                </a:cubicBezTo>
                <a:cubicBezTo>
                  <a:pt x="67" y="108"/>
                  <a:pt x="70" y="107"/>
                  <a:pt x="74" y="108"/>
                </a:cubicBezTo>
                <a:cubicBezTo>
                  <a:pt x="79" y="109"/>
                  <a:pt x="81" y="112"/>
                  <a:pt x="83" y="113"/>
                </a:cubicBezTo>
                <a:cubicBezTo>
                  <a:pt x="85" y="114"/>
                  <a:pt x="88" y="117"/>
                  <a:pt x="92" y="118"/>
                </a:cubicBezTo>
                <a:cubicBezTo>
                  <a:pt x="96" y="120"/>
                  <a:pt x="97" y="122"/>
                  <a:pt x="99" y="125"/>
                </a:cubicBezTo>
                <a:cubicBezTo>
                  <a:pt x="101" y="129"/>
                  <a:pt x="101" y="134"/>
                  <a:pt x="105" y="137"/>
                </a:cubicBezTo>
                <a:cubicBezTo>
                  <a:pt x="110" y="139"/>
                  <a:pt x="109" y="140"/>
                  <a:pt x="111" y="139"/>
                </a:cubicBezTo>
                <a:cubicBezTo>
                  <a:pt x="114" y="138"/>
                  <a:pt x="117" y="142"/>
                  <a:pt x="117" y="138"/>
                </a:cubicBezTo>
                <a:cubicBezTo>
                  <a:pt x="118" y="135"/>
                  <a:pt x="124" y="128"/>
                  <a:pt x="116" y="129"/>
                </a:cubicBezTo>
                <a:cubicBezTo>
                  <a:pt x="108" y="130"/>
                  <a:pt x="107" y="130"/>
                  <a:pt x="106" y="125"/>
                </a:cubicBezTo>
                <a:cubicBezTo>
                  <a:pt x="105" y="121"/>
                  <a:pt x="105" y="118"/>
                  <a:pt x="103" y="117"/>
                </a:cubicBezTo>
                <a:cubicBezTo>
                  <a:pt x="101" y="116"/>
                  <a:pt x="104" y="116"/>
                  <a:pt x="99" y="114"/>
                </a:cubicBezTo>
                <a:cubicBezTo>
                  <a:pt x="95" y="113"/>
                  <a:pt x="88" y="116"/>
                  <a:pt x="86" y="107"/>
                </a:cubicBezTo>
                <a:cubicBezTo>
                  <a:pt x="84" y="99"/>
                  <a:pt x="80" y="106"/>
                  <a:pt x="76" y="99"/>
                </a:cubicBezTo>
                <a:cubicBezTo>
                  <a:pt x="72" y="93"/>
                  <a:pt x="71" y="85"/>
                  <a:pt x="78" y="92"/>
                </a:cubicBezTo>
                <a:cubicBezTo>
                  <a:pt x="85" y="99"/>
                  <a:pt x="88" y="103"/>
                  <a:pt x="86" y="96"/>
                </a:cubicBezTo>
                <a:cubicBezTo>
                  <a:pt x="84" y="89"/>
                  <a:pt x="78" y="82"/>
                  <a:pt x="74" y="82"/>
                </a:cubicBezTo>
                <a:cubicBezTo>
                  <a:pt x="70" y="81"/>
                  <a:pt x="71" y="78"/>
                  <a:pt x="69" y="73"/>
                </a:cubicBezTo>
                <a:cubicBezTo>
                  <a:pt x="67" y="68"/>
                  <a:pt x="60" y="66"/>
                  <a:pt x="63" y="60"/>
                </a:cubicBezTo>
                <a:cubicBezTo>
                  <a:pt x="66" y="54"/>
                  <a:pt x="62" y="47"/>
                  <a:pt x="68" y="48"/>
                </a:cubicBezTo>
                <a:cubicBezTo>
                  <a:pt x="75" y="49"/>
                  <a:pt x="76" y="45"/>
                  <a:pt x="77" y="53"/>
                </a:cubicBezTo>
                <a:cubicBezTo>
                  <a:pt x="78" y="61"/>
                  <a:pt x="79" y="62"/>
                  <a:pt x="83" y="64"/>
                </a:cubicBezTo>
                <a:cubicBezTo>
                  <a:pt x="86" y="65"/>
                  <a:pt x="78" y="73"/>
                  <a:pt x="84" y="75"/>
                </a:cubicBezTo>
                <a:cubicBezTo>
                  <a:pt x="91" y="78"/>
                  <a:pt x="92" y="78"/>
                  <a:pt x="93" y="76"/>
                </a:cubicBezTo>
                <a:cubicBezTo>
                  <a:pt x="93" y="73"/>
                  <a:pt x="90" y="68"/>
                  <a:pt x="90" y="64"/>
                </a:cubicBezTo>
                <a:cubicBezTo>
                  <a:pt x="90" y="61"/>
                  <a:pt x="94" y="72"/>
                  <a:pt x="97" y="70"/>
                </a:cubicBezTo>
                <a:cubicBezTo>
                  <a:pt x="101" y="68"/>
                  <a:pt x="99" y="62"/>
                  <a:pt x="96" y="62"/>
                </a:cubicBezTo>
                <a:cubicBezTo>
                  <a:pt x="93" y="62"/>
                  <a:pt x="92" y="58"/>
                  <a:pt x="95" y="58"/>
                </a:cubicBezTo>
                <a:cubicBezTo>
                  <a:pt x="97" y="58"/>
                  <a:pt x="97" y="57"/>
                  <a:pt x="101" y="61"/>
                </a:cubicBezTo>
                <a:cubicBezTo>
                  <a:pt x="105" y="66"/>
                  <a:pt x="108" y="70"/>
                  <a:pt x="109" y="66"/>
                </a:cubicBezTo>
                <a:cubicBezTo>
                  <a:pt x="111" y="62"/>
                  <a:pt x="109" y="56"/>
                  <a:pt x="106" y="55"/>
                </a:cubicBezTo>
                <a:cubicBezTo>
                  <a:pt x="104" y="55"/>
                  <a:pt x="100" y="53"/>
                  <a:pt x="98" y="50"/>
                </a:cubicBezTo>
                <a:cubicBezTo>
                  <a:pt x="97" y="47"/>
                  <a:pt x="91" y="45"/>
                  <a:pt x="96" y="44"/>
                </a:cubicBezTo>
                <a:cubicBezTo>
                  <a:pt x="102" y="44"/>
                  <a:pt x="101" y="41"/>
                  <a:pt x="105" y="44"/>
                </a:cubicBezTo>
                <a:cubicBezTo>
                  <a:pt x="108" y="46"/>
                  <a:pt x="110" y="43"/>
                  <a:pt x="110" y="43"/>
                </a:cubicBezTo>
                <a:cubicBezTo>
                  <a:pt x="110" y="43"/>
                  <a:pt x="113" y="38"/>
                  <a:pt x="118" y="40"/>
                </a:cubicBezTo>
                <a:cubicBezTo>
                  <a:pt x="123" y="42"/>
                  <a:pt x="120" y="45"/>
                  <a:pt x="126" y="40"/>
                </a:cubicBezTo>
                <a:cubicBezTo>
                  <a:pt x="131" y="36"/>
                  <a:pt x="141" y="36"/>
                  <a:pt x="143" y="37"/>
                </a:cubicBezTo>
                <a:cubicBezTo>
                  <a:pt x="144" y="38"/>
                  <a:pt x="140" y="40"/>
                  <a:pt x="146" y="40"/>
                </a:cubicBezTo>
                <a:cubicBezTo>
                  <a:pt x="152" y="40"/>
                  <a:pt x="144" y="31"/>
                  <a:pt x="152" y="40"/>
                </a:cubicBezTo>
                <a:cubicBezTo>
                  <a:pt x="156" y="43"/>
                  <a:pt x="156" y="43"/>
                  <a:pt x="156" y="43"/>
                </a:cubicBezTo>
                <a:cubicBezTo>
                  <a:pt x="159" y="36"/>
                  <a:pt x="164" y="31"/>
                  <a:pt x="167" y="23"/>
                </a:cubicBezTo>
                <a:cubicBezTo>
                  <a:pt x="168" y="19"/>
                  <a:pt x="169" y="15"/>
                  <a:pt x="168" y="11"/>
                </a:cubicBezTo>
                <a:cubicBezTo>
                  <a:pt x="167" y="8"/>
                  <a:pt x="164" y="3"/>
                  <a:pt x="165" y="0"/>
                </a:cubicBezTo>
                <a:cubicBezTo>
                  <a:pt x="165" y="1"/>
                  <a:pt x="165" y="1"/>
                  <a:pt x="165" y="1"/>
                </a:cubicBezTo>
                <a:cubicBezTo>
                  <a:pt x="158" y="5"/>
                  <a:pt x="152" y="13"/>
                  <a:pt x="147" y="18"/>
                </a:cubicBezTo>
                <a:cubicBezTo>
                  <a:pt x="140" y="24"/>
                  <a:pt x="141" y="24"/>
                  <a:pt x="133" y="23"/>
                </a:cubicBezTo>
                <a:cubicBezTo>
                  <a:pt x="127" y="23"/>
                  <a:pt x="120" y="24"/>
                  <a:pt x="115" y="21"/>
                </a:cubicBezTo>
                <a:cubicBezTo>
                  <a:pt x="111" y="19"/>
                  <a:pt x="109" y="16"/>
                  <a:pt x="104" y="15"/>
                </a:cubicBezTo>
                <a:cubicBezTo>
                  <a:pt x="97" y="13"/>
                  <a:pt x="85" y="21"/>
                  <a:pt x="78" y="19"/>
                </a:cubicBezTo>
                <a:cubicBezTo>
                  <a:pt x="77" y="17"/>
                  <a:pt x="77" y="17"/>
                  <a:pt x="77" y="17"/>
                </a:cubicBezTo>
                <a:cubicBezTo>
                  <a:pt x="75" y="22"/>
                  <a:pt x="71" y="25"/>
                  <a:pt x="67" y="27"/>
                </a:cubicBezTo>
                <a:cubicBezTo>
                  <a:pt x="63" y="28"/>
                  <a:pt x="60" y="30"/>
                  <a:pt x="56" y="31"/>
                </a:cubicBezTo>
                <a:cubicBezTo>
                  <a:pt x="54" y="31"/>
                  <a:pt x="50" y="30"/>
                  <a:pt x="48" y="31"/>
                </a:cubicBezTo>
                <a:cubicBezTo>
                  <a:pt x="44" y="32"/>
                  <a:pt x="43" y="38"/>
                  <a:pt x="40" y="42"/>
                </a:cubicBezTo>
                <a:cubicBezTo>
                  <a:pt x="33" y="37"/>
                  <a:pt x="24" y="39"/>
                  <a:pt x="16" y="41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97" name="Freeform 532"/>
          <p:cNvSpPr>
            <a:spLocks/>
          </p:cNvSpPr>
          <p:nvPr userDrawn="1"/>
        </p:nvSpPr>
        <p:spPr bwMode="auto">
          <a:xfrm>
            <a:off x="5999884" y="3877310"/>
            <a:ext cx="157459" cy="184260"/>
          </a:xfrm>
          <a:custGeom>
            <a:avLst/>
            <a:gdLst>
              <a:gd name="T0" fmla="*/ 2147483646 w 169"/>
              <a:gd name="T1" fmla="*/ 2147483646 h 199"/>
              <a:gd name="T2" fmla="*/ 2147483646 w 169"/>
              <a:gd name="T3" fmla="*/ 2147483646 h 199"/>
              <a:gd name="T4" fmla="*/ 2147483646 w 169"/>
              <a:gd name="T5" fmla="*/ 2147483646 h 199"/>
              <a:gd name="T6" fmla="*/ 2147483646 w 169"/>
              <a:gd name="T7" fmla="*/ 2147483646 h 199"/>
              <a:gd name="T8" fmla="*/ 2147483646 w 169"/>
              <a:gd name="T9" fmla="*/ 2147483646 h 199"/>
              <a:gd name="T10" fmla="*/ 2147483646 w 169"/>
              <a:gd name="T11" fmla="*/ 2147483646 h 199"/>
              <a:gd name="T12" fmla="*/ 2147483646 w 169"/>
              <a:gd name="T13" fmla="*/ 2147483646 h 199"/>
              <a:gd name="T14" fmla="*/ 2147483646 w 169"/>
              <a:gd name="T15" fmla="*/ 2147483646 h 199"/>
              <a:gd name="T16" fmla="*/ 2147483646 w 169"/>
              <a:gd name="T17" fmla="*/ 2147483646 h 199"/>
              <a:gd name="T18" fmla="*/ 2147483646 w 169"/>
              <a:gd name="T19" fmla="*/ 2147483646 h 199"/>
              <a:gd name="T20" fmla="*/ 2147483646 w 169"/>
              <a:gd name="T21" fmla="*/ 2147483646 h 199"/>
              <a:gd name="T22" fmla="*/ 2147483646 w 169"/>
              <a:gd name="T23" fmla="*/ 2147483646 h 199"/>
              <a:gd name="T24" fmla="*/ 2147483646 w 169"/>
              <a:gd name="T25" fmla="*/ 2147483646 h 199"/>
              <a:gd name="T26" fmla="*/ 2147483646 w 169"/>
              <a:gd name="T27" fmla="*/ 2147483646 h 199"/>
              <a:gd name="T28" fmla="*/ 2147483646 w 169"/>
              <a:gd name="T29" fmla="*/ 2147483646 h 199"/>
              <a:gd name="T30" fmla="*/ 2147483646 w 169"/>
              <a:gd name="T31" fmla="*/ 2147483646 h 199"/>
              <a:gd name="T32" fmla="*/ 2147483646 w 169"/>
              <a:gd name="T33" fmla="*/ 2147483646 h 199"/>
              <a:gd name="T34" fmla="*/ 2147483646 w 169"/>
              <a:gd name="T35" fmla="*/ 2147483646 h 199"/>
              <a:gd name="T36" fmla="*/ 2147483646 w 169"/>
              <a:gd name="T37" fmla="*/ 2147483646 h 199"/>
              <a:gd name="T38" fmla="*/ 2147483646 w 169"/>
              <a:gd name="T39" fmla="*/ 2147483646 h 199"/>
              <a:gd name="T40" fmla="*/ 2147483646 w 169"/>
              <a:gd name="T41" fmla="*/ 2147483646 h 199"/>
              <a:gd name="T42" fmla="*/ 2147483646 w 169"/>
              <a:gd name="T43" fmla="*/ 2147483646 h 199"/>
              <a:gd name="T44" fmla="*/ 2147483646 w 169"/>
              <a:gd name="T45" fmla="*/ 2147483646 h 199"/>
              <a:gd name="T46" fmla="*/ 2147483646 w 169"/>
              <a:gd name="T47" fmla="*/ 2147483646 h 199"/>
              <a:gd name="T48" fmla="*/ 2147483646 w 169"/>
              <a:gd name="T49" fmla="*/ 2147483646 h 199"/>
              <a:gd name="T50" fmla="*/ 2147483646 w 169"/>
              <a:gd name="T51" fmla="*/ 2147483646 h 199"/>
              <a:gd name="T52" fmla="*/ 2147483646 w 169"/>
              <a:gd name="T53" fmla="*/ 2147483646 h 199"/>
              <a:gd name="T54" fmla="*/ 2147483646 w 169"/>
              <a:gd name="T55" fmla="*/ 2147483646 h 199"/>
              <a:gd name="T56" fmla="*/ 2147483646 w 169"/>
              <a:gd name="T57" fmla="*/ 2147483646 h 199"/>
              <a:gd name="T58" fmla="*/ 2147483646 w 169"/>
              <a:gd name="T59" fmla="*/ 2147483646 h 199"/>
              <a:gd name="T60" fmla="*/ 2147483646 w 169"/>
              <a:gd name="T61" fmla="*/ 2147483646 h 199"/>
              <a:gd name="T62" fmla="*/ 2147483646 w 169"/>
              <a:gd name="T63" fmla="*/ 2147483646 h 199"/>
              <a:gd name="T64" fmla="*/ 2147483646 w 169"/>
              <a:gd name="T65" fmla="*/ 2147483646 h 199"/>
              <a:gd name="T66" fmla="*/ 2147483646 w 169"/>
              <a:gd name="T67" fmla="*/ 2147483646 h 199"/>
              <a:gd name="T68" fmla="*/ 2147483646 w 169"/>
              <a:gd name="T69" fmla="*/ 2147483646 h 199"/>
              <a:gd name="T70" fmla="*/ 2147483646 w 169"/>
              <a:gd name="T71" fmla="*/ 2147483646 h 199"/>
              <a:gd name="T72" fmla="*/ 2147483646 w 169"/>
              <a:gd name="T73" fmla="*/ 2147483646 h 199"/>
              <a:gd name="T74" fmla="*/ 2147483646 w 169"/>
              <a:gd name="T75" fmla="*/ 2147483646 h 199"/>
              <a:gd name="T76" fmla="*/ 2147483646 w 169"/>
              <a:gd name="T77" fmla="*/ 2147483646 h 199"/>
              <a:gd name="T78" fmla="*/ 2147483646 w 169"/>
              <a:gd name="T79" fmla="*/ 2147483646 h 199"/>
              <a:gd name="T80" fmla="*/ 2147483646 w 169"/>
              <a:gd name="T81" fmla="*/ 2147483646 h 199"/>
              <a:gd name="T82" fmla="*/ 2147483646 w 169"/>
              <a:gd name="T83" fmla="*/ 2147483646 h 199"/>
              <a:gd name="T84" fmla="*/ 2147483646 w 169"/>
              <a:gd name="T85" fmla="*/ 2147483646 h 199"/>
              <a:gd name="T86" fmla="*/ 2147483646 w 169"/>
              <a:gd name="T87" fmla="*/ 2147483646 h 199"/>
              <a:gd name="T88" fmla="*/ 2147483646 w 169"/>
              <a:gd name="T89" fmla="*/ 2147483646 h 199"/>
              <a:gd name="T90" fmla="*/ 2147483646 w 169"/>
              <a:gd name="T91" fmla="*/ 2147483646 h 199"/>
              <a:gd name="T92" fmla="*/ 2147483646 w 169"/>
              <a:gd name="T93" fmla="*/ 2147483646 h 199"/>
              <a:gd name="T94" fmla="*/ 2147483646 w 169"/>
              <a:gd name="T95" fmla="*/ 2147483646 h 199"/>
              <a:gd name="T96" fmla="*/ 2147483646 w 169"/>
              <a:gd name="T97" fmla="*/ 2147483646 h 199"/>
              <a:gd name="T98" fmla="*/ 2147483646 w 169"/>
              <a:gd name="T99" fmla="*/ 2147483646 h 199"/>
              <a:gd name="T100" fmla="*/ 2147483646 w 169"/>
              <a:gd name="T101" fmla="*/ 2147483646 h 199"/>
              <a:gd name="T102" fmla="*/ 2147483646 w 169"/>
              <a:gd name="T103" fmla="*/ 2147483646 h 199"/>
              <a:gd name="T104" fmla="*/ 2147483646 w 169"/>
              <a:gd name="T105" fmla="*/ 2147483646 h 199"/>
              <a:gd name="T106" fmla="*/ 2147483646 w 169"/>
              <a:gd name="T107" fmla="*/ 2147483646 h 199"/>
              <a:gd name="T108" fmla="*/ 2147483646 w 169"/>
              <a:gd name="T109" fmla="*/ 2147483646 h 19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9"/>
              <a:gd name="T166" fmla="*/ 0 h 199"/>
              <a:gd name="T167" fmla="*/ 169 w 169"/>
              <a:gd name="T168" fmla="*/ 199 h 19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9" h="199">
                <a:moveTo>
                  <a:pt x="16" y="42"/>
                </a:moveTo>
                <a:cubicBezTo>
                  <a:pt x="16" y="50"/>
                  <a:pt x="20" y="58"/>
                  <a:pt x="14" y="66"/>
                </a:cubicBezTo>
                <a:cubicBezTo>
                  <a:pt x="11" y="69"/>
                  <a:pt x="10" y="72"/>
                  <a:pt x="8" y="75"/>
                </a:cubicBezTo>
                <a:cubicBezTo>
                  <a:pt x="6" y="76"/>
                  <a:pt x="3" y="78"/>
                  <a:pt x="1" y="80"/>
                </a:cubicBezTo>
                <a:cubicBezTo>
                  <a:pt x="0" y="80"/>
                  <a:pt x="0" y="80"/>
                  <a:pt x="0" y="80"/>
                </a:cubicBezTo>
                <a:cubicBezTo>
                  <a:pt x="1" y="81"/>
                  <a:pt x="1" y="82"/>
                  <a:pt x="1" y="86"/>
                </a:cubicBezTo>
                <a:cubicBezTo>
                  <a:pt x="0" y="94"/>
                  <a:pt x="2" y="97"/>
                  <a:pt x="6" y="99"/>
                </a:cubicBezTo>
                <a:cubicBezTo>
                  <a:pt x="11" y="101"/>
                  <a:pt x="11" y="100"/>
                  <a:pt x="15" y="103"/>
                </a:cubicBezTo>
                <a:cubicBezTo>
                  <a:pt x="18" y="106"/>
                  <a:pt x="17" y="106"/>
                  <a:pt x="20" y="113"/>
                </a:cubicBezTo>
                <a:cubicBezTo>
                  <a:pt x="23" y="120"/>
                  <a:pt x="22" y="120"/>
                  <a:pt x="26" y="122"/>
                </a:cubicBezTo>
                <a:cubicBezTo>
                  <a:pt x="29" y="124"/>
                  <a:pt x="29" y="130"/>
                  <a:pt x="34" y="128"/>
                </a:cubicBezTo>
                <a:cubicBezTo>
                  <a:pt x="39" y="127"/>
                  <a:pt x="41" y="130"/>
                  <a:pt x="45" y="128"/>
                </a:cubicBezTo>
                <a:cubicBezTo>
                  <a:pt x="49" y="127"/>
                  <a:pt x="53" y="127"/>
                  <a:pt x="57" y="128"/>
                </a:cubicBezTo>
                <a:cubicBezTo>
                  <a:pt x="61" y="128"/>
                  <a:pt x="66" y="126"/>
                  <a:pt x="68" y="130"/>
                </a:cubicBezTo>
                <a:cubicBezTo>
                  <a:pt x="70" y="134"/>
                  <a:pt x="68" y="138"/>
                  <a:pt x="73" y="136"/>
                </a:cubicBezTo>
                <a:cubicBezTo>
                  <a:pt x="78" y="134"/>
                  <a:pt x="80" y="130"/>
                  <a:pt x="83" y="137"/>
                </a:cubicBezTo>
                <a:cubicBezTo>
                  <a:pt x="83" y="137"/>
                  <a:pt x="70" y="141"/>
                  <a:pt x="68" y="139"/>
                </a:cubicBezTo>
                <a:cubicBezTo>
                  <a:pt x="66" y="138"/>
                  <a:pt x="64" y="139"/>
                  <a:pt x="61" y="136"/>
                </a:cubicBezTo>
                <a:cubicBezTo>
                  <a:pt x="57" y="132"/>
                  <a:pt x="56" y="134"/>
                  <a:pt x="54" y="134"/>
                </a:cubicBezTo>
                <a:cubicBezTo>
                  <a:pt x="51" y="133"/>
                  <a:pt x="44" y="130"/>
                  <a:pt x="42" y="129"/>
                </a:cubicBezTo>
                <a:cubicBezTo>
                  <a:pt x="41" y="128"/>
                  <a:pt x="40" y="131"/>
                  <a:pt x="39" y="130"/>
                </a:cubicBezTo>
                <a:cubicBezTo>
                  <a:pt x="37" y="129"/>
                  <a:pt x="37" y="130"/>
                  <a:pt x="35" y="131"/>
                </a:cubicBezTo>
                <a:cubicBezTo>
                  <a:pt x="32" y="132"/>
                  <a:pt x="32" y="133"/>
                  <a:pt x="31" y="133"/>
                </a:cubicBezTo>
                <a:cubicBezTo>
                  <a:pt x="29" y="133"/>
                  <a:pt x="26" y="143"/>
                  <a:pt x="25" y="147"/>
                </a:cubicBezTo>
                <a:cubicBezTo>
                  <a:pt x="24" y="151"/>
                  <a:pt x="27" y="148"/>
                  <a:pt x="30" y="150"/>
                </a:cubicBezTo>
                <a:cubicBezTo>
                  <a:pt x="32" y="151"/>
                  <a:pt x="35" y="154"/>
                  <a:pt x="39" y="155"/>
                </a:cubicBezTo>
                <a:cubicBezTo>
                  <a:pt x="43" y="155"/>
                  <a:pt x="41" y="161"/>
                  <a:pt x="41" y="162"/>
                </a:cubicBezTo>
                <a:cubicBezTo>
                  <a:pt x="41" y="164"/>
                  <a:pt x="40" y="168"/>
                  <a:pt x="39" y="173"/>
                </a:cubicBezTo>
                <a:cubicBezTo>
                  <a:pt x="39" y="178"/>
                  <a:pt x="42" y="181"/>
                  <a:pt x="44" y="182"/>
                </a:cubicBezTo>
                <a:cubicBezTo>
                  <a:pt x="46" y="183"/>
                  <a:pt x="46" y="174"/>
                  <a:pt x="47" y="172"/>
                </a:cubicBezTo>
                <a:cubicBezTo>
                  <a:pt x="47" y="170"/>
                  <a:pt x="51" y="176"/>
                  <a:pt x="54" y="176"/>
                </a:cubicBezTo>
                <a:cubicBezTo>
                  <a:pt x="56" y="177"/>
                  <a:pt x="56" y="181"/>
                  <a:pt x="56" y="183"/>
                </a:cubicBezTo>
                <a:cubicBezTo>
                  <a:pt x="56" y="186"/>
                  <a:pt x="58" y="194"/>
                  <a:pt x="61" y="196"/>
                </a:cubicBezTo>
                <a:cubicBezTo>
                  <a:pt x="65" y="199"/>
                  <a:pt x="63" y="191"/>
                  <a:pt x="62" y="185"/>
                </a:cubicBezTo>
                <a:cubicBezTo>
                  <a:pt x="60" y="178"/>
                  <a:pt x="64" y="181"/>
                  <a:pt x="66" y="180"/>
                </a:cubicBezTo>
                <a:cubicBezTo>
                  <a:pt x="68" y="179"/>
                  <a:pt x="67" y="182"/>
                  <a:pt x="69" y="183"/>
                </a:cubicBezTo>
                <a:cubicBezTo>
                  <a:pt x="70" y="184"/>
                  <a:pt x="71" y="188"/>
                  <a:pt x="75" y="189"/>
                </a:cubicBezTo>
                <a:cubicBezTo>
                  <a:pt x="79" y="191"/>
                  <a:pt x="78" y="189"/>
                  <a:pt x="78" y="183"/>
                </a:cubicBezTo>
                <a:cubicBezTo>
                  <a:pt x="79" y="177"/>
                  <a:pt x="77" y="179"/>
                  <a:pt x="76" y="172"/>
                </a:cubicBezTo>
                <a:cubicBezTo>
                  <a:pt x="74" y="165"/>
                  <a:pt x="75" y="167"/>
                  <a:pt x="73" y="162"/>
                </a:cubicBezTo>
                <a:cubicBezTo>
                  <a:pt x="71" y="158"/>
                  <a:pt x="73" y="158"/>
                  <a:pt x="75" y="158"/>
                </a:cubicBezTo>
                <a:cubicBezTo>
                  <a:pt x="78" y="159"/>
                  <a:pt x="77" y="162"/>
                  <a:pt x="78" y="163"/>
                </a:cubicBezTo>
                <a:cubicBezTo>
                  <a:pt x="79" y="165"/>
                  <a:pt x="83" y="162"/>
                  <a:pt x="84" y="160"/>
                </a:cubicBezTo>
                <a:cubicBezTo>
                  <a:pt x="85" y="158"/>
                  <a:pt x="84" y="151"/>
                  <a:pt x="82" y="152"/>
                </a:cubicBezTo>
                <a:cubicBezTo>
                  <a:pt x="79" y="152"/>
                  <a:pt x="79" y="146"/>
                  <a:pt x="79" y="144"/>
                </a:cubicBezTo>
                <a:cubicBezTo>
                  <a:pt x="79" y="141"/>
                  <a:pt x="82" y="142"/>
                  <a:pt x="84" y="142"/>
                </a:cubicBezTo>
                <a:cubicBezTo>
                  <a:pt x="87" y="141"/>
                  <a:pt x="87" y="141"/>
                  <a:pt x="87" y="141"/>
                </a:cubicBezTo>
                <a:cubicBezTo>
                  <a:pt x="87" y="141"/>
                  <a:pt x="92" y="147"/>
                  <a:pt x="96" y="148"/>
                </a:cubicBezTo>
                <a:cubicBezTo>
                  <a:pt x="100" y="148"/>
                  <a:pt x="99" y="149"/>
                  <a:pt x="103" y="151"/>
                </a:cubicBezTo>
                <a:cubicBezTo>
                  <a:pt x="107" y="153"/>
                  <a:pt x="109" y="150"/>
                  <a:pt x="109" y="150"/>
                </a:cubicBezTo>
                <a:cubicBezTo>
                  <a:pt x="109" y="150"/>
                  <a:pt x="100" y="142"/>
                  <a:pt x="99" y="139"/>
                </a:cubicBezTo>
                <a:cubicBezTo>
                  <a:pt x="98" y="137"/>
                  <a:pt x="96" y="133"/>
                  <a:pt x="96" y="131"/>
                </a:cubicBezTo>
                <a:cubicBezTo>
                  <a:pt x="97" y="128"/>
                  <a:pt x="103" y="130"/>
                  <a:pt x="92" y="123"/>
                </a:cubicBezTo>
                <a:cubicBezTo>
                  <a:pt x="80" y="115"/>
                  <a:pt x="77" y="113"/>
                  <a:pt x="75" y="114"/>
                </a:cubicBezTo>
                <a:cubicBezTo>
                  <a:pt x="74" y="114"/>
                  <a:pt x="71" y="113"/>
                  <a:pt x="71" y="113"/>
                </a:cubicBezTo>
                <a:cubicBezTo>
                  <a:pt x="71" y="113"/>
                  <a:pt x="66" y="111"/>
                  <a:pt x="66" y="110"/>
                </a:cubicBezTo>
                <a:cubicBezTo>
                  <a:pt x="67" y="108"/>
                  <a:pt x="70" y="107"/>
                  <a:pt x="74" y="108"/>
                </a:cubicBezTo>
                <a:cubicBezTo>
                  <a:pt x="79" y="109"/>
                  <a:pt x="81" y="112"/>
                  <a:pt x="83" y="113"/>
                </a:cubicBezTo>
                <a:cubicBezTo>
                  <a:pt x="85" y="114"/>
                  <a:pt x="88" y="117"/>
                  <a:pt x="92" y="118"/>
                </a:cubicBezTo>
                <a:cubicBezTo>
                  <a:pt x="96" y="120"/>
                  <a:pt x="97" y="122"/>
                  <a:pt x="99" y="125"/>
                </a:cubicBezTo>
                <a:cubicBezTo>
                  <a:pt x="101" y="129"/>
                  <a:pt x="101" y="134"/>
                  <a:pt x="105" y="137"/>
                </a:cubicBezTo>
                <a:cubicBezTo>
                  <a:pt x="110" y="139"/>
                  <a:pt x="109" y="140"/>
                  <a:pt x="111" y="139"/>
                </a:cubicBezTo>
                <a:cubicBezTo>
                  <a:pt x="114" y="138"/>
                  <a:pt x="117" y="142"/>
                  <a:pt x="117" y="138"/>
                </a:cubicBezTo>
                <a:cubicBezTo>
                  <a:pt x="118" y="135"/>
                  <a:pt x="124" y="128"/>
                  <a:pt x="116" y="129"/>
                </a:cubicBezTo>
                <a:cubicBezTo>
                  <a:pt x="108" y="130"/>
                  <a:pt x="107" y="130"/>
                  <a:pt x="106" y="125"/>
                </a:cubicBezTo>
                <a:cubicBezTo>
                  <a:pt x="105" y="121"/>
                  <a:pt x="105" y="118"/>
                  <a:pt x="103" y="117"/>
                </a:cubicBezTo>
                <a:cubicBezTo>
                  <a:pt x="101" y="116"/>
                  <a:pt x="104" y="116"/>
                  <a:pt x="99" y="114"/>
                </a:cubicBezTo>
                <a:cubicBezTo>
                  <a:pt x="95" y="113"/>
                  <a:pt x="88" y="116"/>
                  <a:pt x="86" y="107"/>
                </a:cubicBezTo>
                <a:cubicBezTo>
                  <a:pt x="84" y="99"/>
                  <a:pt x="80" y="106"/>
                  <a:pt x="76" y="99"/>
                </a:cubicBezTo>
                <a:cubicBezTo>
                  <a:pt x="72" y="93"/>
                  <a:pt x="71" y="85"/>
                  <a:pt x="78" y="92"/>
                </a:cubicBezTo>
                <a:cubicBezTo>
                  <a:pt x="85" y="99"/>
                  <a:pt x="88" y="103"/>
                  <a:pt x="86" y="96"/>
                </a:cubicBezTo>
                <a:cubicBezTo>
                  <a:pt x="84" y="89"/>
                  <a:pt x="78" y="82"/>
                  <a:pt x="74" y="82"/>
                </a:cubicBezTo>
                <a:cubicBezTo>
                  <a:pt x="70" y="81"/>
                  <a:pt x="71" y="78"/>
                  <a:pt x="69" y="73"/>
                </a:cubicBezTo>
                <a:cubicBezTo>
                  <a:pt x="67" y="68"/>
                  <a:pt x="60" y="66"/>
                  <a:pt x="63" y="60"/>
                </a:cubicBezTo>
                <a:cubicBezTo>
                  <a:pt x="66" y="54"/>
                  <a:pt x="62" y="47"/>
                  <a:pt x="68" y="48"/>
                </a:cubicBezTo>
                <a:cubicBezTo>
                  <a:pt x="75" y="49"/>
                  <a:pt x="76" y="45"/>
                  <a:pt x="77" y="53"/>
                </a:cubicBezTo>
                <a:cubicBezTo>
                  <a:pt x="78" y="61"/>
                  <a:pt x="79" y="62"/>
                  <a:pt x="83" y="64"/>
                </a:cubicBezTo>
                <a:cubicBezTo>
                  <a:pt x="86" y="65"/>
                  <a:pt x="78" y="73"/>
                  <a:pt x="84" y="75"/>
                </a:cubicBezTo>
                <a:cubicBezTo>
                  <a:pt x="91" y="78"/>
                  <a:pt x="92" y="78"/>
                  <a:pt x="93" y="76"/>
                </a:cubicBezTo>
                <a:cubicBezTo>
                  <a:pt x="93" y="73"/>
                  <a:pt x="90" y="68"/>
                  <a:pt x="90" y="64"/>
                </a:cubicBezTo>
                <a:cubicBezTo>
                  <a:pt x="90" y="61"/>
                  <a:pt x="94" y="72"/>
                  <a:pt x="97" y="70"/>
                </a:cubicBezTo>
                <a:cubicBezTo>
                  <a:pt x="101" y="68"/>
                  <a:pt x="99" y="62"/>
                  <a:pt x="96" y="62"/>
                </a:cubicBezTo>
                <a:cubicBezTo>
                  <a:pt x="93" y="62"/>
                  <a:pt x="92" y="58"/>
                  <a:pt x="95" y="58"/>
                </a:cubicBezTo>
                <a:cubicBezTo>
                  <a:pt x="97" y="58"/>
                  <a:pt x="97" y="57"/>
                  <a:pt x="101" y="61"/>
                </a:cubicBezTo>
                <a:cubicBezTo>
                  <a:pt x="105" y="66"/>
                  <a:pt x="108" y="70"/>
                  <a:pt x="109" y="66"/>
                </a:cubicBezTo>
                <a:cubicBezTo>
                  <a:pt x="111" y="62"/>
                  <a:pt x="109" y="56"/>
                  <a:pt x="106" y="55"/>
                </a:cubicBezTo>
                <a:cubicBezTo>
                  <a:pt x="104" y="55"/>
                  <a:pt x="100" y="53"/>
                  <a:pt x="98" y="50"/>
                </a:cubicBezTo>
                <a:cubicBezTo>
                  <a:pt x="97" y="47"/>
                  <a:pt x="91" y="45"/>
                  <a:pt x="96" y="44"/>
                </a:cubicBezTo>
                <a:cubicBezTo>
                  <a:pt x="102" y="44"/>
                  <a:pt x="101" y="41"/>
                  <a:pt x="105" y="44"/>
                </a:cubicBezTo>
                <a:cubicBezTo>
                  <a:pt x="108" y="46"/>
                  <a:pt x="110" y="43"/>
                  <a:pt x="110" y="43"/>
                </a:cubicBezTo>
                <a:cubicBezTo>
                  <a:pt x="110" y="43"/>
                  <a:pt x="113" y="38"/>
                  <a:pt x="118" y="40"/>
                </a:cubicBezTo>
                <a:cubicBezTo>
                  <a:pt x="123" y="42"/>
                  <a:pt x="120" y="45"/>
                  <a:pt x="126" y="40"/>
                </a:cubicBezTo>
                <a:cubicBezTo>
                  <a:pt x="131" y="36"/>
                  <a:pt x="141" y="36"/>
                  <a:pt x="143" y="37"/>
                </a:cubicBezTo>
                <a:cubicBezTo>
                  <a:pt x="144" y="38"/>
                  <a:pt x="140" y="40"/>
                  <a:pt x="146" y="40"/>
                </a:cubicBezTo>
                <a:cubicBezTo>
                  <a:pt x="152" y="40"/>
                  <a:pt x="144" y="31"/>
                  <a:pt x="152" y="40"/>
                </a:cubicBezTo>
                <a:cubicBezTo>
                  <a:pt x="156" y="43"/>
                  <a:pt x="156" y="43"/>
                  <a:pt x="156" y="43"/>
                </a:cubicBezTo>
                <a:cubicBezTo>
                  <a:pt x="159" y="36"/>
                  <a:pt x="164" y="31"/>
                  <a:pt x="167" y="23"/>
                </a:cubicBezTo>
                <a:cubicBezTo>
                  <a:pt x="168" y="19"/>
                  <a:pt x="169" y="15"/>
                  <a:pt x="168" y="11"/>
                </a:cubicBezTo>
                <a:cubicBezTo>
                  <a:pt x="167" y="8"/>
                  <a:pt x="164" y="3"/>
                  <a:pt x="165" y="0"/>
                </a:cubicBezTo>
                <a:cubicBezTo>
                  <a:pt x="165" y="1"/>
                  <a:pt x="165" y="1"/>
                  <a:pt x="165" y="1"/>
                </a:cubicBezTo>
                <a:cubicBezTo>
                  <a:pt x="158" y="5"/>
                  <a:pt x="152" y="13"/>
                  <a:pt x="147" y="18"/>
                </a:cubicBezTo>
                <a:cubicBezTo>
                  <a:pt x="140" y="24"/>
                  <a:pt x="141" y="24"/>
                  <a:pt x="133" y="23"/>
                </a:cubicBezTo>
                <a:cubicBezTo>
                  <a:pt x="127" y="23"/>
                  <a:pt x="120" y="24"/>
                  <a:pt x="115" y="21"/>
                </a:cubicBezTo>
                <a:cubicBezTo>
                  <a:pt x="111" y="19"/>
                  <a:pt x="109" y="16"/>
                  <a:pt x="104" y="15"/>
                </a:cubicBezTo>
                <a:cubicBezTo>
                  <a:pt x="97" y="13"/>
                  <a:pt x="85" y="21"/>
                  <a:pt x="78" y="19"/>
                </a:cubicBezTo>
                <a:cubicBezTo>
                  <a:pt x="77" y="17"/>
                  <a:pt x="77" y="17"/>
                  <a:pt x="77" y="17"/>
                </a:cubicBezTo>
                <a:cubicBezTo>
                  <a:pt x="75" y="22"/>
                  <a:pt x="71" y="25"/>
                  <a:pt x="67" y="27"/>
                </a:cubicBezTo>
                <a:cubicBezTo>
                  <a:pt x="63" y="28"/>
                  <a:pt x="60" y="30"/>
                  <a:pt x="56" y="31"/>
                </a:cubicBezTo>
                <a:cubicBezTo>
                  <a:pt x="54" y="31"/>
                  <a:pt x="50" y="30"/>
                  <a:pt x="48" y="31"/>
                </a:cubicBezTo>
                <a:cubicBezTo>
                  <a:pt x="44" y="32"/>
                  <a:pt x="43" y="38"/>
                  <a:pt x="40" y="42"/>
                </a:cubicBezTo>
                <a:cubicBezTo>
                  <a:pt x="33" y="37"/>
                  <a:pt x="24" y="39"/>
                  <a:pt x="16" y="41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98" name="Freeform 533"/>
          <p:cNvSpPr>
            <a:spLocks/>
          </p:cNvSpPr>
          <p:nvPr userDrawn="1"/>
        </p:nvSpPr>
        <p:spPr bwMode="auto">
          <a:xfrm>
            <a:off x="5999884" y="3652847"/>
            <a:ext cx="231163" cy="169185"/>
          </a:xfrm>
          <a:custGeom>
            <a:avLst/>
            <a:gdLst>
              <a:gd name="T0" fmla="*/ 2147483646 w 248"/>
              <a:gd name="T1" fmla="*/ 2147483646 h 181"/>
              <a:gd name="T2" fmla="*/ 2147483646 w 248"/>
              <a:gd name="T3" fmla="*/ 2147483646 h 181"/>
              <a:gd name="T4" fmla="*/ 2147483646 w 248"/>
              <a:gd name="T5" fmla="*/ 2147483646 h 181"/>
              <a:gd name="T6" fmla="*/ 2147483646 w 248"/>
              <a:gd name="T7" fmla="*/ 2147483646 h 181"/>
              <a:gd name="T8" fmla="*/ 2147483646 w 248"/>
              <a:gd name="T9" fmla="*/ 2147483646 h 181"/>
              <a:gd name="T10" fmla="*/ 2147483646 w 248"/>
              <a:gd name="T11" fmla="*/ 2147483646 h 181"/>
              <a:gd name="T12" fmla="*/ 2147483646 w 248"/>
              <a:gd name="T13" fmla="*/ 2147483646 h 181"/>
              <a:gd name="T14" fmla="*/ 2147483646 w 248"/>
              <a:gd name="T15" fmla="*/ 2147483646 h 181"/>
              <a:gd name="T16" fmla="*/ 2147483646 w 248"/>
              <a:gd name="T17" fmla="*/ 2147483646 h 181"/>
              <a:gd name="T18" fmla="*/ 2147483646 w 248"/>
              <a:gd name="T19" fmla="*/ 2147483646 h 181"/>
              <a:gd name="T20" fmla="*/ 2147483646 w 248"/>
              <a:gd name="T21" fmla="*/ 2147483646 h 181"/>
              <a:gd name="T22" fmla="*/ 2147483646 w 248"/>
              <a:gd name="T23" fmla="*/ 2147483646 h 181"/>
              <a:gd name="T24" fmla="*/ 2147483646 w 248"/>
              <a:gd name="T25" fmla="*/ 2147483646 h 181"/>
              <a:gd name="T26" fmla="*/ 2147483646 w 248"/>
              <a:gd name="T27" fmla="*/ 2147483646 h 181"/>
              <a:gd name="T28" fmla="*/ 2147483646 w 248"/>
              <a:gd name="T29" fmla="*/ 2147483646 h 181"/>
              <a:gd name="T30" fmla="*/ 2147483646 w 248"/>
              <a:gd name="T31" fmla="*/ 2147483646 h 181"/>
              <a:gd name="T32" fmla="*/ 2147483646 w 248"/>
              <a:gd name="T33" fmla="*/ 2147483646 h 181"/>
              <a:gd name="T34" fmla="*/ 2147483646 w 248"/>
              <a:gd name="T35" fmla="*/ 2147483646 h 181"/>
              <a:gd name="T36" fmla="*/ 2147483646 w 248"/>
              <a:gd name="T37" fmla="*/ 2147483646 h 181"/>
              <a:gd name="T38" fmla="*/ 2147483646 w 248"/>
              <a:gd name="T39" fmla="*/ 2147483646 h 181"/>
              <a:gd name="T40" fmla="*/ 2147483646 w 248"/>
              <a:gd name="T41" fmla="*/ 2147483646 h 181"/>
              <a:gd name="T42" fmla="*/ 2147483646 w 248"/>
              <a:gd name="T43" fmla="*/ 2147483646 h 181"/>
              <a:gd name="T44" fmla="*/ 2147483646 w 248"/>
              <a:gd name="T45" fmla="*/ 2147483646 h 181"/>
              <a:gd name="T46" fmla="*/ 0 w 248"/>
              <a:gd name="T47" fmla="*/ 2147483646 h 181"/>
              <a:gd name="T48" fmla="*/ 0 w 248"/>
              <a:gd name="T49" fmla="*/ 2147483646 h 181"/>
              <a:gd name="T50" fmla="*/ 2147483646 w 248"/>
              <a:gd name="T51" fmla="*/ 2147483646 h 181"/>
              <a:gd name="T52" fmla="*/ 2147483646 w 248"/>
              <a:gd name="T53" fmla="*/ 2147483646 h 181"/>
              <a:gd name="T54" fmla="*/ 2147483646 w 248"/>
              <a:gd name="T55" fmla="*/ 2147483646 h 181"/>
              <a:gd name="T56" fmla="*/ 2147483646 w 248"/>
              <a:gd name="T57" fmla="*/ 2147483646 h 181"/>
              <a:gd name="T58" fmla="*/ 2147483646 w 248"/>
              <a:gd name="T59" fmla="*/ 2147483646 h 181"/>
              <a:gd name="T60" fmla="*/ 2147483646 w 248"/>
              <a:gd name="T61" fmla="*/ 2147483646 h 181"/>
              <a:gd name="T62" fmla="*/ 2147483646 w 248"/>
              <a:gd name="T63" fmla="*/ 2147483646 h 181"/>
              <a:gd name="T64" fmla="*/ 2147483646 w 248"/>
              <a:gd name="T65" fmla="*/ 2147483646 h 181"/>
              <a:gd name="T66" fmla="*/ 2147483646 w 248"/>
              <a:gd name="T67" fmla="*/ 2147483646 h 181"/>
              <a:gd name="T68" fmla="*/ 2147483646 w 248"/>
              <a:gd name="T69" fmla="*/ 2147483646 h 181"/>
              <a:gd name="T70" fmla="*/ 2147483646 w 248"/>
              <a:gd name="T71" fmla="*/ 2147483646 h 181"/>
              <a:gd name="T72" fmla="*/ 2147483646 w 248"/>
              <a:gd name="T73" fmla="*/ 2147483646 h 181"/>
              <a:gd name="T74" fmla="*/ 2147483646 w 248"/>
              <a:gd name="T75" fmla="*/ 2147483646 h 181"/>
              <a:gd name="T76" fmla="*/ 2147483646 w 248"/>
              <a:gd name="T77" fmla="*/ 2147483646 h 181"/>
              <a:gd name="T78" fmla="*/ 2147483646 w 248"/>
              <a:gd name="T79" fmla="*/ 2147483646 h 181"/>
              <a:gd name="T80" fmla="*/ 2147483646 w 248"/>
              <a:gd name="T81" fmla="*/ 2147483646 h 181"/>
              <a:gd name="T82" fmla="*/ 2147483646 w 248"/>
              <a:gd name="T83" fmla="*/ 2147483646 h 181"/>
              <a:gd name="T84" fmla="*/ 2147483646 w 248"/>
              <a:gd name="T85" fmla="*/ 2147483646 h 181"/>
              <a:gd name="T86" fmla="*/ 2147483646 w 248"/>
              <a:gd name="T87" fmla="*/ 2147483646 h 181"/>
              <a:gd name="T88" fmla="*/ 2147483646 w 248"/>
              <a:gd name="T89" fmla="*/ 2147483646 h 181"/>
              <a:gd name="T90" fmla="*/ 2147483646 w 248"/>
              <a:gd name="T91" fmla="*/ 2147483646 h 181"/>
              <a:gd name="T92" fmla="*/ 2147483646 w 248"/>
              <a:gd name="T93" fmla="*/ 2147483646 h 181"/>
              <a:gd name="T94" fmla="*/ 2147483646 w 248"/>
              <a:gd name="T95" fmla="*/ 2147483646 h 181"/>
              <a:gd name="T96" fmla="*/ 2147483646 w 248"/>
              <a:gd name="T97" fmla="*/ 2147483646 h 181"/>
              <a:gd name="T98" fmla="*/ 2147483646 w 248"/>
              <a:gd name="T99" fmla="*/ 2147483646 h 181"/>
              <a:gd name="T100" fmla="*/ 2147483646 w 248"/>
              <a:gd name="T101" fmla="*/ 2147483646 h 181"/>
              <a:gd name="T102" fmla="*/ 2147483646 w 248"/>
              <a:gd name="T103" fmla="*/ 2147483646 h 181"/>
              <a:gd name="T104" fmla="*/ 2147483646 w 248"/>
              <a:gd name="T105" fmla="*/ 2147483646 h 181"/>
              <a:gd name="T106" fmla="*/ 2147483646 w 248"/>
              <a:gd name="T107" fmla="*/ 2147483646 h 181"/>
              <a:gd name="T108" fmla="*/ 2147483646 w 248"/>
              <a:gd name="T109" fmla="*/ 2147483646 h 181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48"/>
              <a:gd name="T166" fmla="*/ 0 h 181"/>
              <a:gd name="T167" fmla="*/ 248 w 248"/>
              <a:gd name="T168" fmla="*/ 181 h 181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48" h="181">
                <a:moveTo>
                  <a:pt x="247" y="121"/>
                </a:moveTo>
                <a:cubicBezTo>
                  <a:pt x="246" y="119"/>
                  <a:pt x="245" y="118"/>
                  <a:pt x="244" y="116"/>
                </a:cubicBezTo>
                <a:cubicBezTo>
                  <a:pt x="239" y="114"/>
                  <a:pt x="235" y="115"/>
                  <a:pt x="229" y="115"/>
                </a:cubicBezTo>
                <a:cubicBezTo>
                  <a:pt x="225" y="115"/>
                  <a:pt x="218" y="114"/>
                  <a:pt x="214" y="117"/>
                </a:cubicBezTo>
                <a:cubicBezTo>
                  <a:pt x="211" y="115"/>
                  <a:pt x="205" y="110"/>
                  <a:pt x="205" y="107"/>
                </a:cubicBezTo>
                <a:cubicBezTo>
                  <a:pt x="204" y="103"/>
                  <a:pt x="209" y="95"/>
                  <a:pt x="209" y="91"/>
                </a:cubicBezTo>
                <a:cubicBezTo>
                  <a:pt x="210" y="82"/>
                  <a:pt x="206" y="74"/>
                  <a:pt x="205" y="65"/>
                </a:cubicBezTo>
                <a:cubicBezTo>
                  <a:pt x="205" y="60"/>
                  <a:pt x="208" y="53"/>
                  <a:pt x="205" y="48"/>
                </a:cubicBezTo>
                <a:cubicBezTo>
                  <a:pt x="202" y="42"/>
                  <a:pt x="194" y="36"/>
                  <a:pt x="188" y="32"/>
                </a:cubicBezTo>
                <a:cubicBezTo>
                  <a:pt x="182" y="27"/>
                  <a:pt x="178" y="20"/>
                  <a:pt x="177" y="12"/>
                </a:cubicBezTo>
                <a:cubicBezTo>
                  <a:pt x="176" y="9"/>
                  <a:pt x="177" y="5"/>
                  <a:pt x="175" y="3"/>
                </a:cubicBezTo>
                <a:cubicBezTo>
                  <a:pt x="173" y="0"/>
                  <a:pt x="166" y="1"/>
                  <a:pt x="163" y="1"/>
                </a:cubicBezTo>
                <a:cubicBezTo>
                  <a:pt x="155" y="1"/>
                  <a:pt x="156" y="2"/>
                  <a:pt x="154" y="11"/>
                </a:cubicBezTo>
                <a:cubicBezTo>
                  <a:pt x="152" y="11"/>
                  <a:pt x="151" y="12"/>
                  <a:pt x="149" y="12"/>
                </a:cubicBezTo>
                <a:cubicBezTo>
                  <a:pt x="141" y="15"/>
                  <a:pt x="135" y="22"/>
                  <a:pt x="126" y="19"/>
                </a:cubicBezTo>
                <a:cubicBezTo>
                  <a:pt x="121" y="17"/>
                  <a:pt x="117" y="19"/>
                  <a:pt x="112" y="17"/>
                </a:cubicBezTo>
                <a:cubicBezTo>
                  <a:pt x="104" y="15"/>
                  <a:pt x="96" y="10"/>
                  <a:pt x="87" y="10"/>
                </a:cubicBezTo>
                <a:cubicBezTo>
                  <a:pt x="84" y="10"/>
                  <a:pt x="79" y="11"/>
                  <a:pt x="76" y="13"/>
                </a:cubicBezTo>
                <a:cubicBezTo>
                  <a:pt x="72" y="15"/>
                  <a:pt x="72" y="18"/>
                  <a:pt x="69" y="22"/>
                </a:cubicBezTo>
                <a:cubicBezTo>
                  <a:pt x="65" y="27"/>
                  <a:pt x="57" y="23"/>
                  <a:pt x="52" y="28"/>
                </a:cubicBezTo>
                <a:cubicBezTo>
                  <a:pt x="44" y="34"/>
                  <a:pt x="40" y="46"/>
                  <a:pt x="36" y="56"/>
                </a:cubicBezTo>
                <a:cubicBezTo>
                  <a:pt x="33" y="62"/>
                  <a:pt x="31" y="75"/>
                  <a:pt x="25" y="78"/>
                </a:cubicBezTo>
                <a:cubicBezTo>
                  <a:pt x="21" y="80"/>
                  <a:pt x="14" y="80"/>
                  <a:pt x="10" y="82"/>
                </a:cubicBezTo>
                <a:cubicBezTo>
                  <a:pt x="6" y="83"/>
                  <a:pt x="4" y="83"/>
                  <a:pt x="0" y="83"/>
                </a:cubicBezTo>
                <a:cubicBezTo>
                  <a:pt x="0" y="83"/>
                  <a:pt x="0" y="83"/>
                  <a:pt x="0" y="83"/>
                </a:cubicBezTo>
                <a:cubicBezTo>
                  <a:pt x="1" y="84"/>
                  <a:pt x="1" y="84"/>
                  <a:pt x="2" y="85"/>
                </a:cubicBezTo>
                <a:cubicBezTo>
                  <a:pt x="6" y="90"/>
                  <a:pt x="8" y="98"/>
                  <a:pt x="11" y="104"/>
                </a:cubicBezTo>
                <a:cubicBezTo>
                  <a:pt x="14" y="109"/>
                  <a:pt x="17" y="114"/>
                  <a:pt x="20" y="119"/>
                </a:cubicBezTo>
                <a:cubicBezTo>
                  <a:pt x="25" y="118"/>
                  <a:pt x="29" y="122"/>
                  <a:pt x="34" y="123"/>
                </a:cubicBezTo>
                <a:cubicBezTo>
                  <a:pt x="34" y="126"/>
                  <a:pt x="32" y="131"/>
                  <a:pt x="31" y="134"/>
                </a:cubicBezTo>
                <a:cubicBezTo>
                  <a:pt x="38" y="135"/>
                  <a:pt x="44" y="140"/>
                  <a:pt x="50" y="143"/>
                </a:cubicBezTo>
                <a:cubicBezTo>
                  <a:pt x="54" y="145"/>
                  <a:pt x="58" y="146"/>
                  <a:pt x="61" y="148"/>
                </a:cubicBezTo>
                <a:cubicBezTo>
                  <a:pt x="64" y="150"/>
                  <a:pt x="65" y="153"/>
                  <a:pt x="67" y="156"/>
                </a:cubicBezTo>
                <a:cubicBezTo>
                  <a:pt x="66" y="159"/>
                  <a:pt x="64" y="162"/>
                  <a:pt x="63" y="164"/>
                </a:cubicBezTo>
                <a:cubicBezTo>
                  <a:pt x="63" y="164"/>
                  <a:pt x="63" y="164"/>
                  <a:pt x="63" y="164"/>
                </a:cubicBezTo>
                <a:cubicBezTo>
                  <a:pt x="70" y="164"/>
                  <a:pt x="75" y="167"/>
                  <a:pt x="82" y="170"/>
                </a:cubicBezTo>
                <a:cubicBezTo>
                  <a:pt x="88" y="173"/>
                  <a:pt x="95" y="171"/>
                  <a:pt x="102" y="174"/>
                </a:cubicBezTo>
                <a:cubicBezTo>
                  <a:pt x="109" y="177"/>
                  <a:pt x="115" y="178"/>
                  <a:pt x="123" y="177"/>
                </a:cubicBezTo>
                <a:cubicBezTo>
                  <a:pt x="126" y="176"/>
                  <a:pt x="128" y="175"/>
                  <a:pt x="131" y="175"/>
                </a:cubicBezTo>
                <a:cubicBezTo>
                  <a:pt x="134" y="176"/>
                  <a:pt x="136" y="179"/>
                  <a:pt x="139" y="179"/>
                </a:cubicBezTo>
                <a:cubicBezTo>
                  <a:pt x="143" y="179"/>
                  <a:pt x="146" y="174"/>
                  <a:pt x="149" y="171"/>
                </a:cubicBezTo>
                <a:cubicBezTo>
                  <a:pt x="153" y="169"/>
                  <a:pt x="156" y="168"/>
                  <a:pt x="160" y="167"/>
                </a:cubicBezTo>
                <a:cubicBezTo>
                  <a:pt x="167" y="166"/>
                  <a:pt x="176" y="160"/>
                  <a:pt x="183" y="161"/>
                </a:cubicBezTo>
                <a:cubicBezTo>
                  <a:pt x="189" y="161"/>
                  <a:pt x="192" y="165"/>
                  <a:pt x="197" y="167"/>
                </a:cubicBezTo>
                <a:cubicBezTo>
                  <a:pt x="201" y="169"/>
                  <a:pt x="206" y="171"/>
                  <a:pt x="211" y="173"/>
                </a:cubicBezTo>
                <a:cubicBezTo>
                  <a:pt x="216" y="175"/>
                  <a:pt x="219" y="175"/>
                  <a:pt x="221" y="181"/>
                </a:cubicBezTo>
                <a:cubicBezTo>
                  <a:pt x="221" y="181"/>
                  <a:pt x="221" y="181"/>
                  <a:pt x="221" y="181"/>
                </a:cubicBezTo>
                <a:cubicBezTo>
                  <a:pt x="222" y="170"/>
                  <a:pt x="224" y="166"/>
                  <a:pt x="223" y="160"/>
                </a:cubicBezTo>
                <a:cubicBezTo>
                  <a:pt x="222" y="154"/>
                  <a:pt x="220" y="151"/>
                  <a:pt x="222" y="147"/>
                </a:cubicBezTo>
                <a:cubicBezTo>
                  <a:pt x="224" y="142"/>
                  <a:pt x="228" y="141"/>
                  <a:pt x="228" y="141"/>
                </a:cubicBezTo>
                <a:cubicBezTo>
                  <a:pt x="228" y="141"/>
                  <a:pt x="216" y="137"/>
                  <a:pt x="223" y="133"/>
                </a:cubicBezTo>
                <a:cubicBezTo>
                  <a:pt x="230" y="128"/>
                  <a:pt x="237" y="128"/>
                  <a:pt x="236" y="135"/>
                </a:cubicBezTo>
                <a:cubicBezTo>
                  <a:pt x="235" y="142"/>
                  <a:pt x="236" y="141"/>
                  <a:pt x="240" y="140"/>
                </a:cubicBezTo>
                <a:cubicBezTo>
                  <a:pt x="244" y="138"/>
                  <a:pt x="247" y="127"/>
                  <a:pt x="248" y="121"/>
                </a:cubicBezTo>
                <a:lnTo>
                  <a:pt x="247" y="12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199" name="Freeform 534"/>
          <p:cNvSpPr>
            <a:spLocks/>
          </p:cNvSpPr>
          <p:nvPr userDrawn="1"/>
        </p:nvSpPr>
        <p:spPr bwMode="auto">
          <a:xfrm>
            <a:off x="6160694" y="3644472"/>
            <a:ext cx="77055" cy="98829"/>
          </a:xfrm>
          <a:custGeom>
            <a:avLst/>
            <a:gdLst>
              <a:gd name="T0" fmla="*/ 0 w 84"/>
              <a:gd name="T1" fmla="*/ 2147483646 h 106"/>
              <a:gd name="T2" fmla="*/ 2147483646 w 84"/>
              <a:gd name="T3" fmla="*/ 2147483646 h 106"/>
              <a:gd name="T4" fmla="*/ 2147483646 w 84"/>
              <a:gd name="T5" fmla="*/ 2147483646 h 106"/>
              <a:gd name="T6" fmla="*/ 2147483646 w 84"/>
              <a:gd name="T7" fmla="*/ 2147483646 h 106"/>
              <a:gd name="T8" fmla="*/ 2147483646 w 84"/>
              <a:gd name="T9" fmla="*/ 2147483646 h 106"/>
              <a:gd name="T10" fmla="*/ 2147483646 w 84"/>
              <a:gd name="T11" fmla="*/ 2147483646 h 106"/>
              <a:gd name="T12" fmla="*/ 2147483646 w 84"/>
              <a:gd name="T13" fmla="*/ 2147483646 h 106"/>
              <a:gd name="T14" fmla="*/ 2147483646 w 84"/>
              <a:gd name="T15" fmla="*/ 2147483646 h 106"/>
              <a:gd name="T16" fmla="*/ 2147483646 w 84"/>
              <a:gd name="T17" fmla="*/ 2147483646 h 106"/>
              <a:gd name="T18" fmla="*/ 2147483646 w 84"/>
              <a:gd name="T19" fmla="*/ 2147483646 h 106"/>
              <a:gd name="T20" fmla="*/ 2147483646 w 84"/>
              <a:gd name="T21" fmla="*/ 2147483646 h 106"/>
              <a:gd name="T22" fmla="*/ 2147483646 w 84"/>
              <a:gd name="T23" fmla="*/ 2147483646 h 106"/>
              <a:gd name="T24" fmla="*/ 2147483646 w 84"/>
              <a:gd name="T25" fmla="*/ 2147483646 h 106"/>
              <a:gd name="T26" fmla="*/ 2147483646 w 84"/>
              <a:gd name="T27" fmla="*/ 2147483646 h 106"/>
              <a:gd name="T28" fmla="*/ 2147483646 w 84"/>
              <a:gd name="T29" fmla="*/ 2147483646 h 106"/>
              <a:gd name="T30" fmla="*/ 2147483646 w 84"/>
              <a:gd name="T31" fmla="*/ 2147483646 h 106"/>
              <a:gd name="T32" fmla="*/ 2147483646 w 84"/>
              <a:gd name="T33" fmla="*/ 2147483646 h 106"/>
              <a:gd name="T34" fmla="*/ 2147483646 w 84"/>
              <a:gd name="T35" fmla="*/ 2147483646 h 106"/>
              <a:gd name="T36" fmla="*/ 2147483646 w 84"/>
              <a:gd name="T37" fmla="*/ 2147483646 h 106"/>
              <a:gd name="T38" fmla="*/ 2147483646 w 84"/>
              <a:gd name="T39" fmla="*/ 2147483646 h 106"/>
              <a:gd name="T40" fmla="*/ 2147483646 w 84"/>
              <a:gd name="T41" fmla="*/ 2147483646 h 106"/>
              <a:gd name="T42" fmla="*/ 0 w 84"/>
              <a:gd name="T43" fmla="*/ 2147483646 h 10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4"/>
              <a:gd name="T67" fmla="*/ 0 h 106"/>
              <a:gd name="T68" fmla="*/ 84 w 84"/>
              <a:gd name="T69" fmla="*/ 106 h 10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4" h="106">
                <a:moveTo>
                  <a:pt x="0" y="11"/>
                </a:moveTo>
                <a:cubicBezTo>
                  <a:pt x="1" y="10"/>
                  <a:pt x="1" y="6"/>
                  <a:pt x="2" y="5"/>
                </a:cubicBezTo>
                <a:cubicBezTo>
                  <a:pt x="4" y="3"/>
                  <a:pt x="6" y="3"/>
                  <a:pt x="8" y="3"/>
                </a:cubicBezTo>
                <a:cubicBezTo>
                  <a:pt x="17" y="1"/>
                  <a:pt x="18" y="0"/>
                  <a:pt x="25" y="4"/>
                </a:cubicBezTo>
                <a:cubicBezTo>
                  <a:pt x="32" y="8"/>
                  <a:pt x="39" y="9"/>
                  <a:pt x="46" y="12"/>
                </a:cubicBezTo>
                <a:cubicBezTo>
                  <a:pt x="51" y="14"/>
                  <a:pt x="58" y="16"/>
                  <a:pt x="60" y="20"/>
                </a:cubicBezTo>
                <a:cubicBezTo>
                  <a:pt x="61" y="23"/>
                  <a:pt x="61" y="28"/>
                  <a:pt x="63" y="31"/>
                </a:cubicBezTo>
                <a:cubicBezTo>
                  <a:pt x="64" y="35"/>
                  <a:pt x="66" y="39"/>
                  <a:pt x="67" y="43"/>
                </a:cubicBezTo>
                <a:cubicBezTo>
                  <a:pt x="69" y="49"/>
                  <a:pt x="72" y="54"/>
                  <a:pt x="76" y="59"/>
                </a:cubicBezTo>
                <a:cubicBezTo>
                  <a:pt x="80" y="63"/>
                  <a:pt x="82" y="64"/>
                  <a:pt x="82" y="69"/>
                </a:cubicBezTo>
                <a:cubicBezTo>
                  <a:pt x="82" y="73"/>
                  <a:pt x="84" y="78"/>
                  <a:pt x="83" y="82"/>
                </a:cubicBezTo>
                <a:cubicBezTo>
                  <a:pt x="78" y="83"/>
                  <a:pt x="75" y="82"/>
                  <a:pt x="69" y="81"/>
                </a:cubicBezTo>
                <a:cubicBezTo>
                  <a:pt x="64" y="81"/>
                  <a:pt x="58" y="80"/>
                  <a:pt x="55" y="85"/>
                </a:cubicBezTo>
                <a:cubicBezTo>
                  <a:pt x="53" y="89"/>
                  <a:pt x="54" y="98"/>
                  <a:pt x="50" y="102"/>
                </a:cubicBezTo>
                <a:cubicBezTo>
                  <a:pt x="47" y="105"/>
                  <a:pt x="39" y="105"/>
                  <a:pt x="36" y="106"/>
                </a:cubicBezTo>
                <a:cubicBezTo>
                  <a:pt x="38" y="101"/>
                  <a:pt x="38" y="101"/>
                  <a:pt x="38" y="101"/>
                </a:cubicBezTo>
                <a:cubicBezTo>
                  <a:pt x="39" y="92"/>
                  <a:pt x="34" y="84"/>
                  <a:pt x="34" y="75"/>
                </a:cubicBezTo>
                <a:cubicBezTo>
                  <a:pt x="34" y="70"/>
                  <a:pt x="36" y="63"/>
                  <a:pt x="34" y="58"/>
                </a:cubicBezTo>
                <a:cubicBezTo>
                  <a:pt x="31" y="52"/>
                  <a:pt x="23" y="46"/>
                  <a:pt x="17" y="42"/>
                </a:cubicBezTo>
                <a:cubicBezTo>
                  <a:pt x="11" y="37"/>
                  <a:pt x="7" y="30"/>
                  <a:pt x="6" y="22"/>
                </a:cubicBezTo>
                <a:cubicBezTo>
                  <a:pt x="5" y="19"/>
                  <a:pt x="6" y="15"/>
                  <a:pt x="4" y="13"/>
                </a:cubicBezTo>
                <a:cubicBezTo>
                  <a:pt x="3" y="12"/>
                  <a:pt x="2" y="11"/>
                  <a:pt x="0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00" name="Freeform 535"/>
          <p:cNvSpPr>
            <a:spLocks/>
          </p:cNvSpPr>
          <p:nvPr userDrawn="1"/>
        </p:nvSpPr>
        <p:spPr bwMode="auto">
          <a:xfrm>
            <a:off x="5902730" y="3641122"/>
            <a:ext cx="160809" cy="100505"/>
          </a:xfrm>
          <a:custGeom>
            <a:avLst/>
            <a:gdLst>
              <a:gd name="T0" fmla="*/ 2147483646 w 173"/>
              <a:gd name="T1" fmla="*/ 2147483646 h 109"/>
              <a:gd name="T2" fmla="*/ 2147483646 w 173"/>
              <a:gd name="T3" fmla="*/ 2147483646 h 109"/>
              <a:gd name="T4" fmla="*/ 2147483646 w 173"/>
              <a:gd name="T5" fmla="*/ 2147483646 h 109"/>
              <a:gd name="T6" fmla="*/ 2147483646 w 173"/>
              <a:gd name="T7" fmla="*/ 2147483646 h 109"/>
              <a:gd name="T8" fmla="*/ 2147483646 w 173"/>
              <a:gd name="T9" fmla="*/ 2147483646 h 109"/>
              <a:gd name="T10" fmla="*/ 2147483646 w 173"/>
              <a:gd name="T11" fmla="*/ 2147483646 h 109"/>
              <a:gd name="T12" fmla="*/ 2147483646 w 173"/>
              <a:gd name="T13" fmla="*/ 2147483646 h 109"/>
              <a:gd name="T14" fmla="*/ 0 w 173"/>
              <a:gd name="T15" fmla="*/ 2147483646 h 109"/>
              <a:gd name="T16" fmla="*/ 0 w 173"/>
              <a:gd name="T17" fmla="*/ 2147483646 h 109"/>
              <a:gd name="T18" fmla="*/ 2147483646 w 173"/>
              <a:gd name="T19" fmla="*/ 2147483646 h 109"/>
              <a:gd name="T20" fmla="*/ 2147483646 w 173"/>
              <a:gd name="T21" fmla="*/ 2147483646 h 109"/>
              <a:gd name="T22" fmla="*/ 2147483646 w 173"/>
              <a:gd name="T23" fmla="*/ 2147483646 h 109"/>
              <a:gd name="T24" fmla="*/ 2147483646 w 173"/>
              <a:gd name="T25" fmla="*/ 2147483646 h 109"/>
              <a:gd name="T26" fmla="*/ 2147483646 w 173"/>
              <a:gd name="T27" fmla="*/ 2147483646 h 109"/>
              <a:gd name="T28" fmla="*/ 2147483646 w 173"/>
              <a:gd name="T29" fmla="*/ 2147483646 h 109"/>
              <a:gd name="T30" fmla="*/ 2147483646 w 173"/>
              <a:gd name="T31" fmla="*/ 2147483646 h 109"/>
              <a:gd name="T32" fmla="*/ 2147483646 w 173"/>
              <a:gd name="T33" fmla="*/ 2147483646 h 109"/>
              <a:gd name="T34" fmla="*/ 2147483646 w 173"/>
              <a:gd name="T35" fmla="*/ 2147483646 h 109"/>
              <a:gd name="T36" fmla="*/ 2147483646 w 173"/>
              <a:gd name="T37" fmla="*/ 2147483646 h 109"/>
              <a:gd name="T38" fmla="*/ 2147483646 w 173"/>
              <a:gd name="T39" fmla="*/ 2147483646 h 109"/>
              <a:gd name="T40" fmla="*/ 2147483646 w 173"/>
              <a:gd name="T41" fmla="*/ 2147483646 h 109"/>
              <a:gd name="T42" fmla="*/ 2147483646 w 173"/>
              <a:gd name="T43" fmla="*/ 0 h 109"/>
              <a:gd name="T44" fmla="*/ 2147483646 w 173"/>
              <a:gd name="T45" fmla="*/ 2147483646 h 109"/>
              <a:gd name="T46" fmla="*/ 2147483646 w 173"/>
              <a:gd name="T47" fmla="*/ 2147483646 h 109"/>
              <a:gd name="T48" fmla="*/ 2147483646 w 173"/>
              <a:gd name="T49" fmla="*/ 2147483646 h 109"/>
              <a:gd name="T50" fmla="*/ 2147483646 w 173"/>
              <a:gd name="T51" fmla="*/ 2147483646 h 109"/>
              <a:gd name="T52" fmla="*/ 2147483646 w 173"/>
              <a:gd name="T53" fmla="*/ 2147483646 h 109"/>
              <a:gd name="T54" fmla="*/ 2147483646 w 173"/>
              <a:gd name="T55" fmla="*/ 2147483646 h 109"/>
              <a:gd name="T56" fmla="*/ 2147483646 w 173"/>
              <a:gd name="T57" fmla="*/ 2147483646 h 109"/>
              <a:gd name="T58" fmla="*/ 2147483646 w 173"/>
              <a:gd name="T59" fmla="*/ 2147483646 h 109"/>
              <a:gd name="T60" fmla="*/ 2147483646 w 173"/>
              <a:gd name="T61" fmla="*/ 2147483646 h 109"/>
              <a:gd name="T62" fmla="*/ 2147483646 w 173"/>
              <a:gd name="T63" fmla="*/ 2147483646 h 109"/>
              <a:gd name="T64" fmla="*/ 2147483646 w 173"/>
              <a:gd name="T65" fmla="*/ 2147483646 h 109"/>
              <a:gd name="T66" fmla="*/ 2147483646 w 173"/>
              <a:gd name="T67" fmla="*/ 2147483646 h 109"/>
              <a:gd name="T68" fmla="*/ 2147483646 w 173"/>
              <a:gd name="T69" fmla="*/ 2147483646 h 109"/>
              <a:gd name="T70" fmla="*/ 2147483646 w 173"/>
              <a:gd name="T71" fmla="*/ 2147483646 h 10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73"/>
              <a:gd name="T109" fmla="*/ 0 h 109"/>
              <a:gd name="T110" fmla="*/ 173 w 173"/>
              <a:gd name="T111" fmla="*/ 109 h 10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73" h="109">
                <a:moveTo>
                  <a:pt x="98" y="97"/>
                </a:moveTo>
                <a:cubicBezTo>
                  <a:pt x="95" y="97"/>
                  <a:pt x="89" y="96"/>
                  <a:pt x="86" y="97"/>
                </a:cubicBezTo>
                <a:cubicBezTo>
                  <a:pt x="82" y="100"/>
                  <a:pt x="82" y="104"/>
                  <a:pt x="76" y="105"/>
                </a:cubicBezTo>
                <a:cubicBezTo>
                  <a:pt x="71" y="106"/>
                  <a:pt x="64" y="109"/>
                  <a:pt x="59" y="109"/>
                </a:cubicBezTo>
                <a:cubicBezTo>
                  <a:pt x="55" y="109"/>
                  <a:pt x="48" y="100"/>
                  <a:pt x="45" y="109"/>
                </a:cubicBezTo>
                <a:cubicBezTo>
                  <a:pt x="36" y="104"/>
                  <a:pt x="29" y="97"/>
                  <a:pt x="22" y="90"/>
                </a:cubicBezTo>
                <a:cubicBezTo>
                  <a:pt x="18" y="86"/>
                  <a:pt x="15" y="84"/>
                  <a:pt x="11" y="80"/>
                </a:cubicBezTo>
                <a:cubicBezTo>
                  <a:pt x="7" y="76"/>
                  <a:pt x="4" y="70"/>
                  <a:pt x="0" y="65"/>
                </a:cubicBezTo>
                <a:cubicBezTo>
                  <a:pt x="0" y="65"/>
                  <a:pt x="0" y="65"/>
                  <a:pt x="0" y="65"/>
                </a:cubicBezTo>
                <a:cubicBezTo>
                  <a:pt x="3" y="60"/>
                  <a:pt x="9" y="57"/>
                  <a:pt x="12" y="52"/>
                </a:cubicBezTo>
                <a:cubicBezTo>
                  <a:pt x="14" y="48"/>
                  <a:pt x="11" y="46"/>
                  <a:pt x="11" y="43"/>
                </a:cubicBezTo>
                <a:cubicBezTo>
                  <a:pt x="12" y="39"/>
                  <a:pt x="17" y="37"/>
                  <a:pt x="19" y="33"/>
                </a:cubicBezTo>
                <a:cubicBezTo>
                  <a:pt x="21" y="28"/>
                  <a:pt x="18" y="23"/>
                  <a:pt x="17" y="18"/>
                </a:cubicBezTo>
                <a:cubicBezTo>
                  <a:pt x="18" y="18"/>
                  <a:pt x="18" y="18"/>
                  <a:pt x="18" y="18"/>
                </a:cubicBezTo>
                <a:cubicBezTo>
                  <a:pt x="26" y="21"/>
                  <a:pt x="33" y="29"/>
                  <a:pt x="40" y="34"/>
                </a:cubicBezTo>
                <a:cubicBezTo>
                  <a:pt x="48" y="39"/>
                  <a:pt x="60" y="36"/>
                  <a:pt x="70" y="35"/>
                </a:cubicBezTo>
                <a:cubicBezTo>
                  <a:pt x="69" y="31"/>
                  <a:pt x="71" y="24"/>
                  <a:pt x="75" y="22"/>
                </a:cubicBezTo>
                <a:cubicBezTo>
                  <a:pt x="76" y="21"/>
                  <a:pt x="79" y="22"/>
                  <a:pt x="81" y="21"/>
                </a:cubicBezTo>
                <a:cubicBezTo>
                  <a:pt x="84" y="21"/>
                  <a:pt x="86" y="19"/>
                  <a:pt x="88" y="18"/>
                </a:cubicBezTo>
                <a:cubicBezTo>
                  <a:pt x="91" y="16"/>
                  <a:pt x="94" y="13"/>
                  <a:pt x="96" y="14"/>
                </a:cubicBezTo>
                <a:cubicBezTo>
                  <a:pt x="100" y="15"/>
                  <a:pt x="104" y="21"/>
                  <a:pt x="107" y="23"/>
                </a:cubicBezTo>
                <a:cubicBezTo>
                  <a:pt x="107" y="15"/>
                  <a:pt x="112" y="6"/>
                  <a:pt x="115" y="0"/>
                </a:cubicBezTo>
                <a:cubicBezTo>
                  <a:pt x="117" y="3"/>
                  <a:pt x="120" y="6"/>
                  <a:pt x="122" y="10"/>
                </a:cubicBezTo>
                <a:cubicBezTo>
                  <a:pt x="126" y="8"/>
                  <a:pt x="126" y="7"/>
                  <a:pt x="130" y="7"/>
                </a:cubicBezTo>
                <a:cubicBezTo>
                  <a:pt x="134" y="8"/>
                  <a:pt x="137" y="9"/>
                  <a:pt x="141" y="9"/>
                </a:cubicBezTo>
                <a:cubicBezTo>
                  <a:pt x="145" y="8"/>
                  <a:pt x="146" y="8"/>
                  <a:pt x="149" y="9"/>
                </a:cubicBezTo>
                <a:cubicBezTo>
                  <a:pt x="152" y="10"/>
                  <a:pt x="154" y="11"/>
                  <a:pt x="158" y="11"/>
                </a:cubicBezTo>
                <a:cubicBezTo>
                  <a:pt x="159" y="13"/>
                  <a:pt x="159" y="13"/>
                  <a:pt x="159" y="13"/>
                </a:cubicBezTo>
                <a:cubicBezTo>
                  <a:pt x="163" y="21"/>
                  <a:pt x="170" y="28"/>
                  <a:pt x="173" y="36"/>
                </a:cubicBezTo>
                <a:cubicBezTo>
                  <a:pt x="173" y="37"/>
                  <a:pt x="173" y="37"/>
                  <a:pt x="173" y="37"/>
                </a:cubicBezTo>
                <a:cubicBezTo>
                  <a:pt x="169" y="40"/>
                  <a:pt x="162" y="37"/>
                  <a:pt x="157" y="42"/>
                </a:cubicBezTo>
                <a:cubicBezTo>
                  <a:pt x="149" y="48"/>
                  <a:pt x="145" y="60"/>
                  <a:pt x="141" y="70"/>
                </a:cubicBezTo>
                <a:cubicBezTo>
                  <a:pt x="138" y="76"/>
                  <a:pt x="136" y="89"/>
                  <a:pt x="130" y="92"/>
                </a:cubicBezTo>
                <a:cubicBezTo>
                  <a:pt x="126" y="94"/>
                  <a:pt x="119" y="94"/>
                  <a:pt x="115" y="96"/>
                </a:cubicBezTo>
                <a:cubicBezTo>
                  <a:pt x="111" y="97"/>
                  <a:pt x="109" y="97"/>
                  <a:pt x="105" y="97"/>
                </a:cubicBezTo>
                <a:lnTo>
                  <a:pt x="98" y="97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01" name="Freeform 536"/>
          <p:cNvSpPr>
            <a:spLocks/>
          </p:cNvSpPr>
          <p:nvPr userDrawn="1"/>
        </p:nvSpPr>
        <p:spPr bwMode="auto">
          <a:xfrm>
            <a:off x="5919480" y="3602593"/>
            <a:ext cx="134008" cy="73704"/>
          </a:xfrm>
          <a:custGeom>
            <a:avLst/>
            <a:gdLst>
              <a:gd name="T0" fmla="*/ 2147483646 w 143"/>
              <a:gd name="T1" fmla="*/ 2147483646 h 79"/>
              <a:gd name="T2" fmla="*/ 2147483646 w 143"/>
              <a:gd name="T3" fmla="*/ 2147483646 h 79"/>
              <a:gd name="T4" fmla="*/ 2147483646 w 143"/>
              <a:gd name="T5" fmla="*/ 2147483646 h 79"/>
              <a:gd name="T6" fmla="*/ 2147483646 w 143"/>
              <a:gd name="T7" fmla="*/ 2147483646 h 79"/>
              <a:gd name="T8" fmla="*/ 2147483646 w 143"/>
              <a:gd name="T9" fmla="*/ 2147483646 h 79"/>
              <a:gd name="T10" fmla="*/ 2147483646 w 143"/>
              <a:gd name="T11" fmla="*/ 2147483646 h 79"/>
              <a:gd name="T12" fmla="*/ 2147483646 w 143"/>
              <a:gd name="T13" fmla="*/ 2147483646 h 79"/>
              <a:gd name="T14" fmla="*/ 2147483646 w 143"/>
              <a:gd name="T15" fmla="*/ 2147483646 h 79"/>
              <a:gd name="T16" fmla="*/ 2147483646 w 143"/>
              <a:gd name="T17" fmla="*/ 2147483646 h 79"/>
              <a:gd name="T18" fmla="*/ 2147483646 w 143"/>
              <a:gd name="T19" fmla="*/ 2147483646 h 79"/>
              <a:gd name="T20" fmla="*/ 2147483646 w 143"/>
              <a:gd name="T21" fmla="*/ 2147483646 h 79"/>
              <a:gd name="T22" fmla="*/ 2147483646 w 143"/>
              <a:gd name="T23" fmla="*/ 2147483646 h 79"/>
              <a:gd name="T24" fmla="*/ 2147483646 w 143"/>
              <a:gd name="T25" fmla="*/ 2147483646 h 79"/>
              <a:gd name="T26" fmla="*/ 2147483646 w 143"/>
              <a:gd name="T27" fmla="*/ 2147483646 h 79"/>
              <a:gd name="T28" fmla="*/ 2147483646 w 143"/>
              <a:gd name="T29" fmla="*/ 2147483646 h 79"/>
              <a:gd name="T30" fmla="*/ 2147483646 w 143"/>
              <a:gd name="T31" fmla="*/ 2147483646 h 79"/>
              <a:gd name="T32" fmla="*/ 2147483646 w 143"/>
              <a:gd name="T33" fmla="*/ 2147483646 h 79"/>
              <a:gd name="T34" fmla="*/ 2147483646 w 143"/>
              <a:gd name="T35" fmla="*/ 2147483646 h 79"/>
              <a:gd name="T36" fmla="*/ 2147483646 w 143"/>
              <a:gd name="T37" fmla="*/ 2147483646 h 79"/>
              <a:gd name="T38" fmla="*/ 2147483646 w 143"/>
              <a:gd name="T39" fmla="*/ 2147483646 h 79"/>
              <a:gd name="T40" fmla="*/ 2147483646 w 143"/>
              <a:gd name="T41" fmla="*/ 2147483646 h 79"/>
              <a:gd name="T42" fmla="*/ 2147483646 w 143"/>
              <a:gd name="T43" fmla="*/ 2147483646 h 79"/>
              <a:gd name="T44" fmla="*/ 2147483646 w 143"/>
              <a:gd name="T45" fmla="*/ 2147483646 h 79"/>
              <a:gd name="T46" fmla="*/ 2147483646 w 143"/>
              <a:gd name="T47" fmla="*/ 2147483646 h 79"/>
              <a:gd name="T48" fmla="*/ 2147483646 w 143"/>
              <a:gd name="T49" fmla="*/ 2147483646 h 79"/>
              <a:gd name="T50" fmla="*/ 2147483646 w 143"/>
              <a:gd name="T51" fmla="*/ 2147483646 h 79"/>
              <a:gd name="T52" fmla="*/ 2147483646 w 143"/>
              <a:gd name="T53" fmla="*/ 2147483646 h 79"/>
              <a:gd name="T54" fmla="*/ 2147483646 w 143"/>
              <a:gd name="T55" fmla="*/ 2147483646 h 79"/>
              <a:gd name="T56" fmla="*/ 2147483646 w 143"/>
              <a:gd name="T57" fmla="*/ 2147483646 h 79"/>
              <a:gd name="T58" fmla="*/ 2147483646 w 143"/>
              <a:gd name="T59" fmla="*/ 2147483646 h 79"/>
              <a:gd name="T60" fmla="*/ 2147483646 w 143"/>
              <a:gd name="T61" fmla="*/ 2147483646 h 79"/>
              <a:gd name="T62" fmla="*/ 2147483646 w 143"/>
              <a:gd name="T63" fmla="*/ 2147483646 h 79"/>
              <a:gd name="T64" fmla="*/ 2147483646 w 143"/>
              <a:gd name="T65" fmla="*/ 2147483646 h 79"/>
              <a:gd name="T66" fmla="*/ 2147483646 w 143"/>
              <a:gd name="T67" fmla="*/ 2147483646 h 79"/>
              <a:gd name="T68" fmla="*/ 0 w 143"/>
              <a:gd name="T69" fmla="*/ 2147483646 h 79"/>
              <a:gd name="T70" fmla="*/ 2147483646 w 143"/>
              <a:gd name="T71" fmla="*/ 2147483646 h 7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43"/>
              <a:gd name="T109" fmla="*/ 0 h 79"/>
              <a:gd name="T110" fmla="*/ 143 w 143"/>
              <a:gd name="T111" fmla="*/ 79 h 7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43" h="79">
                <a:moveTo>
                  <a:pt x="1" y="36"/>
                </a:moveTo>
                <a:cubicBezTo>
                  <a:pt x="1" y="34"/>
                  <a:pt x="3" y="28"/>
                  <a:pt x="5" y="26"/>
                </a:cubicBezTo>
                <a:cubicBezTo>
                  <a:pt x="8" y="22"/>
                  <a:pt x="15" y="24"/>
                  <a:pt x="20" y="24"/>
                </a:cubicBezTo>
                <a:cubicBezTo>
                  <a:pt x="23" y="24"/>
                  <a:pt x="24" y="24"/>
                  <a:pt x="27" y="22"/>
                </a:cubicBezTo>
                <a:cubicBezTo>
                  <a:pt x="30" y="19"/>
                  <a:pt x="29" y="13"/>
                  <a:pt x="31" y="9"/>
                </a:cubicBezTo>
                <a:cubicBezTo>
                  <a:pt x="35" y="4"/>
                  <a:pt x="47" y="12"/>
                  <a:pt x="50" y="6"/>
                </a:cubicBezTo>
                <a:cubicBezTo>
                  <a:pt x="50" y="6"/>
                  <a:pt x="50" y="6"/>
                  <a:pt x="50" y="6"/>
                </a:cubicBezTo>
                <a:cubicBezTo>
                  <a:pt x="53" y="9"/>
                  <a:pt x="57" y="12"/>
                  <a:pt x="58" y="12"/>
                </a:cubicBezTo>
                <a:cubicBezTo>
                  <a:pt x="64" y="14"/>
                  <a:pt x="63" y="2"/>
                  <a:pt x="69" y="1"/>
                </a:cubicBezTo>
                <a:cubicBezTo>
                  <a:pt x="71" y="4"/>
                  <a:pt x="71" y="13"/>
                  <a:pt x="74" y="15"/>
                </a:cubicBezTo>
                <a:cubicBezTo>
                  <a:pt x="78" y="17"/>
                  <a:pt x="79" y="13"/>
                  <a:pt x="82" y="12"/>
                </a:cubicBezTo>
                <a:cubicBezTo>
                  <a:pt x="86" y="10"/>
                  <a:pt x="90" y="11"/>
                  <a:pt x="94" y="10"/>
                </a:cubicBezTo>
                <a:cubicBezTo>
                  <a:pt x="100" y="8"/>
                  <a:pt x="103" y="10"/>
                  <a:pt x="108" y="10"/>
                </a:cubicBezTo>
                <a:cubicBezTo>
                  <a:pt x="107" y="2"/>
                  <a:pt x="117" y="8"/>
                  <a:pt x="120" y="7"/>
                </a:cubicBezTo>
                <a:cubicBezTo>
                  <a:pt x="124" y="5"/>
                  <a:pt x="125" y="0"/>
                  <a:pt x="129" y="3"/>
                </a:cubicBezTo>
                <a:cubicBezTo>
                  <a:pt x="129" y="3"/>
                  <a:pt x="130" y="7"/>
                  <a:pt x="131" y="8"/>
                </a:cubicBezTo>
                <a:cubicBezTo>
                  <a:pt x="133" y="10"/>
                  <a:pt x="136" y="13"/>
                  <a:pt x="139" y="16"/>
                </a:cubicBezTo>
                <a:cubicBezTo>
                  <a:pt x="140" y="16"/>
                  <a:pt x="141" y="18"/>
                  <a:pt x="143" y="19"/>
                </a:cubicBezTo>
                <a:cubicBezTo>
                  <a:pt x="142" y="20"/>
                  <a:pt x="142" y="20"/>
                  <a:pt x="142" y="20"/>
                </a:cubicBezTo>
                <a:cubicBezTo>
                  <a:pt x="142" y="22"/>
                  <a:pt x="141" y="25"/>
                  <a:pt x="140" y="27"/>
                </a:cubicBezTo>
                <a:cubicBezTo>
                  <a:pt x="138" y="34"/>
                  <a:pt x="137" y="42"/>
                  <a:pt x="140" y="51"/>
                </a:cubicBezTo>
                <a:cubicBezTo>
                  <a:pt x="139" y="51"/>
                  <a:pt x="139" y="51"/>
                  <a:pt x="139" y="51"/>
                </a:cubicBezTo>
                <a:cubicBezTo>
                  <a:pt x="136" y="51"/>
                  <a:pt x="134" y="50"/>
                  <a:pt x="131" y="49"/>
                </a:cubicBezTo>
                <a:cubicBezTo>
                  <a:pt x="128" y="48"/>
                  <a:pt x="127" y="48"/>
                  <a:pt x="123" y="49"/>
                </a:cubicBezTo>
                <a:cubicBezTo>
                  <a:pt x="118" y="49"/>
                  <a:pt x="116" y="48"/>
                  <a:pt x="112" y="47"/>
                </a:cubicBezTo>
                <a:cubicBezTo>
                  <a:pt x="108" y="47"/>
                  <a:pt x="107" y="48"/>
                  <a:pt x="104" y="50"/>
                </a:cubicBezTo>
                <a:cubicBezTo>
                  <a:pt x="102" y="46"/>
                  <a:pt x="99" y="43"/>
                  <a:pt x="97" y="40"/>
                </a:cubicBezTo>
                <a:cubicBezTo>
                  <a:pt x="94" y="46"/>
                  <a:pt x="89" y="55"/>
                  <a:pt x="89" y="63"/>
                </a:cubicBezTo>
                <a:cubicBezTo>
                  <a:pt x="86" y="61"/>
                  <a:pt x="82" y="55"/>
                  <a:pt x="78" y="54"/>
                </a:cubicBezTo>
                <a:cubicBezTo>
                  <a:pt x="76" y="53"/>
                  <a:pt x="73" y="56"/>
                  <a:pt x="70" y="58"/>
                </a:cubicBezTo>
                <a:cubicBezTo>
                  <a:pt x="68" y="59"/>
                  <a:pt x="66" y="61"/>
                  <a:pt x="63" y="61"/>
                </a:cubicBezTo>
                <a:cubicBezTo>
                  <a:pt x="61" y="62"/>
                  <a:pt x="58" y="61"/>
                  <a:pt x="57" y="62"/>
                </a:cubicBezTo>
                <a:cubicBezTo>
                  <a:pt x="53" y="64"/>
                  <a:pt x="51" y="71"/>
                  <a:pt x="51" y="75"/>
                </a:cubicBezTo>
                <a:cubicBezTo>
                  <a:pt x="42" y="76"/>
                  <a:pt x="30" y="79"/>
                  <a:pt x="22" y="74"/>
                </a:cubicBezTo>
                <a:cubicBezTo>
                  <a:pt x="15" y="69"/>
                  <a:pt x="8" y="61"/>
                  <a:pt x="0" y="58"/>
                </a:cubicBezTo>
                <a:cubicBezTo>
                  <a:pt x="2" y="52"/>
                  <a:pt x="1" y="43"/>
                  <a:pt x="1" y="3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02" name="Freeform 537"/>
          <p:cNvSpPr>
            <a:spLocks/>
          </p:cNvSpPr>
          <p:nvPr userDrawn="1"/>
        </p:nvSpPr>
        <p:spPr bwMode="auto">
          <a:xfrm>
            <a:off x="5919480" y="3602593"/>
            <a:ext cx="134008" cy="73704"/>
          </a:xfrm>
          <a:custGeom>
            <a:avLst/>
            <a:gdLst>
              <a:gd name="T0" fmla="*/ 2147483646 w 143"/>
              <a:gd name="T1" fmla="*/ 2147483646 h 79"/>
              <a:gd name="T2" fmla="*/ 2147483646 w 143"/>
              <a:gd name="T3" fmla="*/ 2147483646 h 79"/>
              <a:gd name="T4" fmla="*/ 2147483646 w 143"/>
              <a:gd name="T5" fmla="*/ 2147483646 h 79"/>
              <a:gd name="T6" fmla="*/ 2147483646 w 143"/>
              <a:gd name="T7" fmla="*/ 2147483646 h 79"/>
              <a:gd name="T8" fmla="*/ 2147483646 w 143"/>
              <a:gd name="T9" fmla="*/ 2147483646 h 79"/>
              <a:gd name="T10" fmla="*/ 2147483646 w 143"/>
              <a:gd name="T11" fmla="*/ 2147483646 h 79"/>
              <a:gd name="T12" fmla="*/ 2147483646 w 143"/>
              <a:gd name="T13" fmla="*/ 2147483646 h 79"/>
              <a:gd name="T14" fmla="*/ 2147483646 w 143"/>
              <a:gd name="T15" fmla="*/ 2147483646 h 79"/>
              <a:gd name="T16" fmla="*/ 2147483646 w 143"/>
              <a:gd name="T17" fmla="*/ 2147483646 h 79"/>
              <a:gd name="T18" fmla="*/ 2147483646 w 143"/>
              <a:gd name="T19" fmla="*/ 2147483646 h 79"/>
              <a:gd name="T20" fmla="*/ 2147483646 w 143"/>
              <a:gd name="T21" fmla="*/ 2147483646 h 79"/>
              <a:gd name="T22" fmla="*/ 2147483646 w 143"/>
              <a:gd name="T23" fmla="*/ 2147483646 h 79"/>
              <a:gd name="T24" fmla="*/ 2147483646 w 143"/>
              <a:gd name="T25" fmla="*/ 2147483646 h 79"/>
              <a:gd name="T26" fmla="*/ 2147483646 w 143"/>
              <a:gd name="T27" fmla="*/ 2147483646 h 79"/>
              <a:gd name="T28" fmla="*/ 2147483646 w 143"/>
              <a:gd name="T29" fmla="*/ 2147483646 h 79"/>
              <a:gd name="T30" fmla="*/ 2147483646 w 143"/>
              <a:gd name="T31" fmla="*/ 2147483646 h 79"/>
              <a:gd name="T32" fmla="*/ 2147483646 w 143"/>
              <a:gd name="T33" fmla="*/ 2147483646 h 79"/>
              <a:gd name="T34" fmla="*/ 2147483646 w 143"/>
              <a:gd name="T35" fmla="*/ 2147483646 h 79"/>
              <a:gd name="T36" fmla="*/ 2147483646 w 143"/>
              <a:gd name="T37" fmla="*/ 2147483646 h 79"/>
              <a:gd name="T38" fmla="*/ 2147483646 w 143"/>
              <a:gd name="T39" fmla="*/ 2147483646 h 79"/>
              <a:gd name="T40" fmla="*/ 2147483646 w 143"/>
              <a:gd name="T41" fmla="*/ 2147483646 h 79"/>
              <a:gd name="T42" fmla="*/ 2147483646 w 143"/>
              <a:gd name="T43" fmla="*/ 2147483646 h 79"/>
              <a:gd name="T44" fmla="*/ 2147483646 w 143"/>
              <a:gd name="T45" fmla="*/ 2147483646 h 79"/>
              <a:gd name="T46" fmla="*/ 2147483646 w 143"/>
              <a:gd name="T47" fmla="*/ 2147483646 h 79"/>
              <a:gd name="T48" fmla="*/ 2147483646 w 143"/>
              <a:gd name="T49" fmla="*/ 2147483646 h 79"/>
              <a:gd name="T50" fmla="*/ 2147483646 w 143"/>
              <a:gd name="T51" fmla="*/ 2147483646 h 79"/>
              <a:gd name="T52" fmla="*/ 2147483646 w 143"/>
              <a:gd name="T53" fmla="*/ 2147483646 h 79"/>
              <a:gd name="T54" fmla="*/ 2147483646 w 143"/>
              <a:gd name="T55" fmla="*/ 2147483646 h 79"/>
              <a:gd name="T56" fmla="*/ 2147483646 w 143"/>
              <a:gd name="T57" fmla="*/ 2147483646 h 79"/>
              <a:gd name="T58" fmla="*/ 2147483646 w 143"/>
              <a:gd name="T59" fmla="*/ 2147483646 h 79"/>
              <a:gd name="T60" fmla="*/ 2147483646 w 143"/>
              <a:gd name="T61" fmla="*/ 2147483646 h 79"/>
              <a:gd name="T62" fmla="*/ 2147483646 w 143"/>
              <a:gd name="T63" fmla="*/ 2147483646 h 79"/>
              <a:gd name="T64" fmla="*/ 2147483646 w 143"/>
              <a:gd name="T65" fmla="*/ 2147483646 h 79"/>
              <a:gd name="T66" fmla="*/ 2147483646 w 143"/>
              <a:gd name="T67" fmla="*/ 2147483646 h 79"/>
              <a:gd name="T68" fmla="*/ 0 w 143"/>
              <a:gd name="T69" fmla="*/ 2147483646 h 79"/>
              <a:gd name="T70" fmla="*/ 2147483646 w 143"/>
              <a:gd name="T71" fmla="*/ 2147483646 h 7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43"/>
              <a:gd name="T109" fmla="*/ 0 h 79"/>
              <a:gd name="T110" fmla="*/ 143 w 143"/>
              <a:gd name="T111" fmla="*/ 79 h 7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43" h="79">
                <a:moveTo>
                  <a:pt x="1" y="36"/>
                </a:moveTo>
                <a:cubicBezTo>
                  <a:pt x="1" y="34"/>
                  <a:pt x="3" y="28"/>
                  <a:pt x="5" y="26"/>
                </a:cubicBezTo>
                <a:cubicBezTo>
                  <a:pt x="8" y="22"/>
                  <a:pt x="15" y="24"/>
                  <a:pt x="20" y="24"/>
                </a:cubicBezTo>
                <a:cubicBezTo>
                  <a:pt x="23" y="24"/>
                  <a:pt x="24" y="24"/>
                  <a:pt x="27" y="22"/>
                </a:cubicBezTo>
                <a:cubicBezTo>
                  <a:pt x="30" y="19"/>
                  <a:pt x="29" y="13"/>
                  <a:pt x="31" y="9"/>
                </a:cubicBezTo>
                <a:cubicBezTo>
                  <a:pt x="35" y="4"/>
                  <a:pt x="47" y="12"/>
                  <a:pt x="50" y="6"/>
                </a:cubicBezTo>
                <a:cubicBezTo>
                  <a:pt x="50" y="6"/>
                  <a:pt x="50" y="6"/>
                  <a:pt x="50" y="6"/>
                </a:cubicBezTo>
                <a:cubicBezTo>
                  <a:pt x="53" y="9"/>
                  <a:pt x="57" y="12"/>
                  <a:pt x="58" y="12"/>
                </a:cubicBezTo>
                <a:cubicBezTo>
                  <a:pt x="64" y="14"/>
                  <a:pt x="63" y="2"/>
                  <a:pt x="69" y="1"/>
                </a:cubicBezTo>
                <a:cubicBezTo>
                  <a:pt x="71" y="4"/>
                  <a:pt x="71" y="13"/>
                  <a:pt x="74" y="15"/>
                </a:cubicBezTo>
                <a:cubicBezTo>
                  <a:pt x="78" y="17"/>
                  <a:pt x="79" y="13"/>
                  <a:pt x="82" y="12"/>
                </a:cubicBezTo>
                <a:cubicBezTo>
                  <a:pt x="86" y="10"/>
                  <a:pt x="90" y="11"/>
                  <a:pt x="94" y="10"/>
                </a:cubicBezTo>
                <a:cubicBezTo>
                  <a:pt x="100" y="8"/>
                  <a:pt x="103" y="10"/>
                  <a:pt x="108" y="10"/>
                </a:cubicBezTo>
                <a:cubicBezTo>
                  <a:pt x="107" y="2"/>
                  <a:pt x="117" y="8"/>
                  <a:pt x="120" y="7"/>
                </a:cubicBezTo>
                <a:cubicBezTo>
                  <a:pt x="124" y="5"/>
                  <a:pt x="125" y="0"/>
                  <a:pt x="129" y="3"/>
                </a:cubicBezTo>
                <a:cubicBezTo>
                  <a:pt x="129" y="3"/>
                  <a:pt x="130" y="7"/>
                  <a:pt x="131" y="8"/>
                </a:cubicBezTo>
                <a:cubicBezTo>
                  <a:pt x="133" y="10"/>
                  <a:pt x="136" y="13"/>
                  <a:pt x="139" y="16"/>
                </a:cubicBezTo>
                <a:cubicBezTo>
                  <a:pt x="140" y="16"/>
                  <a:pt x="141" y="18"/>
                  <a:pt x="143" y="19"/>
                </a:cubicBezTo>
                <a:cubicBezTo>
                  <a:pt x="142" y="20"/>
                  <a:pt x="142" y="20"/>
                  <a:pt x="142" y="20"/>
                </a:cubicBezTo>
                <a:cubicBezTo>
                  <a:pt x="142" y="22"/>
                  <a:pt x="141" y="25"/>
                  <a:pt x="140" y="27"/>
                </a:cubicBezTo>
                <a:cubicBezTo>
                  <a:pt x="138" y="34"/>
                  <a:pt x="137" y="42"/>
                  <a:pt x="140" y="51"/>
                </a:cubicBezTo>
                <a:cubicBezTo>
                  <a:pt x="139" y="51"/>
                  <a:pt x="139" y="51"/>
                  <a:pt x="139" y="51"/>
                </a:cubicBezTo>
                <a:cubicBezTo>
                  <a:pt x="136" y="51"/>
                  <a:pt x="134" y="50"/>
                  <a:pt x="131" y="49"/>
                </a:cubicBezTo>
                <a:cubicBezTo>
                  <a:pt x="128" y="48"/>
                  <a:pt x="127" y="48"/>
                  <a:pt x="123" y="49"/>
                </a:cubicBezTo>
                <a:cubicBezTo>
                  <a:pt x="118" y="49"/>
                  <a:pt x="116" y="48"/>
                  <a:pt x="112" y="47"/>
                </a:cubicBezTo>
                <a:cubicBezTo>
                  <a:pt x="108" y="47"/>
                  <a:pt x="107" y="48"/>
                  <a:pt x="104" y="50"/>
                </a:cubicBezTo>
                <a:cubicBezTo>
                  <a:pt x="102" y="46"/>
                  <a:pt x="99" y="43"/>
                  <a:pt x="97" y="40"/>
                </a:cubicBezTo>
                <a:cubicBezTo>
                  <a:pt x="94" y="46"/>
                  <a:pt x="89" y="55"/>
                  <a:pt x="89" y="63"/>
                </a:cubicBezTo>
                <a:cubicBezTo>
                  <a:pt x="86" y="61"/>
                  <a:pt x="82" y="55"/>
                  <a:pt x="78" y="54"/>
                </a:cubicBezTo>
                <a:cubicBezTo>
                  <a:pt x="76" y="53"/>
                  <a:pt x="73" y="56"/>
                  <a:pt x="70" y="58"/>
                </a:cubicBezTo>
                <a:cubicBezTo>
                  <a:pt x="68" y="59"/>
                  <a:pt x="66" y="61"/>
                  <a:pt x="63" y="61"/>
                </a:cubicBezTo>
                <a:cubicBezTo>
                  <a:pt x="61" y="62"/>
                  <a:pt x="58" y="61"/>
                  <a:pt x="57" y="62"/>
                </a:cubicBezTo>
                <a:cubicBezTo>
                  <a:pt x="53" y="64"/>
                  <a:pt x="51" y="71"/>
                  <a:pt x="51" y="75"/>
                </a:cubicBezTo>
                <a:cubicBezTo>
                  <a:pt x="42" y="76"/>
                  <a:pt x="30" y="79"/>
                  <a:pt x="22" y="74"/>
                </a:cubicBezTo>
                <a:cubicBezTo>
                  <a:pt x="15" y="69"/>
                  <a:pt x="8" y="61"/>
                  <a:pt x="0" y="58"/>
                </a:cubicBezTo>
                <a:cubicBezTo>
                  <a:pt x="2" y="52"/>
                  <a:pt x="1" y="43"/>
                  <a:pt x="1" y="36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03" name="Freeform 538"/>
          <p:cNvSpPr>
            <a:spLocks/>
          </p:cNvSpPr>
          <p:nvPr userDrawn="1"/>
        </p:nvSpPr>
        <p:spPr bwMode="auto">
          <a:xfrm>
            <a:off x="5854152" y="3391532"/>
            <a:ext cx="242888" cy="229488"/>
          </a:xfrm>
          <a:custGeom>
            <a:avLst/>
            <a:gdLst>
              <a:gd name="T0" fmla="*/ 2147483646 w 261"/>
              <a:gd name="T1" fmla="*/ 2147483646 h 245"/>
              <a:gd name="T2" fmla="*/ 2147483646 w 261"/>
              <a:gd name="T3" fmla="*/ 2147483646 h 245"/>
              <a:gd name="T4" fmla="*/ 2147483646 w 261"/>
              <a:gd name="T5" fmla="*/ 2147483646 h 245"/>
              <a:gd name="T6" fmla="*/ 2147483646 w 261"/>
              <a:gd name="T7" fmla="*/ 2147483646 h 245"/>
              <a:gd name="T8" fmla="*/ 2147483646 w 261"/>
              <a:gd name="T9" fmla="*/ 2147483646 h 245"/>
              <a:gd name="T10" fmla="*/ 2147483646 w 261"/>
              <a:gd name="T11" fmla="*/ 2147483646 h 245"/>
              <a:gd name="T12" fmla="*/ 2147483646 w 261"/>
              <a:gd name="T13" fmla="*/ 2147483646 h 245"/>
              <a:gd name="T14" fmla="*/ 2147483646 w 261"/>
              <a:gd name="T15" fmla="*/ 2147483646 h 245"/>
              <a:gd name="T16" fmla="*/ 2147483646 w 261"/>
              <a:gd name="T17" fmla="*/ 2147483646 h 245"/>
              <a:gd name="T18" fmla="*/ 2147483646 w 261"/>
              <a:gd name="T19" fmla="*/ 2147483646 h 245"/>
              <a:gd name="T20" fmla="*/ 2147483646 w 261"/>
              <a:gd name="T21" fmla="*/ 2147483646 h 245"/>
              <a:gd name="T22" fmla="*/ 2147483646 w 261"/>
              <a:gd name="T23" fmla="*/ 2147483646 h 245"/>
              <a:gd name="T24" fmla="*/ 2147483646 w 261"/>
              <a:gd name="T25" fmla="*/ 2147483646 h 245"/>
              <a:gd name="T26" fmla="*/ 2147483646 w 261"/>
              <a:gd name="T27" fmla="*/ 2147483646 h 245"/>
              <a:gd name="T28" fmla="*/ 2147483646 w 261"/>
              <a:gd name="T29" fmla="*/ 2147483646 h 245"/>
              <a:gd name="T30" fmla="*/ 2147483646 w 261"/>
              <a:gd name="T31" fmla="*/ 2147483646 h 245"/>
              <a:gd name="T32" fmla="*/ 2147483646 w 261"/>
              <a:gd name="T33" fmla="*/ 2147483646 h 245"/>
              <a:gd name="T34" fmla="*/ 2147483646 w 261"/>
              <a:gd name="T35" fmla="*/ 2147483646 h 245"/>
              <a:gd name="T36" fmla="*/ 2147483646 w 261"/>
              <a:gd name="T37" fmla="*/ 2147483646 h 245"/>
              <a:gd name="T38" fmla="*/ 2147483646 w 261"/>
              <a:gd name="T39" fmla="*/ 2147483646 h 245"/>
              <a:gd name="T40" fmla="*/ 2147483646 w 261"/>
              <a:gd name="T41" fmla="*/ 2147483646 h 245"/>
              <a:gd name="T42" fmla="*/ 2147483646 w 261"/>
              <a:gd name="T43" fmla="*/ 2147483646 h 245"/>
              <a:gd name="T44" fmla="*/ 2147483646 w 261"/>
              <a:gd name="T45" fmla="*/ 2147483646 h 245"/>
              <a:gd name="T46" fmla="*/ 2147483646 w 261"/>
              <a:gd name="T47" fmla="*/ 2147483646 h 245"/>
              <a:gd name="T48" fmla="*/ 2147483646 w 261"/>
              <a:gd name="T49" fmla="*/ 2147483646 h 245"/>
              <a:gd name="T50" fmla="*/ 2147483646 w 261"/>
              <a:gd name="T51" fmla="*/ 2147483646 h 245"/>
              <a:gd name="T52" fmla="*/ 2147483646 w 261"/>
              <a:gd name="T53" fmla="*/ 2147483646 h 245"/>
              <a:gd name="T54" fmla="*/ 2147483646 w 261"/>
              <a:gd name="T55" fmla="*/ 2147483646 h 245"/>
              <a:gd name="T56" fmla="*/ 2147483646 w 261"/>
              <a:gd name="T57" fmla="*/ 2147483646 h 245"/>
              <a:gd name="T58" fmla="*/ 2147483646 w 261"/>
              <a:gd name="T59" fmla="*/ 2147483646 h 245"/>
              <a:gd name="T60" fmla="*/ 2147483646 w 261"/>
              <a:gd name="T61" fmla="*/ 2147483646 h 245"/>
              <a:gd name="T62" fmla="*/ 2147483646 w 261"/>
              <a:gd name="T63" fmla="*/ 2147483646 h 245"/>
              <a:gd name="T64" fmla="*/ 2147483646 w 261"/>
              <a:gd name="T65" fmla="*/ 2147483646 h 245"/>
              <a:gd name="T66" fmla="*/ 2147483646 w 261"/>
              <a:gd name="T67" fmla="*/ 2147483646 h 245"/>
              <a:gd name="T68" fmla="*/ 2147483646 w 261"/>
              <a:gd name="T69" fmla="*/ 2147483646 h 24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61"/>
              <a:gd name="T106" fmla="*/ 0 h 245"/>
              <a:gd name="T107" fmla="*/ 261 w 261"/>
              <a:gd name="T108" fmla="*/ 245 h 24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61" h="245">
                <a:moveTo>
                  <a:pt x="8" y="55"/>
                </a:moveTo>
                <a:cubicBezTo>
                  <a:pt x="9" y="54"/>
                  <a:pt x="9" y="50"/>
                  <a:pt x="9" y="49"/>
                </a:cubicBezTo>
                <a:cubicBezTo>
                  <a:pt x="10" y="48"/>
                  <a:pt x="10" y="45"/>
                  <a:pt x="12" y="44"/>
                </a:cubicBezTo>
                <a:cubicBezTo>
                  <a:pt x="14" y="43"/>
                  <a:pt x="18" y="39"/>
                  <a:pt x="18" y="39"/>
                </a:cubicBezTo>
                <a:cubicBezTo>
                  <a:pt x="18" y="39"/>
                  <a:pt x="33" y="31"/>
                  <a:pt x="42" y="32"/>
                </a:cubicBezTo>
                <a:cubicBezTo>
                  <a:pt x="52" y="32"/>
                  <a:pt x="56" y="27"/>
                  <a:pt x="58" y="22"/>
                </a:cubicBezTo>
                <a:cubicBezTo>
                  <a:pt x="61" y="17"/>
                  <a:pt x="67" y="15"/>
                  <a:pt x="73" y="12"/>
                </a:cubicBezTo>
                <a:cubicBezTo>
                  <a:pt x="79" y="9"/>
                  <a:pt x="82" y="5"/>
                  <a:pt x="89" y="5"/>
                </a:cubicBezTo>
                <a:cubicBezTo>
                  <a:pt x="96" y="4"/>
                  <a:pt x="99" y="1"/>
                  <a:pt x="102" y="2"/>
                </a:cubicBezTo>
                <a:cubicBezTo>
                  <a:pt x="106" y="2"/>
                  <a:pt x="106" y="0"/>
                  <a:pt x="112" y="4"/>
                </a:cubicBezTo>
                <a:cubicBezTo>
                  <a:pt x="117" y="7"/>
                  <a:pt x="113" y="2"/>
                  <a:pt x="115" y="9"/>
                </a:cubicBezTo>
                <a:cubicBezTo>
                  <a:pt x="116" y="17"/>
                  <a:pt x="115" y="24"/>
                  <a:pt x="124" y="24"/>
                </a:cubicBezTo>
                <a:cubicBezTo>
                  <a:pt x="134" y="24"/>
                  <a:pt x="139" y="24"/>
                  <a:pt x="143" y="19"/>
                </a:cubicBezTo>
                <a:cubicBezTo>
                  <a:pt x="158" y="19"/>
                  <a:pt x="158" y="19"/>
                  <a:pt x="158" y="19"/>
                </a:cubicBezTo>
                <a:cubicBezTo>
                  <a:pt x="164" y="18"/>
                  <a:pt x="171" y="19"/>
                  <a:pt x="177" y="21"/>
                </a:cubicBezTo>
                <a:cubicBezTo>
                  <a:pt x="187" y="24"/>
                  <a:pt x="200" y="31"/>
                  <a:pt x="211" y="29"/>
                </a:cubicBezTo>
                <a:cubicBezTo>
                  <a:pt x="217" y="29"/>
                  <a:pt x="221" y="25"/>
                  <a:pt x="227" y="28"/>
                </a:cubicBezTo>
                <a:cubicBezTo>
                  <a:pt x="231" y="29"/>
                  <a:pt x="242" y="36"/>
                  <a:pt x="244" y="40"/>
                </a:cubicBezTo>
                <a:cubicBezTo>
                  <a:pt x="246" y="46"/>
                  <a:pt x="241" y="56"/>
                  <a:pt x="244" y="63"/>
                </a:cubicBezTo>
                <a:cubicBezTo>
                  <a:pt x="247" y="69"/>
                  <a:pt x="251" y="73"/>
                  <a:pt x="253" y="80"/>
                </a:cubicBezTo>
                <a:cubicBezTo>
                  <a:pt x="255" y="87"/>
                  <a:pt x="255" y="96"/>
                  <a:pt x="251" y="101"/>
                </a:cubicBezTo>
                <a:cubicBezTo>
                  <a:pt x="248" y="105"/>
                  <a:pt x="242" y="106"/>
                  <a:pt x="238" y="110"/>
                </a:cubicBezTo>
                <a:cubicBezTo>
                  <a:pt x="234" y="114"/>
                  <a:pt x="235" y="115"/>
                  <a:pt x="234" y="121"/>
                </a:cubicBezTo>
                <a:cubicBezTo>
                  <a:pt x="243" y="120"/>
                  <a:pt x="245" y="125"/>
                  <a:pt x="244" y="133"/>
                </a:cubicBezTo>
                <a:cubicBezTo>
                  <a:pt x="244" y="144"/>
                  <a:pt x="243" y="150"/>
                  <a:pt x="247" y="159"/>
                </a:cubicBezTo>
                <a:cubicBezTo>
                  <a:pt x="252" y="171"/>
                  <a:pt x="261" y="187"/>
                  <a:pt x="257" y="199"/>
                </a:cubicBezTo>
                <a:cubicBezTo>
                  <a:pt x="254" y="206"/>
                  <a:pt x="251" y="204"/>
                  <a:pt x="246" y="209"/>
                </a:cubicBezTo>
                <a:cubicBezTo>
                  <a:pt x="240" y="214"/>
                  <a:pt x="237" y="220"/>
                  <a:pt x="231" y="225"/>
                </a:cubicBezTo>
                <a:cubicBezTo>
                  <a:pt x="226" y="229"/>
                  <a:pt x="219" y="233"/>
                  <a:pt x="216" y="238"/>
                </a:cubicBezTo>
                <a:cubicBezTo>
                  <a:pt x="213" y="245"/>
                  <a:pt x="213" y="245"/>
                  <a:pt x="213" y="245"/>
                </a:cubicBezTo>
                <a:cubicBezTo>
                  <a:pt x="210" y="243"/>
                  <a:pt x="210" y="243"/>
                  <a:pt x="209" y="242"/>
                </a:cubicBezTo>
                <a:cubicBezTo>
                  <a:pt x="206" y="239"/>
                  <a:pt x="203" y="236"/>
                  <a:pt x="201" y="234"/>
                </a:cubicBezTo>
                <a:cubicBezTo>
                  <a:pt x="200" y="233"/>
                  <a:pt x="199" y="229"/>
                  <a:pt x="199" y="229"/>
                </a:cubicBezTo>
                <a:cubicBezTo>
                  <a:pt x="195" y="226"/>
                  <a:pt x="194" y="231"/>
                  <a:pt x="190" y="233"/>
                </a:cubicBezTo>
                <a:cubicBezTo>
                  <a:pt x="187" y="234"/>
                  <a:pt x="177" y="228"/>
                  <a:pt x="178" y="236"/>
                </a:cubicBezTo>
                <a:cubicBezTo>
                  <a:pt x="173" y="236"/>
                  <a:pt x="170" y="234"/>
                  <a:pt x="164" y="236"/>
                </a:cubicBezTo>
                <a:cubicBezTo>
                  <a:pt x="160" y="237"/>
                  <a:pt x="156" y="236"/>
                  <a:pt x="152" y="238"/>
                </a:cubicBezTo>
                <a:cubicBezTo>
                  <a:pt x="149" y="239"/>
                  <a:pt x="148" y="243"/>
                  <a:pt x="144" y="241"/>
                </a:cubicBezTo>
                <a:cubicBezTo>
                  <a:pt x="141" y="239"/>
                  <a:pt x="141" y="230"/>
                  <a:pt x="139" y="227"/>
                </a:cubicBezTo>
                <a:cubicBezTo>
                  <a:pt x="133" y="228"/>
                  <a:pt x="134" y="240"/>
                  <a:pt x="128" y="238"/>
                </a:cubicBezTo>
                <a:cubicBezTo>
                  <a:pt x="126" y="238"/>
                  <a:pt x="115" y="227"/>
                  <a:pt x="115" y="225"/>
                </a:cubicBezTo>
                <a:cubicBezTo>
                  <a:pt x="114" y="223"/>
                  <a:pt x="119" y="218"/>
                  <a:pt x="116" y="215"/>
                </a:cubicBezTo>
                <a:cubicBezTo>
                  <a:pt x="115" y="213"/>
                  <a:pt x="112" y="214"/>
                  <a:pt x="110" y="214"/>
                </a:cubicBezTo>
                <a:cubicBezTo>
                  <a:pt x="107" y="215"/>
                  <a:pt x="105" y="218"/>
                  <a:pt x="102" y="216"/>
                </a:cubicBezTo>
                <a:cubicBezTo>
                  <a:pt x="100" y="214"/>
                  <a:pt x="99" y="205"/>
                  <a:pt x="98" y="202"/>
                </a:cubicBezTo>
                <a:cubicBezTo>
                  <a:pt x="94" y="202"/>
                  <a:pt x="92" y="208"/>
                  <a:pt x="88" y="208"/>
                </a:cubicBezTo>
                <a:cubicBezTo>
                  <a:pt x="89" y="206"/>
                  <a:pt x="91" y="198"/>
                  <a:pt x="89" y="196"/>
                </a:cubicBezTo>
                <a:cubicBezTo>
                  <a:pt x="88" y="194"/>
                  <a:pt x="84" y="196"/>
                  <a:pt x="82" y="196"/>
                </a:cubicBezTo>
                <a:cubicBezTo>
                  <a:pt x="80" y="196"/>
                  <a:pt x="73" y="195"/>
                  <a:pt x="71" y="197"/>
                </a:cubicBezTo>
                <a:cubicBezTo>
                  <a:pt x="70" y="199"/>
                  <a:pt x="71" y="207"/>
                  <a:pt x="71" y="209"/>
                </a:cubicBezTo>
                <a:cubicBezTo>
                  <a:pt x="67" y="208"/>
                  <a:pt x="63" y="204"/>
                  <a:pt x="59" y="202"/>
                </a:cubicBezTo>
                <a:cubicBezTo>
                  <a:pt x="60" y="198"/>
                  <a:pt x="61" y="193"/>
                  <a:pt x="60" y="189"/>
                </a:cubicBezTo>
                <a:cubicBezTo>
                  <a:pt x="56" y="189"/>
                  <a:pt x="54" y="191"/>
                  <a:pt x="50" y="192"/>
                </a:cubicBezTo>
                <a:cubicBezTo>
                  <a:pt x="50" y="189"/>
                  <a:pt x="48" y="191"/>
                  <a:pt x="47" y="190"/>
                </a:cubicBezTo>
                <a:cubicBezTo>
                  <a:pt x="46" y="189"/>
                  <a:pt x="45" y="186"/>
                  <a:pt x="44" y="185"/>
                </a:cubicBezTo>
                <a:cubicBezTo>
                  <a:pt x="41" y="183"/>
                  <a:pt x="37" y="186"/>
                  <a:pt x="34" y="188"/>
                </a:cubicBezTo>
                <a:cubicBezTo>
                  <a:pt x="31" y="183"/>
                  <a:pt x="35" y="176"/>
                  <a:pt x="30" y="171"/>
                </a:cubicBezTo>
                <a:cubicBezTo>
                  <a:pt x="27" y="169"/>
                  <a:pt x="24" y="170"/>
                  <a:pt x="23" y="168"/>
                </a:cubicBezTo>
                <a:cubicBezTo>
                  <a:pt x="23" y="166"/>
                  <a:pt x="23" y="166"/>
                  <a:pt x="23" y="166"/>
                </a:cubicBezTo>
                <a:cubicBezTo>
                  <a:pt x="24" y="162"/>
                  <a:pt x="22" y="157"/>
                  <a:pt x="22" y="153"/>
                </a:cubicBezTo>
                <a:cubicBezTo>
                  <a:pt x="22" y="144"/>
                  <a:pt x="14" y="139"/>
                  <a:pt x="15" y="131"/>
                </a:cubicBezTo>
                <a:cubicBezTo>
                  <a:pt x="15" y="127"/>
                  <a:pt x="15" y="126"/>
                  <a:pt x="15" y="123"/>
                </a:cubicBezTo>
                <a:cubicBezTo>
                  <a:pt x="14" y="122"/>
                  <a:pt x="13" y="121"/>
                  <a:pt x="13" y="119"/>
                </a:cubicBezTo>
                <a:cubicBezTo>
                  <a:pt x="13" y="118"/>
                  <a:pt x="15" y="116"/>
                  <a:pt x="14" y="115"/>
                </a:cubicBezTo>
                <a:cubicBezTo>
                  <a:pt x="14" y="113"/>
                  <a:pt x="12" y="113"/>
                  <a:pt x="11" y="111"/>
                </a:cubicBezTo>
                <a:cubicBezTo>
                  <a:pt x="10" y="109"/>
                  <a:pt x="12" y="106"/>
                  <a:pt x="12" y="103"/>
                </a:cubicBezTo>
                <a:cubicBezTo>
                  <a:pt x="12" y="97"/>
                  <a:pt x="3" y="96"/>
                  <a:pt x="0" y="91"/>
                </a:cubicBezTo>
                <a:cubicBezTo>
                  <a:pt x="5" y="86"/>
                  <a:pt x="10" y="79"/>
                  <a:pt x="11" y="72"/>
                </a:cubicBezTo>
                <a:cubicBezTo>
                  <a:pt x="11" y="69"/>
                  <a:pt x="12" y="66"/>
                  <a:pt x="12" y="64"/>
                </a:cubicBezTo>
                <a:cubicBezTo>
                  <a:pt x="12" y="61"/>
                  <a:pt x="7" y="57"/>
                  <a:pt x="8" y="5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04" name="Freeform 539"/>
          <p:cNvSpPr>
            <a:spLocks/>
          </p:cNvSpPr>
          <p:nvPr userDrawn="1"/>
        </p:nvSpPr>
        <p:spPr bwMode="auto">
          <a:xfrm>
            <a:off x="5988160" y="3374782"/>
            <a:ext cx="78729" cy="45228"/>
          </a:xfrm>
          <a:custGeom>
            <a:avLst/>
            <a:gdLst>
              <a:gd name="T0" fmla="*/ 2147483646 w 86"/>
              <a:gd name="T1" fmla="*/ 0 h 48"/>
              <a:gd name="T2" fmla="*/ 2147483646 w 86"/>
              <a:gd name="T3" fmla="*/ 2147483646 h 48"/>
              <a:gd name="T4" fmla="*/ 2147483646 w 86"/>
              <a:gd name="T5" fmla="*/ 2147483646 h 48"/>
              <a:gd name="T6" fmla="*/ 2147483646 w 86"/>
              <a:gd name="T7" fmla="*/ 2147483646 h 48"/>
              <a:gd name="T8" fmla="*/ 2147483646 w 86"/>
              <a:gd name="T9" fmla="*/ 2147483646 h 48"/>
              <a:gd name="T10" fmla="*/ 2147483646 w 86"/>
              <a:gd name="T11" fmla="*/ 2147483646 h 48"/>
              <a:gd name="T12" fmla="*/ 2147483646 w 86"/>
              <a:gd name="T13" fmla="*/ 2147483646 h 48"/>
              <a:gd name="T14" fmla="*/ 2147483646 w 86"/>
              <a:gd name="T15" fmla="*/ 2147483646 h 48"/>
              <a:gd name="T16" fmla="*/ 2147483646 w 86"/>
              <a:gd name="T17" fmla="*/ 2147483646 h 48"/>
              <a:gd name="T18" fmla="*/ 2147483646 w 86"/>
              <a:gd name="T19" fmla="*/ 2147483646 h 48"/>
              <a:gd name="T20" fmla="*/ 2147483646 w 86"/>
              <a:gd name="T21" fmla="*/ 2147483646 h 48"/>
              <a:gd name="T22" fmla="*/ 0 w 86"/>
              <a:gd name="T23" fmla="*/ 2147483646 h 48"/>
              <a:gd name="T24" fmla="*/ 2147483646 w 86"/>
              <a:gd name="T25" fmla="*/ 2147483646 h 48"/>
              <a:gd name="T26" fmla="*/ 2147483646 w 86"/>
              <a:gd name="T27" fmla="*/ 2147483646 h 48"/>
              <a:gd name="T28" fmla="*/ 2147483646 w 86"/>
              <a:gd name="T29" fmla="*/ 2147483646 h 48"/>
              <a:gd name="T30" fmla="*/ 2147483646 w 86"/>
              <a:gd name="T31" fmla="*/ 2147483646 h 48"/>
              <a:gd name="T32" fmla="*/ 2147483646 w 86"/>
              <a:gd name="T33" fmla="*/ 2147483646 h 48"/>
              <a:gd name="T34" fmla="*/ 2147483646 w 86"/>
              <a:gd name="T35" fmla="*/ 2147483646 h 48"/>
              <a:gd name="T36" fmla="*/ 2147483646 w 86"/>
              <a:gd name="T37" fmla="*/ 2147483646 h 48"/>
              <a:gd name="T38" fmla="*/ 2147483646 w 86"/>
              <a:gd name="T39" fmla="*/ 2147483646 h 48"/>
              <a:gd name="T40" fmla="*/ 2147483646 w 86"/>
              <a:gd name="T41" fmla="*/ 2147483646 h 48"/>
              <a:gd name="T42" fmla="*/ 2147483646 w 86"/>
              <a:gd name="T43" fmla="*/ 2147483646 h 48"/>
              <a:gd name="T44" fmla="*/ 2147483646 w 86"/>
              <a:gd name="T45" fmla="*/ 2147483646 h 48"/>
              <a:gd name="T46" fmla="*/ 2147483646 w 86"/>
              <a:gd name="T47" fmla="*/ 0 h 4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6"/>
              <a:gd name="T73" fmla="*/ 0 h 48"/>
              <a:gd name="T74" fmla="*/ 86 w 86"/>
              <a:gd name="T75" fmla="*/ 48 h 4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6" h="48">
                <a:moveTo>
                  <a:pt x="41" y="0"/>
                </a:moveTo>
                <a:cubicBezTo>
                  <a:pt x="45" y="3"/>
                  <a:pt x="49" y="3"/>
                  <a:pt x="52" y="5"/>
                </a:cubicBezTo>
                <a:cubicBezTo>
                  <a:pt x="54" y="6"/>
                  <a:pt x="56" y="9"/>
                  <a:pt x="58" y="10"/>
                </a:cubicBezTo>
                <a:cubicBezTo>
                  <a:pt x="65" y="13"/>
                  <a:pt x="72" y="7"/>
                  <a:pt x="78" y="11"/>
                </a:cubicBezTo>
                <a:cubicBezTo>
                  <a:pt x="86" y="17"/>
                  <a:pt x="79" y="21"/>
                  <a:pt x="78" y="28"/>
                </a:cubicBezTo>
                <a:cubicBezTo>
                  <a:pt x="78" y="32"/>
                  <a:pt x="80" y="41"/>
                  <a:pt x="82" y="45"/>
                </a:cubicBezTo>
                <a:cubicBezTo>
                  <a:pt x="81" y="45"/>
                  <a:pt x="81" y="45"/>
                  <a:pt x="81" y="45"/>
                </a:cubicBezTo>
                <a:cubicBezTo>
                  <a:pt x="77" y="44"/>
                  <a:pt x="73" y="47"/>
                  <a:pt x="68" y="47"/>
                </a:cubicBezTo>
                <a:cubicBezTo>
                  <a:pt x="57" y="48"/>
                  <a:pt x="44" y="42"/>
                  <a:pt x="34" y="39"/>
                </a:cubicBezTo>
                <a:cubicBezTo>
                  <a:pt x="28" y="37"/>
                  <a:pt x="21" y="36"/>
                  <a:pt x="15" y="36"/>
                </a:cubicBezTo>
                <a:cubicBezTo>
                  <a:pt x="10" y="37"/>
                  <a:pt x="6" y="39"/>
                  <a:pt x="1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4" y="32"/>
                  <a:pt x="5" y="29"/>
                  <a:pt x="13" y="30"/>
                </a:cubicBezTo>
                <a:cubicBezTo>
                  <a:pt x="20" y="30"/>
                  <a:pt x="20" y="25"/>
                  <a:pt x="17" y="25"/>
                </a:cubicBezTo>
                <a:cubicBezTo>
                  <a:pt x="14" y="24"/>
                  <a:pt x="10" y="23"/>
                  <a:pt x="8" y="24"/>
                </a:cubicBezTo>
                <a:cubicBezTo>
                  <a:pt x="5" y="26"/>
                  <a:pt x="6" y="18"/>
                  <a:pt x="9" y="16"/>
                </a:cubicBezTo>
                <a:cubicBezTo>
                  <a:pt x="11" y="14"/>
                  <a:pt x="12" y="12"/>
                  <a:pt x="16" y="14"/>
                </a:cubicBezTo>
                <a:cubicBezTo>
                  <a:pt x="21" y="16"/>
                  <a:pt x="23" y="13"/>
                  <a:pt x="26" y="13"/>
                </a:cubicBezTo>
                <a:cubicBezTo>
                  <a:pt x="29" y="13"/>
                  <a:pt x="29" y="15"/>
                  <a:pt x="32" y="16"/>
                </a:cubicBezTo>
                <a:cubicBezTo>
                  <a:pt x="34" y="18"/>
                  <a:pt x="37" y="17"/>
                  <a:pt x="37" y="17"/>
                </a:cubicBezTo>
                <a:cubicBezTo>
                  <a:pt x="37" y="17"/>
                  <a:pt x="40" y="15"/>
                  <a:pt x="39" y="10"/>
                </a:cubicBezTo>
                <a:cubicBezTo>
                  <a:pt x="38" y="5"/>
                  <a:pt x="38" y="2"/>
                  <a:pt x="38" y="2"/>
                </a:cubicBezTo>
                <a:cubicBezTo>
                  <a:pt x="41" y="1"/>
                  <a:pt x="41" y="1"/>
                  <a:pt x="41" y="1"/>
                </a:cubicBezTo>
                <a:lnTo>
                  <a:pt x="41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05" name="Freeform 540"/>
          <p:cNvSpPr>
            <a:spLocks/>
          </p:cNvSpPr>
          <p:nvPr userDrawn="1"/>
        </p:nvSpPr>
        <p:spPr bwMode="auto">
          <a:xfrm>
            <a:off x="6019985" y="3326204"/>
            <a:ext cx="134008" cy="113907"/>
          </a:xfrm>
          <a:custGeom>
            <a:avLst/>
            <a:gdLst>
              <a:gd name="T0" fmla="*/ 2147483646 w 144"/>
              <a:gd name="T1" fmla="*/ 2147483646 h 122"/>
              <a:gd name="T2" fmla="*/ 2147483646 w 144"/>
              <a:gd name="T3" fmla="*/ 2147483646 h 122"/>
              <a:gd name="T4" fmla="*/ 2147483646 w 144"/>
              <a:gd name="T5" fmla="*/ 2147483646 h 122"/>
              <a:gd name="T6" fmla="*/ 2147483646 w 144"/>
              <a:gd name="T7" fmla="*/ 2147483646 h 122"/>
              <a:gd name="T8" fmla="*/ 2147483646 w 144"/>
              <a:gd name="T9" fmla="*/ 2147483646 h 122"/>
              <a:gd name="T10" fmla="*/ 2147483646 w 144"/>
              <a:gd name="T11" fmla="*/ 2147483646 h 122"/>
              <a:gd name="T12" fmla="*/ 2147483646 w 144"/>
              <a:gd name="T13" fmla="*/ 2147483646 h 122"/>
              <a:gd name="T14" fmla="*/ 2147483646 w 144"/>
              <a:gd name="T15" fmla="*/ 2147483646 h 122"/>
              <a:gd name="T16" fmla="*/ 2147483646 w 144"/>
              <a:gd name="T17" fmla="*/ 2147483646 h 122"/>
              <a:gd name="T18" fmla="*/ 2147483646 w 144"/>
              <a:gd name="T19" fmla="*/ 2147483646 h 122"/>
              <a:gd name="T20" fmla="*/ 2147483646 w 144"/>
              <a:gd name="T21" fmla="*/ 2147483646 h 122"/>
              <a:gd name="T22" fmla="*/ 2147483646 w 144"/>
              <a:gd name="T23" fmla="*/ 2147483646 h 122"/>
              <a:gd name="T24" fmla="*/ 2147483646 w 144"/>
              <a:gd name="T25" fmla="*/ 2147483646 h 122"/>
              <a:gd name="T26" fmla="*/ 2147483646 w 144"/>
              <a:gd name="T27" fmla="*/ 2147483646 h 122"/>
              <a:gd name="T28" fmla="*/ 2147483646 w 144"/>
              <a:gd name="T29" fmla="*/ 2147483646 h 122"/>
              <a:gd name="T30" fmla="*/ 2147483646 w 144"/>
              <a:gd name="T31" fmla="*/ 2147483646 h 122"/>
              <a:gd name="T32" fmla="*/ 2147483646 w 144"/>
              <a:gd name="T33" fmla="*/ 2147483646 h 122"/>
              <a:gd name="T34" fmla="*/ 2147483646 w 144"/>
              <a:gd name="T35" fmla="*/ 2147483646 h 122"/>
              <a:gd name="T36" fmla="*/ 2147483646 w 144"/>
              <a:gd name="T37" fmla="*/ 2147483646 h 122"/>
              <a:gd name="T38" fmla="*/ 2147483646 w 144"/>
              <a:gd name="T39" fmla="*/ 2147483646 h 122"/>
              <a:gd name="T40" fmla="*/ 2147483646 w 144"/>
              <a:gd name="T41" fmla="*/ 2147483646 h 122"/>
              <a:gd name="T42" fmla="*/ 0 w 144"/>
              <a:gd name="T43" fmla="*/ 2147483646 h 122"/>
              <a:gd name="T44" fmla="*/ 0 w 144"/>
              <a:gd name="T45" fmla="*/ 2147483646 h 122"/>
              <a:gd name="T46" fmla="*/ 0 w 144"/>
              <a:gd name="T47" fmla="*/ 2147483646 h 122"/>
              <a:gd name="T48" fmla="*/ 2147483646 w 144"/>
              <a:gd name="T49" fmla="*/ 2147483646 h 122"/>
              <a:gd name="T50" fmla="*/ 2147483646 w 144"/>
              <a:gd name="T51" fmla="*/ 2147483646 h 122"/>
              <a:gd name="T52" fmla="*/ 2147483646 w 144"/>
              <a:gd name="T53" fmla="*/ 2147483646 h 122"/>
              <a:gd name="T54" fmla="*/ 2147483646 w 144"/>
              <a:gd name="T55" fmla="*/ 2147483646 h 122"/>
              <a:gd name="T56" fmla="*/ 2147483646 w 144"/>
              <a:gd name="T57" fmla="*/ 2147483646 h 122"/>
              <a:gd name="T58" fmla="*/ 2147483646 w 144"/>
              <a:gd name="T59" fmla="*/ 2147483646 h 122"/>
              <a:gd name="T60" fmla="*/ 2147483646 w 144"/>
              <a:gd name="T61" fmla="*/ 2147483646 h 122"/>
              <a:gd name="T62" fmla="*/ 2147483646 w 144"/>
              <a:gd name="T63" fmla="*/ 2147483646 h 122"/>
              <a:gd name="T64" fmla="*/ 2147483646 w 144"/>
              <a:gd name="T65" fmla="*/ 2147483646 h 122"/>
              <a:gd name="T66" fmla="*/ 2147483646 w 144"/>
              <a:gd name="T67" fmla="*/ 2147483646 h 122"/>
              <a:gd name="T68" fmla="*/ 2147483646 w 144"/>
              <a:gd name="T69" fmla="*/ 2147483646 h 122"/>
              <a:gd name="T70" fmla="*/ 2147483646 w 144"/>
              <a:gd name="T71" fmla="*/ 2147483646 h 122"/>
              <a:gd name="T72" fmla="*/ 2147483646 w 144"/>
              <a:gd name="T73" fmla="*/ 2147483646 h 122"/>
              <a:gd name="T74" fmla="*/ 2147483646 w 144"/>
              <a:gd name="T75" fmla="*/ 2147483646 h 12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44"/>
              <a:gd name="T115" fmla="*/ 0 h 122"/>
              <a:gd name="T116" fmla="*/ 144 w 144"/>
              <a:gd name="T117" fmla="*/ 122 h 122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44" h="122">
                <a:moveTo>
                  <a:pt x="66" y="122"/>
                </a:moveTo>
                <a:cubicBezTo>
                  <a:pt x="72" y="118"/>
                  <a:pt x="79" y="122"/>
                  <a:pt x="86" y="119"/>
                </a:cubicBezTo>
                <a:cubicBezTo>
                  <a:pt x="88" y="118"/>
                  <a:pt x="92" y="113"/>
                  <a:pt x="93" y="112"/>
                </a:cubicBezTo>
                <a:cubicBezTo>
                  <a:pt x="96" y="109"/>
                  <a:pt x="99" y="105"/>
                  <a:pt x="101" y="103"/>
                </a:cubicBezTo>
                <a:cubicBezTo>
                  <a:pt x="111" y="106"/>
                  <a:pt x="112" y="107"/>
                  <a:pt x="113" y="94"/>
                </a:cubicBezTo>
                <a:cubicBezTo>
                  <a:pt x="113" y="88"/>
                  <a:pt x="110" y="73"/>
                  <a:pt x="120" y="76"/>
                </a:cubicBezTo>
                <a:cubicBezTo>
                  <a:pt x="120" y="70"/>
                  <a:pt x="123" y="65"/>
                  <a:pt x="128" y="63"/>
                </a:cubicBezTo>
                <a:cubicBezTo>
                  <a:pt x="131" y="62"/>
                  <a:pt x="134" y="64"/>
                  <a:pt x="137" y="61"/>
                </a:cubicBezTo>
                <a:cubicBezTo>
                  <a:pt x="139" y="60"/>
                  <a:pt x="140" y="56"/>
                  <a:pt x="142" y="53"/>
                </a:cubicBezTo>
                <a:cubicBezTo>
                  <a:pt x="141" y="50"/>
                  <a:pt x="138" y="49"/>
                  <a:pt x="135" y="48"/>
                </a:cubicBezTo>
                <a:cubicBezTo>
                  <a:pt x="138" y="43"/>
                  <a:pt x="144" y="35"/>
                  <a:pt x="141" y="29"/>
                </a:cubicBezTo>
                <a:cubicBezTo>
                  <a:pt x="139" y="26"/>
                  <a:pt x="128" y="17"/>
                  <a:pt x="125" y="15"/>
                </a:cubicBezTo>
                <a:cubicBezTo>
                  <a:pt x="119" y="11"/>
                  <a:pt x="110" y="13"/>
                  <a:pt x="103" y="10"/>
                </a:cubicBezTo>
                <a:cubicBezTo>
                  <a:pt x="99" y="8"/>
                  <a:pt x="99" y="6"/>
                  <a:pt x="96" y="4"/>
                </a:cubicBezTo>
                <a:cubicBezTo>
                  <a:pt x="91" y="0"/>
                  <a:pt x="93" y="2"/>
                  <a:pt x="90" y="2"/>
                </a:cubicBezTo>
                <a:cubicBezTo>
                  <a:pt x="89" y="2"/>
                  <a:pt x="86" y="4"/>
                  <a:pt x="85" y="4"/>
                </a:cubicBezTo>
                <a:cubicBezTo>
                  <a:pt x="84" y="5"/>
                  <a:pt x="82" y="3"/>
                  <a:pt x="81" y="3"/>
                </a:cubicBezTo>
                <a:cubicBezTo>
                  <a:pt x="78" y="2"/>
                  <a:pt x="75" y="2"/>
                  <a:pt x="72" y="2"/>
                </a:cubicBezTo>
                <a:cubicBezTo>
                  <a:pt x="64" y="2"/>
                  <a:pt x="56" y="3"/>
                  <a:pt x="47" y="3"/>
                </a:cubicBezTo>
                <a:cubicBezTo>
                  <a:pt x="43" y="3"/>
                  <a:pt x="38" y="5"/>
                  <a:pt x="34" y="4"/>
                </a:cubicBezTo>
                <a:cubicBezTo>
                  <a:pt x="31" y="4"/>
                  <a:pt x="29" y="2"/>
                  <a:pt x="26" y="2"/>
                </a:cubicBezTo>
                <a:cubicBezTo>
                  <a:pt x="17" y="2"/>
                  <a:pt x="9" y="14"/>
                  <a:pt x="0" y="12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22"/>
                  <a:pt x="1" y="26"/>
                  <a:pt x="5" y="31"/>
                </a:cubicBezTo>
                <a:cubicBezTo>
                  <a:pt x="9" y="36"/>
                  <a:pt x="7" y="37"/>
                  <a:pt x="7" y="37"/>
                </a:cubicBezTo>
                <a:cubicBezTo>
                  <a:pt x="7" y="37"/>
                  <a:pt x="5" y="42"/>
                  <a:pt x="5" y="46"/>
                </a:cubicBezTo>
                <a:cubicBezTo>
                  <a:pt x="5" y="50"/>
                  <a:pt x="7" y="53"/>
                  <a:pt x="7" y="53"/>
                </a:cubicBezTo>
                <a:cubicBezTo>
                  <a:pt x="6" y="53"/>
                  <a:pt x="6" y="53"/>
                  <a:pt x="6" y="53"/>
                </a:cubicBezTo>
                <a:cubicBezTo>
                  <a:pt x="10" y="55"/>
                  <a:pt x="14" y="56"/>
                  <a:pt x="17" y="58"/>
                </a:cubicBezTo>
                <a:cubicBezTo>
                  <a:pt x="19" y="59"/>
                  <a:pt x="21" y="62"/>
                  <a:pt x="23" y="63"/>
                </a:cubicBezTo>
                <a:cubicBezTo>
                  <a:pt x="30" y="65"/>
                  <a:pt x="37" y="60"/>
                  <a:pt x="43" y="64"/>
                </a:cubicBezTo>
                <a:cubicBezTo>
                  <a:pt x="51" y="70"/>
                  <a:pt x="44" y="74"/>
                  <a:pt x="43" y="81"/>
                </a:cubicBezTo>
                <a:cubicBezTo>
                  <a:pt x="43" y="85"/>
                  <a:pt x="45" y="94"/>
                  <a:pt x="47" y="98"/>
                </a:cubicBezTo>
                <a:cubicBezTo>
                  <a:pt x="49" y="99"/>
                  <a:pt x="49" y="99"/>
                  <a:pt x="49" y="99"/>
                </a:cubicBezTo>
                <a:cubicBezTo>
                  <a:pt x="53" y="100"/>
                  <a:pt x="64" y="107"/>
                  <a:pt x="66" y="111"/>
                </a:cubicBezTo>
                <a:cubicBezTo>
                  <a:pt x="66" y="113"/>
                  <a:pt x="66" y="116"/>
                  <a:pt x="66" y="119"/>
                </a:cubicBezTo>
                <a:lnTo>
                  <a:pt x="66" y="1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06" name="Freeform 541"/>
          <p:cNvSpPr>
            <a:spLocks/>
          </p:cNvSpPr>
          <p:nvPr userDrawn="1"/>
        </p:nvSpPr>
        <p:spPr bwMode="auto">
          <a:xfrm>
            <a:off x="6013286" y="3244125"/>
            <a:ext cx="184260" cy="108881"/>
          </a:xfrm>
          <a:custGeom>
            <a:avLst/>
            <a:gdLst>
              <a:gd name="T0" fmla="*/ 2147483646 w 198"/>
              <a:gd name="T1" fmla="*/ 2147483646 h 117"/>
              <a:gd name="T2" fmla="*/ 2147483646 w 198"/>
              <a:gd name="T3" fmla="*/ 2147483646 h 117"/>
              <a:gd name="T4" fmla="*/ 2147483646 w 198"/>
              <a:gd name="T5" fmla="*/ 2147483646 h 117"/>
              <a:gd name="T6" fmla="*/ 2147483646 w 198"/>
              <a:gd name="T7" fmla="*/ 2147483646 h 117"/>
              <a:gd name="T8" fmla="*/ 2147483646 w 198"/>
              <a:gd name="T9" fmla="*/ 2147483646 h 117"/>
              <a:gd name="T10" fmla="*/ 2147483646 w 198"/>
              <a:gd name="T11" fmla="*/ 2147483646 h 117"/>
              <a:gd name="T12" fmla="*/ 2147483646 w 198"/>
              <a:gd name="T13" fmla="*/ 2147483646 h 117"/>
              <a:gd name="T14" fmla="*/ 2147483646 w 198"/>
              <a:gd name="T15" fmla="*/ 2147483646 h 117"/>
              <a:gd name="T16" fmla="*/ 2147483646 w 198"/>
              <a:gd name="T17" fmla="*/ 2147483646 h 117"/>
              <a:gd name="T18" fmla="*/ 2147483646 w 198"/>
              <a:gd name="T19" fmla="*/ 2147483646 h 117"/>
              <a:gd name="T20" fmla="*/ 2147483646 w 198"/>
              <a:gd name="T21" fmla="*/ 2147483646 h 117"/>
              <a:gd name="T22" fmla="*/ 2147483646 w 198"/>
              <a:gd name="T23" fmla="*/ 2147483646 h 117"/>
              <a:gd name="T24" fmla="*/ 2147483646 w 198"/>
              <a:gd name="T25" fmla="*/ 2147483646 h 117"/>
              <a:gd name="T26" fmla="*/ 2147483646 w 198"/>
              <a:gd name="T27" fmla="*/ 2147483646 h 117"/>
              <a:gd name="T28" fmla="*/ 2147483646 w 198"/>
              <a:gd name="T29" fmla="*/ 2147483646 h 117"/>
              <a:gd name="T30" fmla="*/ 2147483646 w 198"/>
              <a:gd name="T31" fmla="*/ 2147483646 h 117"/>
              <a:gd name="T32" fmla="*/ 2147483646 w 198"/>
              <a:gd name="T33" fmla="*/ 2147483646 h 117"/>
              <a:gd name="T34" fmla="*/ 2147483646 w 198"/>
              <a:gd name="T35" fmla="*/ 2147483646 h 117"/>
              <a:gd name="T36" fmla="*/ 2147483646 w 198"/>
              <a:gd name="T37" fmla="*/ 2147483646 h 117"/>
              <a:gd name="T38" fmla="*/ 2147483646 w 198"/>
              <a:gd name="T39" fmla="*/ 2147483646 h 117"/>
              <a:gd name="T40" fmla="*/ 2147483646 w 198"/>
              <a:gd name="T41" fmla="*/ 2147483646 h 117"/>
              <a:gd name="T42" fmla="*/ 2147483646 w 198"/>
              <a:gd name="T43" fmla="*/ 2147483646 h 117"/>
              <a:gd name="T44" fmla="*/ 2147483646 w 198"/>
              <a:gd name="T45" fmla="*/ 2147483646 h 117"/>
              <a:gd name="T46" fmla="*/ 2147483646 w 198"/>
              <a:gd name="T47" fmla="*/ 2147483646 h 117"/>
              <a:gd name="T48" fmla="*/ 2147483646 w 198"/>
              <a:gd name="T49" fmla="*/ 2147483646 h 117"/>
              <a:gd name="T50" fmla="*/ 2147483646 w 198"/>
              <a:gd name="T51" fmla="*/ 2147483646 h 117"/>
              <a:gd name="T52" fmla="*/ 2147483646 w 198"/>
              <a:gd name="T53" fmla="*/ 2147483646 h 117"/>
              <a:gd name="T54" fmla="*/ 2147483646 w 198"/>
              <a:gd name="T55" fmla="*/ 2147483646 h 117"/>
              <a:gd name="T56" fmla="*/ 2147483646 w 198"/>
              <a:gd name="T57" fmla="*/ 2147483646 h 117"/>
              <a:gd name="T58" fmla="*/ 2147483646 w 198"/>
              <a:gd name="T59" fmla="*/ 2147483646 h 117"/>
              <a:gd name="T60" fmla="*/ 2147483646 w 198"/>
              <a:gd name="T61" fmla="*/ 2147483646 h 117"/>
              <a:gd name="T62" fmla="*/ 2147483646 w 198"/>
              <a:gd name="T63" fmla="*/ 2147483646 h 117"/>
              <a:gd name="T64" fmla="*/ 2147483646 w 198"/>
              <a:gd name="T65" fmla="*/ 2147483646 h 117"/>
              <a:gd name="T66" fmla="*/ 2147483646 w 198"/>
              <a:gd name="T67" fmla="*/ 2147483646 h 117"/>
              <a:gd name="T68" fmla="*/ 2147483646 w 198"/>
              <a:gd name="T69" fmla="*/ 2147483646 h 117"/>
              <a:gd name="T70" fmla="*/ 2147483646 w 198"/>
              <a:gd name="T71" fmla="*/ 2147483646 h 117"/>
              <a:gd name="T72" fmla="*/ 2147483646 w 198"/>
              <a:gd name="T73" fmla="*/ 2147483646 h 117"/>
              <a:gd name="T74" fmla="*/ 2147483646 w 198"/>
              <a:gd name="T75" fmla="*/ 2147483646 h 117"/>
              <a:gd name="T76" fmla="*/ 2147483646 w 198"/>
              <a:gd name="T77" fmla="*/ 2147483646 h 117"/>
              <a:gd name="T78" fmla="*/ 2147483646 w 198"/>
              <a:gd name="T79" fmla="*/ 2147483646 h 117"/>
              <a:gd name="T80" fmla="*/ 2147483646 w 198"/>
              <a:gd name="T81" fmla="*/ 2147483646 h 117"/>
              <a:gd name="T82" fmla="*/ 2147483646 w 198"/>
              <a:gd name="T83" fmla="*/ 2147483646 h 11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98"/>
              <a:gd name="T127" fmla="*/ 0 h 117"/>
              <a:gd name="T128" fmla="*/ 198 w 198"/>
              <a:gd name="T129" fmla="*/ 117 h 11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98" h="117">
                <a:moveTo>
                  <a:pt x="149" y="117"/>
                </a:moveTo>
                <a:cubicBezTo>
                  <a:pt x="154" y="116"/>
                  <a:pt x="159" y="112"/>
                  <a:pt x="164" y="112"/>
                </a:cubicBezTo>
                <a:cubicBezTo>
                  <a:pt x="168" y="112"/>
                  <a:pt x="170" y="117"/>
                  <a:pt x="174" y="117"/>
                </a:cubicBezTo>
                <a:cubicBezTo>
                  <a:pt x="181" y="116"/>
                  <a:pt x="184" y="104"/>
                  <a:pt x="189" y="99"/>
                </a:cubicBezTo>
                <a:cubicBezTo>
                  <a:pt x="192" y="97"/>
                  <a:pt x="192" y="96"/>
                  <a:pt x="193" y="96"/>
                </a:cubicBezTo>
                <a:cubicBezTo>
                  <a:pt x="188" y="89"/>
                  <a:pt x="183" y="80"/>
                  <a:pt x="185" y="71"/>
                </a:cubicBezTo>
                <a:cubicBezTo>
                  <a:pt x="187" y="63"/>
                  <a:pt x="194" y="63"/>
                  <a:pt x="198" y="57"/>
                </a:cubicBezTo>
                <a:cubicBezTo>
                  <a:pt x="194" y="53"/>
                  <a:pt x="193" y="43"/>
                  <a:pt x="191" y="37"/>
                </a:cubicBezTo>
                <a:cubicBezTo>
                  <a:pt x="189" y="31"/>
                  <a:pt x="197" y="7"/>
                  <a:pt x="189" y="4"/>
                </a:cubicBezTo>
                <a:cubicBezTo>
                  <a:pt x="183" y="3"/>
                  <a:pt x="181" y="21"/>
                  <a:pt x="176" y="24"/>
                </a:cubicBezTo>
                <a:cubicBezTo>
                  <a:pt x="172" y="27"/>
                  <a:pt x="171" y="27"/>
                  <a:pt x="167" y="27"/>
                </a:cubicBezTo>
                <a:cubicBezTo>
                  <a:pt x="164" y="27"/>
                  <a:pt x="162" y="24"/>
                  <a:pt x="158" y="25"/>
                </a:cubicBezTo>
                <a:cubicBezTo>
                  <a:pt x="155" y="26"/>
                  <a:pt x="155" y="30"/>
                  <a:pt x="150" y="29"/>
                </a:cubicBezTo>
                <a:cubicBezTo>
                  <a:pt x="147" y="28"/>
                  <a:pt x="144" y="24"/>
                  <a:pt x="141" y="22"/>
                </a:cubicBezTo>
                <a:cubicBezTo>
                  <a:pt x="138" y="21"/>
                  <a:pt x="135" y="20"/>
                  <a:pt x="132" y="18"/>
                </a:cubicBezTo>
                <a:cubicBezTo>
                  <a:pt x="126" y="15"/>
                  <a:pt x="122" y="10"/>
                  <a:pt x="117" y="7"/>
                </a:cubicBezTo>
                <a:cubicBezTo>
                  <a:pt x="106" y="0"/>
                  <a:pt x="102" y="9"/>
                  <a:pt x="93" y="15"/>
                </a:cubicBezTo>
                <a:cubicBezTo>
                  <a:pt x="93" y="18"/>
                  <a:pt x="93" y="18"/>
                  <a:pt x="93" y="18"/>
                </a:cubicBezTo>
                <a:cubicBezTo>
                  <a:pt x="93" y="22"/>
                  <a:pt x="94" y="27"/>
                  <a:pt x="94" y="33"/>
                </a:cubicBezTo>
                <a:cubicBezTo>
                  <a:pt x="94" y="45"/>
                  <a:pt x="93" y="44"/>
                  <a:pt x="89" y="52"/>
                </a:cubicBezTo>
                <a:cubicBezTo>
                  <a:pt x="84" y="60"/>
                  <a:pt x="76" y="57"/>
                  <a:pt x="68" y="56"/>
                </a:cubicBezTo>
                <a:cubicBezTo>
                  <a:pt x="60" y="55"/>
                  <a:pt x="63" y="49"/>
                  <a:pt x="62" y="44"/>
                </a:cubicBezTo>
                <a:cubicBezTo>
                  <a:pt x="61" y="39"/>
                  <a:pt x="56" y="38"/>
                  <a:pt x="52" y="35"/>
                </a:cubicBezTo>
                <a:cubicBezTo>
                  <a:pt x="49" y="32"/>
                  <a:pt x="49" y="31"/>
                  <a:pt x="47" y="27"/>
                </a:cubicBezTo>
                <a:cubicBezTo>
                  <a:pt x="45" y="22"/>
                  <a:pt x="42" y="25"/>
                  <a:pt x="37" y="28"/>
                </a:cubicBezTo>
                <a:cubicBezTo>
                  <a:pt x="32" y="31"/>
                  <a:pt x="30" y="30"/>
                  <a:pt x="24" y="34"/>
                </a:cubicBezTo>
                <a:cubicBezTo>
                  <a:pt x="18" y="38"/>
                  <a:pt x="16" y="42"/>
                  <a:pt x="16" y="50"/>
                </a:cubicBezTo>
                <a:cubicBezTo>
                  <a:pt x="16" y="58"/>
                  <a:pt x="13" y="64"/>
                  <a:pt x="7" y="71"/>
                </a:cubicBezTo>
                <a:cubicBezTo>
                  <a:pt x="0" y="78"/>
                  <a:pt x="3" y="85"/>
                  <a:pt x="4" y="90"/>
                </a:cubicBezTo>
                <a:cubicBezTo>
                  <a:pt x="5" y="94"/>
                  <a:pt x="8" y="98"/>
                  <a:pt x="8" y="98"/>
                </a:cubicBezTo>
                <a:cubicBezTo>
                  <a:pt x="8" y="99"/>
                  <a:pt x="8" y="99"/>
                  <a:pt x="8" y="99"/>
                </a:cubicBezTo>
                <a:cubicBezTo>
                  <a:pt x="17" y="101"/>
                  <a:pt x="25" y="89"/>
                  <a:pt x="34" y="89"/>
                </a:cubicBezTo>
                <a:cubicBezTo>
                  <a:pt x="37" y="89"/>
                  <a:pt x="39" y="91"/>
                  <a:pt x="42" y="91"/>
                </a:cubicBezTo>
                <a:cubicBezTo>
                  <a:pt x="46" y="92"/>
                  <a:pt x="51" y="90"/>
                  <a:pt x="55" y="90"/>
                </a:cubicBezTo>
                <a:cubicBezTo>
                  <a:pt x="64" y="90"/>
                  <a:pt x="72" y="89"/>
                  <a:pt x="80" y="89"/>
                </a:cubicBezTo>
                <a:cubicBezTo>
                  <a:pt x="83" y="89"/>
                  <a:pt x="86" y="90"/>
                  <a:pt x="89" y="90"/>
                </a:cubicBezTo>
                <a:cubicBezTo>
                  <a:pt x="90" y="90"/>
                  <a:pt x="92" y="92"/>
                  <a:pt x="93" y="91"/>
                </a:cubicBezTo>
                <a:cubicBezTo>
                  <a:pt x="95" y="91"/>
                  <a:pt x="97" y="89"/>
                  <a:pt x="98" y="89"/>
                </a:cubicBezTo>
                <a:cubicBezTo>
                  <a:pt x="101" y="89"/>
                  <a:pt x="99" y="87"/>
                  <a:pt x="104" y="91"/>
                </a:cubicBezTo>
                <a:cubicBezTo>
                  <a:pt x="107" y="94"/>
                  <a:pt x="107" y="96"/>
                  <a:pt x="111" y="97"/>
                </a:cubicBezTo>
                <a:cubicBezTo>
                  <a:pt x="118" y="100"/>
                  <a:pt x="127" y="98"/>
                  <a:pt x="133" y="102"/>
                </a:cubicBezTo>
                <a:cubicBezTo>
                  <a:pt x="136" y="104"/>
                  <a:pt x="147" y="113"/>
                  <a:pt x="149" y="117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07" name="Freeform 542"/>
          <p:cNvSpPr>
            <a:spLocks/>
          </p:cNvSpPr>
          <p:nvPr userDrawn="1"/>
        </p:nvSpPr>
        <p:spPr bwMode="auto">
          <a:xfrm>
            <a:off x="6013286" y="3244125"/>
            <a:ext cx="184260" cy="108881"/>
          </a:xfrm>
          <a:custGeom>
            <a:avLst/>
            <a:gdLst>
              <a:gd name="T0" fmla="*/ 2147483646 w 198"/>
              <a:gd name="T1" fmla="*/ 2147483646 h 117"/>
              <a:gd name="T2" fmla="*/ 2147483646 w 198"/>
              <a:gd name="T3" fmla="*/ 2147483646 h 117"/>
              <a:gd name="T4" fmla="*/ 2147483646 w 198"/>
              <a:gd name="T5" fmla="*/ 2147483646 h 117"/>
              <a:gd name="T6" fmla="*/ 2147483646 w 198"/>
              <a:gd name="T7" fmla="*/ 2147483646 h 117"/>
              <a:gd name="T8" fmla="*/ 2147483646 w 198"/>
              <a:gd name="T9" fmla="*/ 2147483646 h 117"/>
              <a:gd name="T10" fmla="*/ 2147483646 w 198"/>
              <a:gd name="T11" fmla="*/ 2147483646 h 117"/>
              <a:gd name="T12" fmla="*/ 2147483646 w 198"/>
              <a:gd name="T13" fmla="*/ 2147483646 h 117"/>
              <a:gd name="T14" fmla="*/ 2147483646 w 198"/>
              <a:gd name="T15" fmla="*/ 2147483646 h 117"/>
              <a:gd name="T16" fmla="*/ 2147483646 w 198"/>
              <a:gd name="T17" fmla="*/ 2147483646 h 117"/>
              <a:gd name="T18" fmla="*/ 2147483646 w 198"/>
              <a:gd name="T19" fmla="*/ 2147483646 h 117"/>
              <a:gd name="T20" fmla="*/ 2147483646 w 198"/>
              <a:gd name="T21" fmla="*/ 2147483646 h 117"/>
              <a:gd name="T22" fmla="*/ 2147483646 w 198"/>
              <a:gd name="T23" fmla="*/ 2147483646 h 117"/>
              <a:gd name="T24" fmla="*/ 2147483646 w 198"/>
              <a:gd name="T25" fmla="*/ 2147483646 h 117"/>
              <a:gd name="T26" fmla="*/ 2147483646 w 198"/>
              <a:gd name="T27" fmla="*/ 2147483646 h 117"/>
              <a:gd name="T28" fmla="*/ 2147483646 w 198"/>
              <a:gd name="T29" fmla="*/ 2147483646 h 117"/>
              <a:gd name="T30" fmla="*/ 2147483646 w 198"/>
              <a:gd name="T31" fmla="*/ 2147483646 h 117"/>
              <a:gd name="T32" fmla="*/ 2147483646 w 198"/>
              <a:gd name="T33" fmla="*/ 2147483646 h 117"/>
              <a:gd name="T34" fmla="*/ 2147483646 w 198"/>
              <a:gd name="T35" fmla="*/ 2147483646 h 117"/>
              <a:gd name="T36" fmla="*/ 2147483646 w 198"/>
              <a:gd name="T37" fmla="*/ 2147483646 h 117"/>
              <a:gd name="T38" fmla="*/ 2147483646 w 198"/>
              <a:gd name="T39" fmla="*/ 2147483646 h 117"/>
              <a:gd name="T40" fmla="*/ 2147483646 w 198"/>
              <a:gd name="T41" fmla="*/ 2147483646 h 117"/>
              <a:gd name="T42" fmla="*/ 2147483646 w 198"/>
              <a:gd name="T43" fmla="*/ 2147483646 h 117"/>
              <a:gd name="T44" fmla="*/ 2147483646 w 198"/>
              <a:gd name="T45" fmla="*/ 2147483646 h 117"/>
              <a:gd name="T46" fmla="*/ 2147483646 w 198"/>
              <a:gd name="T47" fmla="*/ 2147483646 h 117"/>
              <a:gd name="T48" fmla="*/ 2147483646 w 198"/>
              <a:gd name="T49" fmla="*/ 2147483646 h 117"/>
              <a:gd name="T50" fmla="*/ 2147483646 w 198"/>
              <a:gd name="T51" fmla="*/ 2147483646 h 117"/>
              <a:gd name="T52" fmla="*/ 2147483646 w 198"/>
              <a:gd name="T53" fmla="*/ 2147483646 h 117"/>
              <a:gd name="T54" fmla="*/ 2147483646 w 198"/>
              <a:gd name="T55" fmla="*/ 2147483646 h 117"/>
              <a:gd name="T56" fmla="*/ 2147483646 w 198"/>
              <a:gd name="T57" fmla="*/ 2147483646 h 117"/>
              <a:gd name="T58" fmla="*/ 2147483646 w 198"/>
              <a:gd name="T59" fmla="*/ 2147483646 h 117"/>
              <a:gd name="T60" fmla="*/ 2147483646 w 198"/>
              <a:gd name="T61" fmla="*/ 2147483646 h 117"/>
              <a:gd name="T62" fmla="*/ 2147483646 w 198"/>
              <a:gd name="T63" fmla="*/ 2147483646 h 117"/>
              <a:gd name="T64" fmla="*/ 2147483646 w 198"/>
              <a:gd name="T65" fmla="*/ 2147483646 h 117"/>
              <a:gd name="T66" fmla="*/ 2147483646 w 198"/>
              <a:gd name="T67" fmla="*/ 2147483646 h 117"/>
              <a:gd name="T68" fmla="*/ 2147483646 w 198"/>
              <a:gd name="T69" fmla="*/ 2147483646 h 117"/>
              <a:gd name="T70" fmla="*/ 2147483646 w 198"/>
              <a:gd name="T71" fmla="*/ 2147483646 h 117"/>
              <a:gd name="T72" fmla="*/ 2147483646 w 198"/>
              <a:gd name="T73" fmla="*/ 2147483646 h 117"/>
              <a:gd name="T74" fmla="*/ 2147483646 w 198"/>
              <a:gd name="T75" fmla="*/ 2147483646 h 117"/>
              <a:gd name="T76" fmla="*/ 2147483646 w 198"/>
              <a:gd name="T77" fmla="*/ 2147483646 h 117"/>
              <a:gd name="T78" fmla="*/ 2147483646 w 198"/>
              <a:gd name="T79" fmla="*/ 2147483646 h 117"/>
              <a:gd name="T80" fmla="*/ 2147483646 w 198"/>
              <a:gd name="T81" fmla="*/ 2147483646 h 117"/>
              <a:gd name="T82" fmla="*/ 2147483646 w 198"/>
              <a:gd name="T83" fmla="*/ 2147483646 h 11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98"/>
              <a:gd name="T127" fmla="*/ 0 h 117"/>
              <a:gd name="T128" fmla="*/ 198 w 198"/>
              <a:gd name="T129" fmla="*/ 117 h 11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98" h="117">
                <a:moveTo>
                  <a:pt x="149" y="117"/>
                </a:moveTo>
                <a:cubicBezTo>
                  <a:pt x="154" y="116"/>
                  <a:pt x="159" y="112"/>
                  <a:pt x="164" y="112"/>
                </a:cubicBezTo>
                <a:cubicBezTo>
                  <a:pt x="168" y="112"/>
                  <a:pt x="170" y="117"/>
                  <a:pt x="174" y="117"/>
                </a:cubicBezTo>
                <a:cubicBezTo>
                  <a:pt x="181" y="116"/>
                  <a:pt x="184" y="104"/>
                  <a:pt x="189" y="99"/>
                </a:cubicBezTo>
                <a:cubicBezTo>
                  <a:pt x="192" y="97"/>
                  <a:pt x="192" y="96"/>
                  <a:pt x="193" y="96"/>
                </a:cubicBezTo>
                <a:cubicBezTo>
                  <a:pt x="188" y="89"/>
                  <a:pt x="183" y="80"/>
                  <a:pt x="185" y="71"/>
                </a:cubicBezTo>
                <a:cubicBezTo>
                  <a:pt x="187" y="63"/>
                  <a:pt x="194" y="63"/>
                  <a:pt x="198" y="57"/>
                </a:cubicBezTo>
                <a:cubicBezTo>
                  <a:pt x="194" y="53"/>
                  <a:pt x="193" y="43"/>
                  <a:pt x="191" y="37"/>
                </a:cubicBezTo>
                <a:cubicBezTo>
                  <a:pt x="189" y="31"/>
                  <a:pt x="197" y="7"/>
                  <a:pt x="189" y="4"/>
                </a:cubicBezTo>
                <a:cubicBezTo>
                  <a:pt x="183" y="3"/>
                  <a:pt x="181" y="21"/>
                  <a:pt x="176" y="24"/>
                </a:cubicBezTo>
                <a:cubicBezTo>
                  <a:pt x="172" y="27"/>
                  <a:pt x="171" y="27"/>
                  <a:pt x="167" y="27"/>
                </a:cubicBezTo>
                <a:cubicBezTo>
                  <a:pt x="164" y="27"/>
                  <a:pt x="162" y="24"/>
                  <a:pt x="158" y="25"/>
                </a:cubicBezTo>
                <a:cubicBezTo>
                  <a:pt x="155" y="26"/>
                  <a:pt x="155" y="30"/>
                  <a:pt x="150" y="29"/>
                </a:cubicBezTo>
                <a:cubicBezTo>
                  <a:pt x="147" y="28"/>
                  <a:pt x="144" y="24"/>
                  <a:pt x="141" y="22"/>
                </a:cubicBezTo>
                <a:cubicBezTo>
                  <a:pt x="138" y="21"/>
                  <a:pt x="135" y="20"/>
                  <a:pt x="132" y="18"/>
                </a:cubicBezTo>
                <a:cubicBezTo>
                  <a:pt x="126" y="15"/>
                  <a:pt x="122" y="10"/>
                  <a:pt x="117" y="7"/>
                </a:cubicBezTo>
                <a:cubicBezTo>
                  <a:pt x="106" y="0"/>
                  <a:pt x="102" y="9"/>
                  <a:pt x="93" y="15"/>
                </a:cubicBezTo>
                <a:cubicBezTo>
                  <a:pt x="93" y="18"/>
                  <a:pt x="93" y="18"/>
                  <a:pt x="93" y="18"/>
                </a:cubicBezTo>
                <a:cubicBezTo>
                  <a:pt x="93" y="22"/>
                  <a:pt x="94" y="27"/>
                  <a:pt x="94" y="33"/>
                </a:cubicBezTo>
                <a:cubicBezTo>
                  <a:pt x="94" y="45"/>
                  <a:pt x="93" y="44"/>
                  <a:pt x="89" y="52"/>
                </a:cubicBezTo>
                <a:cubicBezTo>
                  <a:pt x="84" y="60"/>
                  <a:pt x="76" y="57"/>
                  <a:pt x="68" y="56"/>
                </a:cubicBezTo>
                <a:cubicBezTo>
                  <a:pt x="60" y="55"/>
                  <a:pt x="63" y="49"/>
                  <a:pt x="62" y="44"/>
                </a:cubicBezTo>
                <a:cubicBezTo>
                  <a:pt x="61" y="39"/>
                  <a:pt x="56" y="38"/>
                  <a:pt x="52" y="35"/>
                </a:cubicBezTo>
                <a:cubicBezTo>
                  <a:pt x="49" y="32"/>
                  <a:pt x="49" y="31"/>
                  <a:pt x="47" y="27"/>
                </a:cubicBezTo>
                <a:cubicBezTo>
                  <a:pt x="45" y="22"/>
                  <a:pt x="42" y="25"/>
                  <a:pt x="37" y="28"/>
                </a:cubicBezTo>
                <a:cubicBezTo>
                  <a:pt x="32" y="31"/>
                  <a:pt x="30" y="30"/>
                  <a:pt x="24" y="34"/>
                </a:cubicBezTo>
                <a:cubicBezTo>
                  <a:pt x="18" y="38"/>
                  <a:pt x="16" y="42"/>
                  <a:pt x="16" y="50"/>
                </a:cubicBezTo>
                <a:cubicBezTo>
                  <a:pt x="16" y="58"/>
                  <a:pt x="13" y="64"/>
                  <a:pt x="7" y="71"/>
                </a:cubicBezTo>
                <a:cubicBezTo>
                  <a:pt x="0" y="78"/>
                  <a:pt x="3" y="85"/>
                  <a:pt x="4" y="90"/>
                </a:cubicBezTo>
                <a:cubicBezTo>
                  <a:pt x="5" y="94"/>
                  <a:pt x="8" y="98"/>
                  <a:pt x="8" y="98"/>
                </a:cubicBezTo>
                <a:cubicBezTo>
                  <a:pt x="8" y="99"/>
                  <a:pt x="8" y="99"/>
                  <a:pt x="8" y="99"/>
                </a:cubicBezTo>
                <a:cubicBezTo>
                  <a:pt x="17" y="101"/>
                  <a:pt x="25" y="89"/>
                  <a:pt x="34" y="89"/>
                </a:cubicBezTo>
                <a:cubicBezTo>
                  <a:pt x="37" y="89"/>
                  <a:pt x="39" y="91"/>
                  <a:pt x="42" y="91"/>
                </a:cubicBezTo>
                <a:cubicBezTo>
                  <a:pt x="46" y="92"/>
                  <a:pt x="51" y="90"/>
                  <a:pt x="55" y="90"/>
                </a:cubicBezTo>
                <a:cubicBezTo>
                  <a:pt x="64" y="90"/>
                  <a:pt x="72" y="89"/>
                  <a:pt x="80" y="89"/>
                </a:cubicBezTo>
                <a:cubicBezTo>
                  <a:pt x="83" y="89"/>
                  <a:pt x="86" y="90"/>
                  <a:pt x="89" y="90"/>
                </a:cubicBezTo>
                <a:cubicBezTo>
                  <a:pt x="90" y="90"/>
                  <a:pt x="92" y="92"/>
                  <a:pt x="93" y="91"/>
                </a:cubicBezTo>
                <a:cubicBezTo>
                  <a:pt x="95" y="91"/>
                  <a:pt x="97" y="89"/>
                  <a:pt x="98" y="89"/>
                </a:cubicBezTo>
                <a:cubicBezTo>
                  <a:pt x="101" y="89"/>
                  <a:pt x="99" y="87"/>
                  <a:pt x="104" y="91"/>
                </a:cubicBezTo>
                <a:cubicBezTo>
                  <a:pt x="107" y="94"/>
                  <a:pt x="107" y="96"/>
                  <a:pt x="111" y="97"/>
                </a:cubicBezTo>
                <a:cubicBezTo>
                  <a:pt x="118" y="100"/>
                  <a:pt x="127" y="98"/>
                  <a:pt x="133" y="102"/>
                </a:cubicBezTo>
                <a:cubicBezTo>
                  <a:pt x="136" y="104"/>
                  <a:pt x="147" y="113"/>
                  <a:pt x="149" y="117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08" name="Freeform 543"/>
          <p:cNvSpPr>
            <a:spLocks/>
          </p:cNvSpPr>
          <p:nvPr userDrawn="1"/>
        </p:nvSpPr>
        <p:spPr bwMode="auto">
          <a:xfrm>
            <a:off x="6071913" y="3173771"/>
            <a:ext cx="117256" cy="98831"/>
          </a:xfrm>
          <a:custGeom>
            <a:avLst/>
            <a:gdLst>
              <a:gd name="T0" fmla="*/ 2147483646 w 125"/>
              <a:gd name="T1" fmla="*/ 2147483646 h 105"/>
              <a:gd name="T2" fmla="*/ 2147483646 w 125"/>
              <a:gd name="T3" fmla="*/ 2147483646 h 105"/>
              <a:gd name="T4" fmla="*/ 2147483646 w 125"/>
              <a:gd name="T5" fmla="*/ 2147483646 h 105"/>
              <a:gd name="T6" fmla="*/ 2147483646 w 125"/>
              <a:gd name="T7" fmla="*/ 2147483646 h 105"/>
              <a:gd name="T8" fmla="*/ 2147483646 w 125"/>
              <a:gd name="T9" fmla="*/ 2147483646 h 105"/>
              <a:gd name="T10" fmla="*/ 2147483646 w 125"/>
              <a:gd name="T11" fmla="*/ 2147483646 h 105"/>
              <a:gd name="T12" fmla="*/ 2147483646 w 125"/>
              <a:gd name="T13" fmla="*/ 2147483646 h 105"/>
              <a:gd name="T14" fmla="*/ 2147483646 w 125"/>
              <a:gd name="T15" fmla="*/ 2147483646 h 105"/>
              <a:gd name="T16" fmla="*/ 2147483646 w 125"/>
              <a:gd name="T17" fmla="*/ 2147483646 h 105"/>
              <a:gd name="T18" fmla="*/ 2147483646 w 125"/>
              <a:gd name="T19" fmla="*/ 2147483646 h 105"/>
              <a:gd name="T20" fmla="*/ 2147483646 w 125"/>
              <a:gd name="T21" fmla="*/ 2147483646 h 105"/>
              <a:gd name="T22" fmla="*/ 2147483646 w 125"/>
              <a:gd name="T23" fmla="*/ 2147483646 h 105"/>
              <a:gd name="T24" fmla="*/ 2147483646 w 125"/>
              <a:gd name="T25" fmla="*/ 2147483646 h 105"/>
              <a:gd name="T26" fmla="*/ 2147483646 w 125"/>
              <a:gd name="T27" fmla="*/ 2147483646 h 105"/>
              <a:gd name="T28" fmla="*/ 2147483646 w 125"/>
              <a:gd name="T29" fmla="*/ 2147483646 h 105"/>
              <a:gd name="T30" fmla="*/ 2147483646 w 125"/>
              <a:gd name="T31" fmla="*/ 2147483646 h 105"/>
              <a:gd name="T32" fmla="*/ 2147483646 w 125"/>
              <a:gd name="T33" fmla="*/ 2147483646 h 105"/>
              <a:gd name="T34" fmla="*/ 2147483646 w 125"/>
              <a:gd name="T35" fmla="*/ 2147483646 h 105"/>
              <a:gd name="T36" fmla="*/ 2147483646 w 125"/>
              <a:gd name="T37" fmla="*/ 2147483646 h 105"/>
              <a:gd name="T38" fmla="*/ 2147483646 w 125"/>
              <a:gd name="T39" fmla="*/ 2147483646 h 105"/>
              <a:gd name="T40" fmla="*/ 2147483646 w 125"/>
              <a:gd name="T41" fmla="*/ 2147483646 h 105"/>
              <a:gd name="T42" fmla="*/ 2147483646 w 125"/>
              <a:gd name="T43" fmla="*/ 2147483646 h 105"/>
              <a:gd name="T44" fmla="*/ 2147483646 w 125"/>
              <a:gd name="T45" fmla="*/ 2147483646 h 105"/>
              <a:gd name="T46" fmla="*/ 2147483646 w 125"/>
              <a:gd name="T47" fmla="*/ 2147483646 h 105"/>
              <a:gd name="T48" fmla="*/ 2147483646 w 125"/>
              <a:gd name="T49" fmla="*/ 2147483646 h 105"/>
              <a:gd name="T50" fmla="*/ 2147483646 w 125"/>
              <a:gd name="T51" fmla="*/ 2147483646 h 105"/>
              <a:gd name="T52" fmla="*/ 2147483646 w 125"/>
              <a:gd name="T53" fmla="*/ 2147483646 h 105"/>
              <a:gd name="T54" fmla="*/ 2147483646 w 125"/>
              <a:gd name="T55" fmla="*/ 2147483646 h 105"/>
              <a:gd name="T56" fmla="*/ 2147483646 w 125"/>
              <a:gd name="T57" fmla="*/ 2147483646 h 105"/>
              <a:gd name="T58" fmla="*/ 2147483646 w 125"/>
              <a:gd name="T59" fmla="*/ 2147483646 h 105"/>
              <a:gd name="T60" fmla="*/ 2147483646 w 125"/>
              <a:gd name="T61" fmla="*/ 2147483646 h 105"/>
              <a:gd name="T62" fmla="*/ 2147483646 w 125"/>
              <a:gd name="T63" fmla="*/ 2147483646 h 105"/>
              <a:gd name="T64" fmla="*/ 2147483646 w 125"/>
              <a:gd name="T65" fmla="*/ 2147483646 h 105"/>
              <a:gd name="T66" fmla="*/ 2147483646 w 125"/>
              <a:gd name="T67" fmla="*/ 2147483646 h 105"/>
              <a:gd name="T68" fmla="*/ 2147483646 w 125"/>
              <a:gd name="T69" fmla="*/ 2147483646 h 105"/>
              <a:gd name="T70" fmla="*/ 2147483646 w 125"/>
              <a:gd name="T71" fmla="*/ 2147483646 h 105"/>
              <a:gd name="T72" fmla="*/ 2147483646 w 125"/>
              <a:gd name="T73" fmla="*/ 2147483646 h 105"/>
              <a:gd name="T74" fmla="*/ 2147483646 w 125"/>
              <a:gd name="T75" fmla="*/ 2147483646 h 105"/>
              <a:gd name="T76" fmla="*/ 2147483646 w 125"/>
              <a:gd name="T77" fmla="*/ 2147483646 h 105"/>
              <a:gd name="T78" fmla="*/ 2147483646 w 125"/>
              <a:gd name="T79" fmla="*/ 2147483646 h 105"/>
              <a:gd name="T80" fmla="*/ 2147483646 w 125"/>
              <a:gd name="T81" fmla="*/ 2147483646 h 105"/>
              <a:gd name="T82" fmla="*/ 2147483646 w 125"/>
              <a:gd name="T83" fmla="*/ 2147483646 h 105"/>
              <a:gd name="T84" fmla="*/ 2147483646 w 125"/>
              <a:gd name="T85" fmla="*/ 2147483646 h 105"/>
              <a:gd name="T86" fmla="*/ 2147483646 w 125"/>
              <a:gd name="T87" fmla="*/ 2147483646 h 105"/>
              <a:gd name="T88" fmla="*/ 2147483646 w 125"/>
              <a:gd name="T89" fmla="*/ 2147483646 h 105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5"/>
              <a:gd name="T136" fmla="*/ 0 h 105"/>
              <a:gd name="T137" fmla="*/ 125 w 125"/>
              <a:gd name="T138" fmla="*/ 105 h 105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5" h="105">
                <a:moveTo>
                  <a:pt x="29" y="90"/>
                </a:moveTo>
                <a:cubicBezTo>
                  <a:pt x="29" y="87"/>
                  <a:pt x="29" y="82"/>
                  <a:pt x="30" y="79"/>
                </a:cubicBezTo>
                <a:cubicBezTo>
                  <a:pt x="32" y="72"/>
                  <a:pt x="36" y="71"/>
                  <a:pt x="33" y="66"/>
                </a:cubicBezTo>
                <a:cubicBezTo>
                  <a:pt x="29" y="61"/>
                  <a:pt x="27" y="68"/>
                  <a:pt x="26" y="72"/>
                </a:cubicBezTo>
                <a:cubicBezTo>
                  <a:pt x="24" y="76"/>
                  <a:pt x="21" y="71"/>
                  <a:pt x="18" y="68"/>
                </a:cubicBezTo>
                <a:cubicBezTo>
                  <a:pt x="16" y="66"/>
                  <a:pt x="13" y="69"/>
                  <a:pt x="12" y="66"/>
                </a:cubicBezTo>
                <a:cubicBezTo>
                  <a:pt x="10" y="63"/>
                  <a:pt x="9" y="55"/>
                  <a:pt x="9" y="55"/>
                </a:cubicBezTo>
                <a:cubicBezTo>
                  <a:pt x="9" y="55"/>
                  <a:pt x="0" y="55"/>
                  <a:pt x="3" y="53"/>
                </a:cubicBezTo>
                <a:cubicBezTo>
                  <a:pt x="5" y="51"/>
                  <a:pt x="9" y="51"/>
                  <a:pt x="11" y="49"/>
                </a:cubicBezTo>
                <a:cubicBezTo>
                  <a:pt x="13" y="48"/>
                  <a:pt x="7" y="48"/>
                  <a:pt x="6" y="46"/>
                </a:cubicBezTo>
                <a:cubicBezTo>
                  <a:pt x="5" y="43"/>
                  <a:pt x="9" y="40"/>
                  <a:pt x="8" y="36"/>
                </a:cubicBezTo>
                <a:cubicBezTo>
                  <a:pt x="7" y="33"/>
                  <a:pt x="2" y="29"/>
                  <a:pt x="6" y="26"/>
                </a:cubicBezTo>
                <a:cubicBezTo>
                  <a:pt x="9" y="23"/>
                  <a:pt x="13" y="19"/>
                  <a:pt x="18" y="18"/>
                </a:cubicBezTo>
                <a:cubicBezTo>
                  <a:pt x="23" y="16"/>
                  <a:pt x="28" y="13"/>
                  <a:pt x="29" y="10"/>
                </a:cubicBezTo>
                <a:cubicBezTo>
                  <a:pt x="31" y="8"/>
                  <a:pt x="30" y="4"/>
                  <a:pt x="36" y="7"/>
                </a:cubicBezTo>
                <a:cubicBezTo>
                  <a:pt x="41" y="10"/>
                  <a:pt x="39" y="7"/>
                  <a:pt x="45" y="8"/>
                </a:cubicBezTo>
                <a:cubicBezTo>
                  <a:pt x="50" y="8"/>
                  <a:pt x="50" y="6"/>
                  <a:pt x="53" y="8"/>
                </a:cubicBezTo>
                <a:cubicBezTo>
                  <a:pt x="57" y="9"/>
                  <a:pt x="58" y="0"/>
                  <a:pt x="63" y="2"/>
                </a:cubicBezTo>
                <a:cubicBezTo>
                  <a:pt x="69" y="3"/>
                  <a:pt x="70" y="3"/>
                  <a:pt x="73" y="3"/>
                </a:cubicBezTo>
                <a:cubicBezTo>
                  <a:pt x="77" y="3"/>
                  <a:pt x="76" y="1"/>
                  <a:pt x="81" y="3"/>
                </a:cubicBezTo>
                <a:cubicBezTo>
                  <a:pt x="86" y="5"/>
                  <a:pt x="84" y="7"/>
                  <a:pt x="88" y="7"/>
                </a:cubicBezTo>
                <a:cubicBezTo>
                  <a:pt x="92" y="8"/>
                  <a:pt x="99" y="9"/>
                  <a:pt x="105" y="10"/>
                </a:cubicBezTo>
                <a:cubicBezTo>
                  <a:pt x="111" y="10"/>
                  <a:pt x="110" y="12"/>
                  <a:pt x="115" y="10"/>
                </a:cubicBezTo>
                <a:cubicBezTo>
                  <a:pt x="116" y="10"/>
                  <a:pt x="117" y="9"/>
                  <a:pt x="117" y="9"/>
                </a:cubicBezTo>
                <a:cubicBezTo>
                  <a:pt x="119" y="9"/>
                  <a:pt x="119" y="9"/>
                  <a:pt x="119" y="9"/>
                </a:cubicBezTo>
                <a:cubicBezTo>
                  <a:pt x="122" y="14"/>
                  <a:pt x="125" y="19"/>
                  <a:pt x="122" y="25"/>
                </a:cubicBezTo>
                <a:cubicBezTo>
                  <a:pt x="122" y="27"/>
                  <a:pt x="121" y="29"/>
                  <a:pt x="120" y="31"/>
                </a:cubicBezTo>
                <a:cubicBezTo>
                  <a:pt x="117" y="32"/>
                  <a:pt x="117" y="32"/>
                  <a:pt x="117" y="32"/>
                </a:cubicBezTo>
                <a:cubicBezTo>
                  <a:pt x="114" y="33"/>
                  <a:pt x="113" y="35"/>
                  <a:pt x="110" y="33"/>
                </a:cubicBezTo>
                <a:cubicBezTo>
                  <a:pt x="107" y="31"/>
                  <a:pt x="104" y="26"/>
                  <a:pt x="101" y="32"/>
                </a:cubicBezTo>
                <a:cubicBezTo>
                  <a:pt x="98" y="38"/>
                  <a:pt x="93" y="37"/>
                  <a:pt x="98" y="43"/>
                </a:cubicBezTo>
                <a:cubicBezTo>
                  <a:pt x="102" y="49"/>
                  <a:pt x="102" y="45"/>
                  <a:pt x="104" y="54"/>
                </a:cubicBezTo>
                <a:cubicBezTo>
                  <a:pt x="106" y="63"/>
                  <a:pt x="106" y="61"/>
                  <a:pt x="111" y="68"/>
                </a:cubicBezTo>
                <a:cubicBezTo>
                  <a:pt x="116" y="76"/>
                  <a:pt x="115" y="68"/>
                  <a:pt x="121" y="76"/>
                </a:cubicBezTo>
                <a:cubicBezTo>
                  <a:pt x="122" y="77"/>
                  <a:pt x="123" y="77"/>
                  <a:pt x="123" y="78"/>
                </a:cubicBezTo>
                <a:cubicBezTo>
                  <a:pt x="125" y="79"/>
                  <a:pt x="125" y="79"/>
                  <a:pt x="125" y="79"/>
                </a:cubicBezTo>
                <a:cubicBezTo>
                  <a:pt x="119" y="78"/>
                  <a:pt x="117" y="96"/>
                  <a:pt x="112" y="99"/>
                </a:cubicBezTo>
                <a:cubicBezTo>
                  <a:pt x="108" y="102"/>
                  <a:pt x="107" y="102"/>
                  <a:pt x="103" y="102"/>
                </a:cubicBezTo>
                <a:cubicBezTo>
                  <a:pt x="100" y="102"/>
                  <a:pt x="98" y="99"/>
                  <a:pt x="94" y="100"/>
                </a:cubicBezTo>
                <a:cubicBezTo>
                  <a:pt x="91" y="101"/>
                  <a:pt x="91" y="105"/>
                  <a:pt x="86" y="104"/>
                </a:cubicBezTo>
                <a:cubicBezTo>
                  <a:pt x="83" y="103"/>
                  <a:pt x="80" y="99"/>
                  <a:pt x="77" y="97"/>
                </a:cubicBezTo>
                <a:cubicBezTo>
                  <a:pt x="74" y="96"/>
                  <a:pt x="71" y="95"/>
                  <a:pt x="68" y="93"/>
                </a:cubicBezTo>
                <a:cubicBezTo>
                  <a:pt x="62" y="90"/>
                  <a:pt x="58" y="85"/>
                  <a:pt x="54" y="82"/>
                </a:cubicBezTo>
                <a:cubicBezTo>
                  <a:pt x="42" y="75"/>
                  <a:pt x="38" y="83"/>
                  <a:pt x="30" y="89"/>
                </a:cubicBezTo>
                <a:lnTo>
                  <a:pt x="29" y="9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09" name="Freeform 544"/>
          <p:cNvSpPr>
            <a:spLocks/>
          </p:cNvSpPr>
          <p:nvPr userDrawn="1"/>
        </p:nvSpPr>
        <p:spPr bwMode="auto">
          <a:xfrm>
            <a:off x="6046788" y="3497065"/>
            <a:ext cx="433849" cy="269689"/>
          </a:xfrm>
          <a:custGeom>
            <a:avLst/>
            <a:gdLst>
              <a:gd name="T0" fmla="*/ 2147483646 w 464"/>
              <a:gd name="T1" fmla="*/ 2147483646 h 288"/>
              <a:gd name="T2" fmla="*/ 2147483646 w 464"/>
              <a:gd name="T3" fmla="*/ 2147483646 h 288"/>
              <a:gd name="T4" fmla="*/ 2147483646 w 464"/>
              <a:gd name="T5" fmla="*/ 2147483646 h 288"/>
              <a:gd name="T6" fmla="*/ 2147483646 w 464"/>
              <a:gd name="T7" fmla="*/ 2147483646 h 288"/>
              <a:gd name="T8" fmla="*/ 2147483646 w 464"/>
              <a:gd name="T9" fmla="*/ 2147483646 h 288"/>
              <a:gd name="T10" fmla="*/ 2147483646 w 464"/>
              <a:gd name="T11" fmla="*/ 2147483646 h 288"/>
              <a:gd name="T12" fmla="*/ 2147483646 w 464"/>
              <a:gd name="T13" fmla="*/ 2147483646 h 288"/>
              <a:gd name="T14" fmla="*/ 2147483646 w 464"/>
              <a:gd name="T15" fmla="*/ 2147483646 h 288"/>
              <a:gd name="T16" fmla="*/ 2147483646 w 464"/>
              <a:gd name="T17" fmla="*/ 2147483646 h 288"/>
              <a:gd name="T18" fmla="*/ 2147483646 w 464"/>
              <a:gd name="T19" fmla="*/ 2147483646 h 288"/>
              <a:gd name="T20" fmla="*/ 2147483646 w 464"/>
              <a:gd name="T21" fmla="*/ 2147483646 h 288"/>
              <a:gd name="T22" fmla="*/ 2147483646 w 464"/>
              <a:gd name="T23" fmla="*/ 2147483646 h 288"/>
              <a:gd name="T24" fmla="*/ 2147483646 w 464"/>
              <a:gd name="T25" fmla="*/ 2147483646 h 288"/>
              <a:gd name="T26" fmla="*/ 2147483646 w 464"/>
              <a:gd name="T27" fmla="*/ 2147483646 h 288"/>
              <a:gd name="T28" fmla="*/ 2147483646 w 464"/>
              <a:gd name="T29" fmla="*/ 2147483646 h 288"/>
              <a:gd name="T30" fmla="*/ 2147483646 w 464"/>
              <a:gd name="T31" fmla="*/ 2147483646 h 288"/>
              <a:gd name="T32" fmla="*/ 2147483646 w 464"/>
              <a:gd name="T33" fmla="*/ 2147483646 h 288"/>
              <a:gd name="T34" fmla="*/ 2147483646 w 464"/>
              <a:gd name="T35" fmla="*/ 2147483646 h 288"/>
              <a:gd name="T36" fmla="*/ 2147483646 w 464"/>
              <a:gd name="T37" fmla="*/ 2147483646 h 288"/>
              <a:gd name="T38" fmla="*/ 2147483646 w 464"/>
              <a:gd name="T39" fmla="*/ 2147483646 h 288"/>
              <a:gd name="T40" fmla="*/ 2147483646 w 464"/>
              <a:gd name="T41" fmla="*/ 2147483646 h 288"/>
              <a:gd name="T42" fmla="*/ 2147483646 w 464"/>
              <a:gd name="T43" fmla="*/ 2147483646 h 288"/>
              <a:gd name="T44" fmla="*/ 2147483646 w 464"/>
              <a:gd name="T45" fmla="*/ 2147483646 h 288"/>
              <a:gd name="T46" fmla="*/ 2147483646 w 464"/>
              <a:gd name="T47" fmla="*/ 2147483646 h 288"/>
              <a:gd name="T48" fmla="*/ 2147483646 w 464"/>
              <a:gd name="T49" fmla="*/ 2147483646 h 288"/>
              <a:gd name="T50" fmla="*/ 2147483646 w 464"/>
              <a:gd name="T51" fmla="*/ 2147483646 h 288"/>
              <a:gd name="T52" fmla="*/ 2147483646 w 464"/>
              <a:gd name="T53" fmla="*/ 2147483646 h 288"/>
              <a:gd name="T54" fmla="*/ 2147483646 w 464"/>
              <a:gd name="T55" fmla="*/ 2147483646 h 288"/>
              <a:gd name="T56" fmla="*/ 2147483646 w 464"/>
              <a:gd name="T57" fmla="*/ 2147483646 h 288"/>
              <a:gd name="T58" fmla="*/ 2147483646 w 464"/>
              <a:gd name="T59" fmla="*/ 2147483646 h 288"/>
              <a:gd name="T60" fmla="*/ 2147483646 w 464"/>
              <a:gd name="T61" fmla="*/ 2147483646 h 288"/>
              <a:gd name="T62" fmla="*/ 2147483646 w 464"/>
              <a:gd name="T63" fmla="*/ 2147483646 h 288"/>
              <a:gd name="T64" fmla="*/ 2147483646 w 464"/>
              <a:gd name="T65" fmla="*/ 2147483646 h 288"/>
              <a:gd name="T66" fmla="*/ 2147483646 w 464"/>
              <a:gd name="T67" fmla="*/ 2147483646 h 288"/>
              <a:gd name="T68" fmla="*/ 2147483646 w 464"/>
              <a:gd name="T69" fmla="*/ 2147483646 h 288"/>
              <a:gd name="T70" fmla="*/ 2147483646 w 464"/>
              <a:gd name="T71" fmla="*/ 2147483646 h 288"/>
              <a:gd name="T72" fmla="*/ 2147483646 w 464"/>
              <a:gd name="T73" fmla="*/ 2147483646 h 288"/>
              <a:gd name="T74" fmla="*/ 2147483646 w 464"/>
              <a:gd name="T75" fmla="*/ 2147483646 h 288"/>
              <a:gd name="T76" fmla="*/ 2147483646 w 464"/>
              <a:gd name="T77" fmla="*/ 2147483646 h 288"/>
              <a:gd name="T78" fmla="*/ 2147483646 w 464"/>
              <a:gd name="T79" fmla="*/ 2147483646 h 288"/>
              <a:gd name="T80" fmla="*/ 2147483646 w 464"/>
              <a:gd name="T81" fmla="*/ 2147483646 h 288"/>
              <a:gd name="T82" fmla="*/ 2147483646 w 464"/>
              <a:gd name="T83" fmla="*/ 2147483646 h 288"/>
              <a:gd name="T84" fmla="*/ 2147483646 w 464"/>
              <a:gd name="T85" fmla="*/ 2147483646 h 288"/>
              <a:gd name="T86" fmla="*/ 2147483646 w 464"/>
              <a:gd name="T87" fmla="*/ 2147483646 h 288"/>
              <a:gd name="T88" fmla="*/ 2147483646 w 464"/>
              <a:gd name="T89" fmla="*/ 2147483646 h 288"/>
              <a:gd name="T90" fmla="*/ 2147483646 w 464"/>
              <a:gd name="T91" fmla="*/ 2147483646 h 288"/>
              <a:gd name="T92" fmla="*/ 2147483646 w 464"/>
              <a:gd name="T93" fmla="*/ 2147483646 h 288"/>
              <a:gd name="T94" fmla="*/ 2147483646 w 464"/>
              <a:gd name="T95" fmla="*/ 2147483646 h 288"/>
              <a:gd name="T96" fmla="*/ 2147483646 w 464"/>
              <a:gd name="T97" fmla="*/ 2147483646 h 28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64"/>
              <a:gd name="T148" fmla="*/ 0 h 288"/>
              <a:gd name="T149" fmla="*/ 464 w 464"/>
              <a:gd name="T150" fmla="*/ 288 h 28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64" h="288">
                <a:moveTo>
                  <a:pt x="19" y="189"/>
                </a:moveTo>
                <a:cubicBezTo>
                  <a:pt x="22" y="185"/>
                  <a:pt x="22" y="182"/>
                  <a:pt x="26" y="180"/>
                </a:cubicBezTo>
                <a:cubicBezTo>
                  <a:pt x="29" y="178"/>
                  <a:pt x="34" y="177"/>
                  <a:pt x="37" y="177"/>
                </a:cubicBezTo>
                <a:cubicBezTo>
                  <a:pt x="46" y="177"/>
                  <a:pt x="54" y="182"/>
                  <a:pt x="62" y="184"/>
                </a:cubicBezTo>
                <a:cubicBezTo>
                  <a:pt x="67" y="186"/>
                  <a:pt x="71" y="184"/>
                  <a:pt x="76" y="186"/>
                </a:cubicBezTo>
                <a:cubicBezTo>
                  <a:pt x="85" y="189"/>
                  <a:pt x="91" y="183"/>
                  <a:pt x="99" y="179"/>
                </a:cubicBezTo>
                <a:cubicBezTo>
                  <a:pt x="101" y="179"/>
                  <a:pt x="102" y="178"/>
                  <a:pt x="104" y="178"/>
                </a:cubicBezTo>
                <a:cubicBezTo>
                  <a:pt x="106" y="169"/>
                  <a:pt x="105" y="168"/>
                  <a:pt x="113" y="168"/>
                </a:cubicBezTo>
                <a:cubicBezTo>
                  <a:pt x="121" y="168"/>
                  <a:pt x="121" y="168"/>
                  <a:pt x="121" y="168"/>
                </a:cubicBezTo>
                <a:cubicBezTo>
                  <a:pt x="122" y="167"/>
                  <a:pt x="122" y="163"/>
                  <a:pt x="123" y="162"/>
                </a:cubicBezTo>
                <a:cubicBezTo>
                  <a:pt x="125" y="160"/>
                  <a:pt x="127" y="160"/>
                  <a:pt x="129" y="160"/>
                </a:cubicBezTo>
                <a:cubicBezTo>
                  <a:pt x="138" y="158"/>
                  <a:pt x="139" y="157"/>
                  <a:pt x="146" y="161"/>
                </a:cubicBezTo>
                <a:cubicBezTo>
                  <a:pt x="153" y="165"/>
                  <a:pt x="161" y="166"/>
                  <a:pt x="167" y="169"/>
                </a:cubicBezTo>
                <a:cubicBezTo>
                  <a:pt x="172" y="171"/>
                  <a:pt x="179" y="173"/>
                  <a:pt x="181" y="177"/>
                </a:cubicBezTo>
                <a:cubicBezTo>
                  <a:pt x="182" y="180"/>
                  <a:pt x="183" y="185"/>
                  <a:pt x="184" y="188"/>
                </a:cubicBezTo>
                <a:cubicBezTo>
                  <a:pt x="185" y="192"/>
                  <a:pt x="187" y="196"/>
                  <a:pt x="188" y="200"/>
                </a:cubicBezTo>
                <a:cubicBezTo>
                  <a:pt x="190" y="206"/>
                  <a:pt x="193" y="211"/>
                  <a:pt x="198" y="216"/>
                </a:cubicBezTo>
                <a:cubicBezTo>
                  <a:pt x="201" y="220"/>
                  <a:pt x="203" y="221"/>
                  <a:pt x="203" y="226"/>
                </a:cubicBezTo>
                <a:cubicBezTo>
                  <a:pt x="204" y="230"/>
                  <a:pt x="205" y="235"/>
                  <a:pt x="205" y="239"/>
                </a:cubicBezTo>
                <a:cubicBezTo>
                  <a:pt x="199" y="241"/>
                  <a:pt x="196" y="239"/>
                  <a:pt x="190" y="238"/>
                </a:cubicBezTo>
                <a:cubicBezTo>
                  <a:pt x="185" y="238"/>
                  <a:pt x="179" y="237"/>
                  <a:pt x="176" y="242"/>
                </a:cubicBezTo>
                <a:cubicBezTo>
                  <a:pt x="174" y="246"/>
                  <a:pt x="175" y="255"/>
                  <a:pt x="171" y="259"/>
                </a:cubicBezTo>
                <a:cubicBezTo>
                  <a:pt x="168" y="262"/>
                  <a:pt x="161" y="262"/>
                  <a:pt x="157" y="263"/>
                </a:cubicBezTo>
                <a:cubicBezTo>
                  <a:pt x="157" y="265"/>
                  <a:pt x="157" y="265"/>
                  <a:pt x="157" y="265"/>
                </a:cubicBezTo>
                <a:cubicBezTo>
                  <a:pt x="155" y="268"/>
                  <a:pt x="154" y="272"/>
                  <a:pt x="155" y="274"/>
                </a:cubicBezTo>
                <a:cubicBezTo>
                  <a:pt x="155" y="277"/>
                  <a:pt x="161" y="282"/>
                  <a:pt x="164" y="284"/>
                </a:cubicBezTo>
                <a:cubicBezTo>
                  <a:pt x="168" y="281"/>
                  <a:pt x="175" y="282"/>
                  <a:pt x="179" y="282"/>
                </a:cubicBezTo>
                <a:cubicBezTo>
                  <a:pt x="185" y="282"/>
                  <a:pt x="189" y="281"/>
                  <a:pt x="194" y="283"/>
                </a:cubicBezTo>
                <a:cubicBezTo>
                  <a:pt x="195" y="285"/>
                  <a:pt x="196" y="286"/>
                  <a:pt x="197" y="288"/>
                </a:cubicBezTo>
                <a:cubicBezTo>
                  <a:pt x="198" y="285"/>
                  <a:pt x="198" y="285"/>
                  <a:pt x="198" y="285"/>
                </a:cubicBezTo>
                <a:cubicBezTo>
                  <a:pt x="197" y="283"/>
                  <a:pt x="196" y="282"/>
                  <a:pt x="194" y="276"/>
                </a:cubicBezTo>
                <a:cubicBezTo>
                  <a:pt x="192" y="269"/>
                  <a:pt x="193" y="259"/>
                  <a:pt x="196" y="259"/>
                </a:cubicBezTo>
                <a:cubicBezTo>
                  <a:pt x="199" y="258"/>
                  <a:pt x="200" y="276"/>
                  <a:pt x="205" y="273"/>
                </a:cubicBezTo>
                <a:cubicBezTo>
                  <a:pt x="209" y="269"/>
                  <a:pt x="211" y="263"/>
                  <a:pt x="215" y="262"/>
                </a:cubicBezTo>
                <a:cubicBezTo>
                  <a:pt x="218" y="261"/>
                  <a:pt x="222" y="255"/>
                  <a:pt x="219" y="255"/>
                </a:cubicBezTo>
                <a:cubicBezTo>
                  <a:pt x="217" y="255"/>
                  <a:pt x="209" y="251"/>
                  <a:pt x="211" y="249"/>
                </a:cubicBezTo>
                <a:cubicBezTo>
                  <a:pt x="213" y="248"/>
                  <a:pt x="227" y="248"/>
                  <a:pt x="229" y="245"/>
                </a:cubicBezTo>
                <a:cubicBezTo>
                  <a:pt x="232" y="242"/>
                  <a:pt x="233" y="233"/>
                  <a:pt x="237" y="234"/>
                </a:cubicBezTo>
                <a:cubicBezTo>
                  <a:pt x="241" y="235"/>
                  <a:pt x="243" y="239"/>
                  <a:pt x="245" y="239"/>
                </a:cubicBezTo>
                <a:cubicBezTo>
                  <a:pt x="248" y="239"/>
                  <a:pt x="246" y="231"/>
                  <a:pt x="251" y="233"/>
                </a:cubicBezTo>
                <a:cubicBezTo>
                  <a:pt x="255" y="235"/>
                  <a:pt x="254" y="237"/>
                  <a:pt x="259" y="236"/>
                </a:cubicBezTo>
                <a:cubicBezTo>
                  <a:pt x="265" y="235"/>
                  <a:pt x="266" y="230"/>
                  <a:pt x="270" y="231"/>
                </a:cubicBezTo>
                <a:cubicBezTo>
                  <a:pt x="274" y="232"/>
                  <a:pt x="261" y="248"/>
                  <a:pt x="261" y="248"/>
                </a:cubicBezTo>
                <a:cubicBezTo>
                  <a:pt x="261" y="248"/>
                  <a:pt x="258" y="247"/>
                  <a:pt x="257" y="249"/>
                </a:cubicBezTo>
                <a:cubicBezTo>
                  <a:pt x="255" y="251"/>
                  <a:pt x="255" y="253"/>
                  <a:pt x="263" y="252"/>
                </a:cubicBezTo>
                <a:cubicBezTo>
                  <a:pt x="271" y="250"/>
                  <a:pt x="269" y="243"/>
                  <a:pt x="273" y="252"/>
                </a:cubicBezTo>
                <a:cubicBezTo>
                  <a:pt x="277" y="260"/>
                  <a:pt x="274" y="253"/>
                  <a:pt x="280" y="253"/>
                </a:cubicBezTo>
                <a:cubicBezTo>
                  <a:pt x="285" y="254"/>
                  <a:pt x="284" y="251"/>
                  <a:pt x="288" y="251"/>
                </a:cubicBezTo>
                <a:cubicBezTo>
                  <a:pt x="292" y="252"/>
                  <a:pt x="293" y="245"/>
                  <a:pt x="296" y="249"/>
                </a:cubicBezTo>
                <a:cubicBezTo>
                  <a:pt x="298" y="254"/>
                  <a:pt x="293" y="259"/>
                  <a:pt x="298" y="257"/>
                </a:cubicBezTo>
                <a:cubicBezTo>
                  <a:pt x="304" y="255"/>
                  <a:pt x="297" y="253"/>
                  <a:pt x="304" y="251"/>
                </a:cubicBezTo>
                <a:cubicBezTo>
                  <a:pt x="310" y="249"/>
                  <a:pt x="309" y="253"/>
                  <a:pt x="313" y="255"/>
                </a:cubicBezTo>
                <a:cubicBezTo>
                  <a:pt x="317" y="257"/>
                  <a:pt x="314" y="253"/>
                  <a:pt x="319" y="255"/>
                </a:cubicBezTo>
                <a:cubicBezTo>
                  <a:pt x="323" y="256"/>
                  <a:pt x="326" y="251"/>
                  <a:pt x="328" y="252"/>
                </a:cubicBezTo>
                <a:cubicBezTo>
                  <a:pt x="331" y="253"/>
                  <a:pt x="334" y="251"/>
                  <a:pt x="337" y="249"/>
                </a:cubicBezTo>
                <a:cubicBezTo>
                  <a:pt x="341" y="248"/>
                  <a:pt x="339" y="235"/>
                  <a:pt x="346" y="238"/>
                </a:cubicBezTo>
                <a:cubicBezTo>
                  <a:pt x="354" y="241"/>
                  <a:pt x="348" y="232"/>
                  <a:pt x="357" y="235"/>
                </a:cubicBezTo>
                <a:cubicBezTo>
                  <a:pt x="366" y="238"/>
                  <a:pt x="365" y="238"/>
                  <a:pt x="367" y="234"/>
                </a:cubicBezTo>
                <a:cubicBezTo>
                  <a:pt x="369" y="229"/>
                  <a:pt x="373" y="230"/>
                  <a:pt x="376" y="231"/>
                </a:cubicBezTo>
                <a:cubicBezTo>
                  <a:pt x="380" y="233"/>
                  <a:pt x="384" y="230"/>
                  <a:pt x="388" y="227"/>
                </a:cubicBezTo>
                <a:cubicBezTo>
                  <a:pt x="391" y="224"/>
                  <a:pt x="388" y="214"/>
                  <a:pt x="396" y="215"/>
                </a:cubicBezTo>
                <a:cubicBezTo>
                  <a:pt x="404" y="216"/>
                  <a:pt x="406" y="214"/>
                  <a:pt x="411" y="214"/>
                </a:cubicBezTo>
                <a:cubicBezTo>
                  <a:pt x="414" y="214"/>
                  <a:pt x="414" y="211"/>
                  <a:pt x="415" y="209"/>
                </a:cubicBezTo>
                <a:cubicBezTo>
                  <a:pt x="415" y="207"/>
                  <a:pt x="415" y="207"/>
                  <a:pt x="415" y="207"/>
                </a:cubicBezTo>
                <a:cubicBezTo>
                  <a:pt x="424" y="197"/>
                  <a:pt x="431" y="185"/>
                  <a:pt x="446" y="192"/>
                </a:cubicBezTo>
                <a:cubicBezTo>
                  <a:pt x="448" y="183"/>
                  <a:pt x="457" y="182"/>
                  <a:pt x="460" y="174"/>
                </a:cubicBezTo>
                <a:cubicBezTo>
                  <a:pt x="463" y="167"/>
                  <a:pt x="455" y="162"/>
                  <a:pt x="461" y="155"/>
                </a:cubicBezTo>
                <a:cubicBezTo>
                  <a:pt x="461" y="154"/>
                  <a:pt x="460" y="152"/>
                  <a:pt x="460" y="151"/>
                </a:cubicBezTo>
                <a:cubicBezTo>
                  <a:pt x="458" y="151"/>
                  <a:pt x="456" y="151"/>
                  <a:pt x="455" y="151"/>
                </a:cubicBezTo>
                <a:cubicBezTo>
                  <a:pt x="456" y="143"/>
                  <a:pt x="464" y="129"/>
                  <a:pt x="460" y="122"/>
                </a:cubicBezTo>
                <a:cubicBezTo>
                  <a:pt x="455" y="111"/>
                  <a:pt x="437" y="114"/>
                  <a:pt x="428" y="113"/>
                </a:cubicBezTo>
                <a:cubicBezTo>
                  <a:pt x="428" y="108"/>
                  <a:pt x="429" y="103"/>
                  <a:pt x="429" y="98"/>
                </a:cubicBezTo>
                <a:cubicBezTo>
                  <a:pt x="423" y="96"/>
                  <a:pt x="416" y="92"/>
                  <a:pt x="409" y="92"/>
                </a:cubicBezTo>
                <a:cubicBezTo>
                  <a:pt x="405" y="91"/>
                  <a:pt x="401" y="97"/>
                  <a:pt x="397" y="95"/>
                </a:cubicBezTo>
                <a:cubicBezTo>
                  <a:pt x="393" y="93"/>
                  <a:pt x="395" y="86"/>
                  <a:pt x="393" y="85"/>
                </a:cubicBezTo>
                <a:cubicBezTo>
                  <a:pt x="384" y="77"/>
                  <a:pt x="385" y="83"/>
                  <a:pt x="372" y="84"/>
                </a:cubicBezTo>
                <a:cubicBezTo>
                  <a:pt x="364" y="85"/>
                  <a:pt x="359" y="82"/>
                  <a:pt x="350" y="86"/>
                </a:cubicBezTo>
                <a:cubicBezTo>
                  <a:pt x="349" y="70"/>
                  <a:pt x="337" y="60"/>
                  <a:pt x="341" y="46"/>
                </a:cubicBezTo>
                <a:cubicBezTo>
                  <a:pt x="333" y="40"/>
                  <a:pt x="315" y="44"/>
                  <a:pt x="309" y="38"/>
                </a:cubicBezTo>
                <a:cubicBezTo>
                  <a:pt x="303" y="32"/>
                  <a:pt x="308" y="9"/>
                  <a:pt x="307" y="1"/>
                </a:cubicBezTo>
                <a:cubicBezTo>
                  <a:pt x="299" y="0"/>
                  <a:pt x="285" y="2"/>
                  <a:pt x="281" y="11"/>
                </a:cubicBezTo>
                <a:cubicBezTo>
                  <a:pt x="271" y="0"/>
                  <a:pt x="268" y="7"/>
                  <a:pt x="257" y="9"/>
                </a:cubicBezTo>
                <a:cubicBezTo>
                  <a:pt x="248" y="11"/>
                  <a:pt x="237" y="10"/>
                  <a:pt x="228" y="8"/>
                </a:cubicBezTo>
                <a:cubicBezTo>
                  <a:pt x="222" y="22"/>
                  <a:pt x="217" y="36"/>
                  <a:pt x="212" y="51"/>
                </a:cubicBezTo>
                <a:cubicBezTo>
                  <a:pt x="197" y="42"/>
                  <a:pt x="196" y="19"/>
                  <a:pt x="175" y="41"/>
                </a:cubicBezTo>
                <a:cubicBezTo>
                  <a:pt x="171" y="39"/>
                  <a:pt x="169" y="34"/>
                  <a:pt x="168" y="30"/>
                </a:cubicBezTo>
                <a:cubicBezTo>
                  <a:pt x="151" y="28"/>
                  <a:pt x="133" y="30"/>
                  <a:pt x="116" y="30"/>
                </a:cubicBezTo>
                <a:cubicBezTo>
                  <a:pt x="103" y="29"/>
                  <a:pt x="72" y="7"/>
                  <a:pt x="70" y="32"/>
                </a:cubicBezTo>
                <a:cubicBezTo>
                  <a:pt x="57" y="20"/>
                  <a:pt x="50" y="46"/>
                  <a:pt x="39" y="41"/>
                </a:cubicBezTo>
                <a:cubicBezTo>
                  <a:pt x="40" y="46"/>
                  <a:pt x="40" y="46"/>
                  <a:pt x="40" y="46"/>
                </a:cubicBezTo>
                <a:cubicBezTo>
                  <a:pt x="45" y="58"/>
                  <a:pt x="54" y="74"/>
                  <a:pt x="50" y="86"/>
                </a:cubicBezTo>
                <a:cubicBezTo>
                  <a:pt x="48" y="93"/>
                  <a:pt x="44" y="91"/>
                  <a:pt x="39" y="96"/>
                </a:cubicBezTo>
                <a:cubicBezTo>
                  <a:pt x="33" y="101"/>
                  <a:pt x="30" y="107"/>
                  <a:pt x="24" y="112"/>
                </a:cubicBezTo>
                <a:cubicBezTo>
                  <a:pt x="20" y="116"/>
                  <a:pt x="12" y="120"/>
                  <a:pt x="9" y="125"/>
                </a:cubicBezTo>
                <a:cubicBezTo>
                  <a:pt x="6" y="129"/>
                  <a:pt x="5" y="136"/>
                  <a:pt x="3" y="140"/>
                </a:cubicBezTo>
                <a:cubicBezTo>
                  <a:pt x="1" y="148"/>
                  <a:pt x="0" y="159"/>
                  <a:pt x="4" y="166"/>
                </a:cubicBezTo>
                <a:cubicBezTo>
                  <a:pt x="8" y="174"/>
                  <a:pt x="17" y="187"/>
                  <a:pt x="18" y="190"/>
                </a:cubicBezTo>
                <a:cubicBezTo>
                  <a:pt x="18" y="190"/>
                  <a:pt x="19" y="189"/>
                  <a:pt x="19" y="18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10" name="Freeform 545"/>
          <p:cNvSpPr>
            <a:spLocks/>
          </p:cNvSpPr>
          <p:nvPr userDrawn="1"/>
        </p:nvSpPr>
        <p:spPr bwMode="auto">
          <a:xfrm>
            <a:off x="6071914" y="3334579"/>
            <a:ext cx="229487" cy="211061"/>
          </a:xfrm>
          <a:custGeom>
            <a:avLst/>
            <a:gdLst>
              <a:gd name="T0" fmla="*/ 2147483646 w 246"/>
              <a:gd name="T1" fmla="*/ 2147483646 h 225"/>
              <a:gd name="T2" fmla="*/ 2147483646 w 246"/>
              <a:gd name="T3" fmla="*/ 2147483646 h 225"/>
              <a:gd name="T4" fmla="*/ 2147483646 w 246"/>
              <a:gd name="T5" fmla="*/ 2147483646 h 225"/>
              <a:gd name="T6" fmla="*/ 2147483646 w 246"/>
              <a:gd name="T7" fmla="*/ 2147483646 h 225"/>
              <a:gd name="T8" fmla="*/ 2147483646 w 246"/>
              <a:gd name="T9" fmla="*/ 2147483646 h 225"/>
              <a:gd name="T10" fmla="*/ 2147483646 w 246"/>
              <a:gd name="T11" fmla="*/ 2147483646 h 225"/>
              <a:gd name="T12" fmla="*/ 2147483646 w 246"/>
              <a:gd name="T13" fmla="*/ 2147483646 h 225"/>
              <a:gd name="T14" fmla="*/ 2147483646 w 246"/>
              <a:gd name="T15" fmla="*/ 2147483646 h 225"/>
              <a:gd name="T16" fmla="*/ 2147483646 w 246"/>
              <a:gd name="T17" fmla="*/ 2147483646 h 225"/>
              <a:gd name="T18" fmla="*/ 2147483646 w 246"/>
              <a:gd name="T19" fmla="*/ 2147483646 h 225"/>
              <a:gd name="T20" fmla="*/ 2147483646 w 246"/>
              <a:gd name="T21" fmla="*/ 2147483646 h 225"/>
              <a:gd name="T22" fmla="*/ 2147483646 w 246"/>
              <a:gd name="T23" fmla="*/ 2147483646 h 225"/>
              <a:gd name="T24" fmla="*/ 2147483646 w 246"/>
              <a:gd name="T25" fmla="*/ 2147483646 h 225"/>
              <a:gd name="T26" fmla="*/ 2147483646 w 246"/>
              <a:gd name="T27" fmla="*/ 2147483646 h 225"/>
              <a:gd name="T28" fmla="*/ 2147483646 w 246"/>
              <a:gd name="T29" fmla="*/ 2147483646 h 225"/>
              <a:gd name="T30" fmla="*/ 2147483646 w 246"/>
              <a:gd name="T31" fmla="*/ 2147483646 h 225"/>
              <a:gd name="T32" fmla="*/ 0 w 246"/>
              <a:gd name="T33" fmla="*/ 2147483646 h 225"/>
              <a:gd name="T34" fmla="*/ 2147483646 w 246"/>
              <a:gd name="T35" fmla="*/ 2147483646 h 225"/>
              <a:gd name="T36" fmla="*/ 2147483646 w 246"/>
              <a:gd name="T37" fmla="*/ 2147483646 h 225"/>
              <a:gd name="T38" fmla="*/ 2147483646 w 246"/>
              <a:gd name="T39" fmla="*/ 2147483646 h 225"/>
              <a:gd name="T40" fmla="*/ 2147483646 w 246"/>
              <a:gd name="T41" fmla="*/ 2147483646 h 225"/>
              <a:gd name="T42" fmla="*/ 2147483646 w 246"/>
              <a:gd name="T43" fmla="*/ 2147483646 h 225"/>
              <a:gd name="T44" fmla="*/ 2147483646 w 246"/>
              <a:gd name="T45" fmla="*/ 2147483646 h 225"/>
              <a:gd name="T46" fmla="*/ 2147483646 w 246"/>
              <a:gd name="T47" fmla="*/ 2147483646 h 225"/>
              <a:gd name="T48" fmla="*/ 2147483646 w 246"/>
              <a:gd name="T49" fmla="*/ 2147483646 h 225"/>
              <a:gd name="T50" fmla="*/ 2147483646 w 246"/>
              <a:gd name="T51" fmla="*/ 2147483646 h 225"/>
              <a:gd name="T52" fmla="*/ 2147483646 w 246"/>
              <a:gd name="T53" fmla="*/ 2147483646 h 225"/>
              <a:gd name="T54" fmla="*/ 2147483646 w 246"/>
              <a:gd name="T55" fmla="*/ 2147483646 h 225"/>
              <a:gd name="T56" fmla="*/ 2147483646 w 246"/>
              <a:gd name="T57" fmla="*/ 2147483646 h 225"/>
              <a:gd name="T58" fmla="*/ 2147483646 w 246"/>
              <a:gd name="T59" fmla="*/ 2147483646 h 225"/>
              <a:gd name="T60" fmla="*/ 2147483646 w 246"/>
              <a:gd name="T61" fmla="*/ 2147483646 h 225"/>
              <a:gd name="T62" fmla="*/ 2147483646 w 246"/>
              <a:gd name="T63" fmla="*/ 2147483646 h 225"/>
              <a:gd name="T64" fmla="*/ 2147483646 w 246"/>
              <a:gd name="T65" fmla="*/ 2147483646 h 225"/>
              <a:gd name="T66" fmla="*/ 2147483646 w 246"/>
              <a:gd name="T67" fmla="*/ 2147483646 h 225"/>
              <a:gd name="T68" fmla="*/ 2147483646 w 246"/>
              <a:gd name="T69" fmla="*/ 2147483646 h 225"/>
              <a:gd name="T70" fmla="*/ 2147483646 w 246"/>
              <a:gd name="T71" fmla="*/ 2147483646 h 225"/>
              <a:gd name="T72" fmla="*/ 2147483646 w 246"/>
              <a:gd name="T73" fmla="*/ 0 h 225"/>
              <a:gd name="T74" fmla="*/ 2147483646 w 246"/>
              <a:gd name="T75" fmla="*/ 2147483646 h 225"/>
              <a:gd name="T76" fmla="*/ 2147483646 w 246"/>
              <a:gd name="T77" fmla="*/ 0 h 225"/>
              <a:gd name="T78" fmla="*/ 2147483646 w 246"/>
              <a:gd name="T79" fmla="*/ 2147483646 h 225"/>
              <a:gd name="T80" fmla="*/ 2147483646 w 246"/>
              <a:gd name="T81" fmla="*/ 2147483646 h 225"/>
              <a:gd name="T82" fmla="*/ 2147483646 w 246"/>
              <a:gd name="T83" fmla="*/ 2147483646 h 225"/>
              <a:gd name="T84" fmla="*/ 2147483646 w 246"/>
              <a:gd name="T85" fmla="*/ 2147483646 h 22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46"/>
              <a:gd name="T130" fmla="*/ 0 h 225"/>
              <a:gd name="T131" fmla="*/ 246 w 246"/>
              <a:gd name="T132" fmla="*/ 225 h 22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46" h="225">
                <a:moveTo>
                  <a:pt x="85" y="19"/>
                </a:moveTo>
                <a:cubicBezTo>
                  <a:pt x="88" y="25"/>
                  <a:pt x="82" y="33"/>
                  <a:pt x="79" y="38"/>
                </a:cubicBezTo>
                <a:cubicBezTo>
                  <a:pt x="82" y="39"/>
                  <a:pt x="85" y="40"/>
                  <a:pt x="86" y="43"/>
                </a:cubicBezTo>
                <a:cubicBezTo>
                  <a:pt x="84" y="46"/>
                  <a:pt x="83" y="50"/>
                  <a:pt x="81" y="51"/>
                </a:cubicBezTo>
                <a:cubicBezTo>
                  <a:pt x="78" y="54"/>
                  <a:pt x="75" y="52"/>
                  <a:pt x="72" y="53"/>
                </a:cubicBezTo>
                <a:cubicBezTo>
                  <a:pt x="67" y="55"/>
                  <a:pt x="64" y="60"/>
                  <a:pt x="64" y="66"/>
                </a:cubicBezTo>
                <a:cubicBezTo>
                  <a:pt x="54" y="63"/>
                  <a:pt x="57" y="78"/>
                  <a:pt x="57" y="84"/>
                </a:cubicBezTo>
                <a:cubicBezTo>
                  <a:pt x="56" y="97"/>
                  <a:pt x="55" y="96"/>
                  <a:pt x="45" y="93"/>
                </a:cubicBezTo>
                <a:cubicBezTo>
                  <a:pt x="43" y="95"/>
                  <a:pt x="40" y="99"/>
                  <a:pt x="37" y="102"/>
                </a:cubicBezTo>
                <a:cubicBezTo>
                  <a:pt x="36" y="104"/>
                  <a:pt x="32" y="108"/>
                  <a:pt x="30" y="109"/>
                </a:cubicBezTo>
                <a:cubicBezTo>
                  <a:pt x="23" y="112"/>
                  <a:pt x="16" y="108"/>
                  <a:pt x="10" y="112"/>
                </a:cubicBezTo>
                <a:cubicBezTo>
                  <a:pt x="10" y="112"/>
                  <a:pt x="8" y="119"/>
                  <a:pt x="10" y="124"/>
                </a:cubicBezTo>
                <a:cubicBezTo>
                  <a:pt x="12" y="128"/>
                  <a:pt x="10" y="124"/>
                  <a:pt x="10" y="124"/>
                </a:cubicBezTo>
                <a:cubicBezTo>
                  <a:pt x="13" y="130"/>
                  <a:pt x="17" y="134"/>
                  <a:pt x="19" y="141"/>
                </a:cubicBezTo>
                <a:cubicBezTo>
                  <a:pt x="21" y="148"/>
                  <a:pt x="21" y="157"/>
                  <a:pt x="17" y="162"/>
                </a:cubicBezTo>
                <a:cubicBezTo>
                  <a:pt x="14" y="166"/>
                  <a:pt x="8" y="167"/>
                  <a:pt x="4" y="171"/>
                </a:cubicBezTo>
                <a:cubicBezTo>
                  <a:pt x="0" y="175"/>
                  <a:pt x="1" y="176"/>
                  <a:pt x="0" y="182"/>
                </a:cubicBezTo>
                <a:cubicBezTo>
                  <a:pt x="9" y="181"/>
                  <a:pt x="11" y="186"/>
                  <a:pt x="10" y="194"/>
                </a:cubicBezTo>
                <a:cubicBezTo>
                  <a:pt x="10" y="202"/>
                  <a:pt x="9" y="208"/>
                  <a:pt x="11" y="215"/>
                </a:cubicBezTo>
                <a:cubicBezTo>
                  <a:pt x="12" y="215"/>
                  <a:pt x="12" y="215"/>
                  <a:pt x="12" y="215"/>
                </a:cubicBezTo>
                <a:cubicBezTo>
                  <a:pt x="23" y="220"/>
                  <a:pt x="30" y="193"/>
                  <a:pt x="43" y="206"/>
                </a:cubicBezTo>
                <a:cubicBezTo>
                  <a:pt x="45" y="181"/>
                  <a:pt x="76" y="203"/>
                  <a:pt x="89" y="204"/>
                </a:cubicBezTo>
                <a:cubicBezTo>
                  <a:pt x="106" y="204"/>
                  <a:pt x="124" y="202"/>
                  <a:pt x="141" y="204"/>
                </a:cubicBezTo>
                <a:cubicBezTo>
                  <a:pt x="141" y="208"/>
                  <a:pt x="144" y="213"/>
                  <a:pt x="148" y="215"/>
                </a:cubicBezTo>
                <a:cubicBezTo>
                  <a:pt x="169" y="193"/>
                  <a:pt x="170" y="216"/>
                  <a:pt x="185" y="225"/>
                </a:cubicBezTo>
                <a:cubicBezTo>
                  <a:pt x="190" y="210"/>
                  <a:pt x="195" y="196"/>
                  <a:pt x="201" y="182"/>
                </a:cubicBezTo>
                <a:cubicBezTo>
                  <a:pt x="207" y="183"/>
                  <a:pt x="214" y="184"/>
                  <a:pt x="220" y="184"/>
                </a:cubicBezTo>
                <a:cubicBezTo>
                  <a:pt x="221" y="182"/>
                  <a:pt x="221" y="182"/>
                  <a:pt x="221" y="182"/>
                </a:cubicBezTo>
                <a:cubicBezTo>
                  <a:pt x="221" y="180"/>
                  <a:pt x="219" y="179"/>
                  <a:pt x="220" y="176"/>
                </a:cubicBezTo>
                <a:cubicBezTo>
                  <a:pt x="211" y="172"/>
                  <a:pt x="215" y="157"/>
                  <a:pt x="212" y="148"/>
                </a:cubicBezTo>
                <a:cubicBezTo>
                  <a:pt x="224" y="143"/>
                  <a:pt x="239" y="134"/>
                  <a:pt x="246" y="123"/>
                </a:cubicBezTo>
                <a:cubicBezTo>
                  <a:pt x="246" y="122"/>
                  <a:pt x="245" y="121"/>
                  <a:pt x="245" y="120"/>
                </a:cubicBezTo>
                <a:cubicBezTo>
                  <a:pt x="234" y="121"/>
                  <a:pt x="239" y="113"/>
                  <a:pt x="235" y="110"/>
                </a:cubicBezTo>
                <a:cubicBezTo>
                  <a:pt x="229" y="106"/>
                  <a:pt x="220" y="110"/>
                  <a:pt x="215" y="107"/>
                </a:cubicBezTo>
                <a:cubicBezTo>
                  <a:pt x="206" y="102"/>
                  <a:pt x="203" y="75"/>
                  <a:pt x="201" y="65"/>
                </a:cubicBezTo>
                <a:cubicBezTo>
                  <a:pt x="196" y="40"/>
                  <a:pt x="203" y="0"/>
                  <a:pt x="168" y="23"/>
                </a:cubicBezTo>
                <a:cubicBezTo>
                  <a:pt x="163" y="9"/>
                  <a:pt x="160" y="8"/>
                  <a:pt x="150" y="0"/>
                </a:cubicBezTo>
                <a:cubicBezTo>
                  <a:pt x="146" y="2"/>
                  <a:pt x="142" y="4"/>
                  <a:pt x="139" y="8"/>
                </a:cubicBezTo>
                <a:cubicBezTo>
                  <a:pt x="135" y="5"/>
                  <a:pt x="131" y="1"/>
                  <a:pt x="127" y="0"/>
                </a:cubicBezTo>
                <a:cubicBezTo>
                  <a:pt x="125" y="2"/>
                  <a:pt x="125" y="2"/>
                  <a:pt x="125" y="2"/>
                </a:cubicBezTo>
                <a:cubicBezTo>
                  <a:pt x="120" y="8"/>
                  <a:pt x="116" y="19"/>
                  <a:pt x="110" y="20"/>
                </a:cubicBezTo>
                <a:cubicBezTo>
                  <a:pt x="106" y="20"/>
                  <a:pt x="104" y="15"/>
                  <a:pt x="100" y="15"/>
                </a:cubicBezTo>
                <a:cubicBezTo>
                  <a:pt x="95" y="15"/>
                  <a:pt x="90" y="19"/>
                  <a:pt x="85" y="2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11" name="Freeform 546"/>
          <p:cNvSpPr>
            <a:spLocks/>
          </p:cNvSpPr>
          <p:nvPr userDrawn="1"/>
        </p:nvSpPr>
        <p:spPr bwMode="auto">
          <a:xfrm>
            <a:off x="6071914" y="3334579"/>
            <a:ext cx="229487" cy="211061"/>
          </a:xfrm>
          <a:custGeom>
            <a:avLst/>
            <a:gdLst>
              <a:gd name="T0" fmla="*/ 2147483646 w 246"/>
              <a:gd name="T1" fmla="*/ 2147483646 h 225"/>
              <a:gd name="T2" fmla="*/ 2147483646 w 246"/>
              <a:gd name="T3" fmla="*/ 2147483646 h 225"/>
              <a:gd name="T4" fmla="*/ 2147483646 w 246"/>
              <a:gd name="T5" fmla="*/ 2147483646 h 225"/>
              <a:gd name="T6" fmla="*/ 2147483646 w 246"/>
              <a:gd name="T7" fmla="*/ 2147483646 h 225"/>
              <a:gd name="T8" fmla="*/ 2147483646 w 246"/>
              <a:gd name="T9" fmla="*/ 2147483646 h 225"/>
              <a:gd name="T10" fmla="*/ 2147483646 w 246"/>
              <a:gd name="T11" fmla="*/ 2147483646 h 225"/>
              <a:gd name="T12" fmla="*/ 2147483646 w 246"/>
              <a:gd name="T13" fmla="*/ 2147483646 h 225"/>
              <a:gd name="T14" fmla="*/ 2147483646 w 246"/>
              <a:gd name="T15" fmla="*/ 2147483646 h 225"/>
              <a:gd name="T16" fmla="*/ 2147483646 w 246"/>
              <a:gd name="T17" fmla="*/ 2147483646 h 225"/>
              <a:gd name="T18" fmla="*/ 2147483646 w 246"/>
              <a:gd name="T19" fmla="*/ 2147483646 h 225"/>
              <a:gd name="T20" fmla="*/ 2147483646 w 246"/>
              <a:gd name="T21" fmla="*/ 2147483646 h 225"/>
              <a:gd name="T22" fmla="*/ 2147483646 w 246"/>
              <a:gd name="T23" fmla="*/ 2147483646 h 225"/>
              <a:gd name="T24" fmla="*/ 2147483646 w 246"/>
              <a:gd name="T25" fmla="*/ 2147483646 h 225"/>
              <a:gd name="T26" fmla="*/ 2147483646 w 246"/>
              <a:gd name="T27" fmla="*/ 2147483646 h 225"/>
              <a:gd name="T28" fmla="*/ 2147483646 w 246"/>
              <a:gd name="T29" fmla="*/ 2147483646 h 225"/>
              <a:gd name="T30" fmla="*/ 2147483646 w 246"/>
              <a:gd name="T31" fmla="*/ 2147483646 h 225"/>
              <a:gd name="T32" fmla="*/ 0 w 246"/>
              <a:gd name="T33" fmla="*/ 2147483646 h 225"/>
              <a:gd name="T34" fmla="*/ 2147483646 w 246"/>
              <a:gd name="T35" fmla="*/ 2147483646 h 225"/>
              <a:gd name="T36" fmla="*/ 2147483646 w 246"/>
              <a:gd name="T37" fmla="*/ 2147483646 h 225"/>
              <a:gd name="T38" fmla="*/ 2147483646 w 246"/>
              <a:gd name="T39" fmla="*/ 2147483646 h 225"/>
              <a:gd name="T40" fmla="*/ 2147483646 w 246"/>
              <a:gd name="T41" fmla="*/ 2147483646 h 225"/>
              <a:gd name="T42" fmla="*/ 2147483646 w 246"/>
              <a:gd name="T43" fmla="*/ 2147483646 h 225"/>
              <a:gd name="T44" fmla="*/ 2147483646 w 246"/>
              <a:gd name="T45" fmla="*/ 2147483646 h 225"/>
              <a:gd name="T46" fmla="*/ 2147483646 w 246"/>
              <a:gd name="T47" fmla="*/ 2147483646 h 225"/>
              <a:gd name="T48" fmla="*/ 2147483646 w 246"/>
              <a:gd name="T49" fmla="*/ 2147483646 h 225"/>
              <a:gd name="T50" fmla="*/ 2147483646 w 246"/>
              <a:gd name="T51" fmla="*/ 2147483646 h 225"/>
              <a:gd name="T52" fmla="*/ 2147483646 w 246"/>
              <a:gd name="T53" fmla="*/ 2147483646 h 225"/>
              <a:gd name="T54" fmla="*/ 2147483646 w 246"/>
              <a:gd name="T55" fmla="*/ 2147483646 h 225"/>
              <a:gd name="T56" fmla="*/ 2147483646 w 246"/>
              <a:gd name="T57" fmla="*/ 2147483646 h 225"/>
              <a:gd name="T58" fmla="*/ 2147483646 w 246"/>
              <a:gd name="T59" fmla="*/ 2147483646 h 225"/>
              <a:gd name="T60" fmla="*/ 2147483646 w 246"/>
              <a:gd name="T61" fmla="*/ 2147483646 h 225"/>
              <a:gd name="T62" fmla="*/ 2147483646 w 246"/>
              <a:gd name="T63" fmla="*/ 2147483646 h 225"/>
              <a:gd name="T64" fmla="*/ 2147483646 w 246"/>
              <a:gd name="T65" fmla="*/ 2147483646 h 225"/>
              <a:gd name="T66" fmla="*/ 2147483646 w 246"/>
              <a:gd name="T67" fmla="*/ 2147483646 h 225"/>
              <a:gd name="T68" fmla="*/ 2147483646 w 246"/>
              <a:gd name="T69" fmla="*/ 2147483646 h 225"/>
              <a:gd name="T70" fmla="*/ 2147483646 w 246"/>
              <a:gd name="T71" fmla="*/ 2147483646 h 225"/>
              <a:gd name="T72" fmla="*/ 2147483646 w 246"/>
              <a:gd name="T73" fmla="*/ 0 h 225"/>
              <a:gd name="T74" fmla="*/ 2147483646 w 246"/>
              <a:gd name="T75" fmla="*/ 2147483646 h 225"/>
              <a:gd name="T76" fmla="*/ 2147483646 w 246"/>
              <a:gd name="T77" fmla="*/ 0 h 225"/>
              <a:gd name="T78" fmla="*/ 2147483646 w 246"/>
              <a:gd name="T79" fmla="*/ 2147483646 h 225"/>
              <a:gd name="T80" fmla="*/ 2147483646 w 246"/>
              <a:gd name="T81" fmla="*/ 2147483646 h 225"/>
              <a:gd name="T82" fmla="*/ 2147483646 w 246"/>
              <a:gd name="T83" fmla="*/ 2147483646 h 225"/>
              <a:gd name="T84" fmla="*/ 2147483646 w 246"/>
              <a:gd name="T85" fmla="*/ 2147483646 h 22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46"/>
              <a:gd name="T130" fmla="*/ 0 h 225"/>
              <a:gd name="T131" fmla="*/ 246 w 246"/>
              <a:gd name="T132" fmla="*/ 225 h 22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46" h="225">
                <a:moveTo>
                  <a:pt x="85" y="19"/>
                </a:moveTo>
                <a:cubicBezTo>
                  <a:pt x="88" y="25"/>
                  <a:pt x="82" y="33"/>
                  <a:pt x="79" y="38"/>
                </a:cubicBezTo>
                <a:cubicBezTo>
                  <a:pt x="82" y="39"/>
                  <a:pt x="85" y="40"/>
                  <a:pt x="86" y="43"/>
                </a:cubicBezTo>
                <a:cubicBezTo>
                  <a:pt x="84" y="46"/>
                  <a:pt x="83" y="50"/>
                  <a:pt x="81" y="51"/>
                </a:cubicBezTo>
                <a:cubicBezTo>
                  <a:pt x="78" y="54"/>
                  <a:pt x="75" y="52"/>
                  <a:pt x="72" y="53"/>
                </a:cubicBezTo>
                <a:cubicBezTo>
                  <a:pt x="67" y="55"/>
                  <a:pt x="64" y="60"/>
                  <a:pt x="64" y="66"/>
                </a:cubicBezTo>
                <a:cubicBezTo>
                  <a:pt x="54" y="63"/>
                  <a:pt x="57" y="78"/>
                  <a:pt x="57" y="84"/>
                </a:cubicBezTo>
                <a:cubicBezTo>
                  <a:pt x="56" y="97"/>
                  <a:pt x="55" y="96"/>
                  <a:pt x="45" y="93"/>
                </a:cubicBezTo>
                <a:cubicBezTo>
                  <a:pt x="43" y="95"/>
                  <a:pt x="40" y="99"/>
                  <a:pt x="37" y="102"/>
                </a:cubicBezTo>
                <a:cubicBezTo>
                  <a:pt x="36" y="104"/>
                  <a:pt x="32" y="108"/>
                  <a:pt x="30" y="109"/>
                </a:cubicBezTo>
                <a:cubicBezTo>
                  <a:pt x="23" y="112"/>
                  <a:pt x="16" y="108"/>
                  <a:pt x="10" y="112"/>
                </a:cubicBezTo>
                <a:cubicBezTo>
                  <a:pt x="10" y="112"/>
                  <a:pt x="8" y="119"/>
                  <a:pt x="10" y="124"/>
                </a:cubicBezTo>
                <a:cubicBezTo>
                  <a:pt x="12" y="128"/>
                  <a:pt x="10" y="124"/>
                  <a:pt x="10" y="124"/>
                </a:cubicBezTo>
                <a:cubicBezTo>
                  <a:pt x="13" y="130"/>
                  <a:pt x="17" y="134"/>
                  <a:pt x="19" y="141"/>
                </a:cubicBezTo>
                <a:cubicBezTo>
                  <a:pt x="21" y="148"/>
                  <a:pt x="21" y="157"/>
                  <a:pt x="17" y="162"/>
                </a:cubicBezTo>
                <a:cubicBezTo>
                  <a:pt x="14" y="166"/>
                  <a:pt x="8" y="167"/>
                  <a:pt x="4" y="171"/>
                </a:cubicBezTo>
                <a:cubicBezTo>
                  <a:pt x="0" y="175"/>
                  <a:pt x="1" y="176"/>
                  <a:pt x="0" y="182"/>
                </a:cubicBezTo>
                <a:cubicBezTo>
                  <a:pt x="9" y="181"/>
                  <a:pt x="11" y="186"/>
                  <a:pt x="10" y="194"/>
                </a:cubicBezTo>
                <a:cubicBezTo>
                  <a:pt x="10" y="202"/>
                  <a:pt x="9" y="208"/>
                  <a:pt x="11" y="215"/>
                </a:cubicBezTo>
                <a:cubicBezTo>
                  <a:pt x="12" y="215"/>
                  <a:pt x="12" y="215"/>
                  <a:pt x="12" y="215"/>
                </a:cubicBezTo>
                <a:cubicBezTo>
                  <a:pt x="23" y="220"/>
                  <a:pt x="30" y="193"/>
                  <a:pt x="43" y="206"/>
                </a:cubicBezTo>
                <a:cubicBezTo>
                  <a:pt x="45" y="181"/>
                  <a:pt x="76" y="203"/>
                  <a:pt x="89" y="204"/>
                </a:cubicBezTo>
                <a:cubicBezTo>
                  <a:pt x="106" y="204"/>
                  <a:pt x="124" y="202"/>
                  <a:pt x="141" y="204"/>
                </a:cubicBezTo>
                <a:cubicBezTo>
                  <a:pt x="141" y="208"/>
                  <a:pt x="144" y="213"/>
                  <a:pt x="148" y="215"/>
                </a:cubicBezTo>
                <a:cubicBezTo>
                  <a:pt x="169" y="193"/>
                  <a:pt x="170" y="216"/>
                  <a:pt x="185" y="225"/>
                </a:cubicBezTo>
                <a:cubicBezTo>
                  <a:pt x="190" y="210"/>
                  <a:pt x="195" y="196"/>
                  <a:pt x="201" y="182"/>
                </a:cubicBezTo>
                <a:cubicBezTo>
                  <a:pt x="207" y="183"/>
                  <a:pt x="214" y="184"/>
                  <a:pt x="220" y="184"/>
                </a:cubicBezTo>
                <a:cubicBezTo>
                  <a:pt x="221" y="182"/>
                  <a:pt x="221" y="182"/>
                  <a:pt x="221" y="182"/>
                </a:cubicBezTo>
                <a:cubicBezTo>
                  <a:pt x="221" y="180"/>
                  <a:pt x="219" y="179"/>
                  <a:pt x="220" y="176"/>
                </a:cubicBezTo>
                <a:cubicBezTo>
                  <a:pt x="211" y="172"/>
                  <a:pt x="215" y="157"/>
                  <a:pt x="212" y="148"/>
                </a:cubicBezTo>
                <a:cubicBezTo>
                  <a:pt x="224" y="143"/>
                  <a:pt x="239" y="134"/>
                  <a:pt x="246" y="123"/>
                </a:cubicBezTo>
                <a:cubicBezTo>
                  <a:pt x="246" y="122"/>
                  <a:pt x="245" y="121"/>
                  <a:pt x="245" y="120"/>
                </a:cubicBezTo>
                <a:cubicBezTo>
                  <a:pt x="234" y="121"/>
                  <a:pt x="239" y="113"/>
                  <a:pt x="235" y="110"/>
                </a:cubicBezTo>
                <a:cubicBezTo>
                  <a:pt x="229" y="106"/>
                  <a:pt x="220" y="110"/>
                  <a:pt x="215" y="107"/>
                </a:cubicBezTo>
                <a:cubicBezTo>
                  <a:pt x="206" y="102"/>
                  <a:pt x="203" y="75"/>
                  <a:pt x="201" y="65"/>
                </a:cubicBezTo>
                <a:cubicBezTo>
                  <a:pt x="196" y="40"/>
                  <a:pt x="203" y="0"/>
                  <a:pt x="168" y="23"/>
                </a:cubicBezTo>
                <a:cubicBezTo>
                  <a:pt x="163" y="9"/>
                  <a:pt x="160" y="8"/>
                  <a:pt x="150" y="0"/>
                </a:cubicBezTo>
                <a:cubicBezTo>
                  <a:pt x="146" y="2"/>
                  <a:pt x="142" y="4"/>
                  <a:pt x="139" y="8"/>
                </a:cubicBezTo>
                <a:cubicBezTo>
                  <a:pt x="135" y="5"/>
                  <a:pt x="131" y="1"/>
                  <a:pt x="127" y="0"/>
                </a:cubicBezTo>
                <a:cubicBezTo>
                  <a:pt x="125" y="2"/>
                  <a:pt x="125" y="2"/>
                  <a:pt x="125" y="2"/>
                </a:cubicBezTo>
                <a:cubicBezTo>
                  <a:pt x="120" y="8"/>
                  <a:pt x="116" y="19"/>
                  <a:pt x="110" y="20"/>
                </a:cubicBezTo>
                <a:cubicBezTo>
                  <a:pt x="106" y="20"/>
                  <a:pt x="104" y="15"/>
                  <a:pt x="100" y="15"/>
                </a:cubicBezTo>
                <a:cubicBezTo>
                  <a:pt x="95" y="15"/>
                  <a:pt x="90" y="19"/>
                  <a:pt x="85" y="20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12" name="Freeform 547"/>
          <p:cNvSpPr>
            <a:spLocks/>
          </p:cNvSpPr>
          <p:nvPr userDrawn="1"/>
        </p:nvSpPr>
        <p:spPr bwMode="auto">
          <a:xfrm>
            <a:off x="5679943" y="3701425"/>
            <a:ext cx="286440" cy="316592"/>
          </a:xfrm>
          <a:custGeom>
            <a:avLst/>
            <a:gdLst>
              <a:gd name="T0" fmla="*/ 2147483646 w 308"/>
              <a:gd name="T1" fmla="*/ 2147483646 h 338"/>
              <a:gd name="T2" fmla="*/ 2147483646 w 308"/>
              <a:gd name="T3" fmla="*/ 2147483646 h 338"/>
              <a:gd name="T4" fmla="*/ 2147483646 w 308"/>
              <a:gd name="T5" fmla="*/ 2147483646 h 338"/>
              <a:gd name="T6" fmla="*/ 2147483646 w 308"/>
              <a:gd name="T7" fmla="*/ 2147483646 h 338"/>
              <a:gd name="T8" fmla="*/ 2147483646 w 308"/>
              <a:gd name="T9" fmla="*/ 2147483646 h 338"/>
              <a:gd name="T10" fmla="*/ 2147483646 w 308"/>
              <a:gd name="T11" fmla="*/ 2147483646 h 338"/>
              <a:gd name="T12" fmla="*/ 2147483646 w 308"/>
              <a:gd name="T13" fmla="*/ 2147483646 h 338"/>
              <a:gd name="T14" fmla="*/ 2147483646 w 308"/>
              <a:gd name="T15" fmla="*/ 2147483646 h 338"/>
              <a:gd name="T16" fmla="*/ 2147483646 w 308"/>
              <a:gd name="T17" fmla="*/ 2147483646 h 338"/>
              <a:gd name="T18" fmla="*/ 2147483646 w 308"/>
              <a:gd name="T19" fmla="*/ 2147483646 h 338"/>
              <a:gd name="T20" fmla="*/ 2147483646 w 308"/>
              <a:gd name="T21" fmla="*/ 2147483646 h 338"/>
              <a:gd name="T22" fmla="*/ 2147483646 w 308"/>
              <a:gd name="T23" fmla="*/ 2147483646 h 338"/>
              <a:gd name="T24" fmla="*/ 2147483646 w 308"/>
              <a:gd name="T25" fmla="*/ 2147483646 h 338"/>
              <a:gd name="T26" fmla="*/ 2147483646 w 308"/>
              <a:gd name="T27" fmla="*/ 2147483646 h 338"/>
              <a:gd name="T28" fmla="*/ 2147483646 w 308"/>
              <a:gd name="T29" fmla="*/ 2147483646 h 338"/>
              <a:gd name="T30" fmla="*/ 2147483646 w 308"/>
              <a:gd name="T31" fmla="*/ 2147483646 h 338"/>
              <a:gd name="T32" fmla="*/ 2147483646 w 308"/>
              <a:gd name="T33" fmla="*/ 2147483646 h 338"/>
              <a:gd name="T34" fmla="*/ 2147483646 w 308"/>
              <a:gd name="T35" fmla="*/ 2147483646 h 338"/>
              <a:gd name="T36" fmla="*/ 2147483646 w 308"/>
              <a:gd name="T37" fmla="*/ 2147483646 h 338"/>
              <a:gd name="T38" fmla="*/ 2147483646 w 308"/>
              <a:gd name="T39" fmla="*/ 2147483646 h 338"/>
              <a:gd name="T40" fmla="*/ 2147483646 w 308"/>
              <a:gd name="T41" fmla="*/ 2147483646 h 338"/>
              <a:gd name="T42" fmla="*/ 2147483646 w 308"/>
              <a:gd name="T43" fmla="*/ 2147483646 h 338"/>
              <a:gd name="T44" fmla="*/ 2147483646 w 308"/>
              <a:gd name="T45" fmla="*/ 2147483646 h 338"/>
              <a:gd name="T46" fmla="*/ 2147483646 w 308"/>
              <a:gd name="T47" fmla="*/ 2147483646 h 338"/>
              <a:gd name="T48" fmla="*/ 2147483646 w 308"/>
              <a:gd name="T49" fmla="*/ 2147483646 h 338"/>
              <a:gd name="T50" fmla="*/ 2147483646 w 308"/>
              <a:gd name="T51" fmla="*/ 2147483646 h 338"/>
              <a:gd name="T52" fmla="*/ 2147483646 w 308"/>
              <a:gd name="T53" fmla="*/ 2147483646 h 338"/>
              <a:gd name="T54" fmla="*/ 2147483646 w 308"/>
              <a:gd name="T55" fmla="*/ 2147483646 h 338"/>
              <a:gd name="T56" fmla="*/ 2147483646 w 308"/>
              <a:gd name="T57" fmla="*/ 2147483646 h 338"/>
              <a:gd name="T58" fmla="*/ 2147483646 w 308"/>
              <a:gd name="T59" fmla="*/ 2147483646 h 338"/>
              <a:gd name="T60" fmla="*/ 2147483646 w 308"/>
              <a:gd name="T61" fmla="*/ 2147483646 h 338"/>
              <a:gd name="T62" fmla="*/ 2147483646 w 308"/>
              <a:gd name="T63" fmla="*/ 2147483646 h 338"/>
              <a:gd name="T64" fmla="*/ 2147483646 w 308"/>
              <a:gd name="T65" fmla="*/ 2147483646 h 338"/>
              <a:gd name="T66" fmla="*/ 2147483646 w 308"/>
              <a:gd name="T67" fmla="*/ 2147483646 h 338"/>
              <a:gd name="T68" fmla="*/ 2147483646 w 308"/>
              <a:gd name="T69" fmla="*/ 2147483646 h 338"/>
              <a:gd name="T70" fmla="*/ 2147483646 w 308"/>
              <a:gd name="T71" fmla="*/ 2147483646 h 338"/>
              <a:gd name="T72" fmla="*/ 2147483646 w 308"/>
              <a:gd name="T73" fmla="*/ 2147483646 h 338"/>
              <a:gd name="T74" fmla="*/ 2147483646 w 308"/>
              <a:gd name="T75" fmla="*/ 2147483646 h 338"/>
              <a:gd name="T76" fmla="*/ 2147483646 w 308"/>
              <a:gd name="T77" fmla="*/ 2147483646 h 338"/>
              <a:gd name="T78" fmla="*/ 2147483646 w 308"/>
              <a:gd name="T79" fmla="*/ 2147483646 h 338"/>
              <a:gd name="T80" fmla="*/ 2147483646 w 308"/>
              <a:gd name="T81" fmla="*/ 2147483646 h 338"/>
              <a:gd name="T82" fmla="*/ 2147483646 w 308"/>
              <a:gd name="T83" fmla="*/ 2147483646 h 338"/>
              <a:gd name="T84" fmla="*/ 2147483646 w 308"/>
              <a:gd name="T85" fmla="*/ 2147483646 h 338"/>
              <a:gd name="T86" fmla="*/ 2147483646 w 308"/>
              <a:gd name="T87" fmla="*/ 2147483646 h 338"/>
              <a:gd name="T88" fmla="*/ 2147483646 w 308"/>
              <a:gd name="T89" fmla="*/ 2147483646 h 33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08"/>
              <a:gd name="T136" fmla="*/ 0 h 338"/>
              <a:gd name="T137" fmla="*/ 308 w 308"/>
              <a:gd name="T138" fmla="*/ 338 h 33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08" h="338">
                <a:moveTo>
                  <a:pt x="175" y="47"/>
                </a:moveTo>
                <a:cubicBezTo>
                  <a:pt x="174" y="44"/>
                  <a:pt x="172" y="41"/>
                  <a:pt x="173" y="39"/>
                </a:cubicBezTo>
                <a:cubicBezTo>
                  <a:pt x="173" y="37"/>
                  <a:pt x="176" y="36"/>
                  <a:pt x="176" y="34"/>
                </a:cubicBezTo>
                <a:cubicBezTo>
                  <a:pt x="170" y="33"/>
                  <a:pt x="172" y="26"/>
                  <a:pt x="173" y="23"/>
                </a:cubicBezTo>
                <a:cubicBezTo>
                  <a:pt x="174" y="20"/>
                  <a:pt x="175" y="20"/>
                  <a:pt x="174" y="19"/>
                </a:cubicBezTo>
                <a:cubicBezTo>
                  <a:pt x="173" y="18"/>
                  <a:pt x="171" y="18"/>
                  <a:pt x="169" y="17"/>
                </a:cubicBezTo>
                <a:cubicBezTo>
                  <a:pt x="167" y="16"/>
                  <a:pt x="165" y="14"/>
                  <a:pt x="163" y="13"/>
                </a:cubicBezTo>
                <a:cubicBezTo>
                  <a:pt x="160" y="12"/>
                  <a:pt x="160" y="12"/>
                  <a:pt x="158" y="12"/>
                </a:cubicBezTo>
                <a:cubicBezTo>
                  <a:pt x="154" y="13"/>
                  <a:pt x="152" y="14"/>
                  <a:pt x="148" y="13"/>
                </a:cubicBezTo>
                <a:cubicBezTo>
                  <a:pt x="143" y="12"/>
                  <a:pt x="140" y="6"/>
                  <a:pt x="137" y="2"/>
                </a:cubicBezTo>
                <a:cubicBezTo>
                  <a:pt x="136" y="1"/>
                  <a:pt x="135" y="0"/>
                  <a:pt x="134" y="0"/>
                </a:cubicBezTo>
                <a:cubicBezTo>
                  <a:pt x="133" y="0"/>
                  <a:pt x="132" y="1"/>
                  <a:pt x="131" y="1"/>
                </a:cubicBezTo>
                <a:cubicBezTo>
                  <a:pt x="129" y="1"/>
                  <a:pt x="128" y="0"/>
                  <a:pt x="126" y="0"/>
                </a:cubicBezTo>
                <a:cubicBezTo>
                  <a:pt x="121" y="0"/>
                  <a:pt x="117" y="4"/>
                  <a:pt x="113" y="6"/>
                </a:cubicBezTo>
                <a:cubicBezTo>
                  <a:pt x="108" y="9"/>
                  <a:pt x="105" y="8"/>
                  <a:pt x="101" y="6"/>
                </a:cubicBezTo>
                <a:cubicBezTo>
                  <a:pt x="98" y="5"/>
                  <a:pt x="96" y="5"/>
                  <a:pt x="94" y="5"/>
                </a:cubicBezTo>
                <a:cubicBezTo>
                  <a:pt x="93" y="5"/>
                  <a:pt x="93" y="5"/>
                  <a:pt x="93" y="5"/>
                </a:cubicBezTo>
                <a:cubicBezTo>
                  <a:pt x="95" y="7"/>
                  <a:pt x="99" y="11"/>
                  <a:pt x="98" y="12"/>
                </a:cubicBezTo>
                <a:cubicBezTo>
                  <a:pt x="98" y="13"/>
                  <a:pt x="95" y="15"/>
                  <a:pt x="95" y="15"/>
                </a:cubicBezTo>
                <a:cubicBezTo>
                  <a:pt x="92" y="18"/>
                  <a:pt x="90" y="22"/>
                  <a:pt x="88" y="25"/>
                </a:cubicBezTo>
                <a:cubicBezTo>
                  <a:pt x="87" y="26"/>
                  <a:pt x="86" y="27"/>
                  <a:pt x="85" y="28"/>
                </a:cubicBezTo>
                <a:cubicBezTo>
                  <a:pt x="85" y="28"/>
                  <a:pt x="84" y="30"/>
                  <a:pt x="84" y="30"/>
                </a:cubicBezTo>
                <a:cubicBezTo>
                  <a:pt x="81" y="32"/>
                  <a:pt x="74" y="28"/>
                  <a:pt x="71" y="28"/>
                </a:cubicBezTo>
                <a:cubicBezTo>
                  <a:pt x="68" y="28"/>
                  <a:pt x="66" y="29"/>
                  <a:pt x="63" y="30"/>
                </a:cubicBezTo>
                <a:cubicBezTo>
                  <a:pt x="61" y="30"/>
                  <a:pt x="59" y="30"/>
                  <a:pt x="57" y="29"/>
                </a:cubicBezTo>
                <a:cubicBezTo>
                  <a:pt x="60" y="32"/>
                  <a:pt x="59" y="40"/>
                  <a:pt x="56" y="42"/>
                </a:cubicBezTo>
                <a:cubicBezTo>
                  <a:pt x="53" y="40"/>
                  <a:pt x="51" y="34"/>
                  <a:pt x="48" y="31"/>
                </a:cubicBezTo>
                <a:cubicBezTo>
                  <a:pt x="45" y="27"/>
                  <a:pt x="42" y="26"/>
                  <a:pt x="38" y="25"/>
                </a:cubicBezTo>
                <a:cubicBezTo>
                  <a:pt x="37" y="30"/>
                  <a:pt x="36" y="37"/>
                  <a:pt x="30" y="38"/>
                </a:cubicBezTo>
                <a:cubicBezTo>
                  <a:pt x="28" y="39"/>
                  <a:pt x="26" y="38"/>
                  <a:pt x="24" y="38"/>
                </a:cubicBezTo>
                <a:cubicBezTo>
                  <a:pt x="22" y="39"/>
                  <a:pt x="20" y="40"/>
                  <a:pt x="18" y="40"/>
                </a:cubicBezTo>
                <a:cubicBezTo>
                  <a:pt x="17" y="41"/>
                  <a:pt x="16" y="41"/>
                  <a:pt x="15" y="41"/>
                </a:cubicBezTo>
                <a:cubicBezTo>
                  <a:pt x="13" y="41"/>
                  <a:pt x="14" y="40"/>
                  <a:pt x="13" y="41"/>
                </a:cubicBezTo>
                <a:cubicBezTo>
                  <a:pt x="11" y="43"/>
                  <a:pt x="10" y="44"/>
                  <a:pt x="9" y="46"/>
                </a:cubicBezTo>
                <a:cubicBezTo>
                  <a:pt x="9" y="47"/>
                  <a:pt x="9" y="47"/>
                  <a:pt x="9" y="47"/>
                </a:cubicBezTo>
                <a:cubicBezTo>
                  <a:pt x="9" y="48"/>
                  <a:pt x="10" y="48"/>
                  <a:pt x="10" y="49"/>
                </a:cubicBezTo>
                <a:cubicBezTo>
                  <a:pt x="12" y="56"/>
                  <a:pt x="12" y="59"/>
                  <a:pt x="9" y="66"/>
                </a:cubicBezTo>
                <a:cubicBezTo>
                  <a:pt x="6" y="76"/>
                  <a:pt x="0" y="83"/>
                  <a:pt x="7" y="93"/>
                </a:cubicBezTo>
                <a:cubicBezTo>
                  <a:pt x="8" y="94"/>
                  <a:pt x="10" y="94"/>
                  <a:pt x="11" y="97"/>
                </a:cubicBezTo>
                <a:cubicBezTo>
                  <a:pt x="12" y="99"/>
                  <a:pt x="9" y="101"/>
                  <a:pt x="10" y="103"/>
                </a:cubicBezTo>
                <a:cubicBezTo>
                  <a:pt x="12" y="106"/>
                  <a:pt x="18" y="104"/>
                  <a:pt x="21" y="106"/>
                </a:cubicBezTo>
                <a:cubicBezTo>
                  <a:pt x="28" y="110"/>
                  <a:pt x="26" y="120"/>
                  <a:pt x="22" y="125"/>
                </a:cubicBezTo>
                <a:cubicBezTo>
                  <a:pt x="23" y="125"/>
                  <a:pt x="23" y="125"/>
                  <a:pt x="23" y="125"/>
                </a:cubicBezTo>
                <a:cubicBezTo>
                  <a:pt x="24" y="125"/>
                  <a:pt x="25" y="125"/>
                  <a:pt x="26" y="125"/>
                </a:cubicBezTo>
                <a:cubicBezTo>
                  <a:pt x="32" y="125"/>
                  <a:pt x="40" y="117"/>
                  <a:pt x="44" y="110"/>
                </a:cubicBezTo>
                <a:cubicBezTo>
                  <a:pt x="48" y="103"/>
                  <a:pt x="56" y="105"/>
                  <a:pt x="61" y="104"/>
                </a:cubicBezTo>
                <a:cubicBezTo>
                  <a:pt x="67" y="104"/>
                  <a:pt x="65" y="100"/>
                  <a:pt x="72" y="108"/>
                </a:cubicBezTo>
                <a:cubicBezTo>
                  <a:pt x="78" y="115"/>
                  <a:pt x="85" y="114"/>
                  <a:pt x="87" y="116"/>
                </a:cubicBezTo>
                <a:cubicBezTo>
                  <a:pt x="90" y="118"/>
                  <a:pt x="90" y="118"/>
                  <a:pt x="92" y="130"/>
                </a:cubicBezTo>
                <a:cubicBezTo>
                  <a:pt x="94" y="142"/>
                  <a:pt x="101" y="144"/>
                  <a:pt x="96" y="151"/>
                </a:cubicBezTo>
                <a:cubicBezTo>
                  <a:pt x="91" y="159"/>
                  <a:pt x="88" y="164"/>
                  <a:pt x="95" y="162"/>
                </a:cubicBezTo>
                <a:cubicBezTo>
                  <a:pt x="101" y="161"/>
                  <a:pt x="107" y="163"/>
                  <a:pt x="111" y="168"/>
                </a:cubicBezTo>
                <a:cubicBezTo>
                  <a:pt x="115" y="173"/>
                  <a:pt x="144" y="212"/>
                  <a:pt x="161" y="216"/>
                </a:cubicBezTo>
                <a:cubicBezTo>
                  <a:pt x="178" y="220"/>
                  <a:pt x="174" y="209"/>
                  <a:pt x="181" y="218"/>
                </a:cubicBezTo>
                <a:cubicBezTo>
                  <a:pt x="188" y="227"/>
                  <a:pt x="199" y="226"/>
                  <a:pt x="197" y="232"/>
                </a:cubicBezTo>
                <a:cubicBezTo>
                  <a:pt x="195" y="239"/>
                  <a:pt x="206" y="231"/>
                  <a:pt x="205" y="238"/>
                </a:cubicBezTo>
                <a:cubicBezTo>
                  <a:pt x="203" y="245"/>
                  <a:pt x="205" y="250"/>
                  <a:pt x="213" y="254"/>
                </a:cubicBezTo>
                <a:cubicBezTo>
                  <a:pt x="220" y="258"/>
                  <a:pt x="226" y="251"/>
                  <a:pt x="229" y="260"/>
                </a:cubicBezTo>
                <a:cubicBezTo>
                  <a:pt x="232" y="269"/>
                  <a:pt x="235" y="274"/>
                  <a:pt x="240" y="282"/>
                </a:cubicBezTo>
                <a:cubicBezTo>
                  <a:pt x="244" y="290"/>
                  <a:pt x="247" y="293"/>
                  <a:pt x="242" y="296"/>
                </a:cubicBezTo>
                <a:cubicBezTo>
                  <a:pt x="237" y="300"/>
                  <a:pt x="231" y="299"/>
                  <a:pt x="234" y="305"/>
                </a:cubicBezTo>
                <a:cubicBezTo>
                  <a:pt x="238" y="310"/>
                  <a:pt x="235" y="309"/>
                  <a:pt x="232" y="314"/>
                </a:cubicBezTo>
                <a:cubicBezTo>
                  <a:pt x="229" y="319"/>
                  <a:pt x="233" y="338"/>
                  <a:pt x="240" y="329"/>
                </a:cubicBezTo>
                <a:cubicBezTo>
                  <a:pt x="247" y="321"/>
                  <a:pt x="248" y="319"/>
                  <a:pt x="252" y="315"/>
                </a:cubicBezTo>
                <a:cubicBezTo>
                  <a:pt x="257" y="310"/>
                  <a:pt x="257" y="304"/>
                  <a:pt x="257" y="298"/>
                </a:cubicBezTo>
                <a:cubicBezTo>
                  <a:pt x="257" y="292"/>
                  <a:pt x="263" y="291"/>
                  <a:pt x="267" y="289"/>
                </a:cubicBezTo>
                <a:cubicBezTo>
                  <a:pt x="272" y="288"/>
                  <a:pt x="276" y="287"/>
                  <a:pt x="267" y="276"/>
                </a:cubicBezTo>
                <a:cubicBezTo>
                  <a:pt x="259" y="265"/>
                  <a:pt x="250" y="267"/>
                  <a:pt x="251" y="262"/>
                </a:cubicBezTo>
                <a:cubicBezTo>
                  <a:pt x="253" y="257"/>
                  <a:pt x="259" y="255"/>
                  <a:pt x="257" y="249"/>
                </a:cubicBezTo>
                <a:cubicBezTo>
                  <a:pt x="256" y="243"/>
                  <a:pt x="259" y="244"/>
                  <a:pt x="265" y="240"/>
                </a:cubicBezTo>
                <a:cubicBezTo>
                  <a:pt x="270" y="237"/>
                  <a:pt x="276" y="231"/>
                  <a:pt x="275" y="238"/>
                </a:cubicBezTo>
                <a:cubicBezTo>
                  <a:pt x="274" y="245"/>
                  <a:pt x="275" y="244"/>
                  <a:pt x="281" y="245"/>
                </a:cubicBezTo>
                <a:cubicBezTo>
                  <a:pt x="286" y="247"/>
                  <a:pt x="288" y="242"/>
                  <a:pt x="290" y="250"/>
                </a:cubicBezTo>
                <a:cubicBezTo>
                  <a:pt x="293" y="258"/>
                  <a:pt x="293" y="263"/>
                  <a:pt x="298" y="261"/>
                </a:cubicBezTo>
                <a:cubicBezTo>
                  <a:pt x="303" y="258"/>
                  <a:pt x="308" y="256"/>
                  <a:pt x="300" y="245"/>
                </a:cubicBezTo>
                <a:cubicBezTo>
                  <a:pt x="292" y="235"/>
                  <a:pt x="284" y="229"/>
                  <a:pt x="281" y="230"/>
                </a:cubicBezTo>
                <a:cubicBezTo>
                  <a:pt x="278" y="230"/>
                  <a:pt x="275" y="223"/>
                  <a:pt x="267" y="218"/>
                </a:cubicBezTo>
                <a:cubicBezTo>
                  <a:pt x="260" y="213"/>
                  <a:pt x="251" y="212"/>
                  <a:pt x="245" y="209"/>
                </a:cubicBezTo>
                <a:cubicBezTo>
                  <a:pt x="240" y="206"/>
                  <a:pt x="235" y="205"/>
                  <a:pt x="239" y="199"/>
                </a:cubicBezTo>
                <a:cubicBezTo>
                  <a:pt x="242" y="193"/>
                  <a:pt x="245" y="182"/>
                  <a:pt x="239" y="185"/>
                </a:cubicBezTo>
                <a:cubicBezTo>
                  <a:pt x="233" y="187"/>
                  <a:pt x="233" y="182"/>
                  <a:pt x="229" y="186"/>
                </a:cubicBezTo>
                <a:cubicBezTo>
                  <a:pt x="225" y="190"/>
                  <a:pt x="224" y="195"/>
                  <a:pt x="217" y="188"/>
                </a:cubicBezTo>
                <a:cubicBezTo>
                  <a:pt x="210" y="181"/>
                  <a:pt x="192" y="171"/>
                  <a:pt x="181" y="141"/>
                </a:cubicBezTo>
                <a:cubicBezTo>
                  <a:pt x="178" y="132"/>
                  <a:pt x="168" y="129"/>
                  <a:pt x="161" y="121"/>
                </a:cubicBezTo>
                <a:cubicBezTo>
                  <a:pt x="153" y="112"/>
                  <a:pt x="140" y="93"/>
                  <a:pt x="145" y="87"/>
                </a:cubicBezTo>
                <a:cubicBezTo>
                  <a:pt x="151" y="81"/>
                  <a:pt x="148" y="81"/>
                  <a:pt x="145" y="73"/>
                </a:cubicBezTo>
                <a:cubicBezTo>
                  <a:pt x="141" y="64"/>
                  <a:pt x="141" y="61"/>
                  <a:pt x="148" y="59"/>
                </a:cubicBezTo>
                <a:cubicBezTo>
                  <a:pt x="155" y="57"/>
                  <a:pt x="157" y="55"/>
                  <a:pt x="163" y="54"/>
                </a:cubicBezTo>
                <a:cubicBezTo>
                  <a:pt x="167" y="53"/>
                  <a:pt x="171" y="49"/>
                  <a:pt x="174" y="47"/>
                </a:cubicBezTo>
                <a:lnTo>
                  <a:pt x="175" y="47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13" name="Freeform 548"/>
          <p:cNvSpPr>
            <a:spLocks/>
          </p:cNvSpPr>
          <p:nvPr userDrawn="1"/>
        </p:nvSpPr>
        <p:spPr bwMode="auto">
          <a:xfrm>
            <a:off x="5658165" y="3671273"/>
            <a:ext cx="113907" cy="73704"/>
          </a:xfrm>
          <a:custGeom>
            <a:avLst/>
            <a:gdLst>
              <a:gd name="T0" fmla="*/ 2147483646 w 121"/>
              <a:gd name="T1" fmla="*/ 2147483646 h 78"/>
              <a:gd name="T2" fmla="*/ 2147483646 w 121"/>
              <a:gd name="T3" fmla="*/ 2147483646 h 78"/>
              <a:gd name="T4" fmla="*/ 2147483646 w 121"/>
              <a:gd name="T5" fmla="*/ 2147483646 h 78"/>
              <a:gd name="T6" fmla="*/ 2147483646 w 121"/>
              <a:gd name="T7" fmla="*/ 2147483646 h 78"/>
              <a:gd name="T8" fmla="*/ 2147483646 w 121"/>
              <a:gd name="T9" fmla="*/ 2147483646 h 78"/>
              <a:gd name="T10" fmla="*/ 2147483646 w 121"/>
              <a:gd name="T11" fmla="*/ 2147483646 h 78"/>
              <a:gd name="T12" fmla="*/ 2147483646 w 121"/>
              <a:gd name="T13" fmla="*/ 2147483646 h 78"/>
              <a:gd name="T14" fmla="*/ 2147483646 w 121"/>
              <a:gd name="T15" fmla="*/ 2147483646 h 78"/>
              <a:gd name="T16" fmla="*/ 2147483646 w 121"/>
              <a:gd name="T17" fmla="*/ 2147483646 h 78"/>
              <a:gd name="T18" fmla="*/ 2147483646 w 121"/>
              <a:gd name="T19" fmla="*/ 2147483646 h 78"/>
              <a:gd name="T20" fmla="*/ 2147483646 w 121"/>
              <a:gd name="T21" fmla="*/ 2147483646 h 78"/>
              <a:gd name="T22" fmla="*/ 2147483646 w 121"/>
              <a:gd name="T23" fmla="*/ 2147483646 h 78"/>
              <a:gd name="T24" fmla="*/ 2147483646 w 121"/>
              <a:gd name="T25" fmla="*/ 2147483646 h 78"/>
              <a:gd name="T26" fmla="*/ 2147483646 w 121"/>
              <a:gd name="T27" fmla="*/ 2147483646 h 78"/>
              <a:gd name="T28" fmla="*/ 2147483646 w 121"/>
              <a:gd name="T29" fmla="*/ 2147483646 h 78"/>
              <a:gd name="T30" fmla="*/ 2147483646 w 121"/>
              <a:gd name="T31" fmla="*/ 2147483646 h 78"/>
              <a:gd name="T32" fmla="*/ 2147483646 w 121"/>
              <a:gd name="T33" fmla="*/ 2147483646 h 78"/>
              <a:gd name="T34" fmla="*/ 2147483646 w 121"/>
              <a:gd name="T35" fmla="*/ 2147483646 h 78"/>
              <a:gd name="T36" fmla="*/ 2147483646 w 121"/>
              <a:gd name="T37" fmla="*/ 2147483646 h 78"/>
              <a:gd name="T38" fmla="*/ 2147483646 w 121"/>
              <a:gd name="T39" fmla="*/ 2147483646 h 78"/>
              <a:gd name="T40" fmla="*/ 2147483646 w 121"/>
              <a:gd name="T41" fmla="*/ 2147483646 h 78"/>
              <a:gd name="T42" fmla="*/ 2147483646 w 121"/>
              <a:gd name="T43" fmla="*/ 2147483646 h 78"/>
              <a:gd name="T44" fmla="*/ 2147483646 w 121"/>
              <a:gd name="T45" fmla="*/ 2147483646 h 78"/>
              <a:gd name="T46" fmla="*/ 2147483646 w 121"/>
              <a:gd name="T47" fmla="*/ 2147483646 h 78"/>
              <a:gd name="T48" fmla="*/ 2147483646 w 121"/>
              <a:gd name="T49" fmla="*/ 2147483646 h 78"/>
              <a:gd name="T50" fmla="*/ 2147483646 w 121"/>
              <a:gd name="T51" fmla="*/ 2147483646 h 78"/>
              <a:gd name="T52" fmla="*/ 2147483646 w 121"/>
              <a:gd name="T53" fmla="*/ 2147483646 h 78"/>
              <a:gd name="T54" fmla="*/ 2147483646 w 121"/>
              <a:gd name="T55" fmla="*/ 2147483646 h 78"/>
              <a:gd name="T56" fmla="*/ 2147483646 w 121"/>
              <a:gd name="T57" fmla="*/ 2147483646 h 78"/>
              <a:gd name="T58" fmla="*/ 2147483646 w 121"/>
              <a:gd name="T59" fmla="*/ 2147483646 h 78"/>
              <a:gd name="T60" fmla="*/ 2147483646 w 121"/>
              <a:gd name="T61" fmla="*/ 2147483646 h 78"/>
              <a:gd name="T62" fmla="*/ 2147483646 w 121"/>
              <a:gd name="T63" fmla="*/ 2147483646 h 78"/>
              <a:gd name="T64" fmla="*/ 2147483646 w 121"/>
              <a:gd name="T65" fmla="*/ 2147483646 h 78"/>
              <a:gd name="T66" fmla="*/ 2147483646 w 121"/>
              <a:gd name="T67" fmla="*/ 2147483646 h 78"/>
              <a:gd name="T68" fmla="*/ 2147483646 w 121"/>
              <a:gd name="T69" fmla="*/ 2147483646 h 78"/>
              <a:gd name="T70" fmla="*/ 2147483646 w 121"/>
              <a:gd name="T71" fmla="*/ 2147483646 h 78"/>
              <a:gd name="T72" fmla="*/ 2147483646 w 121"/>
              <a:gd name="T73" fmla="*/ 2147483646 h 78"/>
              <a:gd name="T74" fmla="*/ 2147483646 w 121"/>
              <a:gd name="T75" fmla="*/ 2147483646 h 78"/>
              <a:gd name="T76" fmla="*/ 2147483646 w 121"/>
              <a:gd name="T77" fmla="*/ 2147483646 h 78"/>
              <a:gd name="T78" fmla="*/ 2147483646 w 121"/>
              <a:gd name="T79" fmla="*/ 2147483646 h 78"/>
              <a:gd name="T80" fmla="*/ 2147483646 w 121"/>
              <a:gd name="T81" fmla="*/ 2147483646 h 7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21"/>
              <a:gd name="T124" fmla="*/ 0 h 78"/>
              <a:gd name="T125" fmla="*/ 121 w 121"/>
              <a:gd name="T126" fmla="*/ 78 h 7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21" h="78">
                <a:moveTo>
                  <a:pt x="38" y="10"/>
                </a:moveTo>
                <a:cubicBezTo>
                  <a:pt x="37" y="12"/>
                  <a:pt x="36" y="13"/>
                  <a:pt x="33" y="14"/>
                </a:cubicBezTo>
                <a:cubicBezTo>
                  <a:pt x="30" y="16"/>
                  <a:pt x="27" y="15"/>
                  <a:pt x="24" y="18"/>
                </a:cubicBezTo>
                <a:cubicBezTo>
                  <a:pt x="21" y="21"/>
                  <a:pt x="21" y="27"/>
                  <a:pt x="20" y="31"/>
                </a:cubicBezTo>
                <a:cubicBezTo>
                  <a:pt x="17" y="38"/>
                  <a:pt x="12" y="45"/>
                  <a:pt x="8" y="51"/>
                </a:cubicBezTo>
                <a:cubicBezTo>
                  <a:pt x="4" y="56"/>
                  <a:pt x="0" y="63"/>
                  <a:pt x="9" y="65"/>
                </a:cubicBezTo>
                <a:cubicBezTo>
                  <a:pt x="15" y="66"/>
                  <a:pt x="24" y="55"/>
                  <a:pt x="29" y="62"/>
                </a:cubicBezTo>
                <a:cubicBezTo>
                  <a:pt x="31" y="65"/>
                  <a:pt x="31" y="72"/>
                  <a:pt x="31" y="77"/>
                </a:cubicBezTo>
                <a:cubicBezTo>
                  <a:pt x="31" y="78"/>
                  <a:pt x="31" y="78"/>
                  <a:pt x="31" y="78"/>
                </a:cubicBezTo>
                <a:cubicBezTo>
                  <a:pt x="33" y="76"/>
                  <a:pt x="33" y="75"/>
                  <a:pt x="35" y="73"/>
                </a:cubicBezTo>
                <a:cubicBezTo>
                  <a:pt x="36" y="72"/>
                  <a:pt x="35" y="73"/>
                  <a:pt x="37" y="73"/>
                </a:cubicBezTo>
                <a:cubicBezTo>
                  <a:pt x="38" y="73"/>
                  <a:pt x="39" y="73"/>
                  <a:pt x="40" y="72"/>
                </a:cubicBezTo>
                <a:cubicBezTo>
                  <a:pt x="42" y="72"/>
                  <a:pt x="44" y="71"/>
                  <a:pt x="46" y="70"/>
                </a:cubicBezTo>
                <a:cubicBezTo>
                  <a:pt x="48" y="70"/>
                  <a:pt x="50" y="71"/>
                  <a:pt x="52" y="70"/>
                </a:cubicBezTo>
                <a:cubicBezTo>
                  <a:pt x="58" y="69"/>
                  <a:pt x="59" y="62"/>
                  <a:pt x="60" y="57"/>
                </a:cubicBezTo>
                <a:cubicBezTo>
                  <a:pt x="64" y="58"/>
                  <a:pt x="67" y="59"/>
                  <a:pt x="70" y="63"/>
                </a:cubicBezTo>
                <a:cubicBezTo>
                  <a:pt x="73" y="66"/>
                  <a:pt x="75" y="72"/>
                  <a:pt x="78" y="74"/>
                </a:cubicBezTo>
                <a:cubicBezTo>
                  <a:pt x="81" y="72"/>
                  <a:pt x="82" y="64"/>
                  <a:pt x="79" y="62"/>
                </a:cubicBezTo>
                <a:cubicBezTo>
                  <a:pt x="81" y="62"/>
                  <a:pt x="83" y="62"/>
                  <a:pt x="85" y="62"/>
                </a:cubicBezTo>
                <a:cubicBezTo>
                  <a:pt x="88" y="61"/>
                  <a:pt x="90" y="60"/>
                  <a:pt x="93" y="60"/>
                </a:cubicBezTo>
                <a:cubicBezTo>
                  <a:pt x="96" y="60"/>
                  <a:pt x="103" y="64"/>
                  <a:pt x="106" y="62"/>
                </a:cubicBezTo>
                <a:cubicBezTo>
                  <a:pt x="106" y="62"/>
                  <a:pt x="107" y="60"/>
                  <a:pt x="107" y="60"/>
                </a:cubicBezTo>
                <a:cubicBezTo>
                  <a:pt x="108" y="59"/>
                  <a:pt x="109" y="58"/>
                  <a:pt x="110" y="57"/>
                </a:cubicBezTo>
                <a:cubicBezTo>
                  <a:pt x="112" y="54"/>
                  <a:pt x="114" y="50"/>
                  <a:pt x="117" y="47"/>
                </a:cubicBezTo>
                <a:cubicBezTo>
                  <a:pt x="117" y="47"/>
                  <a:pt x="120" y="45"/>
                  <a:pt x="120" y="44"/>
                </a:cubicBezTo>
                <a:cubicBezTo>
                  <a:pt x="121" y="42"/>
                  <a:pt x="115" y="36"/>
                  <a:pt x="114" y="36"/>
                </a:cubicBezTo>
                <a:cubicBezTo>
                  <a:pt x="111" y="36"/>
                  <a:pt x="110" y="42"/>
                  <a:pt x="107" y="41"/>
                </a:cubicBezTo>
                <a:cubicBezTo>
                  <a:pt x="105" y="41"/>
                  <a:pt x="104" y="36"/>
                  <a:pt x="103" y="35"/>
                </a:cubicBezTo>
                <a:cubicBezTo>
                  <a:pt x="101" y="32"/>
                  <a:pt x="97" y="33"/>
                  <a:pt x="94" y="33"/>
                </a:cubicBezTo>
                <a:cubicBezTo>
                  <a:pt x="94" y="28"/>
                  <a:pt x="98" y="23"/>
                  <a:pt x="99" y="18"/>
                </a:cubicBezTo>
                <a:cubicBezTo>
                  <a:pt x="100" y="15"/>
                  <a:pt x="99" y="15"/>
                  <a:pt x="96" y="14"/>
                </a:cubicBezTo>
                <a:cubicBezTo>
                  <a:pt x="93" y="12"/>
                  <a:pt x="90" y="13"/>
                  <a:pt x="87" y="11"/>
                </a:cubicBezTo>
                <a:cubicBezTo>
                  <a:pt x="84" y="10"/>
                  <a:pt x="84" y="6"/>
                  <a:pt x="82" y="3"/>
                </a:cubicBezTo>
                <a:cubicBezTo>
                  <a:pt x="80" y="0"/>
                  <a:pt x="78" y="4"/>
                  <a:pt x="75" y="5"/>
                </a:cubicBezTo>
                <a:cubicBezTo>
                  <a:pt x="74" y="6"/>
                  <a:pt x="71" y="8"/>
                  <a:pt x="70" y="8"/>
                </a:cubicBezTo>
                <a:cubicBezTo>
                  <a:pt x="68" y="8"/>
                  <a:pt x="66" y="7"/>
                  <a:pt x="64" y="8"/>
                </a:cubicBezTo>
                <a:cubicBezTo>
                  <a:pt x="61" y="9"/>
                  <a:pt x="59" y="12"/>
                  <a:pt x="55" y="11"/>
                </a:cubicBezTo>
                <a:cubicBezTo>
                  <a:pt x="53" y="10"/>
                  <a:pt x="48" y="9"/>
                  <a:pt x="47" y="13"/>
                </a:cubicBezTo>
                <a:cubicBezTo>
                  <a:pt x="44" y="11"/>
                  <a:pt x="41" y="10"/>
                  <a:pt x="38" y="8"/>
                </a:cubicBezTo>
                <a:cubicBezTo>
                  <a:pt x="37" y="8"/>
                  <a:pt x="38" y="8"/>
                  <a:pt x="38" y="8"/>
                </a:cubicBezTo>
                <a:lnTo>
                  <a:pt x="38" y="1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14" name="Freeform 549"/>
          <p:cNvSpPr>
            <a:spLocks/>
          </p:cNvSpPr>
          <p:nvPr userDrawn="1"/>
        </p:nvSpPr>
        <p:spPr bwMode="auto">
          <a:xfrm>
            <a:off x="5653141" y="3587519"/>
            <a:ext cx="23451" cy="31827"/>
          </a:xfrm>
          <a:custGeom>
            <a:avLst/>
            <a:gdLst>
              <a:gd name="T0" fmla="*/ 2147483646 w 25"/>
              <a:gd name="T1" fmla="*/ 2147483646 h 34"/>
              <a:gd name="T2" fmla="*/ 2147483646 w 25"/>
              <a:gd name="T3" fmla="*/ 2147483646 h 34"/>
              <a:gd name="T4" fmla="*/ 2147483646 w 25"/>
              <a:gd name="T5" fmla="*/ 2147483646 h 34"/>
              <a:gd name="T6" fmla="*/ 2147483646 w 25"/>
              <a:gd name="T7" fmla="*/ 2147483646 h 34"/>
              <a:gd name="T8" fmla="*/ 2147483646 w 25"/>
              <a:gd name="T9" fmla="*/ 0 h 34"/>
              <a:gd name="T10" fmla="*/ 2147483646 w 25"/>
              <a:gd name="T11" fmla="*/ 2147483646 h 34"/>
              <a:gd name="T12" fmla="*/ 2147483646 w 25"/>
              <a:gd name="T13" fmla="*/ 2147483646 h 34"/>
              <a:gd name="T14" fmla="*/ 0 w 25"/>
              <a:gd name="T15" fmla="*/ 2147483646 h 34"/>
              <a:gd name="T16" fmla="*/ 2147483646 w 25"/>
              <a:gd name="T17" fmla="*/ 2147483646 h 34"/>
              <a:gd name="T18" fmla="*/ 2147483646 w 25"/>
              <a:gd name="T19" fmla="*/ 2147483646 h 34"/>
              <a:gd name="T20" fmla="*/ 2147483646 w 25"/>
              <a:gd name="T21" fmla="*/ 2147483646 h 34"/>
              <a:gd name="T22" fmla="*/ 2147483646 w 25"/>
              <a:gd name="T23" fmla="*/ 2147483646 h 34"/>
              <a:gd name="T24" fmla="*/ 2147483646 w 25"/>
              <a:gd name="T25" fmla="*/ 2147483646 h 34"/>
              <a:gd name="T26" fmla="*/ 2147483646 w 25"/>
              <a:gd name="T27" fmla="*/ 2147483646 h 3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5"/>
              <a:gd name="T43" fmla="*/ 0 h 34"/>
              <a:gd name="T44" fmla="*/ 25 w 25"/>
              <a:gd name="T45" fmla="*/ 34 h 3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5" h="34">
                <a:moveTo>
                  <a:pt x="25" y="32"/>
                </a:moveTo>
                <a:cubicBezTo>
                  <a:pt x="25" y="30"/>
                  <a:pt x="25" y="29"/>
                  <a:pt x="25" y="27"/>
                </a:cubicBezTo>
                <a:cubicBezTo>
                  <a:pt x="25" y="23"/>
                  <a:pt x="24" y="23"/>
                  <a:pt x="22" y="18"/>
                </a:cubicBezTo>
                <a:cubicBezTo>
                  <a:pt x="21" y="15"/>
                  <a:pt x="23" y="12"/>
                  <a:pt x="21" y="8"/>
                </a:cubicBezTo>
                <a:cubicBezTo>
                  <a:pt x="20" y="5"/>
                  <a:pt x="16" y="3"/>
                  <a:pt x="13" y="0"/>
                </a:cubicBezTo>
                <a:cubicBezTo>
                  <a:pt x="9" y="4"/>
                  <a:pt x="5" y="8"/>
                  <a:pt x="2" y="13"/>
                </a:cubicBezTo>
                <a:cubicBezTo>
                  <a:pt x="1" y="16"/>
                  <a:pt x="1" y="19"/>
                  <a:pt x="1" y="22"/>
                </a:cubicBezTo>
                <a:cubicBezTo>
                  <a:pt x="2" y="25"/>
                  <a:pt x="1" y="25"/>
                  <a:pt x="0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7" y="28"/>
                  <a:pt x="11" y="26"/>
                  <a:pt x="16" y="27"/>
                </a:cubicBezTo>
                <a:cubicBezTo>
                  <a:pt x="20" y="28"/>
                  <a:pt x="20" y="30"/>
                  <a:pt x="23" y="33"/>
                </a:cubicBezTo>
                <a:cubicBezTo>
                  <a:pt x="23" y="33"/>
                  <a:pt x="23" y="33"/>
                  <a:pt x="24" y="33"/>
                </a:cubicBezTo>
                <a:cubicBezTo>
                  <a:pt x="25" y="34"/>
                  <a:pt x="25" y="34"/>
                  <a:pt x="25" y="34"/>
                </a:cubicBezTo>
                <a:lnTo>
                  <a:pt x="25" y="3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15" name="Freeform 550"/>
          <p:cNvSpPr>
            <a:spLocks/>
          </p:cNvSpPr>
          <p:nvPr userDrawn="1"/>
        </p:nvSpPr>
        <p:spPr bwMode="auto">
          <a:xfrm>
            <a:off x="5706745" y="3299403"/>
            <a:ext cx="72028" cy="90455"/>
          </a:xfrm>
          <a:custGeom>
            <a:avLst/>
            <a:gdLst>
              <a:gd name="T0" fmla="*/ 2147483646 w 77"/>
              <a:gd name="T1" fmla="*/ 2147483646 h 96"/>
              <a:gd name="T2" fmla="*/ 2147483646 w 77"/>
              <a:gd name="T3" fmla="*/ 2147483646 h 96"/>
              <a:gd name="T4" fmla="*/ 2147483646 w 77"/>
              <a:gd name="T5" fmla="*/ 2147483646 h 96"/>
              <a:gd name="T6" fmla="*/ 2147483646 w 77"/>
              <a:gd name="T7" fmla="*/ 2147483646 h 96"/>
              <a:gd name="T8" fmla="*/ 2147483646 w 77"/>
              <a:gd name="T9" fmla="*/ 2147483646 h 96"/>
              <a:gd name="T10" fmla="*/ 2147483646 w 77"/>
              <a:gd name="T11" fmla="*/ 2147483646 h 96"/>
              <a:gd name="T12" fmla="*/ 2147483646 w 77"/>
              <a:gd name="T13" fmla="*/ 2147483646 h 96"/>
              <a:gd name="T14" fmla="*/ 2147483646 w 77"/>
              <a:gd name="T15" fmla="*/ 2147483646 h 96"/>
              <a:gd name="T16" fmla="*/ 2147483646 w 77"/>
              <a:gd name="T17" fmla="*/ 2147483646 h 96"/>
              <a:gd name="T18" fmla="*/ 2147483646 w 77"/>
              <a:gd name="T19" fmla="*/ 2147483646 h 96"/>
              <a:gd name="T20" fmla="*/ 2147483646 w 77"/>
              <a:gd name="T21" fmla="*/ 2147483646 h 96"/>
              <a:gd name="T22" fmla="*/ 2147483646 w 77"/>
              <a:gd name="T23" fmla="*/ 2147483646 h 96"/>
              <a:gd name="T24" fmla="*/ 2147483646 w 77"/>
              <a:gd name="T25" fmla="*/ 2147483646 h 96"/>
              <a:gd name="T26" fmla="*/ 2147483646 w 77"/>
              <a:gd name="T27" fmla="*/ 2147483646 h 96"/>
              <a:gd name="T28" fmla="*/ 2147483646 w 77"/>
              <a:gd name="T29" fmla="*/ 2147483646 h 96"/>
              <a:gd name="T30" fmla="*/ 2147483646 w 77"/>
              <a:gd name="T31" fmla="*/ 2147483646 h 96"/>
              <a:gd name="T32" fmla="*/ 2147483646 w 77"/>
              <a:gd name="T33" fmla="*/ 2147483646 h 96"/>
              <a:gd name="T34" fmla="*/ 2147483646 w 77"/>
              <a:gd name="T35" fmla="*/ 2147483646 h 96"/>
              <a:gd name="T36" fmla="*/ 2147483646 w 77"/>
              <a:gd name="T37" fmla="*/ 2147483646 h 96"/>
              <a:gd name="T38" fmla="*/ 2147483646 w 77"/>
              <a:gd name="T39" fmla="*/ 2147483646 h 96"/>
              <a:gd name="T40" fmla="*/ 2147483646 w 77"/>
              <a:gd name="T41" fmla="*/ 2147483646 h 96"/>
              <a:gd name="T42" fmla="*/ 2147483646 w 77"/>
              <a:gd name="T43" fmla="*/ 2147483646 h 96"/>
              <a:gd name="T44" fmla="*/ 2147483646 w 77"/>
              <a:gd name="T45" fmla="*/ 2147483646 h 96"/>
              <a:gd name="T46" fmla="*/ 2147483646 w 77"/>
              <a:gd name="T47" fmla="*/ 2147483646 h 96"/>
              <a:gd name="T48" fmla="*/ 2147483646 w 77"/>
              <a:gd name="T49" fmla="*/ 2147483646 h 96"/>
              <a:gd name="T50" fmla="*/ 2147483646 w 77"/>
              <a:gd name="T51" fmla="*/ 2147483646 h 96"/>
              <a:gd name="T52" fmla="*/ 2147483646 w 77"/>
              <a:gd name="T53" fmla="*/ 2147483646 h 96"/>
              <a:gd name="T54" fmla="*/ 2147483646 w 77"/>
              <a:gd name="T55" fmla="*/ 2147483646 h 96"/>
              <a:gd name="T56" fmla="*/ 2147483646 w 77"/>
              <a:gd name="T57" fmla="*/ 2147483646 h 96"/>
              <a:gd name="T58" fmla="*/ 2147483646 w 77"/>
              <a:gd name="T59" fmla="*/ 2147483646 h 96"/>
              <a:gd name="T60" fmla="*/ 2147483646 w 77"/>
              <a:gd name="T61" fmla="*/ 2147483646 h 96"/>
              <a:gd name="T62" fmla="*/ 2147483646 w 77"/>
              <a:gd name="T63" fmla="*/ 2147483646 h 96"/>
              <a:gd name="T64" fmla="*/ 2147483646 w 77"/>
              <a:gd name="T65" fmla="*/ 2147483646 h 96"/>
              <a:gd name="T66" fmla="*/ 2147483646 w 77"/>
              <a:gd name="T67" fmla="*/ 2147483646 h 96"/>
              <a:gd name="T68" fmla="*/ 2147483646 w 77"/>
              <a:gd name="T69" fmla="*/ 2147483646 h 96"/>
              <a:gd name="T70" fmla="*/ 2147483646 w 77"/>
              <a:gd name="T71" fmla="*/ 2147483646 h 96"/>
              <a:gd name="T72" fmla="*/ 2147483646 w 77"/>
              <a:gd name="T73" fmla="*/ 2147483646 h 96"/>
              <a:gd name="T74" fmla="*/ 2147483646 w 77"/>
              <a:gd name="T75" fmla="*/ 2147483646 h 96"/>
              <a:gd name="T76" fmla="*/ 2147483646 w 77"/>
              <a:gd name="T77" fmla="*/ 2147483646 h 96"/>
              <a:gd name="T78" fmla="*/ 2147483646 w 77"/>
              <a:gd name="T79" fmla="*/ 2147483646 h 96"/>
              <a:gd name="T80" fmla="*/ 2147483646 w 77"/>
              <a:gd name="T81" fmla="*/ 2147483646 h 96"/>
              <a:gd name="T82" fmla="*/ 2147483646 w 77"/>
              <a:gd name="T83" fmla="*/ 2147483646 h 96"/>
              <a:gd name="T84" fmla="*/ 2147483646 w 77"/>
              <a:gd name="T85" fmla="*/ 2147483646 h 96"/>
              <a:gd name="T86" fmla="*/ 2147483646 w 77"/>
              <a:gd name="T87" fmla="*/ 2147483646 h 96"/>
              <a:gd name="T88" fmla="*/ 2147483646 w 77"/>
              <a:gd name="T89" fmla="*/ 2147483646 h 96"/>
              <a:gd name="T90" fmla="*/ 2147483646 w 77"/>
              <a:gd name="T91" fmla="*/ 2147483646 h 96"/>
              <a:gd name="T92" fmla="*/ 2147483646 w 77"/>
              <a:gd name="T93" fmla="*/ 2147483646 h 96"/>
              <a:gd name="T94" fmla="*/ 2147483646 w 77"/>
              <a:gd name="T95" fmla="*/ 2147483646 h 96"/>
              <a:gd name="T96" fmla="*/ 2147483646 w 77"/>
              <a:gd name="T97" fmla="*/ 2147483646 h 96"/>
              <a:gd name="T98" fmla="*/ 2147483646 w 77"/>
              <a:gd name="T99" fmla="*/ 2147483646 h 96"/>
              <a:gd name="T100" fmla="*/ 2147483646 w 77"/>
              <a:gd name="T101" fmla="*/ 2147483646 h 96"/>
              <a:gd name="T102" fmla="*/ 2147483646 w 77"/>
              <a:gd name="T103" fmla="*/ 2147483646 h 9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77"/>
              <a:gd name="T157" fmla="*/ 0 h 96"/>
              <a:gd name="T158" fmla="*/ 77 w 77"/>
              <a:gd name="T159" fmla="*/ 96 h 9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77" h="96">
                <a:moveTo>
                  <a:pt x="34" y="94"/>
                </a:moveTo>
                <a:cubicBezTo>
                  <a:pt x="33" y="94"/>
                  <a:pt x="30" y="95"/>
                  <a:pt x="29" y="96"/>
                </a:cubicBezTo>
                <a:cubicBezTo>
                  <a:pt x="27" y="96"/>
                  <a:pt x="25" y="96"/>
                  <a:pt x="23" y="96"/>
                </a:cubicBezTo>
                <a:cubicBezTo>
                  <a:pt x="22" y="96"/>
                  <a:pt x="20" y="96"/>
                  <a:pt x="19" y="96"/>
                </a:cubicBezTo>
                <a:cubicBezTo>
                  <a:pt x="18" y="95"/>
                  <a:pt x="18" y="95"/>
                  <a:pt x="18" y="95"/>
                </a:cubicBezTo>
                <a:cubicBezTo>
                  <a:pt x="19" y="95"/>
                  <a:pt x="19" y="95"/>
                  <a:pt x="19" y="95"/>
                </a:cubicBezTo>
                <a:cubicBezTo>
                  <a:pt x="20" y="92"/>
                  <a:pt x="21" y="90"/>
                  <a:pt x="20" y="88"/>
                </a:cubicBezTo>
                <a:cubicBezTo>
                  <a:pt x="18" y="86"/>
                  <a:pt x="14" y="87"/>
                  <a:pt x="15" y="83"/>
                </a:cubicBezTo>
                <a:cubicBezTo>
                  <a:pt x="15" y="78"/>
                  <a:pt x="18" y="73"/>
                  <a:pt x="15" y="75"/>
                </a:cubicBezTo>
                <a:cubicBezTo>
                  <a:pt x="12" y="76"/>
                  <a:pt x="9" y="79"/>
                  <a:pt x="9" y="78"/>
                </a:cubicBezTo>
                <a:cubicBezTo>
                  <a:pt x="8" y="77"/>
                  <a:pt x="8" y="68"/>
                  <a:pt x="7" y="71"/>
                </a:cubicBezTo>
                <a:cubicBezTo>
                  <a:pt x="5" y="74"/>
                  <a:pt x="2" y="76"/>
                  <a:pt x="2" y="72"/>
                </a:cubicBezTo>
                <a:cubicBezTo>
                  <a:pt x="3" y="69"/>
                  <a:pt x="5" y="68"/>
                  <a:pt x="4" y="66"/>
                </a:cubicBezTo>
                <a:cubicBezTo>
                  <a:pt x="3" y="63"/>
                  <a:pt x="2" y="61"/>
                  <a:pt x="3" y="59"/>
                </a:cubicBezTo>
                <a:cubicBezTo>
                  <a:pt x="4" y="58"/>
                  <a:pt x="2" y="54"/>
                  <a:pt x="3" y="53"/>
                </a:cubicBezTo>
                <a:cubicBezTo>
                  <a:pt x="5" y="52"/>
                  <a:pt x="8" y="50"/>
                  <a:pt x="7" y="48"/>
                </a:cubicBezTo>
                <a:cubicBezTo>
                  <a:pt x="7" y="45"/>
                  <a:pt x="8" y="44"/>
                  <a:pt x="5" y="43"/>
                </a:cubicBezTo>
                <a:cubicBezTo>
                  <a:pt x="3" y="41"/>
                  <a:pt x="2" y="38"/>
                  <a:pt x="2" y="38"/>
                </a:cubicBezTo>
                <a:cubicBezTo>
                  <a:pt x="2" y="38"/>
                  <a:pt x="3" y="34"/>
                  <a:pt x="2" y="29"/>
                </a:cubicBezTo>
                <a:cubicBezTo>
                  <a:pt x="0" y="24"/>
                  <a:pt x="0" y="15"/>
                  <a:pt x="3" y="17"/>
                </a:cubicBezTo>
                <a:cubicBezTo>
                  <a:pt x="6" y="18"/>
                  <a:pt x="5" y="17"/>
                  <a:pt x="9" y="21"/>
                </a:cubicBezTo>
                <a:cubicBezTo>
                  <a:pt x="12" y="24"/>
                  <a:pt x="7" y="31"/>
                  <a:pt x="16" y="26"/>
                </a:cubicBezTo>
                <a:cubicBezTo>
                  <a:pt x="25" y="21"/>
                  <a:pt x="26" y="12"/>
                  <a:pt x="27" y="19"/>
                </a:cubicBezTo>
                <a:cubicBezTo>
                  <a:pt x="28" y="26"/>
                  <a:pt x="31" y="28"/>
                  <a:pt x="32" y="26"/>
                </a:cubicBezTo>
                <a:cubicBezTo>
                  <a:pt x="34" y="24"/>
                  <a:pt x="38" y="20"/>
                  <a:pt x="35" y="18"/>
                </a:cubicBezTo>
                <a:cubicBezTo>
                  <a:pt x="32" y="16"/>
                  <a:pt x="31" y="12"/>
                  <a:pt x="31" y="12"/>
                </a:cubicBezTo>
                <a:cubicBezTo>
                  <a:pt x="31" y="12"/>
                  <a:pt x="31" y="6"/>
                  <a:pt x="34" y="6"/>
                </a:cubicBezTo>
                <a:cubicBezTo>
                  <a:pt x="36" y="6"/>
                  <a:pt x="35" y="5"/>
                  <a:pt x="38" y="6"/>
                </a:cubicBezTo>
                <a:cubicBezTo>
                  <a:pt x="40" y="8"/>
                  <a:pt x="41" y="6"/>
                  <a:pt x="43" y="5"/>
                </a:cubicBezTo>
                <a:cubicBezTo>
                  <a:pt x="45" y="5"/>
                  <a:pt x="44" y="0"/>
                  <a:pt x="47" y="3"/>
                </a:cubicBezTo>
                <a:cubicBezTo>
                  <a:pt x="50" y="5"/>
                  <a:pt x="51" y="5"/>
                  <a:pt x="51" y="5"/>
                </a:cubicBezTo>
                <a:cubicBezTo>
                  <a:pt x="54" y="4"/>
                  <a:pt x="54" y="4"/>
                  <a:pt x="54" y="4"/>
                </a:cubicBezTo>
                <a:cubicBezTo>
                  <a:pt x="54" y="4"/>
                  <a:pt x="54" y="8"/>
                  <a:pt x="57" y="11"/>
                </a:cubicBezTo>
                <a:cubicBezTo>
                  <a:pt x="60" y="14"/>
                  <a:pt x="55" y="22"/>
                  <a:pt x="55" y="24"/>
                </a:cubicBezTo>
                <a:cubicBezTo>
                  <a:pt x="54" y="25"/>
                  <a:pt x="49" y="27"/>
                  <a:pt x="54" y="27"/>
                </a:cubicBezTo>
                <a:cubicBezTo>
                  <a:pt x="60" y="26"/>
                  <a:pt x="56" y="21"/>
                  <a:pt x="63" y="25"/>
                </a:cubicBezTo>
                <a:cubicBezTo>
                  <a:pt x="70" y="28"/>
                  <a:pt x="66" y="29"/>
                  <a:pt x="70" y="29"/>
                </a:cubicBezTo>
                <a:cubicBezTo>
                  <a:pt x="75" y="29"/>
                  <a:pt x="74" y="25"/>
                  <a:pt x="75" y="29"/>
                </a:cubicBezTo>
                <a:cubicBezTo>
                  <a:pt x="76" y="33"/>
                  <a:pt x="77" y="36"/>
                  <a:pt x="74" y="38"/>
                </a:cubicBezTo>
                <a:cubicBezTo>
                  <a:pt x="71" y="40"/>
                  <a:pt x="67" y="42"/>
                  <a:pt x="67" y="42"/>
                </a:cubicBezTo>
                <a:cubicBezTo>
                  <a:pt x="60" y="44"/>
                  <a:pt x="60" y="44"/>
                  <a:pt x="60" y="44"/>
                </a:cubicBezTo>
                <a:cubicBezTo>
                  <a:pt x="60" y="44"/>
                  <a:pt x="54" y="41"/>
                  <a:pt x="57" y="46"/>
                </a:cubicBezTo>
                <a:cubicBezTo>
                  <a:pt x="60" y="50"/>
                  <a:pt x="66" y="50"/>
                  <a:pt x="58" y="54"/>
                </a:cubicBezTo>
                <a:cubicBezTo>
                  <a:pt x="51" y="58"/>
                  <a:pt x="48" y="52"/>
                  <a:pt x="48" y="56"/>
                </a:cubicBezTo>
                <a:cubicBezTo>
                  <a:pt x="49" y="60"/>
                  <a:pt x="47" y="60"/>
                  <a:pt x="45" y="62"/>
                </a:cubicBezTo>
                <a:cubicBezTo>
                  <a:pt x="43" y="64"/>
                  <a:pt x="42" y="58"/>
                  <a:pt x="44" y="63"/>
                </a:cubicBezTo>
                <a:cubicBezTo>
                  <a:pt x="46" y="68"/>
                  <a:pt x="49" y="68"/>
                  <a:pt x="46" y="72"/>
                </a:cubicBezTo>
                <a:cubicBezTo>
                  <a:pt x="42" y="76"/>
                  <a:pt x="36" y="75"/>
                  <a:pt x="37" y="79"/>
                </a:cubicBezTo>
                <a:cubicBezTo>
                  <a:pt x="39" y="82"/>
                  <a:pt x="45" y="77"/>
                  <a:pt x="40" y="84"/>
                </a:cubicBezTo>
                <a:cubicBezTo>
                  <a:pt x="38" y="89"/>
                  <a:pt x="36" y="90"/>
                  <a:pt x="36" y="92"/>
                </a:cubicBezTo>
                <a:cubicBezTo>
                  <a:pt x="36" y="92"/>
                  <a:pt x="36" y="92"/>
                  <a:pt x="36" y="93"/>
                </a:cubicBezTo>
                <a:lnTo>
                  <a:pt x="34" y="9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16" name="Freeform 551"/>
          <p:cNvSpPr>
            <a:spLocks/>
          </p:cNvSpPr>
          <p:nvPr userDrawn="1"/>
        </p:nvSpPr>
        <p:spPr bwMode="auto">
          <a:xfrm>
            <a:off x="5659842" y="3384832"/>
            <a:ext cx="216087" cy="306543"/>
          </a:xfrm>
          <a:custGeom>
            <a:avLst/>
            <a:gdLst>
              <a:gd name="T0" fmla="*/ 2147483646 w 232"/>
              <a:gd name="T1" fmla="*/ 2147483646 h 327"/>
              <a:gd name="T2" fmla="*/ 2147483646 w 232"/>
              <a:gd name="T3" fmla="*/ 2147483646 h 327"/>
              <a:gd name="T4" fmla="*/ 2147483646 w 232"/>
              <a:gd name="T5" fmla="*/ 2147483646 h 327"/>
              <a:gd name="T6" fmla="*/ 0 w 232"/>
              <a:gd name="T7" fmla="*/ 2147483646 h 327"/>
              <a:gd name="T8" fmla="*/ 2147483646 w 232"/>
              <a:gd name="T9" fmla="*/ 2147483646 h 327"/>
              <a:gd name="T10" fmla="*/ 2147483646 w 232"/>
              <a:gd name="T11" fmla="*/ 2147483646 h 327"/>
              <a:gd name="T12" fmla="*/ 2147483646 w 232"/>
              <a:gd name="T13" fmla="*/ 2147483646 h 327"/>
              <a:gd name="T14" fmla="*/ 2147483646 w 232"/>
              <a:gd name="T15" fmla="*/ 2147483646 h 327"/>
              <a:gd name="T16" fmla="*/ 2147483646 w 232"/>
              <a:gd name="T17" fmla="*/ 2147483646 h 327"/>
              <a:gd name="T18" fmla="*/ 2147483646 w 232"/>
              <a:gd name="T19" fmla="*/ 2147483646 h 327"/>
              <a:gd name="T20" fmla="*/ 2147483646 w 232"/>
              <a:gd name="T21" fmla="*/ 2147483646 h 327"/>
              <a:gd name="T22" fmla="*/ 2147483646 w 232"/>
              <a:gd name="T23" fmla="*/ 2147483646 h 327"/>
              <a:gd name="T24" fmla="*/ 2147483646 w 232"/>
              <a:gd name="T25" fmla="*/ 2147483646 h 327"/>
              <a:gd name="T26" fmla="*/ 2147483646 w 232"/>
              <a:gd name="T27" fmla="*/ 2147483646 h 327"/>
              <a:gd name="T28" fmla="*/ 2147483646 w 232"/>
              <a:gd name="T29" fmla="*/ 2147483646 h 327"/>
              <a:gd name="T30" fmla="*/ 2147483646 w 232"/>
              <a:gd name="T31" fmla="*/ 2147483646 h 327"/>
              <a:gd name="T32" fmla="*/ 2147483646 w 232"/>
              <a:gd name="T33" fmla="*/ 2147483646 h 327"/>
              <a:gd name="T34" fmla="*/ 2147483646 w 232"/>
              <a:gd name="T35" fmla="*/ 2147483646 h 327"/>
              <a:gd name="T36" fmla="*/ 2147483646 w 232"/>
              <a:gd name="T37" fmla="*/ 2147483646 h 327"/>
              <a:gd name="T38" fmla="*/ 2147483646 w 232"/>
              <a:gd name="T39" fmla="*/ 2147483646 h 327"/>
              <a:gd name="T40" fmla="*/ 2147483646 w 232"/>
              <a:gd name="T41" fmla="*/ 2147483646 h 327"/>
              <a:gd name="T42" fmla="*/ 2147483646 w 232"/>
              <a:gd name="T43" fmla="*/ 2147483646 h 327"/>
              <a:gd name="T44" fmla="*/ 2147483646 w 232"/>
              <a:gd name="T45" fmla="*/ 2147483646 h 327"/>
              <a:gd name="T46" fmla="*/ 2147483646 w 232"/>
              <a:gd name="T47" fmla="*/ 2147483646 h 327"/>
              <a:gd name="T48" fmla="*/ 2147483646 w 232"/>
              <a:gd name="T49" fmla="*/ 2147483646 h 327"/>
              <a:gd name="T50" fmla="*/ 2147483646 w 232"/>
              <a:gd name="T51" fmla="*/ 2147483646 h 327"/>
              <a:gd name="T52" fmla="*/ 2147483646 w 232"/>
              <a:gd name="T53" fmla="*/ 2147483646 h 327"/>
              <a:gd name="T54" fmla="*/ 2147483646 w 232"/>
              <a:gd name="T55" fmla="*/ 2147483646 h 327"/>
              <a:gd name="T56" fmla="*/ 2147483646 w 232"/>
              <a:gd name="T57" fmla="*/ 2147483646 h 327"/>
              <a:gd name="T58" fmla="*/ 2147483646 w 232"/>
              <a:gd name="T59" fmla="*/ 2147483646 h 327"/>
              <a:gd name="T60" fmla="*/ 2147483646 w 232"/>
              <a:gd name="T61" fmla="*/ 2147483646 h 327"/>
              <a:gd name="T62" fmla="*/ 2147483646 w 232"/>
              <a:gd name="T63" fmla="*/ 2147483646 h 327"/>
              <a:gd name="T64" fmla="*/ 2147483646 w 232"/>
              <a:gd name="T65" fmla="*/ 2147483646 h 327"/>
              <a:gd name="T66" fmla="*/ 2147483646 w 232"/>
              <a:gd name="T67" fmla="*/ 2147483646 h 327"/>
              <a:gd name="T68" fmla="*/ 2147483646 w 232"/>
              <a:gd name="T69" fmla="*/ 2147483646 h 327"/>
              <a:gd name="T70" fmla="*/ 2147483646 w 232"/>
              <a:gd name="T71" fmla="*/ 2147483646 h 327"/>
              <a:gd name="T72" fmla="*/ 2147483646 w 232"/>
              <a:gd name="T73" fmla="*/ 2147483646 h 327"/>
              <a:gd name="T74" fmla="*/ 2147483646 w 232"/>
              <a:gd name="T75" fmla="*/ 2147483646 h 327"/>
              <a:gd name="T76" fmla="*/ 2147483646 w 232"/>
              <a:gd name="T77" fmla="*/ 2147483646 h 327"/>
              <a:gd name="T78" fmla="*/ 2147483646 w 232"/>
              <a:gd name="T79" fmla="*/ 2147483646 h 327"/>
              <a:gd name="T80" fmla="*/ 2147483646 w 232"/>
              <a:gd name="T81" fmla="*/ 2147483646 h 327"/>
              <a:gd name="T82" fmla="*/ 2147483646 w 232"/>
              <a:gd name="T83" fmla="*/ 2147483646 h 327"/>
              <a:gd name="T84" fmla="*/ 2147483646 w 232"/>
              <a:gd name="T85" fmla="*/ 2147483646 h 327"/>
              <a:gd name="T86" fmla="*/ 2147483646 w 232"/>
              <a:gd name="T87" fmla="*/ 2147483646 h 327"/>
              <a:gd name="T88" fmla="*/ 2147483646 w 232"/>
              <a:gd name="T89" fmla="*/ 2147483646 h 327"/>
              <a:gd name="T90" fmla="*/ 2147483646 w 232"/>
              <a:gd name="T91" fmla="*/ 2147483646 h 327"/>
              <a:gd name="T92" fmla="*/ 2147483646 w 232"/>
              <a:gd name="T93" fmla="*/ 2147483646 h 327"/>
              <a:gd name="T94" fmla="*/ 2147483646 w 232"/>
              <a:gd name="T95" fmla="*/ 2147483646 h 327"/>
              <a:gd name="T96" fmla="*/ 2147483646 w 232"/>
              <a:gd name="T97" fmla="*/ 2147483646 h 327"/>
              <a:gd name="T98" fmla="*/ 2147483646 w 232"/>
              <a:gd name="T99" fmla="*/ 2147483646 h 327"/>
              <a:gd name="T100" fmla="*/ 2147483646 w 232"/>
              <a:gd name="T101" fmla="*/ 2147483646 h 327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32"/>
              <a:gd name="T154" fmla="*/ 0 h 327"/>
              <a:gd name="T155" fmla="*/ 232 w 232"/>
              <a:gd name="T156" fmla="*/ 327 h 327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32" h="327">
                <a:moveTo>
                  <a:pt x="18" y="248"/>
                </a:moveTo>
                <a:cubicBezTo>
                  <a:pt x="18" y="248"/>
                  <a:pt x="18" y="245"/>
                  <a:pt x="18" y="243"/>
                </a:cubicBezTo>
                <a:cubicBezTo>
                  <a:pt x="18" y="239"/>
                  <a:pt x="17" y="239"/>
                  <a:pt x="15" y="234"/>
                </a:cubicBezTo>
                <a:cubicBezTo>
                  <a:pt x="14" y="231"/>
                  <a:pt x="16" y="228"/>
                  <a:pt x="14" y="224"/>
                </a:cubicBezTo>
                <a:cubicBezTo>
                  <a:pt x="13" y="221"/>
                  <a:pt x="9" y="219"/>
                  <a:pt x="6" y="216"/>
                </a:cubicBezTo>
                <a:cubicBezTo>
                  <a:pt x="6" y="216"/>
                  <a:pt x="6" y="216"/>
                  <a:pt x="6" y="216"/>
                </a:cubicBezTo>
                <a:cubicBezTo>
                  <a:pt x="5" y="210"/>
                  <a:pt x="6" y="209"/>
                  <a:pt x="9" y="204"/>
                </a:cubicBezTo>
                <a:cubicBezTo>
                  <a:pt x="12" y="200"/>
                  <a:pt x="6" y="193"/>
                  <a:pt x="6" y="193"/>
                </a:cubicBezTo>
                <a:cubicBezTo>
                  <a:pt x="6" y="193"/>
                  <a:pt x="6" y="193"/>
                  <a:pt x="6" y="193"/>
                </a:cubicBezTo>
                <a:cubicBezTo>
                  <a:pt x="6" y="193"/>
                  <a:pt x="6" y="193"/>
                  <a:pt x="6" y="193"/>
                </a:cubicBezTo>
                <a:cubicBezTo>
                  <a:pt x="6" y="189"/>
                  <a:pt x="4" y="186"/>
                  <a:pt x="3" y="183"/>
                </a:cubicBezTo>
                <a:cubicBezTo>
                  <a:pt x="2" y="181"/>
                  <a:pt x="0" y="179"/>
                  <a:pt x="0" y="177"/>
                </a:cubicBezTo>
                <a:cubicBezTo>
                  <a:pt x="3" y="175"/>
                  <a:pt x="5" y="173"/>
                  <a:pt x="6" y="171"/>
                </a:cubicBezTo>
                <a:cubicBezTo>
                  <a:pt x="4" y="168"/>
                  <a:pt x="2" y="160"/>
                  <a:pt x="1" y="156"/>
                </a:cubicBezTo>
                <a:cubicBezTo>
                  <a:pt x="0" y="153"/>
                  <a:pt x="3" y="148"/>
                  <a:pt x="7" y="150"/>
                </a:cubicBezTo>
                <a:cubicBezTo>
                  <a:pt x="7" y="148"/>
                  <a:pt x="6" y="145"/>
                  <a:pt x="7" y="145"/>
                </a:cubicBezTo>
                <a:cubicBezTo>
                  <a:pt x="9" y="144"/>
                  <a:pt x="9" y="146"/>
                  <a:pt x="11" y="146"/>
                </a:cubicBezTo>
                <a:cubicBezTo>
                  <a:pt x="12" y="146"/>
                  <a:pt x="13" y="143"/>
                  <a:pt x="15" y="143"/>
                </a:cubicBezTo>
                <a:cubicBezTo>
                  <a:pt x="17" y="142"/>
                  <a:pt x="18" y="144"/>
                  <a:pt x="19" y="145"/>
                </a:cubicBezTo>
                <a:cubicBezTo>
                  <a:pt x="22" y="138"/>
                  <a:pt x="26" y="130"/>
                  <a:pt x="31" y="125"/>
                </a:cubicBezTo>
                <a:cubicBezTo>
                  <a:pt x="28" y="122"/>
                  <a:pt x="24" y="118"/>
                  <a:pt x="25" y="114"/>
                </a:cubicBezTo>
                <a:cubicBezTo>
                  <a:pt x="25" y="110"/>
                  <a:pt x="29" y="107"/>
                  <a:pt x="30" y="103"/>
                </a:cubicBezTo>
                <a:cubicBezTo>
                  <a:pt x="32" y="100"/>
                  <a:pt x="31" y="101"/>
                  <a:pt x="30" y="98"/>
                </a:cubicBezTo>
                <a:cubicBezTo>
                  <a:pt x="28" y="92"/>
                  <a:pt x="31" y="91"/>
                  <a:pt x="34" y="86"/>
                </a:cubicBezTo>
                <a:cubicBezTo>
                  <a:pt x="34" y="86"/>
                  <a:pt x="34" y="84"/>
                  <a:pt x="35" y="83"/>
                </a:cubicBezTo>
                <a:cubicBezTo>
                  <a:pt x="35" y="80"/>
                  <a:pt x="35" y="80"/>
                  <a:pt x="35" y="80"/>
                </a:cubicBezTo>
                <a:cubicBezTo>
                  <a:pt x="36" y="80"/>
                  <a:pt x="36" y="80"/>
                  <a:pt x="36" y="80"/>
                </a:cubicBezTo>
                <a:cubicBezTo>
                  <a:pt x="34" y="79"/>
                  <a:pt x="34" y="79"/>
                  <a:pt x="34" y="79"/>
                </a:cubicBezTo>
                <a:cubicBezTo>
                  <a:pt x="32" y="77"/>
                  <a:pt x="30" y="78"/>
                  <a:pt x="30" y="75"/>
                </a:cubicBezTo>
                <a:cubicBezTo>
                  <a:pt x="30" y="72"/>
                  <a:pt x="29" y="69"/>
                  <a:pt x="33" y="67"/>
                </a:cubicBezTo>
                <a:cubicBezTo>
                  <a:pt x="37" y="65"/>
                  <a:pt x="36" y="65"/>
                  <a:pt x="40" y="64"/>
                </a:cubicBezTo>
                <a:cubicBezTo>
                  <a:pt x="44" y="63"/>
                  <a:pt x="46" y="63"/>
                  <a:pt x="49" y="64"/>
                </a:cubicBezTo>
                <a:cubicBezTo>
                  <a:pt x="52" y="64"/>
                  <a:pt x="55" y="61"/>
                  <a:pt x="55" y="65"/>
                </a:cubicBezTo>
                <a:cubicBezTo>
                  <a:pt x="55" y="69"/>
                  <a:pt x="50" y="74"/>
                  <a:pt x="54" y="76"/>
                </a:cubicBezTo>
                <a:cubicBezTo>
                  <a:pt x="58" y="78"/>
                  <a:pt x="61" y="75"/>
                  <a:pt x="62" y="74"/>
                </a:cubicBezTo>
                <a:cubicBezTo>
                  <a:pt x="64" y="72"/>
                  <a:pt x="62" y="65"/>
                  <a:pt x="62" y="65"/>
                </a:cubicBezTo>
                <a:cubicBezTo>
                  <a:pt x="70" y="59"/>
                  <a:pt x="70" y="59"/>
                  <a:pt x="70" y="59"/>
                </a:cubicBezTo>
                <a:cubicBezTo>
                  <a:pt x="70" y="59"/>
                  <a:pt x="66" y="53"/>
                  <a:pt x="74" y="54"/>
                </a:cubicBezTo>
                <a:cubicBezTo>
                  <a:pt x="82" y="55"/>
                  <a:pt x="81" y="48"/>
                  <a:pt x="79" y="46"/>
                </a:cubicBezTo>
                <a:cubicBezTo>
                  <a:pt x="78" y="45"/>
                  <a:pt x="72" y="43"/>
                  <a:pt x="71" y="40"/>
                </a:cubicBezTo>
                <a:cubicBezTo>
                  <a:pt x="70" y="37"/>
                  <a:pt x="72" y="28"/>
                  <a:pt x="75" y="29"/>
                </a:cubicBezTo>
                <a:cubicBezTo>
                  <a:pt x="79" y="30"/>
                  <a:pt x="81" y="27"/>
                  <a:pt x="79" y="26"/>
                </a:cubicBezTo>
                <a:cubicBezTo>
                  <a:pt x="78" y="24"/>
                  <a:pt x="75" y="17"/>
                  <a:pt x="72" y="15"/>
                </a:cubicBezTo>
                <a:cubicBezTo>
                  <a:pt x="69" y="12"/>
                  <a:pt x="65" y="8"/>
                  <a:pt x="67" y="6"/>
                </a:cubicBezTo>
                <a:cubicBezTo>
                  <a:pt x="67" y="5"/>
                  <a:pt x="68" y="5"/>
                  <a:pt x="68" y="4"/>
                </a:cubicBezTo>
                <a:cubicBezTo>
                  <a:pt x="69" y="3"/>
                  <a:pt x="69" y="3"/>
                  <a:pt x="69" y="3"/>
                </a:cubicBezTo>
                <a:cubicBezTo>
                  <a:pt x="69" y="3"/>
                  <a:pt x="78" y="6"/>
                  <a:pt x="87" y="1"/>
                </a:cubicBezTo>
                <a:cubicBezTo>
                  <a:pt x="87" y="1"/>
                  <a:pt x="87" y="1"/>
                  <a:pt x="88" y="2"/>
                </a:cubicBezTo>
                <a:cubicBezTo>
                  <a:pt x="89" y="2"/>
                  <a:pt x="88" y="1"/>
                  <a:pt x="90" y="2"/>
                </a:cubicBezTo>
                <a:cubicBezTo>
                  <a:pt x="92" y="3"/>
                  <a:pt x="94" y="0"/>
                  <a:pt x="94" y="0"/>
                </a:cubicBezTo>
                <a:cubicBezTo>
                  <a:pt x="94" y="0"/>
                  <a:pt x="94" y="0"/>
                  <a:pt x="97" y="1"/>
                </a:cubicBezTo>
                <a:cubicBezTo>
                  <a:pt x="100" y="3"/>
                  <a:pt x="99" y="8"/>
                  <a:pt x="99" y="8"/>
                </a:cubicBezTo>
                <a:cubicBezTo>
                  <a:pt x="94" y="9"/>
                  <a:pt x="94" y="9"/>
                  <a:pt x="94" y="9"/>
                </a:cubicBezTo>
                <a:cubicBezTo>
                  <a:pt x="91" y="11"/>
                  <a:pt x="91" y="11"/>
                  <a:pt x="91" y="11"/>
                </a:cubicBezTo>
                <a:cubicBezTo>
                  <a:pt x="91" y="11"/>
                  <a:pt x="95" y="10"/>
                  <a:pt x="98" y="12"/>
                </a:cubicBezTo>
                <a:cubicBezTo>
                  <a:pt x="101" y="14"/>
                  <a:pt x="100" y="17"/>
                  <a:pt x="100" y="17"/>
                </a:cubicBezTo>
                <a:cubicBezTo>
                  <a:pt x="101" y="23"/>
                  <a:pt x="101" y="23"/>
                  <a:pt x="101" y="23"/>
                </a:cubicBezTo>
                <a:cubicBezTo>
                  <a:pt x="101" y="23"/>
                  <a:pt x="97" y="29"/>
                  <a:pt x="100" y="28"/>
                </a:cubicBezTo>
                <a:cubicBezTo>
                  <a:pt x="103" y="27"/>
                  <a:pt x="104" y="26"/>
                  <a:pt x="106" y="30"/>
                </a:cubicBezTo>
                <a:cubicBezTo>
                  <a:pt x="107" y="33"/>
                  <a:pt x="110" y="36"/>
                  <a:pt x="111" y="34"/>
                </a:cubicBezTo>
                <a:cubicBezTo>
                  <a:pt x="113" y="32"/>
                  <a:pt x="115" y="31"/>
                  <a:pt x="117" y="33"/>
                </a:cubicBezTo>
                <a:cubicBezTo>
                  <a:pt x="119" y="36"/>
                  <a:pt x="118" y="40"/>
                  <a:pt x="121" y="37"/>
                </a:cubicBezTo>
                <a:cubicBezTo>
                  <a:pt x="123" y="35"/>
                  <a:pt x="123" y="33"/>
                  <a:pt x="126" y="33"/>
                </a:cubicBezTo>
                <a:cubicBezTo>
                  <a:pt x="128" y="33"/>
                  <a:pt x="129" y="32"/>
                  <a:pt x="130" y="34"/>
                </a:cubicBezTo>
                <a:cubicBezTo>
                  <a:pt x="131" y="36"/>
                  <a:pt x="131" y="39"/>
                  <a:pt x="127" y="42"/>
                </a:cubicBezTo>
                <a:cubicBezTo>
                  <a:pt x="123" y="45"/>
                  <a:pt x="121" y="44"/>
                  <a:pt x="122" y="49"/>
                </a:cubicBezTo>
                <a:cubicBezTo>
                  <a:pt x="123" y="54"/>
                  <a:pt x="119" y="59"/>
                  <a:pt x="124" y="55"/>
                </a:cubicBezTo>
                <a:cubicBezTo>
                  <a:pt x="128" y="52"/>
                  <a:pt x="130" y="50"/>
                  <a:pt x="130" y="50"/>
                </a:cubicBezTo>
                <a:cubicBezTo>
                  <a:pt x="130" y="50"/>
                  <a:pt x="132" y="49"/>
                  <a:pt x="135" y="51"/>
                </a:cubicBezTo>
                <a:cubicBezTo>
                  <a:pt x="138" y="52"/>
                  <a:pt x="140" y="58"/>
                  <a:pt x="142" y="52"/>
                </a:cubicBezTo>
                <a:cubicBezTo>
                  <a:pt x="144" y="47"/>
                  <a:pt x="145" y="44"/>
                  <a:pt x="147" y="42"/>
                </a:cubicBezTo>
                <a:cubicBezTo>
                  <a:pt x="149" y="41"/>
                  <a:pt x="152" y="40"/>
                  <a:pt x="154" y="39"/>
                </a:cubicBezTo>
                <a:cubicBezTo>
                  <a:pt x="156" y="38"/>
                  <a:pt x="161" y="40"/>
                  <a:pt x="162" y="35"/>
                </a:cubicBezTo>
                <a:cubicBezTo>
                  <a:pt x="164" y="31"/>
                  <a:pt x="166" y="29"/>
                  <a:pt x="169" y="31"/>
                </a:cubicBezTo>
                <a:cubicBezTo>
                  <a:pt x="172" y="32"/>
                  <a:pt x="167" y="34"/>
                  <a:pt x="167" y="35"/>
                </a:cubicBezTo>
                <a:cubicBezTo>
                  <a:pt x="168" y="37"/>
                  <a:pt x="171" y="38"/>
                  <a:pt x="173" y="36"/>
                </a:cubicBezTo>
                <a:cubicBezTo>
                  <a:pt x="175" y="35"/>
                  <a:pt x="179" y="33"/>
                  <a:pt x="180" y="32"/>
                </a:cubicBezTo>
                <a:cubicBezTo>
                  <a:pt x="181" y="32"/>
                  <a:pt x="181" y="34"/>
                  <a:pt x="184" y="37"/>
                </a:cubicBezTo>
                <a:cubicBezTo>
                  <a:pt x="187" y="39"/>
                  <a:pt x="190" y="40"/>
                  <a:pt x="191" y="40"/>
                </a:cubicBezTo>
                <a:cubicBezTo>
                  <a:pt x="192" y="40"/>
                  <a:pt x="189" y="42"/>
                  <a:pt x="193" y="43"/>
                </a:cubicBezTo>
                <a:cubicBezTo>
                  <a:pt x="197" y="44"/>
                  <a:pt x="200" y="49"/>
                  <a:pt x="200" y="51"/>
                </a:cubicBezTo>
                <a:cubicBezTo>
                  <a:pt x="199" y="54"/>
                  <a:pt x="196" y="54"/>
                  <a:pt x="197" y="56"/>
                </a:cubicBezTo>
                <a:cubicBezTo>
                  <a:pt x="198" y="58"/>
                  <a:pt x="201" y="60"/>
                  <a:pt x="204" y="59"/>
                </a:cubicBezTo>
                <a:cubicBezTo>
                  <a:pt x="207" y="58"/>
                  <a:pt x="210" y="57"/>
                  <a:pt x="211" y="59"/>
                </a:cubicBezTo>
                <a:cubicBezTo>
                  <a:pt x="212" y="60"/>
                  <a:pt x="213" y="62"/>
                  <a:pt x="214" y="62"/>
                </a:cubicBezTo>
                <a:cubicBezTo>
                  <a:pt x="215" y="62"/>
                  <a:pt x="215" y="62"/>
                  <a:pt x="215" y="62"/>
                </a:cubicBezTo>
                <a:cubicBezTo>
                  <a:pt x="216" y="63"/>
                  <a:pt x="216" y="63"/>
                  <a:pt x="216" y="63"/>
                </a:cubicBezTo>
                <a:cubicBezTo>
                  <a:pt x="217" y="65"/>
                  <a:pt x="220" y="69"/>
                  <a:pt x="220" y="71"/>
                </a:cubicBezTo>
                <a:cubicBezTo>
                  <a:pt x="220" y="73"/>
                  <a:pt x="219" y="76"/>
                  <a:pt x="219" y="78"/>
                </a:cubicBezTo>
                <a:cubicBezTo>
                  <a:pt x="219" y="86"/>
                  <a:pt x="213" y="93"/>
                  <a:pt x="208" y="98"/>
                </a:cubicBezTo>
                <a:cubicBezTo>
                  <a:pt x="211" y="103"/>
                  <a:pt x="221" y="104"/>
                  <a:pt x="220" y="110"/>
                </a:cubicBezTo>
                <a:cubicBezTo>
                  <a:pt x="220" y="113"/>
                  <a:pt x="218" y="116"/>
                  <a:pt x="219" y="118"/>
                </a:cubicBezTo>
                <a:cubicBezTo>
                  <a:pt x="220" y="120"/>
                  <a:pt x="222" y="120"/>
                  <a:pt x="223" y="122"/>
                </a:cubicBezTo>
                <a:cubicBezTo>
                  <a:pt x="223" y="123"/>
                  <a:pt x="221" y="125"/>
                  <a:pt x="221" y="126"/>
                </a:cubicBezTo>
                <a:cubicBezTo>
                  <a:pt x="221" y="128"/>
                  <a:pt x="222" y="129"/>
                  <a:pt x="223" y="130"/>
                </a:cubicBezTo>
                <a:cubicBezTo>
                  <a:pt x="223" y="133"/>
                  <a:pt x="223" y="134"/>
                  <a:pt x="223" y="138"/>
                </a:cubicBezTo>
                <a:cubicBezTo>
                  <a:pt x="222" y="146"/>
                  <a:pt x="230" y="151"/>
                  <a:pt x="231" y="160"/>
                </a:cubicBezTo>
                <a:cubicBezTo>
                  <a:pt x="231" y="164"/>
                  <a:pt x="232" y="169"/>
                  <a:pt x="232" y="173"/>
                </a:cubicBezTo>
                <a:cubicBezTo>
                  <a:pt x="231" y="176"/>
                  <a:pt x="229" y="177"/>
                  <a:pt x="227" y="179"/>
                </a:cubicBezTo>
                <a:cubicBezTo>
                  <a:pt x="225" y="182"/>
                  <a:pt x="224" y="185"/>
                  <a:pt x="223" y="189"/>
                </a:cubicBezTo>
                <a:cubicBezTo>
                  <a:pt x="218" y="186"/>
                  <a:pt x="215" y="182"/>
                  <a:pt x="210" y="180"/>
                </a:cubicBezTo>
                <a:cubicBezTo>
                  <a:pt x="206" y="188"/>
                  <a:pt x="199" y="195"/>
                  <a:pt x="191" y="198"/>
                </a:cubicBezTo>
                <a:cubicBezTo>
                  <a:pt x="185" y="200"/>
                  <a:pt x="180" y="206"/>
                  <a:pt x="173" y="208"/>
                </a:cubicBezTo>
                <a:cubicBezTo>
                  <a:pt x="169" y="210"/>
                  <a:pt x="164" y="211"/>
                  <a:pt x="160" y="212"/>
                </a:cubicBezTo>
                <a:cubicBezTo>
                  <a:pt x="164" y="219"/>
                  <a:pt x="168" y="227"/>
                  <a:pt x="171" y="235"/>
                </a:cubicBezTo>
                <a:cubicBezTo>
                  <a:pt x="174" y="240"/>
                  <a:pt x="177" y="242"/>
                  <a:pt x="183" y="243"/>
                </a:cubicBezTo>
                <a:cubicBezTo>
                  <a:pt x="183" y="247"/>
                  <a:pt x="181" y="252"/>
                  <a:pt x="182" y="257"/>
                </a:cubicBezTo>
                <a:cubicBezTo>
                  <a:pt x="184" y="255"/>
                  <a:pt x="188" y="253"/>
                  <a:pt x="191" y="253"/>
                </a:cubicBezTo>
                <a:cubicBezTo>
                  <a:pt x="192" y="257"/>
                  <a:pt x="191" y="263"/>
                  <a:pt x="194" y="265"/>
                </a:cubicBezTo>
                <a:cubicBezTo>
                  <a:pt x="195" y="266"/>
                  <a:pt x="197" y="267"/>
                  <a:pt x="199" y="268"/>
                </a:cubicBezTo>
                <a:cubicBezTo>
                  <a:pt x="200" y="270"/>
                  <a:pt x="200" y="271"/>
                  <a:pt x="201" y="272"/>
                </a:cubicBezTo>
                <a:cubicBezTo>
                  <a:pt x="201" y="273"/>
                  <a:pt x="201" y="273"/>
                  <a:pt x="201" y="273"/>
                </a:cubicBezTo>
                <a:cubicBezTo>
                  <a:pt x="201" y="273"/>
                  <a:pt x="201" y="273"/>
                  <a:pt x="201" y="273"/>
                </a:cubicBezTo>
                <a:cubicBezTo>
                  <a:pt x="198" y="277"/>
                  <a:pt x="195" y="282"/>
                  <a:pt x="195" y="287"/>
                </a:cubicBezTo>
                <a:cubicBezTo>
                  <a:pt x="195" y="286"/>
                  <a:pt x="194" y="285"/>
                  <a:pt x="193" y="285"/>
                </a:cubicBezTo>
                <a:cubicBezTo>
                  <a:pt x="191" y="284"/>
                  <a:pt x="190" y="285"/>
                  <a:pt x="189" y="287"/>
                </a:cubicBezTo>
                <a:cubicBezTo>
                  <a:pt x="185" y="290"/>
                  <a:pt x="179" y="294"/>
                  <a:pt x="177" y="298"/>
                </a:cubicBezTo>
                <a:cubicBezTo>
                  <a:pt x="180" y="300"/>
                  <a:pt x="182" y="301"/>
                  <a:pt x="183" y="304"/>
                </a:cubicBezTo>
                <a:cubicBezTo>
                  <a:pt x="184" y="307"/>
                  <a:pt x="186" y="311"/>
                  <a:pt x="186" y="315"/>
                </a:cubicBezTo>
                <a:cubicBezTo>
                  <a:pt x="184" y="314"/>
                  <a:pt x="182" y="313"/>
                  <a:pt x="180" y="312"/>
                </a:cubicBezTo>
                <a:cubicBezTo>
                  <a:pt x="179" y="312"/>
                  <a:pt x="178" y="311"/>
                  <a:pt x="177" y="312"/>
                </a:cubicBezTo>
                <a:cubicBezTo>
                  <a:pt x="176" y="312"/>
                  <a:pt x="175" y="313"/>
                  <a:pt x="175" y="313"/>
                </a:cubicBezTo>
                <a:cubicBezTo>
                  <a:pt x="172" y="314"/>
                  <a:pt x="170" y="313"/>
                  <a:pt x="167" y="312"/>
                </a:cubicBezTo>
                <a:cubicBezTo>
                  <a:pt x="165" y="310"/>
                  <a:pt x="164" y="310"/>
                  <a:pt x="161" y="311"/>
                </a:cubicBezTo>
                <a:cubicBezTo>
                  <a:pt x="156" y="313"/>
                  <a:pt x="152" y="316"/>
                  <a:pt x="148" y="319"/>
                </a:cubicBezTo>
                <a:cubicBezTo>
                  <a:pt x="144" y="321"/>
                  <a:pt x="139" y="327"/>
                  <a:pt x="135" y="324"/>
                </a:cubicBezTo>
                <a:cubicBezTo>
                  <a:pt x="133" y="323"/>
                  <a:pt x="127" y="316"/>
                  <a:pt x="124" y="317"/>
                </a:cubicBezTo>
                <a:cubicBezTo>
                  <a:pt x="123" y="317"/>
                  <a:pt x="122" y="320"/>
                  <a:pt x="122" y="320"/>
                </a:cubicBezTo>
                <a:cubicBezTo>
                  <a:pt x="120" y="322"/>
                  <a:pt x="119" y="324"/>
                  <a:pt x="117" y="325"/>
                </a:cubicBezTo>
                <a:cubicBezTo>
                  <a:pt x="116" y="325"/>
                  <a:pt x="113" y="327"/>
                  <a:pt x="112" y="327"/>
                </a:cubicBezTo>
                <a:cubicBezTo>
                  <a:pt x="110" y="327"/>
                  <a:pt x="109" y="325"/>
                  <a:pt x="108" y="324"/>
                </a:cubicBezTo>
                <a:cubicBezTo>
                  <a:pt x="106" y="323"/>
                  <a:pt x="104" y="321"/>
                  <a:pt x="102" y="321"/>
                </a:cubicBezTo>
                <a:cubicBezTo>
                  <a:pt x="101" y="320"/>
                  <a:pt x="97" y="321"/>
                  <a:pt x="95" y="321"/>
                </a:cubicBezTo>
                <a:cubicBezTo>
                  <a:pt x="94" y="320"/>
                  <a:pt x="94" y="320"/>
                  <a:pt x="94" y="320"/>
                </a:cubicBezTo>
                <a:cubicBezTo>
                  <a:pt x="92" y="319"/>
                  <a:pt x="89" y="320"/>
                  <a:pt x="86" y="318"/>
                </a:cubicBezTo>
                <a:cubicBezTo>
                  <a:pt x="83" y="317"/>
                  <a:pt x="83" y="313"/>
                  <a:pt x="81" y="310"/>
                </a:cubicBezTo>
                <a:cubicBezTo>
                  <a:pt x="79" y="308"/>
                  <a:pt x="78" y="311"/>
                  <a:pt x="75" y="312"/>
                </a:cubicBezTo>
                <a:cubicBezTo>
                  <a:pt x="73" y="313"/>
                  <a:pt x="71" y="315"/>
                  <a:pt x="69" y="315"/>
                </a:cubicBezTo>
                <a:cubicBezTo>
                  <a:pt x="67" y="315"/>
                  <a:pt x="65" y="314"/>
                  <a:pt x="64" y="315"/>
                </a:cubicBezTo>
                <a:cubicBezTo>
                  <a:pt x="60" y="316"/>
                  <a:pt x="59" y="319"/>
                  <a:pt x="54" y="318"/>
                </a:cubicBezTo>
                <a:cubicBezTo>
                  <a:pt x="52" y="317"/>
                  <a:pt x="48" y="316"/>
                  <a:pt x="46" y="320"/>
                </a:cubicBezTo>
                <a:cubicBezTo>
                  <a:pt x="43" y="318"/>
                  <a:pt x="41" y="317"/>
                  <a:pt x="38" y="316"/>
                </a:cubicBezTo>
                <a:cubicBezTo>
                  <a:pt x="37" y="315"/>
                  <a:pt x="37" y="315"/>
                  <a:pt x="37" y="315"/>
                </a:cubicBezTo>
                <a:cubicBezTo>
                  <a:pt x="38" y="314"/>
                  <a:pt x="38" y="314"/>
                  <a:pt x="38" y="314"/>
                </a:cubicBezTo>
                <a:cubicBezTo>
                  <a:pt x="38" y="310"/>
                  <a:pt x="38" y="306"/>
                  <a:pt x="38" y="301"/>
                </a:cubicBezTo>
                <a:cubicBezTo>
                  <a:pt x="38" y="296"/>
                  <a:pt x="38" y="290"/>
                  <a:pt x="40" y="285"/>
                </a:cubicBezTo>
                <a:cubicBezTo>
                  <a:pt x="42" y="278"/>
                  <a:pt x="46" y="274"/>
                  <a:pt x="49" y="269"/>
                </a:cubicBezTo>
                <a:cubicBezTo>
                  <a:pt x="51" y="265"/>
                  <a:pt x="54" y="259"/>
                  <a:pt x="51" y="257"/>
                </a:cubicBezTo>
                <a:cubicBezTo>
                  <a:pt x="51" y="257"/>
                  <a:pt x="44" y="257"/>
                  <a:pt x="43" y="256"/>
                </a:cubicBezTo>
                <a:cubicBezTo>
                  <a:pt x="37" y="255"/>
                  <a:pt x="32" y="252"/>
                  <a:pt x="26" y="251"/>
                </a:cubicBezTo>
                <a:cubicBezTo>
                  <a:pt x="23" y="251"/>
                  <a:pt x="21" y="251"/>
                  <a:pt x="19" y="250"/>
                </a:cubicBezTo>
                <a:cubicBezTo>
                  <a:pt x="18" y="250"/>
                  <a:pt x="18" y="250"/>
                  <a:pt x="18" y="250"/>
                </a:cubicBezTo>
                <a:lnTo>
                  <a:pt x="18" y="24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17" name="Freeform 552"/>
          <p:cNvSpPr>
            <a:spLocks/>
          </p:cNvSpPr>
          <p:nvPr userDrawn="1"/>
        </p:nvSpPr>
        <p:spPr bwMode="auto">
          <a:xfrm>
            <a:off x="5780448" y="2631040"/>
            <a:ext cx="314917" cy="753792"/>
          </a:xfrm>
          <a:custGeom>
            <a:avLst/>
            <a:gdLst>
              <a:gd name="T0" fmla="*/ 2147483646 w 337"/>
              <a:gd name="T1" fmla="*/ 2147483646 h 809"/>
              <a:gd name="T2" fmla="*/ 2147483646 w 337"/>
              <a:gd name="T3" fmla="*/ 2147483646 h 809"/>
              <a:gd name="T4" fmla="*/ 2147483646 w 337"/>
              <a:gd name="T5" fmla="*/ 2147483646 h 809"/>
              <a:gd name="T6" fmla="*/ 2147483646 w 337"/>
              <a:gd name="T7" fmla="*/ 2147483646 h 809"/>
              <a:gd name="T8" fmla="*/ 2147483646 w 337"/>
              <a:gd name="T9" fmla="*/ 2147483646 h 809"/>
              <a:gd name="T10" fmla="*/ 2147483646 w 337"/>
              <a:gd name="T11" fmla="*/ 2147483646 h 809"/>
              <a:gd name="T12" fmla="*/ 2147483646 w 337"/>
              <a:gd name="T13" fmla="*/ 2147483646 h 809"/>
              <a:gd name="T14" fmla="*/ 2147483646 w 337"/>
              <a:gd name="T15" fmla="*/ 2147483646 h 809"/>
              <a:gd name="T16" fmla="*/ 2147483646 w 337"/>
              <a:gd name="T17" fmla="*/ 2147483646 h 809"/>
              <a:gd name="T18" fmla="*/ 2147483646 w 337"/>
              <a:gd name="T19" fmla="*/ 2147483646 h 809"/>
              <a:gd name="T20" fmla="*/ 2147483646 w 337"/>
              <a:gd name="T21" fmla="*/ 2147483646 h 809"/>
              <a:gd name="T22" fmla="*/ 2147483646 w 337"/>
              <a:gd name="T23" fmla="*/ 2147483646 h 809"/>
              <a:gd name="T24" fmla="*/ 2147483646 w 337"/>
              <a:gd name="T25" fmla="*/ 2147483646 h 809"/>
              <a:gd name="T26" fmla="*/ 2147483646 w 337"/>
              <a:gd name="T27" fmla="*/ 2147483646 h 809"/>
              <a:gd name="T28" fmla="*/ 2147483646 w 337"/>
              <a:gd name="T29" fmla="*/ 2147483646 h 809"/>
              <a:gd name="T30" fmla="*/ 2147483646 w 337"/>
              <a:gd name="T31" fmla="*/ 2147483646 h 809"/>
              <a:gd name="T32" fmla="*/ 2147483646 w 337"/>
              <a:gd name="T33" fmla="*/ 2147483646 h 809"/>
              <a:gd name="T34" fmla="*/ 2147483646 w 337"/>
              <a:gd name="T35" fmla="*/ 2147483646 h 809"/>
              <a:gd name="T36" fmla="*/ 2147483646 w 337"/>
              <a:gd name="T37" fmla="*/ 2147483646 h 809"/>
              <a:gd name="T38" fmla="*/ 2147483646 w 337"/>
              <a:gd name="T39" fmla="*/ 2147483646 h 809"/>
              <a:gd name="T40" fmla="*/ 2147483646 w 337"/>
              <a:gd name="T41" fmla="*/ 2147483646 h 809"/>
              <a:gd name="T42" fmla="*/ 2147483646 w 337"/>
              <a:gd name="T43" fmla="*/ 2147483646 h 809"/>
              <a:gd name="T44" fmla="*/ 2147483646 w 337"/>
              <a:gd name="T45" fmla="*/ 2147483646 h 809"/>
              <a:gd name="T46" fmla="*/ 2147483646 w 337"/>
              <a:gd name="T47" fmla="*/ 2147483646 h 809"/>
              <a:gd name="T48" fmla="*/ 2147483646 w 337"/>
              <a:gd name="T49" fmla="*/ 2147483646 h 809"/>
              <a:gd name="T50" fmla="*/ 2147483646 w 337"/>
              <a:gd name="T51" fmla="*/ 2147483646 h 809"/>
              <a:gd name="T52" fmla="*/ 2147483646 w 337"/>
              <a:gd name="T53" fmla="*/ 2147483646 h 809"/>
              <a:gd name="T54" fmla="*/ 2147483646 w 337"/>
              <a:gd name="T55" fmla="*/ 2147483646 h 809"/>
              <a:gd name="T56" fmla="*/ 2147483646 w 337"/>
              <a:gd name="T57" fmla="*/ 2147483646 h 809"/>
              <a:gd name="T58" fmla="*/ 2147483646 w 337"/>
              <a:gd name="T59" fmla="*/ 2147483646 h 809"/>
              <a:gd name="T60" fmla="*/ 2147483646 w 337"/>
              <a:gd name="T61" fmla="*/ 2147483646 h 809"/>
              <a:gd name="T62" fmla="*/ 2147483646 w 337"/>
              <a:gd name="T63" fmla="*/ 2147483646 h 809"/>
              <a:gd name="T64" fmla="*/ 2147483646 w 337"/>
              <a:gd name="T65" fmla="*/ 2147483646 h 809"/>
              <a:gd name="T66" fmla="*/ 2147483646 w 337"/>
              <a:gd name="T67" fmla="*/ 2147483646 h 809"/>
              <a:gd name="T68" fmla="*/ 2147483646 w 337"/>
              <a:gd name="T69" fmla="*/ 2147483646 h 809"/>
              <a:gd name="T70" fmla="*/ 2147483646 w 337"/>
              <a:gd name="T71" fmla="*/ 2147483646 h 809"/>
              <a:gd name="T72" fmla="*/ 2147483646 w 337"/>
              <a:gd name="T73" fmla="*/ 2147483646 h 809"/>
              <a:gd name="T74" fmla="*/ 2147483646 w 337"/>
              <a:gd name="T75" fmla="*/ 2147483646 h 809"/>
              <a:gd name="T76" fmla="*/ 2147483646 w 337"/>
              <a:gd name="T77" fmla="*/ 2147483646 h 809"/>
              <a:gd name="T78" fmla="*/ 2147483646 w 337"/>
              <a:gd name="T79" fmla="*/ 2147483646 h 809"/>
              <a:gd name="T80" fmla="*/ 2147483646 w 337"/>
              <a:gd name="T81" fmla="*/ 2147483646 h 809"/>
              <a:gd name="T82" fmla="*/ 2147483646 w 337"/>
              <a:gd name="T83" fmla="*/ 2147483646 h 809"/>
              <a:gd name="T84" fmla="*/ 2147483646 w 337"/>
              <a:gd name="T85" fmla="*/ 2147483646 h 809"/>
              <a:gd name="T86" fmla="*/ 2147483646 w 337"/>
              <a:gd name="T87" fmla="*/ 2147483646 h 809"/>
              <a:gd name="T88" fmla="*/ 2147483646 w 337"/>
              <a:gd name="T89" fmla="*/ 2147483646 h 809"/>
              <a:gd name="T90" fmla="*/ 2147483646 w 337"/>
              <a:gd name="T91" fmla="*/ 2147483646 h 809"/>
              <a:gd name="T92" fmla="*/ 2147483646 w 337"/>
              <a:gd name="T93" fmla="*/ 2147483646 h 809"/>
              <a:gd name="T94" fmla="*/ 2147483646 w 337"/>
              <a:gd name="T95" fmla="*/ 2147483646 h 809"/>
              <a:gd name="T96" fmla="*/ 2147483646 w 337"/>
              <a:gd name="T97" fmla="*/ 2147483646 h 80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37"/>
              <a:gd name="T148" fmla="*/ 0 h 809"/>
              <a:gd name="T149" fmla="*/ 337 w 337"/>
              <a:gd name="T150" fmla="*/ 809 h 80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37" h="809">
                <a:moveTo>
                  <a:pt x="1" y="617"/>
                </a:moveTo>
                <a:cubicBezTo>
                  <a:pt x="3" y="619"/>
                  <a:pt x="5" y="622"/>
                  <a:pt x="6" y="625"/>
                </a:cubicBezTo>
                <a:cubicBezTo>
                  <a:pt x="15" y="620"/>
                  <a:pt x="13" y="608"/>
                  <a:pt x="15" y="598"/>
                </a:cubicBezTo>
                <a:cubicBezTo>
                  <a:pt x="18" y="584"/>
                  <a:pt x="23" y="585"/>
                  <a:pt x="31" y="579"/>
                </a:cubicBezTo>
                <a:cubicBezTo>
                  <a:pt x="49" y="565"/>
                  <a:pt x="36" y="536"/>
                  <a:pt x="31" y="516"/>
                </a:cubicBezTo>
                <a:cubicBezTo>
                  <a:pt x="37" y="518"/>
                  <a:pt x="43" y="508"/>
                  <a:pt x="43" y="501"/>
                </a:cubicBezTo>
                <a:cubicBezTo>
                  <a:pt x="43" y="490"/>
                  <a:pt x="33" y="486"/>
                  <a:pt x="29" y="477"/>
                </a:cubicBezTo>
                <a:cubicBezTo>
                  <a:pt x="22" y="461"/>
                  <a:pt x="34" y="440"/>
                  <a:pt x="28" y="423"/>
                </a:cubicBezTo>
                <a:cubicBezTo>
                  <a:pt x="24" y="412"/>
                  <a:pt x="19" y="415"/>
                  <a:pt x="19" y="402"/>
                </a:cubicBezTo>
                <a:cubicBezTo>
                  <a:pt x="20" y="391"/>
                  <a:pt x="25" y="376"/>
                  <a:pt x="27" y="364"/>
                </a:cubicBezTo>
                <a:cubicBezTo>
                  <a:pt x="29" y="353"/>
                  <a:pt x="29" y="336"/>
                  <a:pt x="42" y="334"/>
                </a:cubicBezTo>
                <a:cubicBezTo>
                  <a:pt x="49" y="333"/>
                  <a:pt x="62" y="338"/>
                  <a:pt x="68" y="341"/>
                </a:cubicBezTo>
                <a:cubicBezTo>
                  <a:pt x="78" y="329"/>
                  <a:pt x="64" y="320"/>
                  <a:pt x="63" y="309"/>
                </a:cubicBezTo>
                <a:cubicBezTo>
                  <a:pt x="62" y="296"/>
                  <a:pt x="70" y="276"/>
                  <a:pt x="74" y="263"/>
                </a:cubicBezTo>
                <a:cubicBezTo>
                  <a:pt x="76" y="254"/>
                  <a:pt x="82" y="242"/>
                  <a:pt x="82" y="233"/>
                </a:cubicBezTo>
                <a:cubicBezTo>
                  <a:pt x="82" y="226"/>
                  <a:pt x="76" y="222"/>
                  <a:pt x="76" y="217"/>
                </a:cubicBezTo>
                <a:cubicBezTo>
                  <a:pt x="75" y="194"/>
                  <a:pt x="91" y="206"/>
                  <a:pt x="102" y="208"/>
                </a:cubicBezTo>
                <a:cubicBezTo>
                  <a:pt x="102" y="187"/>
                  <a:pt x="114" y="158"/>
                  <a:pt x="127" y="142"/>
                </a:cubicBezTo>
                <a:cubicBezTo>
                  <a:pt x="124" y="141"/>
                  <a:pt x="121" y="138"/>
                  <a:pt x="117" y="137"/>
                </a:cubicBezTo>
                <a:cubicBezTo>
                  <a:pt x="121" y="131"/>
                  <a:pt x="128" y="125"/>
                  <a:pt x="131" y="118"/>
                </a:cubicBezTo>
                <a:cubicBezTo>
                  <a:pt x="133" y="111"/>
                  <a:pt x="132" y="105"/>
                  <a:pt x="135" y="100"/>
                </a:cubicBezTo>
                <a:cubicBezTo>
                  <a:pt x="141" y="90"/>
                  <a:pt x="155" y="72"/>
                  <a:pt x="166" y="84"/>
                </a:cubicBezTo>
                <a:cubicBezTo>
                  <a:pt x="174" y="72"/>
                  <a:pt x="168" y="52"/>
                  <a:pt x="182" y="46"/>
                </a:cubicBezTo>
                <a:cubicBezTo>
                  <a:pt x="190" y="42"/>
                  <a:pt x="194" y="47"/>
                  <a:pt x="201" y="50"/>
                </a:cubicBezTo>
                <a:cubicBezTo>
                  <a:pt x="208" y="52"/>
                  <a:pt x="214" y="53"/>
                  <a:pt x="222" y="52"/>
                </a:cubicBezTo>
                <a:cubicBezTo>
                  <a:pt x="207" y="40"/>
                  <a:pt x="245" y="26"/>
                  <a:pt x="220" y="13"/>
                </a:cubicBezTo>
                <a:cubicBezTo>
                  <a:pt x="225" y="6"/>
                  <a:pt x="237" y="0"/>
                  <a:pt x="245" y="6"/>
                </a:cubicBezTo>
                <a:cubicBezTo>
                  <a:pt x="246" y="12"/>
                  <a:pt x="246" y="12"/>
                  <a:pt x="246" y="12"/>
                </a:cubicBezTo>
                <a:cubicBezTo>
                  <a:pt x="253" y="26"/>
                  <a:pt x="264" y="34"/>
                  <a:pt x="272" y="46"/>
                </a:cubicBezTo>
                <a:cubicBezTo>
                  <a:pt x="276" y="43"/>
                  <a:pt x="279" y="44"/>
                  <a:pt x="283" y="43"/>
                </a:cubicBezTo>
                <a:cubicBezTo>
                  <a:pt x="283" y="48"/>
                  <a:pt x="284" y="52"/>
                  <a:pt x="285" y="57"/>
                </a:cubicBezTo>
                <a:cubicBezTo>
                  <a:pt x="286" y="56"/>
                  <a:pt x="290" y="55"/>
                  <a:pt x="292" y="52"/>
                </a:cubicBezTo>
                <a:cubicBezTo>
                  <a:pt x="297" y="71"/>
                  <a:pt x="317" y="55"/>
                  <a:pt x="313" y="80"/>
                </a:cubicBezTo>
                <a:cubicBezTo>
                  <a:pt x="315" y="80"/>
                  <a:pt x="318" y="80"/>
                  <a:pt x="320" y="80"/>
                </a:cubicBezTo>
                <a:cubicBezTo>
                  <a:pt x="321" y="91"/>
                  <a:pt x="316" y="105"/>
                  <a:pt x="316" y="116"/>
                </a:cubicBezTo>
                <a:cubicBezTo>
                  <a:pt x="315" y="128"/>
                  <a:pt x="315" y="140"/>
                  <a:pt x="316" y="152"/>
                </a:cubicBezTo>
                <a:cubicBezTo>
                  <a:pt x="319" y="153"/>
                  <a:pt x="321" y="155"/>
                  <a:pt x="323" y="156"/>
                </a:cubicBezTo>
                <a:cubicBezTo>
                  <a:pt x="320" y="159"/>
                  <a:pt x="320" y="164"/>
                  <a:pt x="319" y="166"/>
                </a:cubicBezTo>
                <a:cubicBezTo>
                  <a:pt x="321" y="166"/>
                  <a:pt x="324" y="169"/>
                  <a:pt x="327" y="168"/>
                </a:cubicBezTo>
                <a:cubicBezTo>
                  <a:pt x="321" y="183"/>
                  <a:pt x="314" y="184"/>
                  <a:pt x="322" y="199"/>
                </a:cubicBezTo>
                <a:cubicBezTo>
                  <a:pt x="326" y="208"/>
                  <a:pt x="331" y="215"/>
                  <a:pt x="336" y="223"/>
                </a:cubicBezTo>
                <a:cubicBezTo>
                  <a:pt x="337" y="226"/>
                  <a:pt x="337" y="226"/>
                  <a:pt x="337" y="226"/>
                </a:cubicBezTo>
                <a:cubicBezTo>
                  <a:pt x="335" y="225"/>
                  <a:pt x="335" y="225"/>
                  <a:pt x="335" y="225"/>
                </a:cubicBezTo>
                <a:cubicBezTo>
                  <a:pt x="333" y="224"/>
                  <a:pt x="331" y="223"/>
                  <a:pt x="331" y="223"/>
                </a:cubicBezTo>
                <a:cubicBezTo>
                  <a:pt x="317" y="227"/>
                  <a:pt x="317" y="227"/>
                  <a:pt x="317" y="227"/>
                </a:cubicBezTo>
                <a:cubicBezTo>
                  <a:pt x="306" y="228"/>
                  <a:pt x="306" y="228"/>
                  <a:pt x="306" y="228"/>
                </a:cubicBezTo>
                <a:cubicBezTo>
                  <a:pt x="294" y="229"/>
                  <a:pt x="294" y="229"/>
                  <a:pt x="294" y="229"/>
                </a:cubicBezTo>
                <a:cubicBezTo>
                  <a:pt x="287" y="233"/>
                  <a:pt x="287" y="233"/>
                  <a:pt x="287" y="233"/>
                </a:cubicBezTo>
                <a:cubicBezTo>
                  <a:pt x="287" y="233"/>
                  <a:pt x="278" y="240"/>
                  <a:pt x="279" y="244"/>
                </a:cubicBezTo>
                <a:cubicBezTo>
                  <a:pt x="280" y="249"/>
                  <a:pt x="278" y="251"/>
                  <a:pt x="273" y="256"/>
                </a:cubicBezTo>
                <a:cubicBezTo>
                  <a:pt x="269" y="261"/>
                  <a:pt x="264" y="260"/>
                  <a:pt x="268" y="263"/>
                </a:cubicBezTo>
                <a:cubicBezTo>
                  <a:pt x="271" y="266"/>
                  <a:pt x="268" y="273"/>
                  <a:pt x="268" y="273"/>
                </a:cubicBezTo>
                <a:cubicBezTo>
                  <a:pt x="268" y="273"/>
                  <a:pt x="263" y="277"/>
                  <a:pt x="262" y="286"/>
                </a:cubicBezTo>
                <a:cubicBezTo>
                  <a:pt x="261" y="294"/>
                  <a:pt x="261" y="294"/>
                  <a:pt x="266" y="296"/>
                </a:cubicBezTo>
                <a:cubicBezTo>
                  <a:pt x="271" y="299"/>
                  <a:pt x="271" y="305"/>
                  <a:pt x="271" y="305"/>
                </a:cubicBezTo>
                <a:cubicBezTo>
                  <a:pt x="271" y="305"/>
                  <a:pt x="267" y="307"/>
                  <a:pt x="269" y="310"/>
                </a:cubicBezTo>
                <a:cubicBezTo>
                  <a:pt x="271" y="314"/>
                  <a:pt x="277" y="321"/>
                  <a:pt x="271" y="325"/>
                </a:cubicBezTo>
                <a:cubicBezTo>
                  <a:pt x="265" y="329"/>
                  <a:pt x="260" y="333"/>
                  <a:pt x="257" y="336"/>
                </a:cubicBezTo>
                <a:cubicBezTo>
                  <a:pt x="254" y="339"/>
                  <a:pt x="253" y="341"/>
                  <a:pt x="250" y="346"/>
                </a:cubicBezTo>
                <a:cubicBezTo>
                  <a:pt x="247" y="351"/>
                  <a:pt x="243" y="352"/>
                  <a:pt x="243" y="352"/>
                </a:cubicBezTo>
                <a:cubicBezTo>
                  <a:pt x="243" y="352"/>
                  <a:pt x="240" y="356"/>
                  <a:pt x="237" y="360"/>
                </a:cubicBezTo>
                <a:cubicBezTo>
                  <a:pt x="235" y="365"/>
                  <a:pt x="235" y="362"/>
                  <a:pt x="230" y="367"/>
                </a:cubicBezTo>
                <a:cubicBezTo>
                  <a:pt x="226" y="372"/>
                  <a:pt x="217" y="368"/>
                  <a:pt x="218" y="374"/>
                </a:cubicBezTo>
                <a:cubicBezTo>
                  <a:pt x="218" y="381"/>
                  <a:pt x="217" y="382"/>
                  <a:pt x="212" y="382"/>
                </a:cubicBezTo>
                <a:cubicBezTo>
                  <a:pt x="206" y="382"/>
                  <a:pt x="205" y="380"/>
                  <a:pt x="205" y="380"/>
                </a:cubicBezTo>
                <a:cubicBezTo>
                  <a:pt x="205" y="380"/>
                  <a:pt x="197" y="386"/>
                  <a:pt x="192" y="384"/>
                </a:cubicBezTo>
                <a:cubicBezTo>
                  <a:pt x="188" y="382"/>
                  <a:pt x="187" y="383"/>
                  <a:pt x="187" y="383"/>
                </a:cubicBezTo>
                <a:cubicBezTo>
                  <a:pt x="187" y="383"/>
                  <a:pt x="189" y="389"/>
                  <a:pt x="187" y="395"/>
                </a:cubicBezTo>
                <a:cubicBezTo>
                  <a:pt x="184" y="400"/>
                  <a:pt x="179" y="399"/>
                  <a:pt x="178" y="404"/>
                </a:cubicBezTo>
                <a:cubicBezTo>
                  <a:pt x="178" y="408"/>
                  <a:pt x="178" y="410"/>
                  <a:pt x="173" y="413"/>
                </a:cubicBezTo>
                <a:cubicBezTo>
                  <a:pt x="168" y="415"/>
                  <a:pt x="162" y="416"/>
                  <a:pt x="165" y="419"/>
                </a:cubicBezTo>
                <a:cubicBezTo>
                  <a:pt x="168" y="422"/>
                  <a:pt x="168" y="424"/>
                  <a:pt x="168" y="424"/>
                </a:cubicBezTo>
                <a:cubicBezTo>
                  <a:pt x="163" y="429"/>
                  <a:pt x="163" y="429"/>
                  <a:pt x="163" y="429"/>
                </a:cubicBezTo>
                <a:cubicBezTo>
                  <a:pt x="163" y="429"/>
                  <a:pt x="167" y="428"/>
                  <a:pt x="164" y="434"/>
                </a:cubicBezTo>
                <a:cubicBezTo>
                  <a:pt x="161" y="441"/>
                  <a:pt x="160" y="440"/>
                  <a:pt x="163" y="441"/>
                </a:cubicBezTo>
                <a:cubicBezTo>
                  <a:pt x="167" y="443"/>
                  <a:pt x="165" y="448"/>
                  <a:pt x="165" y="448"/>
                </a:cubicBezTo>
                <a:cubicBezTo>
                  <a:pt x="165" y="448"/>
                  <a:pt x="151" y="456"/>
                  <a:pt x="156" y="462"/>
                </a:cubicBezTo>
                <a:cubicBezTo>
                  <a:pt x="162" y="469"/>
                  <a:pt x="161" y="466"/>
                  <a:pt x="157" y="475"/>
                </a:cubicBezTo>
                <a:cubicBezTo>
                  <a:pt x="154" y="485"/>
                  <a:pt x="154" y="479"/>
                  <a:pt x="156" y="485"/>
                </a:cubicBezTo>
                <a:cubicBezTo>
                  <a:pt x="157" y="492"/>
                  <a:pt x="156" y="500"/>
                  <a:pt x="158" y="507"/>
                </a:cubicBezTo>
                <a:cubicBezTo>
                  <a:pt x="159" y="514"/>
                  <a:pt x="155" y="522"/>
                  <a:pt x="158" y="523"/>
                </a:cubicBezTo>
                <a:cubicBezTo>
                  <a:pt x="161" y="525"/>
                  <a:pt x="163" y="529"/>
                  <a:pt x="163" y="529"/>
                </a:cubicBezTo>
                <a:cubicBezTo>
                  <a:pt x="157" y="538"/>
                  <a:pt x="157" y="538"/>
                  <a:pt x="157" y="538"/>
                </a:cubicBezTo>
                <a:cubicBezTo>
                  <a:pt x="157" y="538"/>
                  <a:pt x="159" y="536"/>
                  <a:pt x="161" y="540"/>
                </a:cubicBezTo>
                <a:cubicBezTo>
                  <a:pt x="162" y="544"/>
                  <a:pt x="164" y="539"/>
                  <a:pt x="164" y="539"/>
                </a:cubicBezTo>
                <a:cubicBezTo>
                  <a:pt x="164" y="539"/>
                  <a:pt x="168" y="535"/>
                  <a:pt x="171" y="537"/>
                </a:cubicBezTo>
                <a:cubicBezTo>
                  <a:pt x="174" y="538"/>
                  <a:pt x="174" y="537"/>
                  <a:pt x="178" y="541"/>
                </a:cubicBezTo>
                <a:cubicBezTo>
                  <a:pt x="182" y="545"/>
                  <a:pt x="182" y="541"/>
                  <a:pt x="187" y="549"/>
                </a:cubicBezTo>
                <a:cubicBezTo>
                  <a:pt x="192" y="557"/>
                  <a:pt x="189" y="559"/>
                  <a:pt x="192" y="563"/>
                </a:cubicBezTo>
                <a:cubicBezTo>
                  <a:pt x="194" y="568"/>
                  <a:pt x="192" y="569"/>
                  <a:pt x="195" y="572"/>
                </a:cubicBezTo>
                <a:cubicBezTo>
                  <a:pt x="198" y="576"/>
                  <a:pt x="197" y="580"/>
                  <a:pt x="197" y="580"/>
                </a:cubicBezTo>
                <a:cubicBezTo>
                  <a:pt x="197" y="580"/>
                  <a:pt x="189" y="585"/>
                  <a:pt x="189" y="588"/>
                </a:cubicBezTo>
                <a:cubicBezTo>
                  <a:pt x="188" y="592"/>
                  <a:pt x="183" y="595"/>
                  <a:pt x="178" y="595"/>
                </a:cubicBezTo>
                <a:cubicBezTo>
                  <a:pt x="174" y="595"/>
                  <a:pt x="172" y="592"/>
                  <a:pt x="168" y="593"/>
                </a:cubicBezTo>
                <a:cubicBezTo>
                  <a:pt x="164" y="593"/>
                  <a:pt x="160" y="592"/>
                  <a:pt x="157" y="589"/>
                </a:cubicBezTo>
                <a:cubicBezTo>
                  <a:pt x="155" y="587"/>
                  <a:pt x="151" y="591"/>
                  <a:pt x="151" y="591"/>
                </a:cubicBezTo>
                <a:cubicBezTo>
                  <a:pt x="151" y="591"/>
                  <a:pt x="146" y="595"/>
                  <a:pt x="141" y="592"/>
                </a:cubicBezTo>
                <a:cubicBezTo>
                  <a:pt x="136" y="590"/>
                  <a:pt x="132" y="590"/>
                  <a:pt x="130" y="591"/>
                </a:cubicBezTo>
                <a:cubicBezTo>
                  <a:pt x="128" y="591"/>
                  <a:pt x="124" y="590"/>
                  <a:pt x="124" y="590"/>
                </a:cubicBezTo>
                <a:cubicBezTo>
                  <a:pt x="124" y="590"/>
                  <a:pt x="137" y="597"/>
                  <a:pt x="142" y="596"/>
                </a:cubicBezTo>
                <a:cubicBezTo>
                  <a:pt x="146" y="596"/>
                  <a:pt x="147" y="597"/>
                  <a:pt x="149" y="597"/>
                </a:cubicBezTo>
                <a:cubicBezTo>
                  <a:pt x="151" y="597"/>
                  <a:pt x="156" y="596"/>
                  <a:pt x="156" y="596"/>
                </a:cubicBezTo>
                <a:cubicBezTo>
                  <a:pt x="156" y="596"/>
                  <a:pt x="156" y="598"/>
                  <a:pt x="159" y="603"/>
                </a:cubicBezTo>
                <a:cubicBezTo>
                  <a:pt x="162" y="608"/>
                  <a:pt x="162" y="600"/>
                  <a:pt x="166" y="603"/>
                </a:cubicBezTo>
                <a:cubicBezTo>
                  <a:pt x="170" y="606"/>
                  <a:pt x="172" y="604"/>
                  <a:pt x="172" y="604"/>
                </a:cubicBezTo>
                <a:cubicBezTo>
                  <a:pt x="179" y="603"/>
                  <a:pt x="179" y="603"/>
                  <a:pt x="179" y="603"/>
                </a:cubicBezTo>
                <a:cubicBezTo>
                  <a:pt x="179" y="603"/>
                  <a:pt x="181" y="601"/>
                  <a:pt x="183" y="606"/>
                </a:cubicBezTo>
                <a:cubicBezTo>
                  <a:pt x="186" y="610"/>
                  <a:pt x="180" y="618"/>
                  <a:pt x="180" y="618"/>
                </a:cubicBezTo>
                <a:cubicBezTo>
                  <a:pt x="180" y="618"/>
                  <a:pt x="172" y="621"/>
                  <a:pt x="169" y="622"/>
                </a:cubicBezTo>
                <a:cubicBezTo>
                  <a:pt x="167" y="623"/>
                  <a:pt x="160" y="613"/>
                  <a:pt x="162" y="619"/>
                </a:cubicBezTo>
                <a:cubicBezTo>
                  <a:pt x="163" y="624"/>
                  <a:pt x="162" y="630"/>
                  <a:pt x="159" y="629"/>
                </a:cubicBezTo>
                <a:cubicBezTo>
                  <a:pt x="155" y="629"/>
                  <a:pt x="155" y="629"/>
                  <a:pt x="155" y="629"/>
                </a:cubicBezTo>
                <a:cubicBezTo>
                  <a:pt x="155" y="629"/>
                  <a:pt x="147" y="631"/>
                  <a:pt x="144" y="634"/>
                </a:cubicBezTo>
                <a:cubicBezTo>
                  <a:pt x="142" y="637"/>
                  <a:pt x="140" y="637"/>
                  <a:pt x="137" y="636"/>
                </a:cubicBezTo>
                <a:cubicBezTo>
                  <a:pt x="135" y="634"/>
                  <a:pt x="129" y="637"/>
                  <a:pt x="134" y="638"/>
                </a:cubicBezTo>
                <a:cubicBezTo>
                  <a:pt x="139" y="639"/>
                  <a:pt x="143" y="637"/>
                  <a:pt x="146" y="640"/>
                </a:cubicBezTo>
                <a:cubicBezTo>
                  <a:pt x="149" y="643"/>
                  <a:pt x="145" y="647"/>
                  <a:pt x="145" y="647"/>
                </a:cubicBezTo>
                <a:cubicBezTo>
                  <a:pt x="145" y="647"/>
                  <a:pt x="141" y="649"/>
                  <a:pt x="139" y="649"/>
                </a:cubicBezTo>
                <a:cubicBezTo>
                  <a:pt x="138" y="649"/>
                  <a:pt x="133" y="643"/>
                  <a:pt x="133" y="649"/>
                </a:cubicBezTo>
                <a:cubicBezTo>
                  <a:pt x="134" y="655"/>
                  <a:pt x="137" y="653"/>
                  <a:pt x="139" y="662"/>
                </a:cubicBezTo>
                <a:cubicBezTo>
                  <a:pt x="142" y="672"/>
                  <a:pt x="138" y="679"/>
                  <a:pt x="140" y="680"/>
                </a:cubicBezTo>
                <a:cubicBezTo>
                  <a:pt x="142" y="681"/>
                  <a:pt x="141" y="679"/>
                  <a:pt x="143" y="684"/>
                </a:cubicBezTo>
                <a:cubicBezTo>
                  <a:pt x="145" y="689"/>
                  <a:pt x="144" y="675"/>
                  <a:pt x="141" y="696"/>
                </a:cubicBezTo>
                <a:cubicBezTo>
                  <a:pt x="137" y="716"/>
                  <a:pt x="133" y="719"/>
                  <a:pt x="132" y="731"/>
                </a:cubicBezTo>
                <a:cubicBezTo>
                  <a:pt x="131" y="743"/>
                  <a:pt x="130" y="748"/>
                  <a:pt x="125" y="756"/>
                </a:cubicBezTo>
                <a:cubicBezTo>
                  <a:pt x="120" y="763"/>
                  <a:pt x="118" y="759"/>
                  <a:pt x="113" y="760"/>
                </a:cubicBezTo>
                <a:cubicBezTo>
                  <a:pt x="108" y="760"/>
                  <a:pt x="107" y="764"/>
                  <a:pt x="103" y="761"/>
                </a:cubicBezTo>
                <a:cubicBezTo>
                  <a:pt x="99" y="758"/>
                  <a:pt x="100" y="749"/>
                  <a:pt x="95" y="756"/>
                </a:cubicBezTo>
                <a:cubicBezTo>
                  <a:pt x="91" y="763"/>
                  <a:pt x="87" y="768"/>
                  <a:pt x="87" y="768"/>
                </a:cubicBezTo>
                <a:cubicBezTo>
                  <a:pt x="87" y="768"/>
                  <a:pt x="76" y="774"/>
                  <a:pt x="80" y="782"/>
                </a:cubicBezTo>
                <a:cubicBezTo>
                  <a:pt x="84" y="789"/>
                  <a:pt x="88" y="796"/>
                  <a:pt x="77" y="796"/>
                </a:cubicBezTo>
                <a:cubicBezTo>
                  <a:pt x="67" y="795"/>
                  <a:pt x="67" y="789"/>
                  <a:pt x="62" y="796"/>
                </a:cubicBezTo>
                <a:cubicBezTo>
                  <a:pt x="57" y="803"/>
                  <a:pt x="55" y="809"/>
                  <a:pt x="50" y="803"/>
                </a:cubicBezTo>
                <a:cubicBezTo>
                  <a:pt x="45" y="797"/>
                  <a:pt x="42" y="799"/>
                  <a:pt x="42" y="796"/>
                </a:cubicBezTo>
                <a:cubicBezTo>
                  <a:pt x="43" y="793"/>
                  <a:pt x="47" y="783"/>
                  <a:pt x="46" y="778"/>
                </a:cubicBezTo>
                <a:cubicBezTo>
                  <a:pt x="45" y="773"/>
                  <a:pt x="42" y="769"/>
                  <a:pt x="41" y="767"/>
                </a:cubicBezTo>
                <a:cubicBezTo>
                  <a:pt x="40" y="765"/>
                  <a:pt x="28" y="765"/>
                  <a:pt x="36" y="761"/>
                </a:cubicBezTo>
                <a:cubicBezTo>
                  <a:pt x="45" y="758"/>
                  <a:pt x="47" y="760"/>
                  <a:pt x="46" y="755"/>
                </a:cubicBezTo>
                <a:cubicBezTo>
                  <a:pt x="45" y="749"/>
                  <a:pt x="40" y="751"/>
                  <a:pt x="43" y="746"/>
                </a:cubicBezTo>
                <a:cubicBezTo>
                  <a:pt x="47" y="741"/>
                  <a:pt x="51" y="741"/>
                  <a:pt x="46" y="737"/>
                </a:cubicBezTo>
                <a:cubicBezTo>
                  <a:pt x="40" y="733"/>
                  <a:pt x="25" y="724"/>
                  <a:pt x="26" y="714"/>
                </a:cubicBezTo>
                <a:cubicBezTo>
                  <a:pt x="26" y="705"/>
                  <a:pt x="26" y="703"/>
                  <a:pt x="22" y="697"/>
                </a:cubicBezTo>
                <a:cubicBezTo>
                  <a:pt x="18" y="692"/>
                  <a:pt x="14" y="685"/>
                  <a:pt x="18" y="683"/>
                </a:cubicBezTo>
                <a:cubicBezTo>
                  <a:pt x="22" y="682"/>
                  <a:pt x="28" y="685"/>
                  <a:pt x="22" y="680"/>
                </a:cubicBezTo>
                <a:cubicBezTo>
                  <a:pt x="16" y="674"/>
                  <a:pt x="9" y="681"/>
                  <a:pt x="10" y="669"/>
                </a:cubicBezTo>
                <a:cubicBezTo>
                  <a:pt x="11" y="657"/>
                  <a:pt x="20" y="655"/>
                  <a:pt x="15" y="652"/>
                </a:cubicBezTo>
                <a:cubicBezTo>
                  <a:pt x="10" y="649"/>
                  <a:pt x="4" y="644"/>
                  <a:pt x="4" y="644"/>
                </a:cubicBezTo>
                <a:cubicBezTo>
                  <a:pt x="4" y="644"/>
                  <a:pt x="4" y="632"/>
                  <a:pt x="3" y="629"/>
                </a:cubicBezTo>
                <a:cubicBezTo>
                  <a:pt x="2" y="626"/>
                  <a:pt x="1" y="621"/>
                  <a:pt x="0" y="618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18" name="Freeform 553"/>
          <p:cNvSpPr>
            <a:spLocks/>
          </p:cNvSpPr>
          <p:nvPr userDrawn="1"/>
        </p:nvSpPr>
        <p:spPr bwMode="auto">
          <a:xfrm>
            <a:off x="5780448" y="2631040"/>
            <a:ext cx="314917" cy="753792"/>
          </a:xfrm>
          <a:custGeom>
            <a:avLst/>
            <a:gdLst>
              <a:gd name="T0" fmla="*/ 2147483646 w 337"/>
              <a:gd name="T1" fmla="*/ 2147483646 h 809"/>
              <a:gd name="T2" fmla="*/ 2147483646 w 337"/>
              <a:gd name="T3" fmla="*/ 2147483646 h 809"/>
              <a:gd name="T4" fmla="*/ 2147483646 w 337"/>
              <a:gd name="T5" fmla="*/ 2147483646 h 809"/>
              <a:gd name="T6" fmla="*/ 2147483646 w 337"/>
              <a:gd name="T7" fmla="*/ 2147483646 h 809"/>
              <a:gd name="T8" fmla="*/ 2147483646 w 337"/>
              <a:gd name="T9" fmla="*/ 2147483646 h 809"/>
              <a:gd name="T10" fmla="*/ 2147483646 w 337"/>
              <a:gd name="T11" fmla="*/ 2147483646 h 809"/>
              <a:gd name="T12" fmla="*/ 2147483646 w 337"/>
              <a:gd name="T13" fmla="*/ 2147483646 h 809"/>
              <a:gd name="T14" fmla="*/ 2147483646 w 337"/>
              <a:gd name="T15" fmla="*/ 2147483646 h 809"/>
              <a:gd name="T16" fmla="*/ 2147483646 w 337"/>
              <a:gd name="T17" fmla="*/ 2147483646 h 809"/>
              <a:gd name="T18" fmla="*/ 2147483646 w 337"/>
              <a:gd name="T19" fmla="*/ 2147483646 h 809"/>
              <a:gd name="T20" fmla="*/ 2147483646 w 337"/>
              <a:gd name="T21" fmla="*/ 2147483646 h 809"/>
              <a:gd name="T22" fmla="*/ 2147483646 w 337"/>
              <a:gd name="T23" fmla="*/ 2147483646 h 809"/>
              <a:gd name="T24" fmla="*/ 2147483646 w 337"/>
              <a:gd name="T25" fmla="*/ 2147483646 h 809"/>
              <a:gd name="T26" fmla="*/ 2147483646 w 337"/>
              <a:gd name="T27" fmla="*/ 2147483646 h 809"/>
              <a:gd name="T28" fmla="*/ 2147483646 w 337"/>
              <a:gd name="T29" fmla="*/ 2147483646 h 809"/>
              <a:gd name="T30" fmla="*/ 2147483646 w 337"/>
              <a:gd name="T31" fmla="*/ 2147483646 h 809"/>
              <a:gd name="T32" fmla="*/ 2147483646 w 337"/>
              <a:gd name="T33" fmla="*/ 2147483646 h 809"/>
              <a:gd name="T34" fmla="*/ 2147483646 w 337"/>
              <a:gd name="T35" fmla="*/ 2147483646 h 809"/>
              <a:gd name="T36" fmla="*/ 2147483646 w 337"/>
              <a:gd name="T37" fmla="*/ 2147483646 h 809"/>
              <a:gd name="T38" fmla="*/ 2147483646 w 337"/>
              <a:gd name="T39" fmla="*/ 2147483646 h 809"/>
              <a:gd name="T40" fmla="*/ 2147483646 w 337"/>
              <a:gd name="T41" fmla="*/ 2147483646 h 809"/>
              <a:gd name="T42" fmla="*/ 2147483646 w 337"/>
              <a:gd name="T43" fmla="*/ 2147483646 h 809"/>
              <a:gd name="T44" fmla="*/ 2147483646 w 337"/>
              <a:gd name="T45" fmla="*/ 2147483646 h 809"/>
              <a:gd name="T46" fmla="*/ 2147483646 w 337"/>
              <a:gd name="T47" fmla="*/ 2147483646 h 809"/>
              <a:gd name="T48" fmla="*/ 2147483646 w 337"/>
              <a:gd name="T49" fmla="*/ 2147483646 h 809"/>
              <a:gd name="T50" fmla="*/ 2147483646 w 337"/>
              <a:gd name="T51" fmla="*/ 2147483646 h 809"/>
              <a:gd name="T52" fmla="*/ 2147483646 w 337"/>
              <a:gd name="T53" fmla="*/ 2147483646 h 809"/>
              <a:gd name="T54" fmla="*/ 2147483646 w 337"/>
              <a:gd name="T55" fmla="*/ 2147483646 h 809"/>
              <a:gd name="T56" fmla="*/ 2147483646 w 337"/>
              <a:gd name="T57" fmla="*/ 2147483646 h 809"/>
              <a:gd name="T58" fmla="*/ 2147483646 w 337"/>
              <a:gd name="T59" fmla="*/ 2147483646 h 809"/>
              <a:gd name="T60" fmla="*/ 2147483646 w 337"/>
              <a:gd name="T61" fmla="*/ 2147483646 h 809"/>
              <a:gd name="T62" fmla="*/ 2147483646 w 337"/>
              <a:gd name="T63" fmla="*/ 2147483646 h 809"/>
              <a:gd name="T64" fmla="*/ 2147483646 w 337"/>
              <a:gd name="T65" fmla="*/ 2147483646 h 809"/>
              <a:gd name="T66" fmla="*/ 2147483646 w 337"/>
              <a:gd name="T67" fmla="*/ 2147483646 h 809"/>
              <a:gd name="T68" fmla="*/ 2147483646 w 337"/>
              <a:gd name="T69" fmla="*/ 2147483646 h 809"/>
              <a:gd name="T70" fmla="*/ 2147483646 w 337"/>
              <a:gd name="T71" fmla="*/ 2147483646 h 809"/>
              <a:gd name="T72" fmla="*/ 2147483646 w 337"/>
              <a:gd name="T73" fmla="*/ 2147483646 h 809"/>
              <a:gd name="T74" fmla="*/ 2147483646 w 337"/>
              <a:gd name="T75" fmla="*/ 2147483646 h 809"/>
              <a:gd name="T76" fmla="*/ 2147483646 w 337"/>
              <a:gd name="T77" fmla="*/ 2147483646 h 809"/>
              <a:gd name="T78" fmla="*/ 2147483646 w 337"/>
              <a:gd name="T79" fmla="*/ 2147483646 h 809"/>
              <a:gd name="T80" fmla="*/ 2147483646 w 337"/>
              <a:gd name="T81" fmla="*/ 2147483646 h 809"/>
              <a:gd name="T82" fmla="*/ 2147483646 w 337"/>
              <a:gd name="T83" fmla="*/ 2147483646 h 809"/>
              <a:gd name="T84" fmla="*/ 2147483646 w 337"/>
              <a:gd name="T85" fmla="*/ 2147483646 h 809"/>
              <a:gd name="T86" fmla="*/ 2147483646 w 337"/>
              <a:gd name="T87" fmla="*/ 2147483646 h 809"/>
              <a:gd name="T88" fmla="*/ 2147483646 w 337"/>
              <a:gd name="T89" fmla="*/ 2147483646 h 809"/>
              <a:gd name="T90" fmla="*/ 2147483646 w 337"/>
              <a:gd name="T91" fmla="*/ 2147483646 h 809"/>
              <a:gd name="T92" fmla="*/ 2147483646 w 337"/>
              <a:gd name="T93" fmla="*/ 2147483646 h 809"/>
              <a:gd name="T94" fmla="*/ 2147483646 w 337"/>
              <a:gd name="T95" fmla="*/ 2147483646 h 809"/>
              <a:gd name="T96" fmla="*/ 2147483646 w 337"/>
              <a:gd name="T97" fmla="*/ 2147483646 h 80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37"/>
              <a:gd name="T148" fmla="*/ 0 h 809"/>
              <a:gd name="T149" fmla="*/ 337 w 337"/>
              <a:gd name="T150" fmla="*/ 809 h 80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37" h="809">
                <a:moveTo>
                  <a:pt x="1" y="617"/>
                </a:moveTo>
                <a:cubicBezTo>
                  <a:pt x="3" y="619"/>
                  <a:pt x="5" y="622"/>
                  <a:pt x="6" y="625"/>
                </a:cubicBezTo>
                <a:cubicBezTo>
                  <a:pt x="15" y="620"/>
                  <a:pt x="13" y="608"/>
                  <a:pt x="15" y="598"/>
                </a:cubicBezTo>
                <a:cubicBezTo>
                  <a:pt x="18" y="584"/>
                  <a:pt x="23" y="585"/>
                  <a:pt x="31" y="579"/>
                </a:cubicBezTo>
                <a:cubicBezTo>
                  <a:pt x="49" y="565"/>
                  <a:pt x="36" y="536"/>
                  <a:pt x="31" y="516"/>
                </a:cubicBezTo>
                <a:cubicBezTo>
                  <a:pt x="37" y="518"/>
                  <a:pt x="43" y="508"/>
                  <a:pt x="43" y="501"/>
                </a:cubicBezTo>
                <a:cubicBezTo>
                  <a:pt x="43" y="490"/>
                  <a:pt x="33" y="486"/>
                  <a:pt x="29" y="477"/>
                </a:cubicBezTo>
                <a:cubicBezTo>
                  <a:pt x="22" y="461"/>
                  <a:pt x="34" y="440"/>
                  <a:pt x="28" y="423"/>
                </a:cubicBezTo>
                <a:cubicBezTo>
                  <a:pt x="24" y="412"/>
                  <a:pt x="19" y="415"/>
                  <a:pt x="19" y="402"/>
                </a:cubicBezTo>
                <a:cubicBezTo>
                  <a:pt x="20" y="391"/>
                  <a:pt x="25" y="376"/>
                  <a:pt x="27" y="364"/>
                </a:cubicBezTo>
                <a:cubicBezTo>
                  <a:pt x="29" y="353"/>
                  <a:pt x="29" y="336"/>
                  <a:pt x="42" y="334"/>
                </a:cubicBezTo>
                <a:cubicBezTo>
                  <a:pt x="49" y="333"/>
                  <a:pt x="62" y="338"/>
                  <a:pt x="68" y="341"/>
                </a:cubicBezTo>
                <a:cubicBezTo>
                  <a:pt x="78" y="329"/>
                  <a:pt x="64" y="320"/>
                  <a:pt x="63" y="309"/>
                </a:cubicBezTo>
                <a:cubicBezTo>
                  <a:pt x="62" y="296"/>
                  <a:pt x="70" y="276"/>
                  <a:pt x="74" y="263"/>
                </a:cubicBezTo>
                <a:cubicBezTo>
                  <a:pt x="76" y="254"/>
                  <a:pt x="82" y="242"/>
                  <a:pt x="82" y="233"/>
                </a:cubicBezTo>
                <a:cubicBezTo>
                  <a:pt x="82" y="226"/>
                  <a:pt x="76" y="222"/>
                  <a:pt x="76" y="217"/>
                </a:cubicBezTo>
                <a:cubicBezTo>
                  <a:pt x="75" y="194"/>
                  <a:pt x="91" y="206"/>
                  <a:pt x="102" y="208"/>
                </a:cubicBezTo>
                <a:cubicBezTo>
                  <a:pt x="102" y="187"/>
                  <a:pt x="114" y="158"/>
                  <a:pt x="127" y="142"/>
                </a:cubicBezTo>
                <a:cubicBezTo>
                  <a:pt x="124" y="141"/>
                  <a:pt x="121" y="138"/>
                  <a:pt x="117" y="137"/>
                </a:cubicBezTo>
                <a:cubicBezTo>
                  <a:pt x="121" y="131"/>
                  <a:pt x="128" y="125"/>
                  <a:pt x="131" y="118"/>
                </a:cubicBezTo>
                <a:cubicBezTo>
                  <a:pt x="133" y="111"/>
                  <a:pt x="132" y="105"/>
                  <a:pt x="135" y="100"/>
                </a:cubicBezTo>
                <a:cubicBezTo>
                  <a:pt x="141" y="90"/>
                  <a:pt x="155" y="72"/>
                  <a:pt x="166" y="84"/>
                </a:cubicBezTo>
                <a:cubicBezTo>
                  <a:pt x="174" y="72"/>
                  <a:pt x="168" y="52"/>
                  <a:pt x="182" y="46"/>
                </a:cubicBezTo>
                <a:cubicBezTo>
                  <a:pt x="190" y="42"/>
                  <a:pt x="194" y="47"/>
                  <a:pt x="201" y="50"/>
                </a:cubicBezTo>
                <a:cubicBezTo>
                  <a:pt x="208" y="52"/>
                  <a:pt x="214" y="53"/>
                  <a:pt x="222" y="52"/>
                </a:cubicBezTo>
                <a:cubicBezTo>
                  <a:pt x="207" y="40"/>
                  <a:pt x="245" y="26"/>
                  <a:pt x="220" y="13"/>
                </a:cubicBezTo>
                <a:cubicBezTo>
                  <a:pt x="225" y="6"/>
                  <a:pt x="237" y="0"/>
                  <a:pt x="245" y="6"/>
                </a:cubicBezTo>
                <a:cubicBezTo>
                  <a:pt x="246" y="12"/>
                  <a:pt x="246" y="12"/>
                  <a:pt x="246" y="12"/>
                </a:cubicBezTo>
                <a:cubicBezTo>
                  <a:pt x="253" y="26"/>
                  <a:pt x="264" y="34"/>
                  <a:pt x="272" y="46"/>
                </a:cubicBezTo>
                <a:cubicBezTo>
                  <a:pt x="276" y="43"/>
                  <a:pt x="279" y="44"/>
                  <a:pt x="283" y="43"/>
                </a:cubicBezTo>
                <a:cubicBezTo>
                  <a:pt x="283" y="48"/>
                  <a:pt x="284" y="52"/>
                  <a:pt x="285" y="57"/>
                </a:cubicBezTo>
                <a:cubicBezTo>
                  <a:pt x="286" y="56"/>
                  <a:pt x="290" y="55"/>
                  <a:pt x="292" y="52"/>
                </a:cubicBezTo>
                <a:cubicBezTo>
                  <a:pt x="297" y="71"/>
                  <a:pt x="317" y="55"/>
                  <a:pt x="313" y="80"/>
                </a:cubicBezTo>
                <a:cubicBezTo>
                  <a:pt x="315" y="80"/>
                  <a:pt x="318" y="80"/>
                  <a:pt x="320" y="80"/>
                </a:cubicBezTo>
                <a:cubicBezTo>
                  <a:pt x="321" y="91"/>
                  <a:pt x="316" y="105"/>
                  <a:pt x="316" y="116"/>
                </a:cubicBezTo>
                <a:cubicBezTo>
                  <a:pt x="315" y="128"/>
                  <a:pt x="315" y="140"/>
                  <a:pt x="316" y="152"/>
                </a:cubicBezTo>
                <a:cubicBezTo>
                  <a:pt x="319" y="153"/>
                  <a:pt x="321" y="155"/>
                  <a:pt x="323" y="156"/>
                </a:cubicBezTo>
                <a:cubicBezTo>
                  <a:pt x="320" y="159"/>
                  <a:pt x="320" y="164"/>
                  <a:pt x="319" y="166"/>
                </a:cubicBezTo>
                <a:cubicBezTo>
                  <a:pt x="321" y="166"/>
                  <a:pt x="324" y="169"/>
                  <a:pt x="327" y="168"/>
                </a:cubicBezTo>
                <a:cubicBezTo>
                  <a:pt x="321" y="183"/>
                  <a:pt x="314" y="184"/>
                  <a:pt x="322" y="199"/>
                </a:cubicBezTo>
                <a:cubicBezTo>
                  <a:pt x="326" y="208"/>
                  <a:pt x="331" y="215"/>
                  <a:pt x="336" y="223"/>
                </a:cubicBezTo>
                <a:cubicBezTo>
                  <a:pt x="337" y="226"/>
                  <a:pt x="337" y="226"/>
                  <a:pt x="337" y="226"/>
                </a:cubicBezTo>
                <a:cubicBezTo>
                  <a:pt x="335" y="225"/>
                  <a:pt x="335" y="225"/>
                  <a:pt x="335" y="225"/>
                </a:cubicBezTo>
                <a:cubicBezTo>
                  <a:pt x="333" y="224"/>
                  <a:pt x="331" y="223"/>
                  <a:pt x="331" y="223"/>
                </a:cubicBezTo>
                <a:cubicBezTo>
                  <a:pt x="317" y="227"/>
                  <a:pt x="317" y="227"/>
                  <a:pt x="317" y="227"/>
                </a:cubicBezTo>
                <a:cubicBezTo>
                  <a:pt x="306" y="228"/>
                  <a:pt x="306" y="228"/>
                  <a:pt x="306" y="228"/>
                </a:cubicBezTo>
                <a:cubicBezTo>
                  <a:pt x="294" y="229"/>
                  <a:pt x="294" y="229"/>
                  <a:pt x="294" y="229"/>
                </a:cubicBezTo>
                <a:cubicBezTo>
                  <a:pt x="287" y="233"/>
                  <a:pt x="287" y="233"/>
                  <a:pt x="287" y="233"/>
                </a:cubicBezTo>
                <a:cubicBezTo>
                  <a:pt x="287" y="233"/>
                  <a:pt x="278" y="240"/>
                  <a:pt x="279" y="244"/>
                </a:cubicBezTo>
                <a:cubicBezTo>
                  <a:pt x="280" y="249"/>
                  <a:pt x="278" y="251"/>
                  <a:pt x="273" y="256"/>
                </a:cubicBezTo>
                <a:cubicBezTo>
                  <a:pt x="269" y="261"/>
                  <a:pt x="264" y="260"/>
                  <a:pt x="268" y="263"/>
                </a:cubicBezTo>
                <a:cubicBezTo>
                  <a:pt x="271" y="266"/>
                  <a:pt x="268" y="273"/>
                  <a:pt x="268" y="273"/>
                </a:cubicBezTo>
                <a:cubicBezTo>
                  <a:pt x="268" y="273"/>
                  <a:pt x="263" y="277"/>
                  <a:pt x="262" y="286"/>
                </a:cubicBezTo>
                <a:cubicBezTo>
                  <a:pt x="261" y="294"/>
                  <a:pt x="261" y="294"/>
                  <a:pt x="266" y="296"/>
                </a:cubicBezTo>
                <a:cubicBezTo>
                  <a:pt x="271" y="299"/>
                  <a:pt x="271" y="305"/>
                  <a:pt x="271" y="305"/>
                </a:cubicBezTo>
                <a:cubicBezTo>
                  <a:pt x="271" y="305"/>
                  <a:pt x="267" y="307"/>
                  <a:pt x="269" y="310"/>
                </a:cubicBezTo>
                <a:cubicBezTo>
                  <a:pt x="271" y="314"/>
                  <a:pt x="277" y="321"/>
                  <a:pt x="271" y="325"/>
                </a:cubicBezTo>
                <a:cubicBezTo>
                  <a:pt x="265" y="329"/>
                  <a:pt x="260" y="333"/>
                  <a:pt x="257" y="336"/>
                </a:cubicBezTo>
                <a:cubicBezTo>
                  <a:pt x="254" y="339"/>
                  <a:pt x="253" y="341"/>
                  <a:pt x="250" y="346"/>
                </a:cubicBezTo>
                <a:cubicBezTo>
                  <a:pt x="247" y="351"/>
                  <a:pt x="243" y="352"/>
                  <a:pt x="243" y="352"/>
                </a:cubicBezTo>
                <a:cubicBezTo>
                  <a:pt x="243" y="352"/>
                  <a:pt x="240" y="356"/>
                  <a:pt x="237" y="360"/>
                </a:cubicBezTo>
                <a:cubicBezTo>
                  <a:pt x="235" y="365"/>
                  <a:pt x="235" y="362"/>
                  <a:pt x="230" y="367"/>
                </a:cubicBezTo>
                <a:cubicBezTo>
                  <a:pt x="226" y="372"/>
                  <a:pt x="217" y="368"/>
                  <a:pt x="218" y="374"/>
                </a:cubicBezTo>
                <a:cubicBezTo>
                  <a:pt x="218" y="381"/>
                  <a:pt x="217" y="382"/>
                  <a:pt x="212" y="382"/>
                </a:cubicBezTo>
                <a:cubicBezTo>
                  <a:pt x="206" y="382"/>
                  <a:pt x="205" y="380"/>
                  <a:pt x="205" y="380"/>
                </a:cubicBezTo>
                <a:cubicBezTo>
                  <a:pt x="205" y="380"/>
                  <a:pt x="197" y="386"/>
                  <a:pt x="192" y="384"/>
                </a:cubicBezTo>
                <a:cubicBezTo>
                  <a:pt x="188" y="382"/>
                  <a:pt x="187" y="383"/>
                  <a:pt x="187" y="383"/>
                </a:cubicBezTo>
                <a:cubicBezTo>
                  <a:pt x="187" y="383"/>
                  <a:pt x="189" y="389"/>
                  <a:pt x="187" y="395"/>
                </a:cubicBezTo>
                <a:cubicBezTo>
                  <a:pt x="184" y="400"/>
                  <a:pt x="179" y="399"/>
                  <a:pt x="178" y="404"/>
                </a:cubicBezTo>
                <a:cubicBezTo>
                  <a:pt x="178" y="408"/>
                  <a:pt x="178" y="410"/>
                  <a:pt x="173" y="413"/>
                </a:cubicBezTo>
                <a:cubicBezTo>
                  <a:pt x="168" y="415"/>
                  <a:pt x="162" y="416"/>
                  <a:pt x="165" y="419"/>
                </a:cubicBezTo>
                <a:cubicBezTo>
                  <a:pt x="168" y="422"/>
                  <a:pt x="168" y="424"/>
                  <a:pt x="168" y="424"/>
                </a:cubicBezTo>
                <a:cubicBezTo>
                  <a:pt x="163" y="429"/>
                  <a:pt x="163" y="429"/>
                  <a:pt x="163" y="429"/>
                </a:cubicBezTo>
                <a:cubicBezTo>
                  <a:pt x="163" y="429"/>
                  <a:pt x="167" y="428"/>
                  <a:pt x="164" y="434"/>
                </a:cubicBezTo>
                <a:cubicBezTo>
                  <a:pt x="161" y="441"/>
                  <a:pt x="160" y="440"/>
                  <a:pt x="163" y="441"/>
                </a:cubicBezTo>
                <a:cubicBezTo>
                  <a:pt x="167" y="443"/>
                  <a:pt x="165" y="448"/>
                  <a:pt x="165" y="448"/>
                </a:cubicBezTo>
                <a:cubicBezTo>
                  <a:pt x="165" y="448"/>
                  <a:pt x="151" y="456"/>
                  <a:pt x="156" y="462"/>
                </a:cubicBezTo>
                <a:cubicBezTo>
                  <a:pt x="162" y="469"/>
                  <a:pt x="161" y="466"/>
                  <a:pt x="157" y="475"/>
                </a:cubicBezTo>
                <a:cubicBezTo>
                  <a:pt x="154" y="485"/>
                  <a:pt x="154" y="479"/>
                  <a:pt x="156" y="485"/>
                </a:cubicBezTo>
                <a:cubicBezTo>
                  <a:pt x="157" y="492"/>
                  <a:pt x="156" y="500"/>
                  <a:pt x="158" y="507"/>
                </a:cubicBezTo>
                <a:cubicBezTo>
                  <a:pt x="159" y="514"/>
                  <a:pt x="155" y="522"/>
                  <a:pt x="158" y="523"/>
                </a:cubicBezTo>
                <a:cubicBezTo>
                  <a:pt x="161" y="525"/>
                  <a:pt x="163" y="529"/>
                  <a:pt x="163" y="529"/>
                </a:cubicBezTo>
                <a:cubicBezTo>
                  <a:pt x="157" y="538"/>
                  <a:pt x="157" y="538"/>
                  <a:pt x="157" y="538"/>
                </a:cubicBezTo>
                <a:cubicBezTo>
                  <a:pt x="157" y="538"/>
                  <a:pt x="159" y="536"/>
                  <a:pt x="161" y="540"/>
                </a:cubicBezTo>
                <a:cubicBezTo>
                  <a:pt x="162" y="544"/>
                  <a:pt x="164" y="539"/>
                  <a:pt x="164" y="539"/>
                </a:cubicBezTo>
                <a:cubicBezTo>
                  <a:pt x="164" y="539"/>
                  <a:pt x="168" y="535"/>
                  <a:pt x="171" y="537"/>
                </a:cubicBezTo>
                <a:cubicBezTo>
                  <a:pt x="174" y="538"/>
                  <a:pt x="174" y="537"/>
                  <a:pt x="178" y="541"/>
                </a:cubicBezTo>
                <a:cubicBezTo>
                  <a:pt x="182" y="545"/>
                  <a:pt x="182" y="541"/>
                  <a:pt x="187" y="549"/>
                </a:cubicBezTo>
                <a:cubicBezTo>
                  <a:pt x="192" y="557"/>
                  <a:pt x="189" y="559"/>
                  <a:pt x="192" y="563"/>
                </a:cubicBezTo>
                <a:cubicBezTo>
                  <a:pt x="194" y="568"/>
                  <a:pt x="192" y="569"/>
                  <a:pt x="195" y="572"/>
                </a:cubicBezTo>
                <a:cubicBezTo>
                  <a:pt x="198" y="576"/>
                  <a:pt x="197" y="580"/>
                  <a:pt x="197" y="580"/>
                </a:cubicBezTo>
                <a:cubicBezTo>
                  <a:pt x="197" y="580"/>
                  <a:pt x="189" y="585"/>
                  <a:pt x="189" y="588"/>
                </a:cubicBezTo>
                <a:cubicBezTo>
                  <a:pt x="188" y="592"/>
                  <a:pt x="183" y="595"/>
                  <a:pt x="178" y="595"/>
                </a:cubicBezTo>
                <a:cubicBezTo>
                  <a:pt x="174" y="595"/>
                  <a:pt x="172" y="592"/>
                  <a:pt x="168" y="593"/>
                </a:cubicBezTo>
                <a:cubicBezTo>
                  <a:pt x="164" y="593"/>
                  <a:pt x="160" y="592"/>
                  <a:pt x="157" y="589"/>
                </a:cubicBezTo>
                <a:cubicBezTo>
                  <a:pt x="155" y="587"/>
                  <a:pt x="151" y="591"/>
                  <a:pt x="151" y="591"/>
                </a:cubicBezTo>
                <a:cubicBezTo>
                  <a:pt x="151" y="591"/>
                  <a:pt x="146" y="595"/>
                  <a:pt x="141" y="592"/>
                </a:cubicBezTo>
                <a:cubicBezTo>
                  <a:pt x="136" y="590"/>
                  <a:pt x="132" y="590"/>
                  <a:pt x="130" y="591"/>
                </a:cubicBezTo>
                <a:cubicBezTo>
                  <a:pt x="128" y="591"/>
                  <a:pt x="124" y="590"/>
                  <a:pt x="124" y="590"/>
                </a:cubicBezTo>
                <a:cubicBezTo>
                  <a:pt x="124" y="590"/>
                  <a:pt x="137" y="597"/>
                  <a:pt x="142" y="596"/>
                </a:cubicBezTo>
                <a:cubicBezTo>
                  <a:pt x="146" y="596"/>
                  <a:pt x="147" y="597"/>
                  <a:pt x="149" y="597"/>
                </a:cubicBezTo>
                <a:cubicBezTo>
                  <a:pt x="151" y="597"/>
                  <a:pt x="156" y="596"/>
                  <a:pt x="156" y="596"/>
                </a:cubicBezTo>
                <a:cubicBezTo>
                  <a:pt x="156" y="596"/>
                  <a:pt x="156" y="598"/>
                  <a:pt x="159" y="603"/>
                </a:cubicBezTo>
                <a:cubicBezTo>
                  <a:pt x="162" y="608"/>
                  <a:pt x="162" y="600"/>
                  <a:pt x="166" y="603"/>
                </a:cubicBezTo>
                <a:cubicBezTo>
                  <a:pt x="170" y="606"/>
                  <a:pt x="172" y="604"/>
                  <a:pt x="172" y="604"/>
                </a:cubicBezTo>
                <a:cubicBezTo>
                  <a:pt x="179" y="603"/>
                  <a:pt x="179" y="603"/>
                  <a:pt x="179" y="603"/>
                </a:cubicBezTo>
                <a:cubicBezTo>
                  <a:pt x="179" y="603"/>
                  <a:pt x="181" y="601"/>
                  <a:pt x="183" y="606"/>
                </a:cubicBezTo>
                <a:cubicBezTo>
                  <a:pt x="186" y="610"/>
                  <a:pt x="180" y="618"/>
                  <a:pt x="180" y="618"/>
                </a:cubicBezTo>
                <a:cubicBezTo>
                  <a:pt x="180" y="618"/>
                  <a:pt x="172" y="621"/>
                  <a:pt x="169" y="622"/>
                </a:cubicBezTo>
                <a:cubicBezTo>
                  <a:pt x="167" y="623"/>
                  <a:pt x="160" y="613"/>
                  <a:pt x="162" y="619"/>
                </a:cubicBezTo>
                <a:cubicBezTo>
                  <a:pt x="163" y="624"/>
                  <a:pt x="162" y="630"/>
                  <a:pt x="159" y="629"/>
                </a:cubicBezTo>
                <a:cubicBezTo>
                  <a:pt x="155" y="629"/>
                  <a:pt x="155" y="629"/>
                  <a:pt x="155" y="629"/>
                </a:cubicBezTo>
                <a:cubicBezTo>
                  <a:pt x="155" y="629"/>
                  <a:pt x="147" y="631"/>
                  <a:pt x="144" y="634"/>
                </a:cubicBezTo>
                <a:cubicBezTo>
                  <a:pt x="142" y="637"/>
                  <a:pt x="140" y="637"/>
                  <a:pt x="137" y="636"/>
                </a:cubicBezTo>
                <a:cubicBezTo>
                  <a:pt x="135" y="634"/>
                  <a:pt x="129" y="637"/>
                  <a:pt x="134" y="638"/>
                </a:cubicBezTo>
                <a:cubicBezTo>
                  <a:pt x="139" y="639"/>
                  <a:pt x="143" y="637"/>
                  <a:pt x="146" y="640"/>
                </a:cubicBezTo>
                <a:cubicBezTo>
                  <a:pt x="149" y="643"/>
                  <a:pt x="145" y="647"/>
                  <a:pt x="145" y="647"/>
                </a:cubicBezTo>
                <a:cubicBezTo>
                  <a:pt x="145" y="647"/>
                  <a:pt x="141" y="649"/>
                  <a:pt x="139" y="649"/>
                </a:cubicBezTo>
                <a:cubicBezTo>
                  <a:pt x="138" y="649"/>
                  <a:pt x="133" y="643"/>
                  <a:pt x="133" y="649"/>
                </a:cubicBezTo>
                <a:cubicBezTo>
                  <a:pt x="134" y="655"/>
                  <a:pt x="137" y="653"/>
                  <a:pt x="139" y="662"/>
                </a:cubicBezTo>
                <a:cubicBezTo>
                  <a:pt x="142" y="672"/>
                  <a:pt x="138" y="679"/>
                  <a:pt x="140" y="680"/>
                </a:cubicBezTo>
                <a:cubicBezTo>
                  <a:pt x="142" y="681"/>
                  <a:pt x="141" y="679"/>
                  <a:pt x="143" y="684"/>
                </a:cubicBezTo>
                <a:cubicBezTo>
                  <a:pt x="145" y="689"/>
                  <a:pt x="144" y="675"/>
                  <a:pt x="141" y="696"/>
                </a:cubicBezTo>
                <a:cubicBezTo>
                  <a:pt x="137" y="716"/>
                  <a:pt x="133" y="719"/>
                  <a:pt x="132" y="731"/>
                </a:cubicBezTo>
                <a:cubicBezTo>
                  <a:pt x="131" y="743"/>
                  <a:pt x="130" y="748"/>
                  <a:pt x="125" y="756"/>
                </a:cubicBezTo>
                <a:cubicBezTo>
                  <a:pt x="120" y="763"/>
                  <a:pt x="118" y="759"/>
                  <a:pt x="113" y="760"/>
                </a:cubicBezTo>
                <a:cubicBezTo>
                  <a:pt x="108" y="760"/>
                  <a:pt x="107" y="764"/>
                  <a:pt x="103" y="761"/>
                </a:cubicBezTo>
                <a:cubicBezTo>
                  <a:pt x="99" y="758"/>
                  <a:pt x="100" y="749"/>
                  <a:pt x="95" y="756"/>
                </a:cubicBezTo>
                <a:cubicBezTo>
                  <a:pt x="91" y="763"/>
                  <a:pt x="87" y="768"/>
                  <a:pt x="87" y="768"/>
                </a:cubicBezTo>
                <a:cubicBezTo>
                  <a:pt x="87" y="768"/>
                  <a:pt x="76" y="774"/>
                  <a:pt x="80" y="782"/>
                </a:cubicBezTo>
                <a:cubicBezTo>
                  <a:pt x="84" y="789"/>
                  <a:pt x="88" y="796"/>
                  <a:pt x="77" y="796"/>
                </a:cubicBezTo>
                <a:cubicBezTo>
                  <a:pt x="67" y="795"/>
                  <a:pt x="67" y="789"/>
                  <a:pt x="62" y="796"/>
                </a:cubicBezTo>
                <a:cubicBezTo>
                  <a:pt x="57" y="803"/>
                  <a:pt x="55" y="809"/>
                  <a:pt x="50" y="803"/>
                </a:cubicBezTo>
                <a:cubicBezTo>
                  <a:pt x="45" y="797"/>
                  <a:pt x="42" y="799"/>
                  <a:pt x="42" y="796"/>
                </a:cubicBezTo>
                <a:cubicBezTo>
                  <a:pt x="43" y="793"/>
                  <a:pt x="47" y="783"/>
                  <a:pt x="46" y="778"/>
                </a:cubicBezTo>
                <a:cubicBezTo>
                  <a:pt x="45" y="773"/>
                  <a:pt x="42" y="769"/>
                  <a:pt x="41" y="767"/>
                </a:cubicBezTo>
                <a:cubicBezTo>
                  <a:pt x="40" y="765"/>
                  <a:pt x="28" y="765"/>
                  <a:pt x="36" y="761"/>
                </a:cubicBezTo>
                <a:cubicBezTo>
                  <a:pt x="45" y="758"/>
                  <a:pt x="47" y="760"/>
                  <a:pt x="46" y="755"/>
                </a:cubicBezTo>
                <a:cubicBezTo>
                  <a:pt x="45" y="749"/>
                  <a:pt x="40" y="751"/>
                  <a:pt x="43" y="746"/>
                </a:cubicBezTo>
                <a:cubicBezTo>
                  <a:pt x="47" y="741"/>
                  <a:pt x="51" y="741"/>
                  <a:pt x="46" y="737"/>
                </a:cubicBezTo>
                <a:cubicBezTo>
                  <a:pt x="40" y="733"/>
                  <a:pt x="25" y="724"/>
                  <a:pt x="26" y="714"/>
                </a:cubicBezTo>
                <a:cubicBezTo>
                  <a:pt x="26" y="705"/>
                  <a:pt x="26" y="703"/>
                  <a:pt x="22" y="697"/>
                </a:cubicBezTo>
                <a:cubicBezTo>
                  <a:pt x="18" y="692"/>
                  <a:pt x="14" y="685"/>
                  <a:pt x="18" y="683"/>
                </a:cubicBezTo>
                <a:cubicBezTo>
                  <a:pt x="22" y="682"/>
                  <a:pt x="28" y="685"/>
                  <a:pt x="22" y="680"/>
                </a:cubicBezTo>
                <a:cubicBezTo>
                  <a:pt x="16" y="674"/>
                  <a:pt x="9" y="681"/>
                  <a:pt x="10" y="669"/>
                </a:cubicBezTo>
                <a:cubicBezTo>
                  <a:pt x="11" y="657"/>
                  <a:pt x="20" y="655"/>
                  <a:pt x="15" y="652"/>
                </a:cubicBezTo>
                <a:cubicBezTo>
                  <a:pt x="10" y="649"/>
                  <a:pt x="4" y="644"/>
                  <a:pt x="4" y="644"/>
                </a:cubicBezTo>
                <a:cubicBezTo>
                  <a:pt x="4" y="644"/>
                  <a:pt x="4" y="632"/>
                  <a:pt x="3" y="629"/>
                </a:cubicBezTo>
                <a:cubicBezTo>
                  <a:pt x="2" y="626"/>
                  <a:pt x="1" y="621"/>
                  <a:pt x="0" y="618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19" name="Freeform 554"/>
          <p:cNvSpPr>
            <a:spLocks/>
          </p:cNvSpPr>
          <p:nvPr userDrawn="1"/>
        </p:nvSpPr>
        <p:spPr bwMode="auto">
          <a:xfrm>
            <a:off x="6008260" y="2567388"/>
            <a:ext cx="261315" cy="603033"/>
          </a:xfrm>
          <a:custGeom>
            <a:avLst/>
            <a:gdLst>
              <a:gd name="T0" fmla="*/ 2147483646 w 280"/>
              <a:gd name="T1" fmla="*/ 2147483646 h 646"/>
              <a:gd name="T2" fmla="*/ 2147483646 w 280"/>
              <a:gd name="T3" fmla="*/ 2147483646 h 646"/>
              <a:gd name="T4" fmla="*/ 2147483646 w 280"/>
              <a:gd name="T5" fmla="*/ 2147483646 h 646"/>
              <a:gd name="T6" fmla="*/ 2147483646 w 280"/>
              <a:gd name="T7" fmla="*/ 2147483646 h 646"/>
              <a:gd name="T8" fmla="*/ 2147483646 w 280"/>
              <a:gd name="T9" fmla="*/ 2147483646 h 646"/>
              <a:gd name="T10" fmla="*/ 2147483646 w 280"/>
              <a:gd name="T11" fmla="*/ 2147483646 h 646"/>
              <a:gd name="T12" fmla="*/ 2147483646 w 280"/>
              <a:gd name="T13" fmla="*/ 2147483646 h 646"/>
              <a:gd name="T14" fmla="*/ 2147483646 w 280"/>
              <a:gd name="T15" fmla="*/ 2147483646 h 646"/>
              <a:gd name="T16" fmla="*/ 2147483646 w 280"/>
              <a:gd name="T17" fmla="*/ 2147483646 h 646"/>
              <a:gd name="T18" fmla="*/ 2147483646 w 280"/>
              <a:gd name="T19" fmla="*/ 2147483646 h 646"/>
              <a:gd name="T20" fmla="*/ 2147483646 w 280"/>
              <a:gd name="T21" fmla="*/ 2147483646 h 646"/>
              <a:gd name="T22" fmla="*/ 2147483646 w 280"/>
              <a:gd name="T23" fmla="*/ 2147483646 h 646"/>
              <a:gd name="T24" fmla="*/ 2147483646 w 280"/>
              <a:gd name="T25" fmla="*/ 2147483646 h 646"/>
              <a:gd name="T26" fmla="*/ 2147483646 w 280"/>
              <a:gd name="T27" fmla="*/ 2147483646 h 646"/>
              <a:gd name="T28" fmla="*/ 2147483646 w 280"/>
              <a:gd name="T29" fmla="*/ 2147483646 h 646"/>
              <a:gd name="T30" fmla="*/ 2147483646 w 280"/>
              <a:gd name="T31" fmla="*/ 2147483646 h 646"/>
              <a:gd name="T32" fmla="*/ 2147483646 w 280"/>
              <a:gd name="T33" fmla="*/ 2147483646 h 646"/>
              <a:gd name="T34" fmla="*/ 2147483646 w 280"/>
              <a:gd name="T35" fmla="*/ 2147483646 h 646"/>
              <a:gd name="T36" fmla="*/ 2147483646 w 280"/>
              <a:gd name="T37" fmla="*/ 2147483646 h 646"/>
              <a:gd name="T38" fmla="*/ 2147483646 w 280"/>
              <a:gd name="T39" fmla="*/ 2147483646 h 646"/>
              <a:gd name="T40" fmla="*/ 2147483646 w 280"/>
              <a:gd name="T41" fmla="*/ 2147483646 h 646"/>
              <a:gd name="T42" fmla="*/ 2147483646 w 280"/>
              <a:gd name="T43" fmla="*/ 2147483646 h 646"/>
              <a:gd name="T44" fmla="*/ 2147483646 w 280"/>
              <a:gd name="T45" fmla="*/ 2147483646 h 646"/>
              <a:gd name="T46" fmla="*/ 2147483646 w 280"/>
              <a:gd name="T47" fmla="*/ 2147483646 h 646"/>
              <a:gd name="T48" fmla="*/ 2147483646 w 280"/>
              <a:gd name="T49" fmla="*/ 2147483646 h 646"/>
              <a:gd name="T50" fmla="*/ 2147483646 w 280"/>
              <a:gd name="T51" fmla="*/ 2147483646 h 646"/>
              <a:gd name="T52" fmla="*/ 2147483646 w 280"/>
              <a:gd name="T53" fmla="*/ 2147483646 h 646"/>
              <a:gd name="T54" fmla="*/ 2147483646 w 280"/>
              <a:gd name="T55" fmla="*/ 2147483646 h 646"/>
              <a:gd name="T56" fmla="*/ 2147483646 w 280"/>
              <a:gd name="T57" fmla="*/ 2147483646 h 646"/>
              <a:gd name="T58" fmla="*/ 2147483646 w 280"/>
              <a:gd name="T59" fmla="*/ 2147483646 h 646"/>
              <a:gd name="T60" fmla="*/ 2147483646 w 280"/>
              <a:gd name="T61" fmla="*/ 2147483646 h 646"/>
              <a:gd name="T62" fmla="*/ 2147483646 w 280"/>
              <a:gd name="T63" fmla="*/ 2147483646 h 646"/>
              <a:gd name="T64" fmla="*/ 2147483646 w 280"/>
              <a:gd name="T65" fmla="*/ 2147483646 h 646"/>
              <a:gd name="T66" fmla="*/ 2147483646 w 280"/>
              <a:gd name="T67" fmla="*/ 2147483646 h 646"/>
              <a:gd name="T68" fmla="*/ 2147483646 w 280"/>
              <a:gd name="T69" fmla="*/ 2147483646 h 646"/>
              <a:gd name="T70" fmla="*/ 2147483646 w 280"/>
              <a:gd name="T71" fmla="*/ 2147483646 h 646"/>
              <a:gd name="T72" fmla="*/ 2147483646 w 280"/>
              <a:gd name="T73" fmla="*/ 2147483646 h 646"/>
              <a:gd name="T74" fmla="*/ 2147483646 w 280"/>
              <a:gd name="T75" fmla="*/ 2147483646 h 646"/>
              <a:gd name="T76" fmla="*/ 2147483646 w 280"/>
              <a:gd name="T77" fmla="*/ 2147483646 h 646"/>
              <a:gd name="T78" fmla="*/ 2147483646 w 280"/>
              <a:gd name="T79" fmla="*/ 2147483646 h 646"/>
              <a:gd name="T80" fmla="*/ 2147483646 w 280"/>
              <a:gd name="T81" fmla="*/ 2147483646 h 646"/>
              <a:gd name="T82" fmla="*/ 2147483646 w 280"/>
              <a:gd name="T83" fmla="*/ 2147483646 h 646"/>
              <a:gd name="T84" fmla="*/ 2147483646 w 280"/>
              <a:gd name="T85" fmla="*/ 2147483646 h 646"/>
              <a:gd name="T86" fmla="*/ 2147483646 w 280"/>
              <a:gd name="T87" fmla="*/ 2147483646 h 646"/>
              <a:gd name="T88" fmla="*/ 2147483646 w 280"/>
              <a:gd name="T89" fmla="*/ 2147483646 h 646"/>
              <a:gd name="T90" fmla="*/ 2147483646 w 280"/>
              <a:gd name="T91" fmla="*/ 2147483646 h 646"/>
              <a:gd name="T92" fmla="*/ 2147483646 w 280"/>
              <a:gd name="T93" fmla="*/ 2147483646 h 646"/>
              <a:gd name="T94" fmla="*/ 2147483646 w 280"/>
              <a:gd name="T95" fmla="*/ 2147483646 h 646"/>
              <a:gd name="T96" fmla="*/ 2147483646 w 280"/>
              <a:gd name="T97" fmla="*/ 2147483646 h 646"/>
              <a:gd name="T98" fmla="*/ 2147483646 w 280"/>
              <a:gd name="T99" fmla="*/ 2147483646 h 646"/>
              <a:gd name="T100" fmla="*/ 2147483646 w 280"/>
              <a:gd name="T101" fmla="*/ 2147483646 h 646"/>
              <a:gd name="T102" fmla="*/ 2147483646 w 280"/>
              <a:gd name="T103" fmla="*/ 2147483646 h 646"/>
              <a:gd name="T104" fmla="*/ 2147483646 w 280"/>
              <a:gd name="T105" fmla="*/ 2147483646 h 646"/>
              <a:gd name="T106" fmla="*/ 2147483646 w 280"/>
              <a:gd name="T107" fmla="*/ 2147483646 h 646"/>
              <a:gd name="T108" fmla="*/ 2147483646 w 280"/>
              <a:gd name="T109" fmla="*/ 2147483646 h 646"/>
              <a:gd name="T110" fmla="*/ 2147483646 w 280"/>
              <a:gd name="T111" fmla="*/ 2147483646 h 646"/>
              <a:gd name="T112" fmla="*/ 2147483646 w 280"/>
              <a:gd name="T113" fmla="*/ 2147483646 h 646"/>
              <a:gd name="T114" fmla="*/ 2147483646 w 280"/>
              <a:gd name="T115" fmla="*/ 2147483646 h 646"/>
              <a:gd name="T116" fmla="*/ 2147483646 w 280"/>
              <a:gd name="T117" fmla="*/ 2147483646 h 646"/>
              <a:gd name="T118" fmla="*/ 2147483646 w 280"/>
              <a:gd name="T119" fmla="*/ 2147483646 h 646"/>
              <a:gd name="T120" fmla="*/ 2147483646 w 280"/>
              <a:gd name="T121" fmla="*/ 2147483646 h 646"/>
              <a:gd name="T122" fmla="*/ 2147483646 w 280"/>
              <a:gd name="T123" fmla="*/ 2147483646 h 646"/>
              <a:gd name="T124" fmla="*/ 2147483646 w 280"/>
              <a:gd name="T125" fmla="*/ 2147483646 h 64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80"/>
              <a:gd name="T190" fmla="*/ 0 h 646"/>
              <a:gd name="T191" fmla="*/ 280 w 280"/>
              <a:gd name="T192" fmla="*/ 646 h 64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80" h="646">
                <a:moveTo>
                  <a:pt x="0" y="73"/>
                </a:moveTo>
                <a:cubicBezTo>
                  <a:pt x="1" y="74"/>
                  <a:pt x="3" y="76"/>
                  <a:pt x="4" y="79"/>
                </a:cubicBezTo>
                <a:cubicBezTo>
                  <a:pt x="6" y="73"/>
                  <a:pt x="4" y="67"/>
                  <a:pt x="7" y="61"/>
                </a:cubicBezTo>
                <a:cubicBezTo>
                  <a:pt x="26" y="64"/>
                  <a:pt x="26" y="92"/>
                  <a:pt x="40" y="101"/>
                </a:cubicBezTo>
                <a:cubicBezTo>
                  <a:pt x="53" y="109"/>
                  <a:pt x="75" y="91"/>
                  <a:pt x="78" y="103"/>
                </a:cubicBezTo>
                <a:cubicBezTo>
                  <a:pt x="82" y="103"/>
                  <a:pt x="86" y="102"/>
                  <a:pt x="89" y="98"/>
                </a:cubicBezTo>
                <a:cubicBezTo>
                  <a:pt x="94" y="103"/>
                  <a:pt x="97" y="111"/>
                  <a:pt x="102" y="117"/>
                </a:cubicBezTo>
                <a:cubicBezTo>
                  <a:pt x="105" y="110"/>
                  <a:pt x="107" y="101"/>
                  <a:pt x="111" y="95"/>
                </a:cubicBezTo>
                <a:cubicBezTo>
                  <a:pt x="114" y="91"/>
                  <a:pt x="123" y="85"/>
                  <a:pt x="123" y="83"/>
                </a:cubicBezTo>
                <a:cubicBezTo>
                  <a:pt x="126" y="77"/>
                  <a:pt x="121" y="74"/>
                  <a:pt x="122" y="69"/>
                </a:cubicBezTo>
                <a:cubicBezTo>
                  <a:pt x="124" y="63"/>
                  <a:pt x="129" y="58"/>
                  <a:pt x="134" y="53"/>
                </a:cubicBezTo>
                <a:cubicBezTo>
                  <a:pt x="133" y="50"/>
                  <a:pt x="129" y="44"/>
                  <a:pt x="129" y="40"/>
                </a:cubicBezTo>
                <a:cubicBezTo>
                  <a:pt x="128" y="32"/>
                  <a:pt x="130" y="34"/>
                  <a:pt x="132" y="26"/>
                </a:cubicBezTo>
                <a:cubicBezTo>
                  <a:pt x="137" y="13"/>
                  <a:pt x="140" y="10"/>
                  <a:pt x="152" y="7"/>
                </a:cubicBezTo>
                <a:cubicBezTo>
                  <a:pt x="161" y="5"/>
                  <a:pt x="167" y="0"/>
                  <a:pt x="175" y="4"/>
                </a:cubicBezTo>
                <a:cubicBezTo>
                  <a:pt x="188" y="11"/>
                  <a:pt x="186" y="21"/>
                  <a:pt x="205" y="16"/>
                </a:cubicBezTo>
                <a:cubicBezTo>
                  <a:pt x="212" y="28"/>
                  <a:pt x="211" y="30"/>
                  <a:pt x="208" y="43"/>
                </a:cubicBezTo>
                <a:cubicBezTo>
                  <a:pt x="205" y="52"/>
                  <a:pt x="201" y="59"/>
                  <a:pt x="204" y="69"/>
                </a:cubicBezTo>
                <a:cubicBezTo>
                  <a:pt x="205" y="71"/>
                  <a:pt x="205" y="71"/>
                  <a:pt x="205" y="71"/>
                </a:cubicBezTo>
                <a:cubicBezTo>
                  <a:pt x="204" y="72"/>
                  <a:pt x="204" y="72"/>
                  <a:pt x="204" y="72"/>
                </a:cubicBezTo>
                <a:cubicBezTo>
                  <a:pt x="199" y="75"/>
                  <a:pt x="195" y="78"/>
                  <a:pt x="191" y="84"/>
                </a:cubicBezTo>
                <a:cubicBezTo>
                  <a:pt x="183" y="95"/>
                  <a:pt x="186" y="102"/>
                  <a:pt x="187" y="116"/>
                </a:cubicBezTo>
                <a:cubicBezTo>
                  <a:pt x="199" y="123"/>
                  <a:pt x="223" y="147"/>
                  <a:pt x="230" y="160"/>
                </a:cubicBezTo>
                <a:cubicBezTo>
                  <a:pt x="236" y="170"/>
                  <a:pt x="232" y="171"/>
                  <a:pt x="225" y="183"/>
                </a:cubicBezTo>
                <a:cubicBezTo>
                  <a:pt x="221" y="190"/>
                  <a:pt x="217" y="196"/>
                  <a:pt x="219" y="204"/>
                </a:cubicBezTo>
                <a:cubicBezTo>
                  <a:pt x="190" y="217"/>
                  <a:pt x="231" y="267"/>
                  <a:pt x="237" y="284"/>
                </a:cubicBezTo>
                <a:cubicBezTo>
                  <a:pt x="241" y="297"/>
                  <a:pt x="238" y="290"/>
                  <a:pt x="234" y="303"/>
                </a:cubicBezTo>
                <a:cubicBezTo>
                  <a:pt x="232" y="310"/>
                  <a:pt x="235" y="312"/>
                  <a:pt x="232" y="319"/>
                </a:cubicBezTo>
                <a:cubicBezTo>
                  <a:pt x="229" y="328"/>
                  <a:pt x="226" y="328"/>
                  <a:pt x="225" y="337"/>
                </a:cubicBezTo>
                <a:cubicBezTo>
                  <a:pt x="225" y="346"/>
                  <a:pt x="227" y="356"/>
                  <a:pt x="227" y="365"/>
                </a:cubicBezTo>
                <a:cubicBezTo>
                  <a:pt x="231" y="367"/>
                  <a:pt x="236" y="368"/>
                  <a:pt x="241" y="367"/>
                </a:cubicBezTo>
                <a:cubicBezTo>
                  <a:pt x="244" y="377"/>
                  <a:pt x="242" y="381"/>
                  <a:pt x="236" y="388"/>
                </a:cubicBezTo>
                <a:cubicBezTo>
                  <a:pt x="239" y="388"/>
                  <a:pt x="242" y="390"/>
                  <a:pt x="245" y="391"/>
                </a:cubicBezTo>
                <a:cubicBezTo>
                  <a:pt x="245" y="397"/>
                  <a:pt x="246" y="398"/>
                  <a:pt x="250" y="402"/>
                </a:cubicBezTo>
                <a:cubicBezTo>
                  <a:pt x="243" y="406"/>
                  <a:pt x="239" y="413"/>
                  <a:pt x="245" y="419"/>
                </a:cubicBezTo>
                <a:cubicBezTo>
                  <a:pt x="241" y="421"/>
                  <a:pt x="239" y="424"/>
                  <a:pt x="236" y="427"/>
                </a:cubicBezTo>
                <a:cubicBezTo>
                  <a:pt x="239" y="432"/>
                  <a:pt x="248" y="433"/>
                  <a:pt x="248" y="441"/>
                </a:cubicBezTo>
                <a:cubicBezTo>
                  <a:pt x="260" y="448"/>
                  <a:pt x="270" y="453"/>
                  <a:pt x="275" y="467"/>
                </a:cubicBezTo>
                <a:cubicBezTo>
                  <a:pt x="280" y="483"/>
                  <a:pt x="270" y="496"/>
                  <a:pt x="261" y="509"/>
                </a:cubicBezTo>
                <a:cubicBezTo>
                  <a:pt x="253" y="520"/>
                  <a:pt x="243" y="533"/>
                  <a:pt x="233" y="541"/>
                </a:cubicBezTo>
                <a:cubicBezTo>
                  <a:pt x="226" y="548"/>
                  <a:pt x="204" y="553"/>
                  <a:pt x="213" y="566"/>
                </a:cubicBezTo>
                <a:cubicBezTo>
                  <a:pt x="201" y="571"/>
                  <a:pt x="184" y="587"/>
                  <a:pt x="181" y="601"/>
                </a:cubicBezTo>
                <a:cubicBezTo>
                  <a:pt x="180" y="601"/>
                  <a:pt x="180" y="601"/>
                  <a:pt x="180" y="601"/>
                </a:cubicBezTo>
                <a:cubicBezTo>
                  <a:pt x="179" y="603"/>
                  <a:pt x="178" y="604"/>
                  <a:pt x="177" y="605"/>
                </a:cubicBezTo>
                <a:cubicBezTo>
                  <a:pt x="175" y="606"/>
                  <a:pt x="174" y="607"/>
                  <a:pt x="169" y="605"/>
                </a:cubicBezTo>
                <a:cubicBezTo>
                  <a:pt x="164" y="603"/>
                  <a:pt x="163" y="600"/>
                  <a:pt x="157" y="604"/>
                </a:cubicBezTo>
                <a:cubicBezTo>
                  <a:pt x="152" y="609"/>
                  <a:pt x="150" y="607"/>
                  <a:pt x="146" y="608"/>
                </a:cubicBezTo>
                <a:cubicBezTo>
                  <a:pt x="142" y="610"/>
                  <a:pt x="149" y="609"/>
                  <a:pt x="139" y="612"/>
                </a:cubicBezTo>
                <a:cubicBezTo>
                  <a:pt x="129" y="614"/>
                  <a:pt x="127" y="613"/>
                  <a:pt x="125" y="617"/>
                </a:cubicBezTo>
                <a:cubicBezTo>
                  <a:pt x="124" y="620"/>
                  <a:pt x="122" y="623"/>
                  <a:pt x="116" y="623"/>
                </a:cubicBezTo>
                <a:cubicBezTo>
                  <a:pt x="110" y="624"/>
                  <a:pt x="109" y="619"/>
                  <a:pt x="107" y="623"/>
                </a:cubicBezTo>
                <a:cubicBezTo>
                  <a:pt x="105" y="626"/>
                  <a:pt x="102" y="621"/>
                  <a:pt x="100" y="624"/>
                </a:cubicBezTo>
                <a:cubicBezTo>
                  <a:pt x="99" y="628"/>
                  <a:pt x="99" y="627"/>
                  <a:pt x="95" y="630"/>
                </a:cubicBezTo>
                <a:cubicBezTo>
                  <a:pt x="92" y="633"/>
                  <a:pt x="85" y="636"/>
                  <a:pt x="84" y="634"/>
                </a:cubicBezTo>
                <a:cubicBezTo>
                  <a:pt x="82" y="633"/>
                  <a:pt x="81" y="625"/>
                  <a:pt x="79" y="630"/>
                </a:cubicBezTo>
                <a:cubicBezTo>
                  <a:pt x="77" y="634"/>
                  <a:pt x="76" y="638"/>
                  <a:pt x="73" y="635"/>
                </a:cubicBezTo>
                <a:cubicBezTo>
                  <a:pt x="70" y="633"/>
                  <a:pt x="68" y="634"/>
                  <a:pt x="68" y="634"/>
                </a:cubicBezTo>
                <a:cubicBezTo>
                  <a:pt x="68" y="634"/>
                  <a:pt x="65" y="646"/>
                  <a:pt x="60" y="642"/>
                </a:cubicBezTo>
                <a:cubicBezTo>
                  <a:pt x="56" y="638"/>
                  <a:pt x="65" y="635"/>
                  <a:pt x="61" y="634"/>
                </a:cubicBezTo>
                <a:cubicBezTo>
                  <a:pt x="57" y="633"/>
                  <a:pt x="51" y="637"/>
                  <a:pt x="51" y="634"/>
                </a:cubicBezTo>
                <a:cubicBezTo>
                  <a:pt x="51" y="631"/>
                  <a:pt x="49" y="626"/>
                  <a:pt x="53" y="625"/>
                </a:cubicBezTo>
                <a:cubicBezTo>
                  <a:pt x="57" y="624"/>
                  <a:pt x="55" y="623"/>
                  <a:pt x="58" y="621"/>
                </a:cubicBezTo>
                <a:cubicBezTo>
                  <a:pt x="60" y="618"/>
                  <a:pt x="59" y="617"/>
                  <a:pt x="60" y="615"/>
                </a:cubicBezTo>
                <a:cubicBezTo>
                  <a:pt x="61" y="613"/>
                  <a:pt x="61" y="611"/>
                  <a:pt x="61" y="611"/>
                </a:cubicBezTo>
                <a:cubicBezTo>
                  <a:pt x="54" y="616"/>
                  <a:pt x="54" y="616"/>
                  <a:pt x="54" y="616"/>
                </a:cubicBezTo>
                <a:cubicBezTo>
                  <a:pt x="54" y="616"/>
                  <a:pt x="47" y="616"/>
                  <a:pt x="46" y="613"/>
                </a:cubicBezTo>
                <a:cubicBezTo>
                  <a:pt x="45" y="609"/>
                  <a:pt x="45" y="606"/>
                  <a:pt x="42" y="607"/>
                </a:cubicBezTo>
                <a:cubicBezTo>
                  <a:pt x="39" y="607"/>
                  <a:pt x="36" y="608"/>
                  <a:pt x="34" y="606"/>
                </a:cubicBezTo>
                <a:cubicBezTo>
                  <a:pt x="31" y="604"/>
                  <a:pt x="35" y="601"/>
                  <a:pt x="31" y="601"/>
                </a:cubicBezTo>
                <a:cubicBezTo>
                  <a:pt x="26" y="601"/>
                  <a:pt x="26" y="598"/>
                  <a:pt x="23" y="600"/>
                </a:cubicBezTo>
                <a:cubicBezTo>
                  <a:pt x="21" y="602"/>
                  <a:pt x="19" y="603"/>
                  <a:pt x="17" y="600"/>
                </a:cubicBezTo>
                <a:cubicBezTo>
                  <a:pt x="16" y="598"/>
                  <a:pt x="13" y="596"/>
                  <a:pt x="15" y="593"/>
                </a:cubicBezTo>
                <a:cubicBezTo>
                  <a:pt x="17" y="591"/>
                  <a:pt x="18" y="588"/>
                  <a:pt x="18" y="588"/>
                </a:cubicBezTo>
                <a:cubicBezTo>
                  <a:pt x="19" y="583"/>
                  <a:pt x="19" y="583"/>
                  <a:pt x="19" y="583"/>
                </a:cubicBezTo>
                <a:cubicBezTo>
                  <a:pt x="16" y="576"/>
                  <a:pt x="16" y="576"/>
                  <a:pt x="16" y="576"/>
                </a:cubicBezTo>
                <a:cubicBezTo>
                  <a:pt x="17" y="571"/>
                  <a:pt x="17" y="571"/>
                  <a:pt x="17" y="571"/>
                </a:cubicBezTo>
                <a:cubicBezTo>
                  <a:pt x="21" y="567"/>
                  <a:pt x="21" y="567"/>
                  <a:pt x="21" y="567"/>
                </a:cubicBezTo>
                <a:cubicBezTo>
                  <a:pt x="21" y="567"/>
                  <a:pt x="17" y="564"/>
                  <a:pt x="17" y="562"/>
                </a:cubicBezTo>
                <a:cubicBezTo>
                  <a:pt x="17" y="561"/>
                  <a:pt x="22" y="554"/>
                  <a:pt x="21" y="551"/>
                </a:cubicBezTo>
                <a:cubicBezTo>
                  <a:pt x="21" y="551"/>
                  <a:pt x="20" y="547"/>
                  <a:pt x="21" y="547"/>
                </a:cubicBezTo>
                <a:cubicBezTo>
                  <a:pt x="23" y="547"/>
                  <a:pt x="25" y="544"/>
                  <a:pt x="23" y="541"/>
                </a:cubicBezTo>
                <a:cubicBezTo>
                  <a:pt x="21" y="538"/>
                  <a:pt x="19" y="537"/>
                  <a:pt x="19" y="535"/>
                </a:cubicBezTo>
                <a:cubicBezTo>
                  <a:pt x="20" y="532"/>
                  <a:pt x="21" y="530"/>
                  <a:pt x="20" y="529"/>
                </a:cubicBezTo>
                <a:cubicBezTo>
                  <a:pt x="20" y="527"/>
                  <a:pt x="21" y="529"/>
                  <a:pt x="17" y="525"/>
                </a:cubicBezTo>
                <a:cubicBezTo>
                  <a:pt x="14" y="520"/>
                  <a:pt x="12" y="516"/>
                  <a:pt x="14" y="513"/>
                </a:cubicBezTo>
                <a:cubicBezTo>
                  <a:pt x="16" y="510"/>
                  <a:pt x="19" y="508"/>
                  <a:pt x="17" y="506"/>
                </a:cubicBezTo>
                <a:cubicBezTo>
                  <a:pt x="16" y="504"/>
                  <a:pt x="13" y="506"/>
                  <a:pt x="12" y="500"/>
                </a:cubicBezTo>
                <a:cubicBezTo>
                  <a:pt x="11" y="495"/>
                  <a:pt x="10" y="490"/>
                  <a:pt x="10" y="487"/>
                </a:cubicBezTo>
                <a:cubicBezTo>
                  <a:pt x="10" y="485"/>
                  <a:pt x="10" y="479"/>
                  <a:pt x="11" y="477"/>
                </a:cubicBezTo>
                <a:cubicBezTo>
                  <a:pt x="12" y="476"/>
                  <a:pt x="16" y="471"/>
                  <a:pt x="16" y="471"/>
                </a:cubicBezTo>
                <a:cubicBezTo>
                  <a:pt x="16" y="471"/>
                  <a:pt x="25" y="466"/>
                  <a:pt x="23" y="462"/>
                </a:cubicBezTo>
                <a:cubicBezTo>
                  <a:pt x="22" y="459"/>
                  <a:pt x="28" y="450"/>
                  <a:pt x="31" y="450"/>
                </a:cubicBezTo>
                <a:cubicBezTo>
                  <a:pt x="34" y="450"/>
                  <a:pt x="35" y="450"/>
                  <a:pt x="39" y="449"/>
                </a:cubicBezTo>
                <a:cubicBezTo>
                  <a:pt x="44" y="449"/>
                  <a:pt x="48" y="441"/>
                  <a:pt x="48" y="436"/>
                </a:cubicBezTo>
                <a:cubicBezTo>
                  <a:pt x="49" y="432"/>
                  <a:pt x="48" y="429"/>
                  <a:pt x="51" y="426"/>
                </a:cubicBezTo>
                <a:cubicBezTo>
                  <a:pt x="54" y="424"/>
                  <a:pt x="53" y="422"/>
                  <a:pt x="58" y="418"/>
                </a:cubicBezTo>
                <a:cubicBezTo>
                  <a:pt x="63" y="414"/>
                  <a:pt x="71" y="405"/>
                  <a:pt x="74" y="401"/>
                </a:cubicBezTo>
                <a:cubicBezTo>
                  <a:pt x="78" y="398"/>
                  <a:pt x="80" y="395"/>
                  <a:pt x="84" y="393"/>
                </a:cubicBezTo>
                <a:cubicBezTo>
                  <a:pt x="88" y="391"/>
                  <a:pt x="87" y="386"/>
                  <a:pt x="89" y="382"/>
                </a:cubicBezTo>
                <a:cubicBezTo>
                  <a:pt x="90" y="378"/>
                  <a:pt x="86" y="374"/>
                  <a:pt x="91" y="372"/>
                </a:cubicBezTo>
                <a:cubicBezTo>
                  <a:pt x="96" y="371"/>
                  <a:pt x="94" y="369"/>
                  <a:pt x="97" y="364"/>
                </a:cubicBezTo>
                <a:cubicBezTo>
                  <a:pt x="100" y="360"/>
                  <a:pt x="100" y="359"/>
                  <a:pt x="103" y="358"/>
                </a:cubicBezTo>
                <a:cubicBezTo>
                  <a:pt x="106" y="357"/>
                  <a:pt x="104" y="355"/>
                  <a:pt x="107" y="354"/>
                </a:cubicBezTo>
                <a:cubicBezTo>
                  <a:pt x="110" y="352"/>
                  <a:pt x="109" y="349"/>
                  <a:pt x="112" y="351"/>
                </a:cubicBezTo>
                <a:cubicBezTo>
                  <a:pt x="115" y="353"/>
                  <a:pt x="117" y="351"/>
                  <a:pt x="118" y="349"/>
                </a:cubicBezTo>
                <a:cubicBezTo>
                  <a:pt x="119" y="347"/>
                  <a:pt x="116" y="341"/>
                  <a:pt x="116" y="341"/>
                </a:cubicBezTo>
                <a:cubicBezTo>
                  <a:pt x="116" y="341"/>
                  <a:pt x="122" y="335"/>
                  <a:pt x="120" y="326"/>
                </a:cubicBezTo>
                <a:cubicBezTo>
                  <a:pt x="117" y="317"/>
                  <a:pt x="118" y="315"/>
                  <a:pt x="117" y="313"/>
                </a:cubicBezTo>
                <a:cubicBezTo>
                  <a:pt x="116" y="311"/>
                  <a:pt x="109" y="307"/>
                  <a:pt x="109" y="307"/>
                </a:cubicBezTo>
                <a:cubicBezTo>
                  <a:pt x="104" y="296"/>
                  <a:pt x="104" y="296"/>
                  <a:pt x="104" y="296"/>
                </a:cubicBezTo>
                <a:cubicBezTo>
                  <a:pt x="104" y="296"/>
                  <a:pt x="103" y="286"/>
                  <a:pt x="100" y="290"/>
                </a:cubicBezTo>
                <a:cubicBezTo>
                  <a:pt x="99" y="293"/>
                  <a:pt x="97" y="294"/>
                  <a:pt x="95" y="294"/>
                </a:cubicBezTo>
                <a:cubicBezTo>
                  <a:pt x="93" y="294"/>
                  <a:pt x="93" y="294"/>
                  <a:pt x="93" y="294"/>
                </a:cubicBezTo>
                <a:cubicBezTo>
                  <a:pt x="88" y="285"/>
                  <a:pt x="81" y="276"/>
                  <a:pt x="77" y="266"/>
                </a:cubicBezTo>
                <a:cubicBezTo>
                  <a:pt x="69" y="251"/>
                  <a:pt x="76" y="250"/>
                  <a:pt x="82" y="235"/>
                </a:cubicBezTo>
                <a:cubicBezTo>
                  <a:pt x="79" y="236"/>
                  <a:pt x="76" y="233"/>
                  <a:pt x="74" y="233"/>
                </a:cubicBezTo>
                <a:cubicBezTo>
                  <a:pt x="75" y="231"/>
                  <a:pt x="75" y="226"/>
                  <a:pt x="78" y="223"/>
                </a:cubicBezTo>
                <a:cubicBezTo>
                  <a:pt x="76" y="222"/>
                  <a:pt x="74" y="220"/>
                  <a:pt x="71" y="219"/>
                </a:cubicBezTo>
                <a:cubicBezTo>
                  <a:pt x="70" y="207"/>
                  <a:pt x="70" y="195"/>
                  <a:pt x="71" y="183"/>
                </a:cubicBezTo>
                <a:cubicBezTo>
                  <a:pt x="71" y="172"/>
                  <a:pt x="76" y="158"/>
                  <a:pt x="75" y="147"/>
                </a:cubicBezTo>
                <a:cubicBezTo>
                  <a:pt x="73" y="147"/>
                  <a:pt x="70" y="147"/>
                  <a:pt x="68" y="147"/>
                </a:cubicBezTo>
                <a:cubicBezTo>
                  <a:pt x="72" y="122"/>
                  <a:pt x="52" y="138"/>
                  <a:pt x="47" y="119"/>
                </a:cubicBezTo>
                <a:cubicBezTo>
                  <a:pt x="45" y="122"/>
                  <a:pt x="41" y="123"/>
                  <a:pt x="40" y="124"/>
                </a:cubicBezTo>
                <a:cubicBezTo>
                  <a:pt x="39" y="119"/>
                  <a:pt x="38" y="115"/>
                  <a:pt x="38" y="110"/>
                </a:cubicBezTo>
                <a:cubicBezTo>
                  <a:pt x="34" y="111"/>
                  <a:pt x="31" y="110"/>
                  <a:pt x="27" y="113"/>
                </a:cubicBezTo>
                <a:cubicBezTo>
                  <a:pt x="19" y="101"/>
                  <a:pt x="8" y="93"/>
                  <a:pt x="1" y="79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20" name="Freeform 555"/>
          <p:cNvSpPr>
            <a:spLocks/>
          </p:cNvSpPr>
          <p:nvPr userDrawn="1"/>
        </p:nvSpPr>
        <p:spPr bwMode="auto">
          <a:xfrm>
            <a:off x="6008260" y="2567388"/>
            <a:ext cx="261315" cy="603033"/>
          </a:xfrm>
          <a:custGeom>
            <a:avLst/>
            <a:gdLst>
              <a:gd name="T0" fmla="*/ 2147483646 w 280"/>
              <a:gd name="T1" fmla="*/ 2147483646 h 646"/>
              <a:gd name="T2" fmla="*/ 2147483646 w 280"/>
              <a:gd name="T3" fmla="*/ 2147483646 h 646"/>
              <a:gd name="T4" fmla="*/ 2147483646 w 280"/>
              <a:gd name="T5" fmla="*/ 2147483646 h 646"/>
              <a:gd name="T6" fmla="*/ 2147483646 w 280"/>
              <a:gd name="T7" fmla="*/ 2147483646 h 646"/>
              <a:gd name="T8" fmla="*/ 2147483646 w 280"/>
              <a:gd name="T9" fmla="*/ 2147483646 h 646"/>
              <a:gd name="T10" fmla="*/ 2147483646 w 280"/>
              <a:gd name="T11" fmla="*/ 2147483646 h 646"/>
              <a:gd name="T12" fmla="*/ 2147483646 w 280"/>
              <a:gd name="T13" fmla="*/ 2147483646 h 646"/>
              <a:gd name="T14" fmla="*/ 2147483646 w 280"/>
              <a:gd name="T15" fmla="*/ 2147483646 h 646"/>
              <a:gd name="T16" fmla="*/ 2147483646 w 280"/>
              <a:gd name="T17" fmla="*/ 2147483646 h 646"/>
              <a:gd name="T18" fmla="*/ 2147483646 w 280"/>
              <a:gd name="T19" fmla="*/ 2147483646 h 646"/>
              <a:gd name="T20" fmla="*/ 2147483646 w 280"/>
              <a:gd name="T21" fmla="*/ 2147483646 h 646"/>
              <a:gd name="T22" fmla="*/ 2147483646 w 280"/>
              <a:gd name="T23" fmla="*/ 2147483646 h 646"/>
              <a:gd name="T24" fmla="*/ 2147483646 w 280"/>
              <a:gd name="T25" fmla="*/ 2147483646 h 646"/>
              <a:gd name="T26" fmla="*/ 2147483646 w 280"/>
              <a:gd name="T27" fmla="*/ 2147483646 h 646"/>
              <a:gd name="T28" fmla="*/ 2147483646 w 280"/>
              <a:gd name="T29" fmla="*/ 2147483646 h 646"/>
              <a:gd name="T30" fmla="*/ 2147483646 w 280"/>
              <a:gd name="T31" fmla="*/ 2147483646 h 646"/>
              <a:gd name="T32" fmla="*/ 2147483646 w 280"/>
              <a:gd name="T33" fmla="*/ 2147483646 h 646"/>
              <a:gd name="T34" fmla="*/ 2147483646 w 280"/>
              <a:gd name="T35" fmla="*/ 2147483646 h 646"/>
              <a:gd name="T36" fmla="*/ 2147483646 w 280"/>
              <a:gd name="T37" fmla="*/ 2147483646 h 646"/>
              <a:gd name="T38" fmla="*/ 2147483646 w 280"/>
              <a:gd name="T39" fmla="*/ 2147483646 h 646"/>
              <a:gd name="T40" fmla="*/ 2147483646 w 280"/>
              <a:gd name="T41" fmla="*/ 2147483646 h 646"/>
              <a:gd name="T42" fmla="*/ 2147483646 w 280"/>
              <a:gd name="T43" fmla="*/ 2147483646 h 646"/>
              <a:gd name="T44" fmla="*/ 2147483646 w 280"/>
              <a:gd name="T45" fmla="*/ 2147483646 h 646"/>
              <a:gd name="T46" fmla="*/ 2147483646 w 280"/>
              <a:gd name="T47" fmla="*/ 2147483646 h 646"/>
              <a:gd name="T48" fmla="*/ 2147483646 w 280"/>
              <a:gd name="T49" fmla="*/ 2147483646 h 646"/>
              <a:gd name="T50" fmla="*/ 2147483646 w 280"/>
              <a:gd name="T51" fmla="*/ 2147483646 h 646"/>
              <a:gd name="T52" fmla="*/ 2147483646 w 280"/>
              <a:gd name="T53" fmla="*/ 2147483646 h 646"/>
              <a:gd name="T54" fmla="*/ 2147483646 w 280"/>
              <a:gd name="T55" fmla="*/ 2147483646 h 646"/>
              <a:gd name="T56" fmla="*/ 2147483646 w 280"/>
              <a:gd name="T57" fmla="*/ 2147483646 h 646"/>
              <a:gd name="T58" fmla="*/ 2147483646 w 280"/>
              <a:gd name="T59" fmla="*/ 2147483646 h 646"/>
              <a:gd name="T60" fmla="*/ 2147483646 w 280"/>
              <a:gd name="T61" fmla="*/ 2147483646 h 646"/>
              <a:gd name="T62" fmla="*/ 2147483646 w 280"/>
              <a:gd name="T63" fmla="*/ 2147483646 h 646"/>
              <a:gd name="T64" fmla="*/ 2147483646 w 280"/>
              <a:gd name="T65" fmla="*/ 2147483646 h 646"/>
              <a:gd name="T66" fmla="*/ 2147483646 w 280"/>
              <a:gd name="T67" fmla="*/ 2147483646 h 646"/>
              <a:gd name="T68" fmla="*/ 2147483646 w 280"/>
              <a:gd name="T69" fmla="*/ 2147483646 h 646"/>
              <a:gd name="T70" fmla="*/ 2147483646 w 280"/>
              <a:gd name="T71" fmla="*/ 2147483646 h 646"/>
              <a:gd name="T72" fmla="*/ 2147483646 w 280"/>
              <a:gd name="T73" fmla="*/ 2147483646 h 646"/>
              <a:gd name="T74" fmla="*/ 2147483646 w 280"/>
              <a:gd name="T75" fmla="*/ 2147483646 h 646"/>
              <a:gd name="T76" fmla="*/ 2147483646 w 280"/>
              <a:gd name="T77" fmla="*/ 2147483646 h 646"/>
              <a:gd name="T78" fmla="*/ 2147483646 w 280"/>
              <a:gd name="T79" fmla="*/ 2147483646 h 646"/>
              <a:gd name="T80" fmla="*/ 2147483646 w 280"/>
              <a:gd name="T81" fmla="*/ 2147483646 h 646"/>
              <a:gd name="T82" fmla="*/ 2147483646 w 280"/>
              <a:gd name="T83" fmla="*/ 2147483646 h 646"/>
              <a:gd name="T84" fmla="*/ 2147483646 w 280"/>
              <a:gd name="T85" fmla="*/ 2147483646 h 646"/>
              <a:gd name="T86" fmla="*/ 2147483646 w 280"/>
              <a:gd name="T87" fmla="*/ 2147483646 h 646"/>
              <a:gd name="T88" fmla="*/ 2147483646 w 280"/>
              <a:gd name="T89" fmla="*/ 2147483646 h 646"/>
              <a:gd name="T90" fmla="*/ 2147483646 w 280"/>
              <a:gd name="T91" fmla="*/ 2147483646 h 646"/>
              <a:gd name="T92" fmla="*/ 2147483646 w 280"/>
              <a:gd name="T93" fmla="*/ 2147483646 h 646"/>
              <a:gd name="T94" fmla="*/ 2147483646 w 280"/>
              <a:gd name="T95" fmla="*/ 2147483646 h 646"/>
              <a:gd name="T96" fmla="*/ 2147483646 w 280"/>
              <a:gd name="T97" fmla="*/ 2147483646 h 646"/>
              <a:gd name="T98" fmla="*/ 2147483646 w 280"/>
              <a:gd name="T99" fmla="*/ 2147483646 h 646"/>
              <a:gd name="T100" fmla="*/ 2147483646 w 280"/>
              <a:gd name="T101" fmla="*/ 2147483646 h 646"/>
              <a:gd name="T102" fmla="*/ 2147483646 w 280"/>
              <a:gd name="T103" fmla="*/ 2147483646 h 646"/>
              <a:gd name="T104" fmla="*/ 2147483646 w 280"/>
              <a:gd name="T105" fmla="*/ 2147483646 h 646"/>
              <a:gd name="T106" fmla="*/ 2147483646 w 280"/>
              <a:gd name="T107" fmla="*/ 2147483646 h 646"/>
              <a:gd name="T108" fmla="*/ 2147483646 w 280"/>
              <a:gd name="T109" fmla="*/ 2147483646 h 646"/>
              <a:gd name="T110" fmla="*/ 2147483646 w 280"/>
              <a:gd name="T111" fmla="*/ 2147483646 h 646"/>
              <a:gd name="T112" fmla="*/ 2147483646 w 280"/>
              <a:gd name="T113" fmla="*/ 2147483646 h 646"/>
              <a:gd name="T114" fmla="*/ 2147483646 w 280"/>
              <a:gd name="T115" fmla="*/ 2147483646 h 646"/>
              <a:gd name="T116" fmla="*/ 2147483646 w 280"/>
              <a:gd name="T117" fmla="*/ 2147483646 h 646"/>
              <a:gd name="T118" fmla="*/ 2147483646 w 280"/>
              <a:gd name="T119" fmla="*/ 2147483646 h 646"/>
              <a:gd name="T120" fmla="*/ 2147483646 w 280"/>
              <a:gd name="T121" fmla="*/ 2147483646 h 646"/>
              <a:gd name="T122" fmla="*/ 2147483646 w 280"/>
              <a:gd name="T123" fmla="*/ 2147483646 h 646"/>
              <a:gd name="T124" fmla="*/ 2147483646 w 280"/>
              <a:gd name="T125" fmla="*/ 2147483646 h 64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80"/>
              <a:gd name="T190" fmla="*/ 0 h 646"/>
              <a:gd name="T191" fmla="*/ 280 w 280"/>
              <a:gd name="T192" fmla="*/ 646 h 64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80" h="646">
                <a:moveTo>
                  <a:pt x="0" y="73"/>
                </a:moveTo>
                <a:cubicBezTo>
                  <a:pt x="1" y="74"/>
                  <a:pt x="3" y="76"/>
                  <a:pt x="4" y="79"/>
                </a:cubicBezTo>
                <a:cubicBezTo>
                  <a:pt x="6" y="73"/>
                  <a:pt x="4" y="67"/>
                  <a:pt x="7" y="61"/>
                </a:cubicBezTo>
                <a:cubicBezTo>
                  <a:pt x="26" y="64"/>
                  <a:pt x="26" y="92"/>
                  <a:pt x="40" y="101"/>
                </a:cubicBezTo>
                <a:cubicBezTo>
                  <a:pt x="53" y="109"/>
                  <a:pt x="75" y="91"/>
                  <a:pt x="78" y="103"/>
                </a:cubicBezTo>
                <a:cubicBezTo>
                  <a:pt x="82" y="103"/>
                  <a:pt x="86" y="102"/>
                  <a:pt x="89" y="98"/>
                </a:cubicBezTo>
                <a:cubicBezTo>
                  <a:pt x="94" y="103"/>
                  <a:pt x="97" y="111"/>
                  <a:pt x="102" y="117"/>
                </a:cubicBezTo>
                <a:cubicBezTo>
                  <a:pt x="105" y="110"/>
                  <a:pt x="107" y="101"/>
                  <a:pt x="111" y="95"/>
                </a:cubicBezTo>
                <a:cubicBezTo>
                  <a:pt x="114" y="91"/>
                  <a:pt x="123" y="85"/>
                  <a:pt x="123" y="83"/>
                </a:cubicBezTo>
                <a:cubicBezTo>
                  <a:pt x="126" y="77"/>
                  <a:pt x="121" y="74"/>
                  <a:pt x="122" y="69"/>
                </a:cubicBezTo>
                <a:cubicBezTo>
                  <a:pt x="124" y="63"/>
                  <a:pt x="129" y="58"/>
                  <a:pt x="134" y="53"/>
                </a:cubicBezTo>
                <a:cubicBezTo>
                  <a:pt x="133" y="50"/>
                  <a:pt x="129" y="44"/>
                  <a:pt x="129" y="40"/>
                </a:cubicBezTo>
                <a:cubicBezTo>
                  <a:pt x="128" y="32"/>
                  <a:pt x="130" y="34"/>
                  <a:pt x="132" y="26"/>
                </a:cubicBezTo>
                <a:cubicBezTo>
                  <a:pt x="137" y="13"/>
                  <a:pt x="140" y="10"/>
                  <a:pt x="152" y="7"/>
                </a:cubicBezTo>
                <a:cubicBezTo>
                  <a:pt x="161" y="5"/>
                  <a:pt x="167" y="0"/>
                  <a:pt x="175" y="4"/>
                </a:cubicBezTo>
                <a:cubicBezTo>
                  <a:pt x="188" y="11"/>
                  <a:pt x="186" y="21"/>
                  <a:pt x="205" y="16"/>
                </a:cubicBezTo>
                <a:cubicBezTo>
                  <a:pt x="212" y="28"/>
                  <a:pt x="211" y="30"/>
                  <a:pt x="208" y="43"/>
                </a:cubicBezTo>
                <a:cubicBezTo>
                  <a:pt x="205" y="52"/>
                  <a:pt x="201" y="59"/>
                  <a:pt x="204" y="69"/>
                </a:cubicBezTo>
                <a:cubicBezTo>
                  <a:pt x="205" y="71"/>
                  <a:pt x="205" y="71"/>
                  <a:pt x="205" y="71"/>
                </a:cubicBezTo>
                <a:cubicBezTo>
                  <a:pt x="204" y="72"/>
                  <a:pt x="204" y="72"/>
                  <a:pt x="204" y="72"/>
                </a:cubicBezTo>
                <a:cubicBezTo>
                  <a:pt x="199" y="75"/>
                  <a:pt x="195" y="78"/>
                  <a:pt x="191" y="84"/>
                </a:cubicBezTo>
                <a:cubicBezTo>
                  <a:pt x="183" y="95"/>
                  <a:pt x="186" y="102"/>
                  <a:pt x="187" y="116"/>
                </a:cubicBezTo>
                <a:cubicBezTo>
                  <a:pt x="199" y="123"/>
                  <a:pt x="223" y="147"/>
                  <a:pt x="230" y="160"/>
                </a:cubicBezTo>
                <a:cubicBezTo>
                  <a:pt x="236" y="170"/>
                  <a:pt x="232" y="171"/>
                  <a:pt x="225" y="183"/>
                </a:cubicBezTo>
                <a:cubicBezTo>
                  <a:pt x="221" y="190"/>
                  <a:pt x="217" y="196"/>
                  <a:pt x="219" y="204"/>
                </a:cubicBezTo>
                <a:cubicBezTo>
                  <a:pt x="190" y="217"/>
                  <a:pt x="231" y="267"/>
                  <a:pt x="237" y="284"/>
                </a:cubicBezTo>
                <a:cubicBezTo>
                  <a:pt x="241" y="297"/>
                  <a:pt x="238" y="290"/>
                  <a:pt x="234" y="303"/>
                </a:cubicBezTo>
                <a:cubicBezTo>
                  <a:pt x="232" y="310"/>
                  <a:pt x="235" y="312"/>
                  <a:pt x="232" y="319"/>
                </a:cubicBezTo>
                <a:cubicBezTo>
                  <a:pt x="229" y="328"/>
                  <a:pt x="226" y="328"/>
                  <a:pt x="225" y="337"/>
                </a:cubicBezTo>
                <a:cubicBezTo>
                  <a:pt x="225" y="346"/>
                  <a:pt x="227" y="356"/>
                  <a:pt x="227" y="365"/>
                </a:cubicBezTo>
                <a:cubicBezTo>
                  <a:pt x="231" y="367"/>
                  <a:pt x="236" y="368"/>
                  <a:pt x="241" y="367"/>
                </a:cubicBezTo>
                <a:cubicBezTo>
                  <a:pt x="244" y="377"/>
                  <a:pt x="242" y="381"/>
                  <a:pt x="236" y="388"/>
                </a:cubicBezTo>
                <a:cubicBezTo>
                  <a:pt x="239" y="388"/>
                  <a:pt x="242" y="390"/>
                  <a:pt x="245" y="391"/>
                </a:cubicBezTo>
                <a:cubicBezTo>
                  <a:pt x="245" y="397"/>
                  <a:pt x="246" y="398"/>
                  <a:pt x="250" y="402"/>
                </a:cubicBezTo>
                <a:cubicBezTo>
                  <a:pt x="243" y="406"/>
                  <a:pt x="239" y="413"/>
                  <a:pt x="245" y="419"/>
                </a:cubicBezTo>
                <a:cubicBezTo>
                  <a:pt x="241" y="421"/>
                  <a:pt x="239" y="424"/>
                  <a:pt x="236" y="427"/>
                </a:cubicBezTo>
                <a:cubicBezTo>
                  <a:pt x="239" y="432"/>
                  <a:pt x="248" y="433"/>
                  <a:pt x="248" y="441"/>
                </a:cubicBezTo>
                <a:cubicBezTo>
                  <a:pt x="260" y="448"/>
                  <a:pt x="270" y="453"/>
                  <a:pt x="275" y="467"/>
                </a:cubicBezTo>
                <a:cubicBezTo>
                  <a:pt x="280" y="483"/>
                  <a:pt x="270" y="496"/>
                  <a:pt x="261" y="509"/>
                </a:cubicBezTo>
                <a:cubicBezTo>
                  <a:pt x="253" y="520"/>
                  <a:pt x="243" y="533"/>
                  <a:pt x="233" y="541"/>
                </a:cubicBezTo>
                <a:cubicBezTo>
                  <a:pt x="226" y="548"/>
                  <a:pt x="204" y="553"/>
                  <a:pt x="213" y="566"/>
                </a:cubicBezTo>
                <a:cubicBezTo>
                  <a:pt x="201" y="571"/>
                  <a:pt x="184" y="587"/>
                  <a:pt x="181" y="601"/>
                </a:cubicBezTo>
                <a:cubicBezTo>
                  <a:pt x="180" y="601"/>
                  <a:pt x="180" y="601"/>
                  <a:pt x="180" y="601"/>
                </a:cubicBezTo>
                <a:cubicBezTo>
                  <a:pt x="179" y="603"/>
                  <a:pt x="178" y="604"/>
                  <a:pt x="177" y="605"/>
                </a:cubicBezTo>
                <a:cubicBezTo>
                  <a:pt x="175" y="606"/>
                  <a:pt x="174" y="607"/>
                  <a:pt x="169" y="605"/>
                </a:cubicBezTo>
                <a:cubicBezTo>
                  <a:pt x="164" y="603"/>
                  <a:pt x="163" y="600"/>
                  <a:pt x="157" y="604"/>
                </a:cubicBezTo>
                <a:cubicBezTo>
                  <a:pt x="152" y="609"/>
                  <a:pt x="150" y="607"/>
                  <a:pt x="146" y="608"/>
                </a:cubicBezTo>
                <a:cubicBezTo>
                  <a:pt x="142" y="610"/>
                  <a:pt x="149" y="609"/>
                  <a:pt x="139" y="612"/>
                </a:cubicBezTo>
                <a:cubicBezTo>
                  <a:pt x="129" y="614"/>
                  <a:pt x="127" y="613"/>
                  <a:pt x="125" y="617"/>
                </a:cubicBezTo>
                <a:cubicBezTo>
                  <a:pt x="124" y="620"/>
                  <a:pt x="122" y="623"/>
                  <a:pt x="116" y="623"/>
                </a:cubicBezTo>
                <a:cubicBezTo>
                  <a:pt x="110" y="624"/>
                  <a:pt x="109" y="619"/>
                  <a:pt x="107" y="623"/>
                </a:cubicBezTo>
                <a:cubicBezTo>
                  <a:pt x="105" y="626"/>
                  <a:pt x="102" y="621"/>
                  <a:pt x="100" y="624"/>
                </a:cubicBezTo>
                <a:cubicBezTo>
                  <a:pt x="99" y="628"/>
                  <a:pt x="99" y="627"/>
                  <a:pt x="95" y="630"/>
                </a:cubicBezTo>
                <a:cubicBezTo>
                  <a:pt x="92" y="633"/>
                  <a:pt x="85" y="636"/>
                  <a:pt x="84" y="634"/>
                </a:cubicBezTo>
                <a:cubicBezTo>
                  <a:pt x="82" y="633"/>
                  <a:pt x="81" y="625"/>
                  <a:pt x="79" y="630"/>
                </a:cubicBezTo>
                <a:cubicBezTo>
                  <a:pt x="77" y="634"/>
                  <a:pt x="76" y="638"/>
                  <a:pt x="73" y="635"/>
                </a:cubicBezTo>
                <a:cubicBezTo>
                  <a:pt x="70" y="633"/>
                  <a:pt x="68" y="634"/>
                  <a:pt x="68" y="634"/>
                </a:cubicBezTo>
                <a:cubicBezTo>
                  <a:pt x="68" y="634"/>
                  <a:pt x="65" y="646"/>
                  <a:pt x="60" y="642"/>
                </a:cubicBezTo>
                <a:cubicBezTo>
                  <a:pt x="56" y="638"/>
                  <a:pt x="65" y="635"/>
                  <a:pt x="61" y="634"/>
                </a:cubicBezTo>
                <a:cubicBezTo>
                  <a:pt x="57" y="633"/>
                  <a:pt x="51" y="637"/>
                  <a:pt x="51" y="634"/>
                </a:cubicBezTo>
                <a:cubicBezTo>
                  <a:pt x="51" y="631"/>
                  <a:pt x="49" y="626"/>
                  <a:pt x="53" y="625"/>
                </a:cubicBezTo>
                <a:cubicBezTo>
                  <a:pt x="57" y="624"/>
                  <a:pt x="55" y="623"/>
                  <a:pt x="58" y="621"/>
                </a:cubicBezTo>
                <a:cubicBezTo>
                  <a:pt x="60" y="618"/>
                  <a:pt x="59" y="617"/>
                  <a:pt x="60" y="615"/>
                </a:cubicBezTo>
                <a:cubicBezTo>
                  <a:pt x="61" y="613"/>
                  <a:pt x="61" y="611"/>
                  <a:pt x="61" y="611"/>
                </a:cubicBezTo>
                <a:cubicBezTo>
                  <a:pt x="54" y="616"/>
                  <a:pt x="54" y="616"/>
                  <a:pt x="54" y="616"/>
                </a:cubicBezTo>
                <a:cubicBezTo>
                  <a:pt x="54" y="616"/>
                  <a:pt x="47" y="616"/>
                  <a:pt x="46" y="613"/>
                </a:cubicBezTo>
                <a:cubicBezTo>
                  <a:pt x="45" y="609"/>
                  <a:pt x="45" y="606"/>
                  <a:pt x="42" y="607"/>
                </a:cubicBezTo>
                <a:cubicBezTo>
                  <a:pt x="39" y="607"/>
                  <a:pt x="36" y="608"/>
                  <a:pt x="34" y="606"/>
                </a:cubicBezTo>
                <a:cubicBezTo>
                  <a:pt x="31" y="604"/>
                  <a:pt x="35" y="601"/>
                  <a:pt x="31" y="601"/>
                </a:cubicBezTo>
                <a:cubicBezTo>
                  <a:pt x="26" y="601"/>
                  <a:pt x="26" y="598"/>
                  <a:pt x="23" y="600"/>
                </a:cubicBezTo>
                <a:cubicBezTo>
                  <a:pt x="21" y="602"/>
                  <a:pt x="19" y="603"/>
                  <a:pt x="17" y="600"/>
                </a:cubicBezTo>
                <a:cubicBezTo>
                  <a:pt x="16" y="598"/>
                  <a:pt x="13" y="596"/>
                  <a:pt x="15" y="593"/>
                </a:cubicBezTo>
                <a:cubicBezTo>
                  <a:pt x="17" y="591"/>
                  <a:pt x="18" y="588"/>
                  <a:pt x="18" y="588"/>
                </a:cubicBezTo>
                <a:cubicBezTo>
                  <a:pt x="19" y="583"/>
                  <a:pt x="19" y="583"/>
                  <a:pt x="19" y="583"/>
                </a:cubicBezTo>
                <a:cubicBezTo>
                  <a:pt x="16" y="576"/>
                  <a:pt x="16" y="576"/>
                  <a:pt x="16" y="576"/>
                </a:cubicBezTo>
                <a:cubicBezTo>
                  <a:pt x="17" y="571"/>
                  <a:pt x="17" y="571"/>
                  <a:pt x="17" y="571"/>
                </a:cubicBezTo>
                <a:cubicBezTo>
                  <a:pt x="21" y="567"/>
                  <a:pt x="21" y="567"/>
                  <a:pt x="21" y="567"/>
                </a:cubicBezTo>
                <a:cubicBezTo>
                  <a:pt x="21" y="567"/>
                  <a:pt x="17" y="564"/>
                  <a:pt x="17" y="562"/>
                </a:cubicBezTo>
                <a:cubicBezTo>
                  <a:pt x="17" y="561"/>
                  <a:pt x="22" y="554"/>
                  <a:pt x="21" y="551"/>
                </a:cubicBezTo>
                <a:cubicBezTo>
                  <a:pt x="21" y="551"/>
                  <a:pt x="20" y="547"/>
                  <a:pt x="21" y="547"/>
                </a:cubicBezTo>
                <a:cubicBezTo>
                  <a:pt x="23" y="547"/>
                  <a:pt x="25" y="544"/>
                  <a:pt x="23" y="541"/>
                </a:cubicBezTo>
                <a:cubicBezTo>
                  <a:pt x="21" y="538"/>
                  <a:pt x="19" y="537"/>
                  <a:pt x="19" y="535"/>
                </a:cubicBezTo>
                <a:cubicBezTo>
                  <a:pt x="20" y="532"/>
                  <a:pt x="21" y="530"/>
                  <a:pt x="20" y="529"/>
                </a:cubicBezTo>
                <a:cubicBezTo>
                  <a:pt x="20" y="527"/>
                  <a:pt x="21" y="529"/>
                  <a:pt x="17" y="525"/>
                </a:cubicBezTo>
                <a:cubicBezTo>
                  <a:pt x="14" y="520"/>
                  <a:pt x="12" y="516"/>
                  <a:pt x="14" y="513"/>
                </a:cubicBezTo>
                <a:cubicBezTo>
                  <a:pt x="16" y="510"/>
                  <a:pt x="19" y="508"/>
                  <a:pt x="17" y="506"/>
                </a:cubicBezTo>
                <a:cubicBezTo>
                  <a:pt x="16" y="504"/>
                  <a:pt x="13" y="506"/>
                  <a:pt x="12" y="500"/>
                </a:cubicBezTo>
                <a:cubicBezTo>
                  <a:pt x="11" y="495"/>
                  <a:pt x="10" y="490"/>
                  <a:pt x="10" y="487"/>
                </a:cubicBezTo>
                <a:cubicBezTo>
                  <a:pt x="10" y="485"/>
                  <a:pt x="10" y="479"/>
                  <a:pt x="11" y="477"/>
                </a:cubicBezTo>
                <a:cubicBezTo>
                  <a:pt x="12" y="476"/>
                  <a:pt x="16" y="471"/>
                  <a:pt x="16" y="471"/>
                </a:cubicBezTo>
                <a:cubicBezTo>
                  <a:pt x="16" y="471"/>
                  <a:pt x="25" y="466"/>
                  <a:pt x="23" y="462"/>
                </a:cubicBezTo>
                <a:cubicBezTo>
                  <a:pt x="22" y="459"/>
                  <a:pt x="28" y="450"/>
                  <a:pt x="31" y="450"/>
                </a:cubicBezTo>
                <a:cubicBezTo>
                  <a:pt x="34" y="450"/>
                  <a:pt x="35" y="450"/>
                  <a:pt x="39" y="449"/>
                </a:cubicBezTo>
                <a:cubicBezTo>
                  <a:pt x="44" y="449"/>
                  <a:pt x="48" y="441"/>
                  <a:pt x="48" y="436"/>
                </a:cubicBezTo>
                <a:cubicBezTo>
                  <a:pt x="49" y="432"/>
                  <a:pt x="48" y="429"/>
                  <a:pt x="51" y="426"/>
                </a:cubicBezTo>
                <a:cubicBezTo>
                  <a:pt x="54" y="424"/>
                  <a:pt x="53" y="422"/>
                  <a:pt x="58" y="418"/>
                </a:cubicBezTo>
                <a:cubicBezTo>
                  <a:pt x="63" y="414"/>
                  <a:pt x="71" y="405"/>
                  <a:pt x="74" y="401"/>
                </a:cubicBezTo>
                <a:cubicBezTo>
                  <a:pt x="78" y="398"/>
                  <a:pt x="80" y="395"/>
                  <a:pt x="84" y="393"/>
                </a:cubicBezTo>
                <a:cubicBezTo>
                  <a:pt x="88" y="391"/>
                  <a:pt x="87" y="386"/>
                  <a:pt x="89" y="382"/>
                </a:cubicBezTo>
                <a:cubicBezTo>
                  <a:pt x="90" y="378"/>
                  <a:pt x="86" y="374"/>
                  <a:pt x="91" y="372"/>
                </a:cubicBezTo>
                <a:cubicBezTo>
                  <a:pt x="96" y="371"/>
                  <a:pt x="94" y="369"/>
                  <a:pt x="97" y="364"/>
                </a:cubicBezTo>
                <a:cubicBezTo>
                  <a:pt x="100" y="360"/>
                  <a:pt x="100" y="359"/>
                  <a:pt x="103" y="358"/>
                </a:cubicBezTo>
                <a:cubicBezTo>
                  <a:pt x="106" y="357"/>
                  <a:pt x="104" y="355"/>
                  <a:pt x="107" y="354"/>
                </a:cubicBezTo>
                <a:cubicBezTo>
                  <a:pt x="110" y="352"/>
                  <a:pt x="109" y="349"/>
                  <a:pt x="112" y="351"/>
                </a:cubicBezTo>
                <a:cubicBezTo>
                  <a:pt x="115" y="353"/>
                  <a:pt x="117" y="351"/>
                  <a:pt x="118" y="349"/>
                </a:cubicBezTo>
                <a:cubicBezTo>
                  <a:pt x="119" y="347"/>
                  <a:pt x="116" y="341"/>
                  <a:pt x="116" y="341"/>
                </a:cubicBezTo>
                <a:cubicBezTo>
                  <a:pt x="116" y="341"/>
                  <a:pt x="122" y="335"/>
                  <a:pt x="120" y="326"/>
                </a:cubicBezTo>
                <a:cubicBezTo>
                  <a:pt x="117" y="317"/>
                  <a:pt x="118" y="315"/>
                  <a:pt x="117" y="313"/>
                </a:cubicBezTo>
                <a:cubicBezTo>
                  <a:pt x="116" y="311"/>
                  <a:pt x="109" y="307"/>
                  <a:pt x="109" y="307"/>
                </a:cubicBezTo>
                <a:cubicBezTo>
                  <a:pt x="104" y="296"/>
                  <a:pt x="104" y="296"/>
                  <a:pt x="104" y="296"/>
                </a:cubicBezTo>
                <a:cubicBezTo>
                  <a:pt x="104" y="296"/>
                  <a:pt x="103" y="286"/>
                  <a:pt x="100" y="290"/>
                </a:cubicBezTo>
                <a:cubicBezTo>
                  <a:pt x="99" y="293"/>
                  <a:pt x="97" y="294"/>
                  <a:pt x="95" y="294"/>
                </a:cubicBezTo>
                <a:cubicBezTo>
                  <a:pt x="93" y="294"/>
                  <a:pt x="93" y="294"/>
                  <a:pt x="93" y="294"/>
                </a:cubicBezTo>
                <a:cubicBezTo>
                  <a:pt x="88" y="285"/>
                  <a:pt x="81" y="276"/>
                  <a:pt x="77" y="266"/>
                </a:cubicBezTo>
                <a:cubicBezTo>
                  <a:pt x="69" y="251"/>
                  <a:pt x="76" y="250"/>
                  <a:pt x="82" y="235"/>
                </a:cubicBezTo>
                <a:cubicBezTo>
                  <a:pt x="79" y="236"/>
                  <a:pt x="76" y="233"/>
                  <a:pt x="74" y="233"/>
                </a:cubicBezTo>
                <a:cubicBezTo>
                  <a:pt x="75" y="231"/>
                  <a:pt x="75" y="226"/>
                  <a:pt x="78" y="223"/>
                </a:cubicBezTo>
                <a:cubicBezTo>
                  <a:pt x="76" y="222"/>
                  <a:pt x="74" y="220"/>
                  <a:pt x="71" y="219"/>
                </a:cubicBezTo>
                <a:cubicBezTo>
                  <a:pt x="70" y="207"/>
                  <a:pt x="70" y="195"/>
                  <a:pt x="71" y="183"/>
                </a:cubicBezTo>
                <a:cubicBezTo>
                  <a:pt x="71" y="172"/>
                  <a:pt x="76" y="158"/>
                  <a:pt x="75" y="147"/>
                </a:cubicBezTo>
                <a:cubicBezTo>
                  <a:pt x="73" y="147"/>
                  <a:pt x="70" y="147"/>
                  <a:pt x="68" y="147"/>
                </a:cubicBezTo>
                <a:cubicBezTo>
                  <a:pt x="72" y="122"/>
                  <a:pt x="52" y="138"/>
                  <a:pt x="47" y="119"/>
                </a:cubicBezTo>
                <a:cubicBezTo>
                  <a:pt x="45" y="122"/>
                  <a:pt x="41" y="123"/>
                  <a:pt x="40" y="124"/>
                </a:cubicBezTo>
                <a:cubicBezTo>
                  <a:pt x="39" y="119"/>
                  <a:pt x="38" y="115"/>
                  <a:pt x="38" y="110"/>
                </a:cubicBezTo>
                <a:cubicBezTo>
                  <a:pt x="34" y="111"/>
                  <a:pt x="31" y="110"/>
                  <a:pt x="27" y="113"/>
                </a:cubicBezTo>
                <a:cubicBezTo>
                  <a:pt x="19" y="101"/>
                  <a:pt x="8" y="93"/>
                  <a:pt x="1" y="79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21" name="Freeform 556"/>
          <p:cNvSpPr>
            <a:spLocks/>
          </p:cNvSpPr>
          <p:nvPr userDrawn="1"/>
        </p:nvSpPr>
        <p:spPr bwMode="auto">
          <a:xfrm>
            <a:off x="6738601" y="2213943"/>
            <a:ext cx="447249" cy="375221"/>
          </a:xfrm>
          <a:custGeom>
            <a:avLst/>
            <a:gdLst>
              <a:gd name="T0" fmla="*/ 2147483646 w 480"/>
              <a:gd name="T1" fmla="*/ 2147483646 h 402"/>
              <a:gd name="T2" fmla="*/ 2147483646 w 480"/>
              <a:gd name="T3" fmla="*/ 2147483646 h 402"/>
              <a:gd name="T4" fmla="*/ 2147483646 w 480"/>
              <a:gd name="T5" fmla="*/ 2147483646 h 402"/>
              <a:gd name="T6" fmla="*/ 2147483646 w 480"/>
              <a:gd name="T7" fmla="*/ 2147483646 h 402"/>
              <a:gd name="T8" fmla="*/ 2147483646 w 480"/>
              <a:gd name="T9" fmla="*/ 2147483646 h 402"/>
              <a:gd name="T10" fmla="*/ 2147483646 w 480"/>
              <a:gd name="T11" fmla="*/ 2147483646 h 402"/>
              <a:gd name="T12" fmla="*/ 2147483646 w 480"/>
              <a:gd name="T13" fmla="*/ 2147483646 h 402"/>
              <a:gd name="T14" fmla="*/ 2147483646 w 480"/>
              <a:gd name="T15" fmla="*/ 2147483646 h 402"/>
              <a:gd name="T16" fmla="*/ 2147483646 w 480"/>
              <a:gd name="T17" fmla="*/ 2147483646 h 402"/>
              <a:gd name="T18" fmla="*/ 2147483646 w 480"/>
              <a:gd name="T19" fmla="*/ 2147483646 h 402"/>
              <a:gd name="T20" fmla="*/ 2147483646 w 480"/>
              <a:gd name="T21" fmla="*/ 2147483646 h 402"/>
              <a:gd name="T22" fmla="*/ 2147483646 w 480"/>
              <a:gd name="T23" fmla="*/ 2147483646 h 402"/>
              <a:gd name="T24" fmla="*/ 2147483646 w 480"/>
              <a:gd name="T25" fmla="*/ 2147483646 h 402"/>
              <a:gd name="T26" fmla="*/ 2147483646 w 480"/>
              <a:gd name="T27" fmla="*/ 2147483646 h 402"/>
              <a:gd name="T28" fmla="*/ 2147483646 w 480"/>
              <a:gd name="T29" fmla="*/ 2147483646 h 402"/>
              <a:gd name="T30" fmla="*/ 2147483646 w 480"/>
              <a:gd name="T31" fmla="*/ 2147483646 h 402"/>
              <a:gd name="T32" fmla="*/ 2147483646 w 480"/>
              <a:gd name="T33" fmla="*/ 2147483646 h 402"/>
              <a:gd name="T34" fmla="*/ 2147483646 w 480"/>
              <a:gd name="T35" fmla="*/ 2147483646 h 402"/>
              <a:gd name="T36" fmla="*/ 2147483646 w 480"/>
              <a:gd name="T37" fmla="*/ 2147483646 h 402"/>
              <a:gd name="T38" fmla="*/ 2147483646 w 480"/>
              <a:gd name="T39" fmla="*/ 2147483646 h 402"/>
              <a:gd name="T40" fmla="*/ 2147483646 w 480"/>
              <a:gd name="T41" fmla="*/ 2147483646 h 402"/>
              <a:gd name="T42" fmla="*/ 2147483646 w 480"/>
              <a:gd name="T43" fmla="*/ 2147483646 h 402"/>
              <a:gd name="T44" fmla="*/ 2147483646 w 480"/>
              <a:gd name="T45" fmla="*/ 2147483646 h 402"/>
              <a:gd name="T46" fmla="*/ 2147483646 w 480"/>
              <a:gd name="T47" fmla="*/ 2147483646 h 402"/>
              <a:gd name="T48" fmla="*/ 2147483646 w 480"/>
              <a:gd name="T49" fmla="*/ 2147483646 h 402"/>
              <a:gd name="T50" fmla="*/ 2147483646 w 480"/>
              <a:gd name="T51" fmla="*/ 2147483646 h 402"/>
              <a:gd name="T52" fmla="*/ 2147483646 w 480"/>
              <a:gd name="T53" fmla="*/ 2147483646 h 402"/>
              <a:gd name="T54" fmla="*/ 2147483646 w 480"/>
              <a:gd name="T55" fmla="*/ 2147483646 h 402"/>
              <a:gd name="T56" fmla="*/ 2147483646 w 480"/>
              <a:gd name="T57" fmla="*/ 2147483646 h 402"/>
              <a:gd name="T58" fmla="*/ 2147483646 w 480"/>
              <a:gd name="T59" fmla="*/ 2147483646 h 402"/>
              <a:gd name="T60" fmla="*/ 2147483646 w 480"/>
              <a:gd name="T61" fmla="*/ 2147483646 h 402"/>
              <a:gd name="T62" fmla="*/ 2147483646 w 480"/>
              <a:gd name="T63" fmla="*/ 2147483646 h 402"/>
              <a:gd name="T64" fmla="*/ 2147483646 w 480"/>
              <a:gd name="T65" fmla="*/ 2147483646 h 40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80"/>
              <a:gd name="T100" fmla="*/ 0 h 402"/>
              <a:gd name="T101" fmla="*/ 480 w 480"/>
              <a:gd name="T102" fmla="*/ 402 h 402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80" h="402">
                <a:moveTo>
                  <a:pt x="127" y="227"/>
                </a:moveTo>
                <a:cubicBezTo>
                  <a:pt x="127" y="227"/>
                  <a:pt x="131" y="239"/>
                  <a:pt x="120" y="251"/>
                </a:cubicBezTo>
                <a:cubicBezTo>
                  <a:pt x="109" y="263"/>
                  <a:pt x="104" y="268"/>
                  <a:pt x="96" y="284"/>
                </a:cubicBezTo>
                <a:cubicBezTo>
                  <a:pt x="89" y="301"/>
                  <a:pt x="79" y="317"/>
                  <a:pt x="84" y="334"/>
                </a:cubicBezTo>
                <a:cubicBezTo>
                  <a:pt x="88" y="352"/>
                  <a:pt x="116" y="402"/>
                  <a:pt x="97" y="401"/>
                </a:cubicBezTo>
                <a:cubicBezTo>
                  <a:pt x="79" y="399"/>
                  <a:pt x="87" y="391"/>
                  <a:pt x="70" y="394"/>
                </a:cubicBezTo>
                <a:cubicBezTo>
                  <a:pt x="53" y="397"/>
                  <a:pt x="35" y="398"/>
                  <a:pt x="31" y="391"/>
                </a:cubicBezTo>
                <a:cubicBezTo>
                  <a:pt x="26" y="384"/>
                  <a:pt x="19" y="383"/>
                  <a:pt x="26" y="375"/>
                </a:cubicBezTo>
                <a:cubicBezTo>
                  <a:pt x="32" y="367"/>
                  <a:pt x="31" y="365"/>
                  <a:pt x="38" y="366"/>
                </a:cubicBezTo>
                <a:cubicBezTo>
                  <a:pt x="45" y="366"/>
                  <a:pt x="40" y="354"/>
                  <a:pt x="40" y="354"/>
                </a:cubicBezTo>
                <a:cubicBezTo>
                  <a:pt x="33" y="345"/>
                  <a:pt x="30" y="338"/>
                  <a:pt x="37" y="339"/>
                </a:cubicBezTo>
                <a:cubicBezTo>
                  <a:pt x="44" y="339"/>
                  <a:pt x="53" y="323"/>
                  <a:pt x="44" y="327"/>
                </a:cubicBezTo>
                <a:cubicBezTo>
                  <a:pt x="36" y="331"/>
                  <a:pt x="44" y="329"/>
                  <a:pt x="36" y="331"/>
                </a:cubicBezTo>
                <a:cubicBezTo>
                  <a:pt x="28" y="334"/>
                  <a:pt x="40" y="344"/>
                  <a:pt x="31" y="330"/>
                </a:cubicBezTo>
                <a:cubicBezTo>
                  <a:pt x="22" y="316"/>
                  <a:pt x="33" y="318"/>
                  <a:pt x="22" y="316"/>
                </a:cubicBezTo>
                <a:cubicBezTo>
                  <a:pt x="11" y="314"/>
                  <a:pt x="7" y="313"/>
                  <a:pt x="6" y="307"/>
                </a:cubicBezTo>
                <a:cubicBezTo>
                  <a:pt x="2" y="283"/>
                  <a:pt x="0" y="275"/>
                  <a:pt x="9" y="278"/>
                </a:cubicBezTo>
                <a:cubicBezTo>
                  <a:pt x="18" y="282"/>
                  <a:pt x="16" y="279"/>
                  <a:pt x="22" y="277"/>
                </a:cubicBezTo>
                <a:cubicBezTo>
                  <a:pt x="27" y="276"/>
                  <a:pt x="27" y="273"/>
                  <a:pt x="30" y="268"/>
                </a:cubicBezTo>
                <a:cubicBezTo>
                  <a:pt x="38" y="255"/>
                  <a:pt x="40" y="256"/>
                  <a:pt x="41" y="262"/>
                </a:cubicBezTo>
                <a:cubicBezTo>
                  <a:pt x="50" y="252"/>
                  <a:pt x="50" y="252"/>
                  <a:pt x="50" y="252"/>
                </a:cubicBezTo>
                <a:cubicBezTo>
                  <a:pt x="50" y="252"/>
                  <a:pt x="51" y="225"/>
                  <a:pt x="56" y="234"/>
                </a:cubicBezTo>
                <a:cubicBezTo>
                  <a:pt x="62" y="243"/>
                  <a:pt x="68" y="236"/>
                  <a:pt x="68" y="236"/>
                </a:cubicBezTo>
                <a:cubicBezTo>
                  <a:pt x="68" y="236"/>
                  <a:pt x="54" y="229"/>
                  <a:pt x="56" y="225"/>
                </a:cubicBezTo>
                <a:cubicBezTo>
                  <a:pt x="58" y="220"/>
                  <a:pt x="64" y="207"/>
                  <a:pt x="69" y="213"/>
                </a:cubicBezTo>
                <a:cubicBezTo>
                  <a:pt x="73" y="220"/>
                  <a:pt x="77" y="206"/>
                  <a:pt x="80" y="217"/>
                </a:cubicBezTo>
                <a:cubicBezTo>
                  <a:pt x="83" y="229"/>
                  <a:pt x="78" y="226"/>
                  <a:pt x="87" y="225"/>
                </a:cubicBezTo>
                <a:cubicBezTo>
                  <a:pt x="96" y="225"/>
                  <a:pt x="102" y="213"/>
                  <a:pt x="102" y="213"/>
                </a:cubicBezTo>
                <a:cubicBezTo>
                  <a:pt x="114" y="203"/>
                  <a:pt x="111" y="193"/>
                  <a:pt x="116" y="195"/>
                </a:cubicBezTo>
                <a:cubicBezTo>
                  <a:pt x="120" y="197"/>
                  <a:pt x="141" y="183"/>
                  <a:pt x="133" y="180"/>
                </a:cubicBezTo>
                <a:cubicBezTo>
                  <a:pt x="125" y="177"/>
                  <a:pt x="104" y="186"/>
                  <a:pt x="105" y="179"/>
                </a:cubicBezTo>
                <a:cubicBezTo>
                  <a:pt x="110" y="161"/>
                  <a:pt x="115" y="156"/>
                  <a:pt x="122" y="161"/>
                </a:cubicBezTo>
                <a:cubicBezTo>
                  <a:pt x="130" y="165"/>
                  <a:pt x="131" y="150"/>
                  <a:pt x="138" y="157"/>
                </a:cubicBezTo>
                <a:cubicBezTo>
                  <a:pt x="144" y="165"/>
                  <a:pt x="140" y="155"/>
                  <a:pt x="149" y="154"/>
                </a:cubicBezTo>
                <a:cubicBezTo>
                  <a:pt x="158" y="154"/>
                  <a:pt x="165" y="140"/>
                  <a:pt x="160" y="133"/>
                </a:cubicBezTo>
                <a:cubicBezTo>
                  <a:pt x="155" y="127"/>
                  <a:pt x="139" y="112"/>
                  <a:pt x="159" y="122"/>
                </a:cubicBezTo>
                <a:cubicBezTo>
                  <a:pt x="178" y="133"/>
                  <a:pt x="183" y="129"/>
                  <a:pt x="184" y="121"/>
                </a:cubicBezTo>
                <a:cubicBezTo>
                  <a:pt x="185" y="112"/>
                  <a:pt x="191" y="101"/>
                  <a:pt x="182" y="101"/>
                </a:cubicBezTo>
                <a:cubicBezTo>
                  <a:pt x="173" y="101"/>
                  <a:pt x="164" y="98"/>
                  <a:pt x="172" y="90"/>
                </a:cubicBezTo>
                <a:cubicBezTo>
                  <a:pt x="180" y="83"/>
                  <a:pt x="197" y="75"/>
                  <a:pt x="199" y="86"/>
                </a:cubicBezTo>
                <a:cubicBezTo>
                  <a:pt x="202" y="98"/>
                  <a:pt x="200" y="79"/>
                  <a:pt x="210" y="90"/>
                </a:cubicBezTo>
                <a:cubicBezTo>
                  <a:pt x="221" y="101"/>
                  <a:pt x="218" y="99"/>
                  <a:pt x="230" y="90"/>
                </a:cubicBezTo>
                <a:cubicBezTo>
                  <a:pt x="242" y="80"/>
                  <a:pt x="233" y="80"/>
                  <a:pt x="244" y="70"/>
                </a:cubicBezTo>
                <a:cubicBezTo>
                  <a:pt x="254" y="60"/>
                  <a:pt x="263" y="59"/>
                  <a:pt x="271" y="62"/>
                </a:cubicBezTo>
                <a:cubicBezTo>
                  <a:pt x="279" y="65"/>
                  <a:pt x="287" y="62"/>
                  <a:pt x="295" y="58"/>
                </a:cubicBezTo>
                <a:cubicBezTo>
                  <a:pt x="304" y="54"/>
                  <a:pt x="297" y="43"/>
                  <a:pt x="315" y="37"/>
                </a:cubicBezTo>
                <a:cubicBezTo>
                  <a:pt x="333" y="31"/>
                  <a:pt x="323" y="24"/>
                  <a:pt x="333" y="31"/>
                </a:cubicBezTo>
                <a:cubicBezTo>
                  <a:pt x="342" y="38"/>
                  <a:pt x="341" y="17"/>
                  <a:pt x="351" y="24"/>
                </a:cubicBezTo>
                <a:cubicBezTo>
                  <a:pt x="361" y="31"/>
                  <a:pt x="358" y="25"/>
                  <a:pt x="370" y="29"/>
                </a:cubicBezTo>
                <a:cubicBezTo>
                  <a:pt x="383" y="33"/>
                  <a:pt x="377" y="21"/>
                  <a:pt x="388" y="23"/>
                </a:cubicBezTo>
                <a:cubicBezTo>
                  <a:pt x="400" y="25"/>
                  <a:pt x="401" y="27"/>
                  <a:pt x="406" y="22"/>
                </a:cubicBezTo>
                <a:cubicBezTo>
                  <a:pt x="411" y="17"/>
                  <a:pt x="400" y="4"/>
                  <a:pt x="421" y="10"/>
                </a:cubicBezTo>
                <a:cubicBezTo>
                  <a:pt x="442" y="16"/>
                  <a:pt x="442" y="9"/>
                  <a:pt x="446" y="12"/>
                </a:cubicBezTo>
                <a:cubicBezTo>
                  <a:pt x="451" y="15"/>
                  <a:pt x="452" y="0"/>
                  <a:pt x="463" y="11"/>
                </a:cubicBezTo>
                <a:cubicBezTo>
                  <a:pt x="473" y="21"/>
                  <a:pt x="480" y="3"/>
                  <a:pt x="474" y="27"/>
                </a:cubicBezTo>
                <a:cubicBezTo>
                  <a:pt x="469" y="52"/>
                  <a:pt x="470" y="64"/>
                  <a:pt x="446" y="72"/>
                </a:cubicBezTo>
                <a:cubicBezTo>
                  <a:pt x="423" y="79"/>
                  <a:pt x="428" y="84"/>
                  <a:pt x="404" y="92"/>
                </a:cubicBezTo>
                <a:cubicBezTo>
                  <a:pt x="381" y="99"/>
                  <a:pt x="358" y="109"/>
                  <a:pt x="330" y="114"/>
                </a:cubicBezTo>
                <a:cubicBezTo>
                  <a:pt x="301" y="120"/>
                  <a:pt x="275" y="111"/>
                  <a:pt x="255" y="134"/>
                </a:cubicBezTo>
                <a:cubicBezTo>
                  <a:pt x="234" y="156"/>
                  <a:pt x="225" y="162"/>
                  <a:pt x="216" y="164"/>
                </a:cubicBezTo>
                <a:cubicBezTo>
                  <a:pt x="206" y="166"/>
                  <a:pt x="215" y="170"/>
                  <a:pt x="202" y="180"/>
                </a:cubicBezTo>
                <a:cubicBezTo>
                  <a:pt x="188" y="189"/>
                  <a:pt x="181" y="185"/>
                  <a:pt x="181" y="185"/>
                </a:cubicBezTo>
                <a:cubicBezTo>
                  <a:pt x="177" y="199"/>
                  <a:pt x="170" y="209"/>
                  <a:pt x="170" y="209"/>
                </a:cubicBezTo>
                <a:cubicBezTo>
                  <a:pt x="170" y="209"/>
                  <a:pt x="152" y="205"/>
                  <a:pt x="149" y="210"/>
                </a:cubicBezTo>
                <a:cubicBezTo>
                  <a:pt x="136" y="225"/>
                  <a:pt x="132" y="217"/>
                  <a:pt x="122" y="215"/>
                </a:cubicBezTo>
                <a:cubicBezTo>
                  <a:pt x="113" y="213"/>
                  <a:pt x="127" y="227"/>
                  <a:pt x="127" y="22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22" name="Freeform 557"/>
          <p:cNvSpPr>
            <a:spLocks/>
          </p:cNvSpPr>
          <p:nvPr userDrawn="1"/>
        </p:nvSpPr>
        <p:spPr bwMode="auto">
          <a:xfrm>
            <a:off x="6914486" y="2542262"/>
            <a:ext cx="60303" cy="72028"/>
          </a:xfrm>
          <a:custGeom>
            <a:avLst/>
            <a:gdLst>
              <a:gd name="T0" fmla="*/ 2147483646 w 64"/>
              <a:gd name="T1" fmla="*/ 0 h 76"/>
              <a:gd name="T2" fmla="*/ 2147483646 w 64"/>
              <a:gd name="T3" fmla="*/ 2147483646 h 76"/>
              <a:gd name="T4" fmla="*/ 2147483646 w 64"/>
              <a:gd name="T5" fmla="*/ 2147483646 h 76"/>
              <a:gd name="T6" fmla="*/ 0 w 64"/>
              <a:gd name="T7" fmla="*/ 2147483646 h 76"/>
              <a:gd name="T8" fmla="*/ 2147483646 w 64"/>
              <a:gd name="T9" fmla="*/ 2147483646 h 76"/>
              <a:gd name="T10" fmla="*/ 2147483646 w 64"/>
              <a:gd name="T11" fmla="*/ 2147483646 h 76"/>
              <a:gd name="T12" fmla="*/ 2147483646 w 64"/>
              <a:gd name="T13" fmla="*/ 2147483646 h 76"/>
              <a:gd name="T14" fmla="*/ 2147483646 w 64"/>
              <a:gd name="T15" fmla="*/ 2147483646 h 76"/>
              <a:gd name="T16" fmla="*/ 2147483646 w 64"/>
              <a:gd name="T17" fmla="*/ 2147483646 h 76"/>
              <a:gd name="T18" fmla="*/ 2147483646 w 64"/>
              <a:gd name="T19" fmla="*/ 2147483646 h 76"/>
              <a:gd name="T20" fmla="*/ 2147483646 w 64"/>
              <a:gd name="T21" fmla="*/ 2147483646 h 76"/>
              <a:gd name="T22" fmla="*/ 2147483646 w 64"/>
              <a:gd name="T23" fmla="*/ 2147483646 h 76"/>
              <a:gd name="T24" fmla="*/ 2147483646 w 64"/>
              <a:gd name="T25" fmla="*/ 2147483646 h 76"/>
              <a:gd name="T26" fmla="*/ 2147483646 w 64"/>
              <a:gd name="T27" fmla="*/ 2147483646 h 76"/>
              <a:gd name="T28" fmla="*/ 2147483646 w 64"/>
              <a:gd name="T29" fmla="*/ 0 h 7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4"/>
              <a:gd name="T46" fmla="*/ 0 h 76"/>
              <a:gd name="T47" fmla="*/ 64 w 64"/>
              <a:gd name="T48" fmla="*/ 76 h 7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4" h="76">
                <a:moveTo>
                  <a:pt x="20" y="0"/>
                </a:moveTo>
                <a:cubicBezTo>
                  <a:pt x="17" y="0"/>
                  <a:pt x="17" y="1"/>
                  <a:pt x="14" y="7"/>
                </a:cubicBezTo>
                <a:cubicBezTo>
                  <a:pt x="12" y="12"/>
                  <a:pt x="16" y="13"/>
                  <a:pt x="11" y="16"/>
                </a:cubicBezTo>
                <a:cubicBezTo>
                  <a:pt x="5" y="20"/>
                  <a:pt x="0" y="14"/>
                  <a:pt x="0" y="21"/>
                </a:cubicBezTo>
                <a:cubicBezTo>
                  <a:pt x="0" y="28"/>
                  <a:pt x="6" y="31"/>
                  <a:pt x="10" y="38"/>
                </a:cubicBezTo>
                <a:cubicBezTo>
                  <a:pt x="13" y="45"/>
                  <a:pt x="15" y="45"/>
                  <a:pt x="18" y="44"/>
                </a:cubicBezTo>
                <a:cubicBezTo>
                  <a:pt x="21" y="44"/>
                  <a:pt x="22" y="40"/>
                  <a:pt x="22" y="45"/>
                </a:cubicBezTo>
                <a:cubicBezTo>
                  <a:pt x="22" y="51"/>
                  <a:pt x="19" y="55"/>
                  <a:pt x="21" y="58"/>
                </a:cubicBezTo>
                <a:cubicBezTo>
                  <a:pt x="23" y="62"/>
                  <a:pt x="28" y="60"/>
                  <a:pt x="31" y="66"/>
                </a:cubicBezTo>
                <a:cubicBezTo>
                  <a:pt x="34" y="72"/>
                  <a:pt x="40" y="76"/>
                  <a:pt x="42" y="75"/>
                </a:cubicBezTo>
                <a:cubicBezTo>
                  <a:pt x="45" y="75"/>
                  <a:pt x="44" y="63"/>
                  <a:pt x="50" y="60"/>
                </a:cubicBezTo>
                <a:cubicBezTo>
                  <a:pt x="56" y="57"/>
                  <a:pt x="55" y="55"/>
                  <a:pt x="59" y="57"/>
                </a:cubicBezTo>
                <a:cubicBezTo>
                  <a:pt x="63" y="58"/>
                  <a:pt x="64" y="48"/>
                  <a:pt x="64" y="48"/>
                </a:cubicBezTo>
                <a:cubicBezTo>
                  <a:pt x="64" y="48"/>
                  <a:pt x="57" y="33"/>
                  <a:pt x="55" y="32"/>
                </a:cubicBezTo>
                <a:cubicBezTo>
                  <a:pt x="52" y="31"/>
                  <a:pt x="20" y="0"/>
                  <a:pt x="2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23" name="Freeform 558"/>
          <p:cNvSpPr>
            <a:spLocks/>
          </p:cNvSpPr>
          <p:nvPr userDrawn="1"/>
        </p:nvSpPr>
        <p:spPr bwMode="auto">
          <a:xfrm>
            <a:off x="6688348" y="2631041"/>
            <a:ext cx="35176" cy="45228"/>
          </a:xfrm>
          <a:custGeom>
            <a:avLst/>
            <a:gdLst>
              <a:gd name="T0" fmla="*/ 2147483646 w 39"/>
              <a:gd name="T1" fmla="*/ 0 h 49"/>
              <a:gd name="T2" fmla="*/ 0 w 39"/>
              <a:gd name="T3" fmla="*/ 2147483646 h 49"/>
              <a:gd name="T4" fmla="*/ 2147483646 w 39"/>
              <a:gd name="T5" fmla="*/ 2147483646 h 49"/>
              <a:gd name="T6" fmla="*/ 2147483646 w 39"/>
              <a:gd name="T7" fmla="*/ 2147483646 h 49"/>
              <a:gd name="T8" fmla="*/ 2147483646 w 39"/>
              <a:gd name="T9" fmla="*/ 0 h 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9"/>
              <a:gd name="T16" fmla="*/ 0 h 49"/>
              <a:gd name="T17" fmla="*/ 39 w 39"/>
              <a:gd name="T18" fmla="*/ 49 h 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9" h="49">
                <a:moveTo>
                  <a:pt x="15" y="0"/>
                </a:moveTo>
                <a:cubicBezTo>
                  <a:pt x="6" y="4"/>
                  <a:pt x="0" y="2"/>
                  <a:pt x="0" y="18"/>
                </a:cubicBezTo>
                <a:cubicBezTo>
                  <a:pt x="0" y="33"/>
                  <a:pt x="12" y="49"/>
                  <a:pt x="20" y="44"/>
                </a:cubicBezTo>
                <a:cubicBezTo>
                  <a:pt x="28" y="40"/>
                  <a:pt x="36" y="35"/>
                  <a:pt x="37" y="27"/>
                </a:cubicBezTo>
                <a:cubicBezTo>
                  <a:pt x="39" y="19"/>
                  <a:pt x="15" y="0"/>
                  <a:pt x="15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24" name="Freeform 559"/>
          <p:cNvSpPr>
            <a:spLocks/>
          </p:cNvSpPr>
          <p:nvPr userDrawn="1"/>
        </p:nvSpPr>
        <p:spPr bwMode="auto">
          <a:xfrm>
            <a:off x="7204276" y="2312772"/>
            <a:ext cx="41877" cy="28477"/>
          </a:xfrm>
          <a:custGeom>
            <a:avLst/>
            <a:gdLst>
              <a:gd name="T0" fmla="*/ 2147483646 w 46"/>
              <a:gd name="T1" fmla="*/ 2147483646 h 32"/>
              <a:gd name="T2" fmla="*/ 2147483646 w 46"/>
              <a:gd name="T3" fmla="*/ 2147483646 h 32"/>
              <a:gd name="T4" fmla="*/ 2147483646 w 46"/>
              <a:gd name="T5" fmla="*/ 2147483646 h 32"/>
              <a:gd name="T6" fmla="*/ 2147483646 w 46"/>
              <a:gd name="T7" fmla="*/ 2147483646 h 32"/>
              <a:gd name="T8" fmla="*/ 2147483646 w 46"/>
              <a:gd name="T9" fmla="*/ 2147483646 h 32"/>
              <a:gd name="T10" fmla="*/ 2147483646 w 46"/>
              <a:gd name="T11" fmla="*/ 2147483646 h 32"/>
              <a:gd name="T12" fmla="*/ 2147483646 w 46"/>
              <a:gd name="T13" fmla="*/ 2147483646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6"/>
              <a:gd name="T22" fmla="*/ 0 h 32"/>
              <a:gd name="T23" fmla="*/ 46 w 46"/>
              <a:gd name="T24" fmla="*/ 32 h 3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6" h="32">
                <a:moveTo>
                  <a:pt x="20" y="1"/>
                </a:moveTo>
                <a:cubicBezTo>
                  <a:pt x="11" y="1"/>
                  <a:pt x="0" y="0"/>
                  <a:pt x="3" y="5"/>
                </a:cubicBezTo>
                <a:cubicBezTo>
                  <a:pt x="5" y="11"/>
                  <a:pt x="10" y="7"/>
                  <a:pt x="6" y="15"/>
                </a:cubicBezTo>
                <a:cubicBezTo>
                  <a:pt x="2" y="23"/>
                  <a:pt x="13" y="32"/>
                  <a:pt x="23" y="30"/>
                </a:cubicBezTo>
                <a:cubicBezTo>
                  <a:pt x="32" y="27"/>
                  <a:pt x="39" y="27"/>
                  <a:pt x="42" y="26"/>
                </a:cubicBezTo>
                <a:cubicBezTo>
                  <a:pt x="46" y="25"/>
                  <a:pt x="45" y="9"/>
                  <a:pt x="43" y="5"/>
                </a:cubicBezTo>
                <a:cubicBezTo>
                  <a:pt x="41" y="2"/>
                  <a:pt x="20" y="1"/>
                  <a:pt x="20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25" name="Freeform 560"/>
          <p:cNvSpPr>
            <a:spLocks/>
          </p:cNvSpPr>
          <p:nvPr userDrawn="1"/>
        </p:nvSpPr>
        <p:spPr bwMode="auto">
          <a:xfrm>
            <a:off x="7944667" y="1743242"/>
            <a:ext cx="112231" cy="139033"/>
          </a:xfrm>
          <a:custGeom>
            <a:avLst/>
            <a:gdLst>
              <a:gd name="T0" fmla="*/ 2147483646 w 120"/>
              <a:gd name="T1" fmla="*/ 2147483646 h 150"/>
              <a:gd name="T2" fmla="*/ 2147483646 w 120"/>
              <a:gd name="T3" fmla="*/ 2147483646 h 150"/>
              <a:gd name="T4" fmla="*/ 2147483646 w 120"/>
              <a:gd name="T5" fmla="*/ 2147483646 h 150"/>
              <a:gd name="T6" fmla="*/ 2147483646 w 120"/>
              <a:gd name="T7" fmla="*/ 2147483646 h 150"/>
              <a:gd name="T8" fmla="*/ 2147483646 w 120"/>
              <a:gd name="T9" fmla="*/ 2147483646 h 150"/>
              <a:gd name="T10" fmla="*/ 2147483646 w 120"/>
              <a:gd name="T11" fmla="*/ 2147483646 h 150"/>
              <a:gd name="T12" fmla="*/ 2147483646 w 120"/>
              <a:gd name="T13" fmla="*/ 2147483646 h 150"/>
              <a:gd name="T14" fmla="*/ 2147483646 w 120"/>
              <a:gd name="T15" fmla="*/ 2147483646 h 150"/>
              <a:gd name="T16" fmla="*/ 0 w 120"/>
              <a:gd name="T17" fmla="*/ 2147483646 h 150"/>
              <a:gd name="T18" fmla="*/ 2147483646 w 120"/>
              <a:gd name="T19" fmla="*/ 2147483646 h 150"/>
              <a:gd name="T20" fmla="*/ 2147483646 w 120"/>
              <a:gd name="T21" fmla="*/ 2147483646 h 150"/>
              <a:gd name="T22" fmla="*/ 2147483646 w 120"/>
              <a:gd name="T23" fmla="*/ 2147483646 h 150"/>
              <a:gd name="T24" fmla="*/ 2147483646 w 120"/>
              <a:gd name="T25" fmla="*/ 2147483646 h 150"/>
              <a:gd name="T26" fmla="*/ 2147483646 w 120"/>
              <a:gd name="T27" fmla="*/ 2147483646 h 150"/>
              <a:gd name="T28" fmla="*/ 2147483646 w 120"/>
              <a:gd name="T29" fmla="*/ 2147483646 h 150"/>
              <a:gd name="T30" fmla="*/ 2147483646 w 120"/>
              <a:gd name="T31" fmla="*/ 2147483646 h 150"/>
              <a:gd name="T32" fmla="*/ 2147483646 w 120"/>
              <a:gd name="T33" fmla="*/ 2147483646 h 15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0"/>
              <a:gd name="T52" fmla="*/ 0 h 150"/>
              <a:gd name="T53" fmla="*/ 120 w 120"/>
              <a:gd name="T54" fmla="*/ 150 h 15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0" h="150">
                <a:moveTo>
                  <a:pt x="65" y="33"/>
                </a:moveTo>
                <a:cubicBezTo>
                  <a:pt x="64" y="27"/>
                  <a:pt x="64" y="18"/>
                  <a:pt x="61" y="16"/>
                </a:cubicBezTo>
                <a:cubicBezTo>
                  <a:pt x="59" y="14"/>
                  <a:pt x="53" y="0"/>
                  <a:pt x="51" y="7"/>
                </a:cubicBezTo>
                <a:cubicBezTo>
                  <a:pt x="50" y="14"/>
                  <a:pt x="50" y="29"/>
                  <a:pt x="45" y="27"/>
                </a:cubicBezTo>
                <a:cubicBezTo>
                  <a:pt x="39" y="25"/>
                  <a:pt x="41" y="7"/>
                  <a:pt x="35" y="18"/>
                </a:cubicBezTo>
                <a:cubicBezTo>
                  <a:pt x="28" y="29"/>
                  <a:pt x="27" y="36"/>
                  <a:pt x="28" y="46"/>
                </a:cubicBezTo>
                <a:cubicBezTo>
                  <a:pt x="28" y="56"/>
                  <a:pt x="22" y="47"/>
                  <a:pt x="21" y="66"/>
                </a:cubicBezTo>
                <a:cubicBezTo>
                  <a:pt x="21" y="85"/>
                  <a:pt x="22" y="96"/>
                  <a:pt x="17" y="106"/>
                </a:cubicBezTo>
                <a:cubicBezTo>
                  <a:pt x="11" y="115"/>
                  <a:pt x="0" y="128"/>
                  <a:pt x="0" y="131"/>
                </a:cubicBezTo>
                <a:cubicBezTo>
                  <a:pt x="0" y="133"/>
                  <a:pt x="0" y="150"/>
                  <a:pt x="13" y="143"/>
                </a:cubicBezTo>
                <a:cubicBezTo>
                  <a:pt x="26" y="136"/>
                  <a:pt x="12" y="116"/>
                  <a:pt x="45" y="123"/>
                </a:cubicBezTo>
                <a:cubicBezTo>
                  <a:pt x="78" y="130"/>
                  <a:pt x="55" y="125"/>
                  <a:pt x="84" y="121"/>
                </a:cubicBezTo>
                <a:cubicBezTo>
                  <a:pt x="113" y="118"/>
                  <a:pt x="118" y="111"/>
                  <a:pt x="119" y="102"/>
                </a:cubicBezTo>
                <a:cubicBezTo>
                  <a:pt x="120" y="93"/>
                  <a:pt x="118" y="71"/>
                  <a:pt x="110" y="73"/>
                </a:cubicBezTo>
                <a:cubicBezTo>
                  <a:pt x="103" y="75"/>
                  <a:pt x="94" y="66"/>
                  <a:pt x="102" y="62"/>
                </a:cubicBezTo>
                <a:cubicBezTo>
                  <a:pt x="110" y="58"/>
                  <a:pt x="94" y="35"/>
                  <a:pt x="88" y="36"/>
                </a:cubicBezTo>
                <a:cubicBezTo>
                  <a:pt x="82" y="36"/>
                  <a:pt x="65" y="33"/>
                  <a:pt x="65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26" name="Freeform 561"/>
          <p:cNvSpPr>
            <a:spLocks/>
          </p:cNvSpPr>
          <p:nvPr userDrawn="1"/>
        </p:nvSpPr>
        <p:spPr bwMode="auto">
          <a:xfrm>
            <a:off x="7845836" y="1687964"/>
            <a:ext cx="113907" cy="127307"/>
          </a:xfrm>
          <a:custGeom>
            <a:avLst/>
            <a:gdLst>
              <a:gd name="T0" fmla="*/ 2147483646 w 123"/>
              <a:gd name="T1" fmla="*/ 2147483646 h 137"/>
              <a:gd name="T2" fmla="*/ 2147483646 w 123"/>
              <a:gd name="T3" fmla="*/ 2147483646 h 137"/>
              <a:gd name="T4" fmla="*/ 2147483646 w 123"/>
              <a:gd name="T5" fmla="*/ 2147483646 h 137"/>
              <a:gd name="T6" fmla="*/ 2147483646 w 123"/>
              <a:gd name="T7" fmla="*/ 2147483646 h 137"/>
              <a:gd name="T8" fmla="*/ 2147483646 w 123"/>
              <a:gd name="T9" fmla="*/ 2147483646 h 137"/>
              <a:gd name="T10" fmla="*/ 2147483646 w 123"/>
              <a:gd name="T11" fmla="*/ 2147483646 h 137"/>
              <a:gd name="T12" fmla="*/ 2147483646 w 123"/>
              <a:gd name="T13" fmla="*/ 2147483646 h 137"/>
              <a:gd name="T14" fmla="*/ 2147483646 w 123"/>
              <a:gd name="T15" fmla="*/ 2147483646 h 137"/>
              <a:gd name="T16" fmla="*/ 2147483646 w 123"/>
              <a:gd name="T17" fmla="*/ 2147483646 h 137"/>
              <a:gd name="T18" fmla="*/ 2147483646 w 123"/>
              <a:gd name="T19" fmla="*/ 2147483646 h 137"/>
              <a:gd name="T20" fmla="*/ 2147483646 w 123"/>
              <a:gd name="T21" fmla="*/ 2147483646 h 137"/>
              <a:gd name="T22" fmla="*/ 2147483646 w 123"/>
              <a:gd name="T23" fmla="*/ 2147483646 h 1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23"/>
              <a:gd name="T37" fmla="*/ 0 h 137"/>
              <a:gd name="T38" fmla="*/ 123 w 123"/>
              <a:gd name="T39" fmla="*/ 137 h 13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23" h="137">
                <a:moveTo>
                  <a:pt x="79" y="29"/>
                </a:moveTo>
                <a:cubicBezTo>
                  <a:pt x="77" y="20"/>
                  <a:pt x="77" y="3"/>
                  <a:pt x="69" y="2"/>
                </a:cubicBezTo>
                <a:cubicBezTo>
                  <a:pt x="61" y="0"/>
                  <a:pt x="46" y="4"/>
                  <a:pt x="42" y="8"/>
                </a:cubicBezTo>
                <a:cubicBezTo>
                  <a:pt x="38" y="12"/>
                  <a:pt x="21" y="19"/>
                  <a:pt x="19" y="27"/>
                </a:cubicBezTo>
                <a:cubicBezTo>
                  <a:pt x="16" y="36"/>
                  <a:pt x="0" y="36"/>
                  <a:pt x="4" y="52"/>
                </a:cubicBezTo>
                <a:cubicBezTo>
                  <a:pt x="8" y="67"/>
                  <a:pt x="17" y="61"/>
                  <a:pt x="33" y="77"/>
                </a:cubicBezTo>
                <a:cubicBezTo>
                  <a:pt x="49" y="94"/>
                  <a:pt x="44" y="105"/>
                  <a:pt x="44" y="105"/>
                </a:cubicBezTo>
                <a:cubicBezTo>
                  <a:pt x="44" y="105"/>
                  <a:pt x="57" y="102"/>
                  <a:pt x="75" y="120"/>
                </a:cubicBezTo>
                <a:cubicBezTo>
                  <a:pt x="93" y="137"/>
                  <a:pt x="105" y="75"/>
                  <a:pt x="107" y="73"/>
                </a:cubicBezTo>
                <a:cubicBezTo>
                  <a:pt x="109" y="70"/>
                  <a:pt x="123" y="34"/>
                  <a:pt x="119" y="25"/>
                </a:cubicBezTo>
                <a:cubicBezTo>
                  <a:pt x="115" y="16"/>
                  <a:pt x="104" y="5"/>
                  <a:pt x="102" y="8"/>
                </a:cubicBezTo>
                <a:cubicBezTo>
                  <a:pt x="99" y="10"/>
                  <a:pt x="79" y="29"/>
                  <a:pt x="79" y="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27" name="Freeform 563"/>
          <p:cNvSpPr>
            <a:spLocks/>
          </p:cNvSpPr>
          <p:nvPr userDrawn="1"/>
        </p:nvSpPr>
        <p:spPr bwMode="auto">
          <a:xfrm>
            <a:off x="7800609" y="1584109"/>
            <a:ext cx="113907" cy="110556"/>
          </a:xfrm>
          <a:custGeom>
            <a:avLst/>
            <a:gdLst>
              <a:gd name="T0" fmla="*/ 2147483646 w 122"/>
              <a:gd name="T1" fmla="*/ 0 h 119"/>
              <a:gd name="T2" fmla="*/ 2147483646 w 122"/>
              <a:gd name="T3" fmla="*/ 2147483646 h 119"/>
              <a:gd name="T4" fmla="*/ 2147483646 w 122"/>
              <a:gd name="T5" fmla="*/ 2147483646 h 119"/>
              <a:gd name="T6" fmla="*/ 2147483646 w 122"/>
              <a:gd name="T7" fmla="*/ 2147483646 h 119"/>
              <a:gd name="T8" fmla="*/ 2147483646 w 122"/>
              <a:gd name="T9" fmla="*/ 2147483646 h 119"/>
              <a:gd name="T10" fmla="*/ 2147483646 w 122"/>
              <a:gd name="T11" fmla="*/ 2147483646 h 119"/>
              <a:gd name="T12" fmla="*/ 2147483646 w 122"/>
              <a:gd name="T13" fmla="*/ 2147483646 h 119"/>
              <a:gd name="T14" fmla="*/ 2147483646 w 122"/>
              <a:gd name="T15" fmla="*/ 2147483646 h 119"/>
              <a:gd name="T16" fmla="*/ 2147483646 w 122"/>
              <a:gd name="T17" fmla="*/ 2147483646 h 119"/>
              <a:gd name="T18" fmla="*/ 2147483646 w 122"/>
              <a:gd name="T19" fmla="*/ 2147483646 h 119"/>
              <a:gd name="T20" fmla="*/ 2147483646 w 122"/>
              <a:gd name="T21" fmla="*/ 2147483646 h 119"/>
              <a:gd name="T22" fmla="*/ 2147483646 w 122"/>
              <a:gd name="T23" fmla="*/ 2147483646 h 119"/>
              <a:gd name="T24" fmla="*/ 2147483646 w 122"/>
              <a:gd name="T25" fmla="*/ 0 h 11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22"/>
              <a:gd name="T40" fmla="*/ 0 h 119"/>
              <a:gd name="T41" fmla="*/ 122 w 122"/>
              <a:gd name="T42" fmla="*/ 119 h 11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22" h="119">
                <a:moveTo>
                  <a:pt x="86" y="0"/>
                </a:moveTo>
                <a:cubicBezTo>
                  <a:pt x="74" y="7"/>
                  <a:pt x="61" y="14"/>
                  <a:pt x="57" y="30"/>
                </a:cubicBezTo>
                <a:cubicBezTo>
                  <a:pt x="52" y="45"/>
                  <a:pt x="54" y="51"/>
                  <a:pt x="41" y="60"/>
                </a:cubicBezTo>
                <a:cubicBezTo>
                  <a:pt x="29" y="70"/>
                  <a:pt x="13" y="68"/>
                  <a:pt x="13" y="79"/>
                </a:cubicBezTo>
                <a:cubicBezTo>
                  <a:pt x="13" y="90"/>
                  <a:pt x="18" y="84"/>
                  <a:pt x="20" y="92"/>
                </a:cubicBezTo>
                <a:cubicBezTo>
                  <a:pt x="22" y="101"/>
                  <a:pt x="0" y="105"/>
                  <a:pt x="14" y="112"/>
                </a:cubicBezTo>
                <a:cubicBezTo>
                  <a:pt x="29" y="119"/>
                  <a:pt x="33" y="115"/>
                  <a:pt x="47" y="113"/>
                </a:cubicBezTo>
                <a:cubicBezTo>
                  <a:pt x="60" y="110"/>
                  <a:pt x="56" y="95"/>
                  <a:pt x="72" y="99"/>
                </a:cubicBezTo>
                <a:cubicBezTo>
                  <a:pt x="89" y="104"/>
                  <a:pt x="89" y="92"/>
                  <a:pt x="103" y="91"/>
                </a:cubicBezTo>
                <a:cubicBezTo>
                  <a:pt x="117" y="91"/>
                  <a:pt x="118" y="72"/>
                  <a:pt x="117" y="61"/>
                </a:cubicBezTo>
                <a:cubicBezTo>
                  <a:pt x="115" y="50"/>
                  <a:pt x="122" y="44"/>
                  <a:pt x="121" y="38"/>
                </a:cubicBezTo>
                <a:cubicBezTo>
                  <a:pt x="120" y="33"/>
                  <a:pt x="117" y="9"/>
                  <a:pt x="113" y="8"/>
                </a:cubicBezTo>
                <a:cubicBezTo>
                  <a:pt x="109" y="6"/>
                  <a:pt x="86" y="0"/>
                  <a:pt x="8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28" name="Freeform 564"/>
          <p:cNvSpPr>
            <a:spLocks/>
          </p:cNvSpPr>
          <p:nvPr userDrawn="1"/>
        </p:nvSpPr>
        <p:spPr bwMode="auto">
          <a:xfrm>
            <a:off x="7803960" y="1691314"/>
            <a:ext cx="50253" cy="33501"/>
          </a:xfrm>
          <a:custGeom>
            <a:avLst/>
            <a:gdLst>
              <a:gd name="T0" fmla="*/ 2147483646 w 54"/>
              <a:gd name="T1" fmla="*/ 2147483646 h 36"/>
              <a:gd name="T2" fmla="*/ 2147483646 w 54"/>
              <a:gd name="T3" fmla="*/ 2147483646 h 36"/>
              <a:gd name="T4" fmla="*/ 2147483646 w 54"/>
              <a:gd name="T5" fmla="*/ 2147483646 h 36"/>
              <a:gd name="T6" fmla="*/ 2147483646 w 54"/>
              <a:gd name="T7" fmla="*/ 2147483646 h 36"/>
              <a:gd name="T8" fmla="*/ 2147483646 w 54"/>
              <a:gd name="T9" fmla="*/ 2147483646 h 36"/>
              <a:gd name="T10" fmla="*/ 2147483646 w 54"/>
              <a:gd name="T11" fmla="*/ 2147483646 h 36"/>
              <a:gd name="T12" fmla="*/ 2147483646 w 54"/>
              <a:gd name="T13" fmla="*/ 2147483646 h 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4"/>
              <a:gd name="T22" fmla="*/ 0 h 36"/>
              <a:gd name="T23" fmla="*/ 54 w 54"/>
              <a:gd name="T24" fmla="*/ 36 h 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4" h="36">
                <a:moveTo>
                  <a:pt x="17" y="9"/>
                </a:moveTo>
                <a:cubicBezTo>
                  <a:pt x="8" y="9"/>
                  <a:pt x="0" y="0"/>
                  <a:pt x="1" y="15"/>
                </a:cubicBezTo>
                <a:cubicBezTo>
                  <a:pt x="1" y="30"/>
                  <a:pt x="4" y="36"/>
                  <a:pt x="16" y="36"/>
                </a:cubicBezTo>
                <a:cubicBezTo>
                  <a:pt x="28" y="36"/>
                  <a:pt x="23" y="27"/>
                  <a:pt x="35" y="25"/>
                </a:cubicBezTo>
                <a:cubicBezTo>
                  <a:pt x="47" y="23"/>
                  <a:pt x="52" y="15"/>
                  <a:pt x="52" y="12"/>
                </a:cubicBezTo>
                <a:cubicBezTo>
                  <a:pt x="52" y="10"/>
                  <a:pt x="54" y="5"/>
                  <a:pt x="50" y="6"/>
                </a:cubicBezTo>
                <a:cubicBezTo>
                  <a:pt x="45" y="8"/>
                  <a:pt x="17" y="9"/>
                  <a:pt x="17" y="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29" name="Freeform 565"/>
          <p:cNvSpPr>
            <a:spLocks/>
          </p:cNvSpPr>
          <p:nvPr userDrawn="1"/>
        </p:nvSpPr>
        <p:spPr bwMode="auto">
          <a:xfrm>
            <a:off x="8850893" y="2136888"/>
            <a:ext cx="128983" cy="128981"/>
          </a:xfrm>
          <a:custGeom>
            <a:avLst/>
            <a:gdLst>
              <a:gd name="T0" fmla="*/ 2147483646 w 139"/>
              <a:gd name="T1" fmla="*/ 2147483646 h 137"/>
              <a:gd name="T2" fmla="*/ 2147483646 w 139"/>
              <a:gd name="T3" fmla="*/ 2147483646 h 137"/>
              <a:gd name="T4" fmla="*/ 2147483646 w 139"/>
              <a:gd name="T5" fmla="*/ 2147483646 h 137"/>
              <a:gd name="T6" fmla="*/ 2147483646 w 139"/>
              <a:gd name="T7" fmla="*/ 2147483646 h 137"/>
              <a:gd name="T8" fmla="*/ 2147483646 w 139"/>
              <a:gd name="T9" fmla="*/ 2147483646 h 137"/>
              <a:gd name="T10" fmla="*/ 2147483646 w 139"/>
              <a:gd name="T11" fmla="*/ 2147483646 h 137"/>
              <a:gd name="T12" fmla="*/ 2147483646 w 139"/>
              <a:gd name="T13" fmla="*/ 2147483646 h 137"/>
              <a:gd name="T14" fmla="*/ 2147483646 w 139"/>
              <a:gd name="T15" fmla="*/ 2147483646 h 137"/>
              <a:gd name="T16" fmla="*/ 2147483646 w 139"/>
              <a:gd name="T17" fmla="*/ 2147483646 h 137"/>
              <a:gd name="T18" fmla="*/ 2147483646 w 139"/>
              <a:gd name="T19" fmla="*/ 2147483646 h 137"/>
              <a:gd name="T20" fmla="*/ 2147483646 w 139"/>
              <a:gd name="T21" fmla="*/ 2147483646 h 137"/>
              <a:gd name="T22" fmla="*/ 2147483646 w 139"/>
              <a:gd name="T23" fmla="*/ 2147483646 h 1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39"/>
              <a:gd name="T37" fmla="*/ 0 h 137"/>
              <a:gd name="T38" fmla="*/ 139 w 139"/>
              <a:gd name="T39" fmla="*/ 137 h 13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39" h="137">
                <a:moveTo>
                  <a:pt x="90" y="33"/>
                </a:moveTo>
                <a:cubicBezTo>
                  <a:pt x="80" y="23"/>
                  <a:pt x="74" y="16"/>
                  <a:pt x="69" y="10"/>
                </a:cubicBezTo>
                <a:cubicBezTo>
                  <a:pt x="64" y="5"/>
                  <a:pt x="58" y="0"/>
                  <a:pt x="48" y="9"/>
                </a:cubicBezTo>
                <a:cubicBezTo>
                  <a:pt x="37" y="17"/>
                  <a:pt x="32" y="37"/>
                  <a:pt x="25" y="44"/>
                </a:cubicBezTo>
                <a:cubicBezTo>
                  <a:pt x="18" y="51"/>
                  <a:pt x="0" y="24"/>
                  <a:pt x="7" y="54"/>
                </a:cubicBezTo>
                <a:cubicBezTo>
                  <a:pt x="14" y="84"/>
                  <a:pt x="25" y="67"/>
                  <a:pt x="36" y="102"/>
                </a:cubicBezTo>
                <a:cubicBezTo>
                  <a:pt x="46" y="137"/>
                  <a:pt x="101" y="95"/>
                  <a:pt x="117" y="105"/>
                </a:cubicBezTo>
                <a:cubicBezTo>
                  <a:pt x="132" y="116"/>
                  <a:pt x="139" y="109"/>
                  <a:pt x="139" y="109"/>
                </a:cubicBezTo>
                <a:cubicBezTo>
                  <a:pt x="139" y="109"/>
                  <a:pt x="131" y="81"/>
                  <a:pt x="127" y="74"/>
                </a:cubicBezTo>
                <a:cubicBezTo>
                  <a:pt x="124" y="67"/>
                  <a:pt x="122" y="30"/>
                  <a:pt x="122" y="30"/>
                </a:cubicBezTo>
                <a:cubicBezTo>
                  <a:pt x="110" y="7"/>
                  <a:pt x="110" y="7"/>
                  <a:pt x="110" y="7"/>
                </a:cubicBezTo>
                <a:lnTo>
                  <a:pt x="90" y="3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30" name="Freeform 566"/>
          <p:cNvSpPr>
            <a:spLocks/>
          </p:cNvSpPr>
          <p:nvPr userDrawn="1"/>
        </p:nvSpPr>
        <p:spPr bwMode="auto">
          <a:xfrm>
            <a:off x="8976525" y="2160340"/>
            <a:ext cx="38527" cy="73704"/>
          </a:xfrm>
          <a:custGeom>
            <a:avLst/>
            <a:gdLst>
              <a:gd name="T0" fmla="*/ 2147483646 w 40"/>
              <a:gd name="T1" fmla="*/ 2147483646 h 80"/>
              <a:gd name="T2" fmla="*/ 2147483646 w 40"/>
              <a:gd name="T3" fmla="*/ 2147483646 h 80"/>
              <a:gd name="T4" fmla="*/ 2147483646 w 40"/>
              <a:gd name="T5" fmla="*/ 2147483646 h 80"/>
              <a:gd name="T6" fmla="*/ 2147483646 w 40"/>
              <a:gd name="T7" fmla="*/ 2147483646 h 80"/>
              <a:gd name="T8" fmla="*/ 2147483646 w 40"/>
              <a:gd name="T9" fmla="*/ 2147483646 h 80"/>
              <a:gd name="T10" fmla="*/ 2147483646 w 40"/>
              <a:gd name="T11" fmla="*/ 2147483646 h 80"/>
              <a:gd name="T12" fmla="*/ 2147483646 w 40"/>
              <a:gd name="T13" fmla="*/ 2147483646 h 8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0"/>
              <a:gd name="T22" fmla="*/ 0 h 80"/>
              <a:gd name="T23" fmla="*/ 40 w 40"/>
              <a:gd name="T24" fmla="*/ 80 h 8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0" h="80">
                <a:moveTo>
                  <a:pt x="23" y="11"/>
                </a:moveTo>
                <a:cubicBezTo>
                  <a:pt x="12" y="7"/>
                  <a:pt x="0" y="0"/>
                  <a:pt x="2" y="16"/>
                </a:cubicBezTo>
                <a:cubicBezTo>
                  <a:pt x="3" y="32"/>
                  <a:pt x="2" y="46"/>
                  <a:pt x="9" y="59"/>
                </a:cubicBezTo>
                <a:cubicBezTo>
                  <a:pt x="16" y="71"/>
                  <a:pt x="10" y="76"/>
                  <a:pt x="16" y="78"/>
                </a:cubicBezTo>
                <a:cubicBezTo>
                  <a:pt x="21" y="80"/>
                  <a:pt x="32" y="64"/>
                  <a:pt x="33" y="57"/>
                </a:cubicBezTo>
                <a:cubicBezTo>
                  <a:pt x="35" y="50"/>
                  <a:pt x="40" y="43"/>
                  <a:pt x="39" y="36"/>
                </a:cubicBezTo>
                <a:cubicBezTo>
                  <a:pt x="37" y="29"/>
                  <a:pt x="23" y="11"/>
                  <a:pt x="23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31" name="Freeform 567"/>
          <p:cNvSpPr>
            <a:spLocks/>
          </p:cNvSpPr>
          <p:nvPr userDrawn="1"/>
        </p:nvSpPr>
        <p:spPr bwMode="auto">
          <a:xfrm>
            <a:off x="9035153" y="2182117"/>
            <a:ext cx="75380" cy="78729"/>
          </a:xfrm>
          <a:custGeom>
            <a:avLst/>
            <a:gdLst>
              <a:gd name="T0" fmla="*/ 2147483646 w 81"/>
              <a:gd name="T1" fmla="*/ 2147483646 h 85"/>
              <a:gd name="T2" fmla="*/ 2147483646 w 81"/>
              <a:gd name="T3" fmla="*/ 2147483646 h 85"/>
              <a:gd name="T4" fmla="*/ 2147483646 w 81"/>
              <a:gd name="T5" fmla="*/ 2147483646 h 85"/>
              <a:gd name="T6" fmla="*/ 2147483646 w 81"/>
              <a:gd name="T7" fmla="*/ 2147483646 h 85"/>
              <a:gd name="T8" fmla="*/ 2147483646 w 81"/>
              <a:gd name="T9" fmla="*/ 2147483646 h 85"/>
              <a:gd name="T10" fmla="*/ 2147483646 w 81"/>
              <a:gd name="T11" fmla="*/ 2147483646 h 85"/>
              <a:gd name="T12" fmla="*/ 2147483646 w 81"/>
              <a:gd name="T13" fmla="*/ 2147483646 h 8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1"/>
              <a:gd name="T22" fmla="*/ 0 h 85"/>
              <a:gd name="T23" fmla="*/ 81 w 81"/>
              <a:gd name="T24" fmla="*/ 85 h 8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1" h="85">
                <a:moveTo>
                  <a:pt x="28" y="23"/>
                </a:moveTo>
                <a:cubicBezTo>
                  <a:pt x="19" y="21"/>
                  <a:pt x="10" y="0"/>
                  <a:pt x="5" y="20"/>
                </a:cubicBezTo>
                <a:cubicBezTo>
                  <a:pt x="0" y="39"/>
                  <a:pt x="10" y="55"/>
                  <a:pt x="19" y="64"/>
                </a:cubicBezTo>
                <a:cubicBezTo>
                  <a:pt x="28" y="73"/>
                  <a:pt x="31" y="78"/>
                  <a:pt x="45" y="81"/>
                </a:cubicBezTo>
                <a:cubicBezTo>
                  <a:pt x="59" y="85"/>
                  <a:pt x="67" y="69"/>
                  <a:pt x="74" y="69"/>
                </a:cubicBezTo>
                <a:cubicBezTo>
                  <a:pt x="81" y="69"/>
                  <a:pt x="74" y="27"/>
                  <a:pt x="67" y="29"/>
                </a:cubicBezTo>
                <a:cubicBezTo>
                  <a:pt x="59" y="30"/>
                  <a:pt x="28" y="23"/>
                  <a:pt x="28" y="2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32" name="Freeform 568"/>
          <p:cNvSpPr>
            <a:spLocks/>
          </p:cNvSpPr>
          <p:nvPr userDrawn="1"/>
        </p:nvSpPr>
        <p:spPr bwMode="auto">
          <a:xfrm>
            <a:off x="8914546" y="2306073"/>
            <a:ext cx="80404" cy="46903"/>
          </a:xfrm>
          <a:custGeom>
            <a:avLst/>
            <a:gdLst>
              <a:gd name="T0" fmla="*/ 2147483646 w 86"/>
              <a:gd name="T1" fmla="*/ 0 h 50"/>
              <a:gd name="T2" fmla="*/ 2147483646 w 86"/>
              <a:gd name="T3" fmla="*/ 2147483646 h 50"/>
              <a:gd name="T4" fmla="*/ 2147483646 w 86"/>
              <a:gd name="T5" fmla="*/ 2147483646 h 50"/>
              <a:gd name="T6" fmla="*/ 2147483646 w 86"/>
              <a:gd name="T7" fmla="*/ 2147483646 h 50"/>
              <a:gd name="T8" fmla="*/ 2147483646 w 86"/>
              <a:gd name="T9" fmla="*/ 2147483646 h 50"/>
              <a:gd name="T10" fmla="*/ 2147483646 w 86"/>
              <a:gd name="T11" fmla="*/ 2147483646 h 50"/>
              <a:gd name="T12" fmla="*/ 2147483646 w 86"/>
              <a:gd name="T13" fmla="*/ 0 h 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6"/>
              <a:gd name="T22" fmla="*/ 0 h 50"/>
              <a:gd name="T23" fmla="*/ 86 w 86"/>
              <a:gd name="T24" fmla="*/ 50 h 5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6" h="50">
                <a:moveTo>
                  <a:pt x="51" y="0"/>
                </a:moveTo>
                <a:cubicBezTo>
                  <a:pt x="46" y="0"/>
                  <a:pt x="39" y="2"/>
                  <a:pt x="30" y="13"/>
                </a:cubicBezTo>
                <a:cubicBezTo>
                  <a:pt x="21" y="23"/>
                  <a:pt x="0" y="35"/>
                  <a:pt x="11" y="39"/>
                </a:cubicBezTo>
                <a:cubicBezTo>
                  <a:pt x="21" y="42"/>
                  <a:pt x="35" y="7"/>
                  <a:pt x="49" y="28"/>
                </a:cubicBezTo>
                <a:cubicBezTo>
                  <a:pt x="63" y="50"/>
                  <a:pt x="86" y="18"/>
                  <a:pt x="79" y="14"/>
                </a:cubicBezTo>
                <a:cubicBezTo>
                  <a:pt x="72" y="11"/>
                  <a:pt x="69" y="2"/>
                  <a:pt x="69" y="2"/>
                </a:cubicBezTo>
                <a:lnTo>
                  <a:pt x="51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33" name="Freeform 569"/>
          <p:cNvSpPr>
            <a:spLocks/>
          </p:cNvSpPr>
          <p:nvPr userDrawn="1"/>
        </p:nvSpPr>
        <p:spPr bwMode="auto">
          <a:xfrm>
            <a:off x="9787270" y="2463531"/>
            <a:ext cx="137357" cy="73704"/>
          </a:xfrm>
          <a:custGeom>
            <a:avLst/>
            <a:gdLst>
              <a:gd name="T0" fmla="*/ 2147483646 w 147"/>
              <a:gd name="T1" fmla="*/ 2147483646 h 78"/>
              <a:gd name="T2" fmla="*/ 2147483646 w 147"/>
              <a:gd name="T3" fmla="*/ 2147483646 h 78"/>
              <a:gd name="T4" fmla="*/ 2147483646 w 147"/>
              <a:gd name="T5" fmla="*/ 2147483646 h 78"/>
              <a:gd name="T6" fmla="*/ 2147483646 w 147"/>
              <a:gd name="T7" fmla="*/ 2147483646 h 78"/>
              <a:gd name="T8" fmla="*/ 2147483646 w 147"/>
              <a:gd name="T9" fmla="*/ 2147483646 h 78"/>
              <a:gd name="T10" fmla="*/ 2147483646 w 147"/>
              <a:gd name="T11" fmla="*/ 2147483646 h 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7"/>
              <a:gd name="T19" fmla="*/ 0 h 78"/>
              <a:gd name="T20" fmla="*/ 147 w 147"/>
              <a:gd name="T21" fmla="*/ 78 h 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7" h="78">
                <a:moveTo>
                  <a:pt x="79" y="7"/>
                </a:moveTo>
                <a:cubicBezTo>
                  <a:pt x="68" y="0"/>
                  <a:pt x="61" y="3"/>
                  <a:pt x="35" y="24"/>
                </a:cubicBezTo>
                <a:cubicBezTo>
                  <a:pt x="9" y="45"/>
                  <a:pt x="0" y="78"/>
                  <a:pt x="18" y="73"/>
                </a:cubicBezTo>
                <a:cubicBezTo>
                  <a:pt x="37" y="68"/>
                  <a:pt x="61" y="35"/>
                  <a:pt x="82" y="47"/>
                </a:cubicBezTo>
                <a:cubicBezTo>
                  <a:pt x="103" y="59"/>
                  <a:pt x="147" y="21"/>
                  <a:pt x="138" y="19"/>
                </a:cubicBezTo>
                <a:cubicBezTo>
                  <a:pt x="129" y="17"/>
                  <a:pt x="79" y="7"/>
                  <a:pt x="79" y="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34" name="Freeform 570"/>
          <p:cNvSpPr>
            <a:spLocks/>
          </p:cNvSpPr>
          <p:nvPr userDrawn="1"/>
        </p:nvSpPr>
        <p:spPr bwMode="auto">
          <a:xfrm>
            <a:off x="8195931" y="2230693"/>
            <a:ext cx="40203" cy="43552"/>
          </a:xfrm>
          <a:custGeom>
            <a:avLst/>
            <a:gdLst>
              <a:gd name="T0" fmla="*/ 2147483646 w 43"/>
              <a:gd name="T1" fmla="*/ 0 h 46"/>
              <a:gd name="T2" fmla="*/ 2147483646 w 43"/>
              <a:gd name="T3" fmla="*/ 2147483646 h 46"/>
              <a:gd name="T4" fmla="*/ 2147483646 w 43"/>
              <a:gd name="T5" fmla="*/ 2147483646 h 46"/>
              <a:gd name="T6" fmla="*/ 2147483646 w 43"/>
              <a:gd name="T7" fmla="*/ 2147483646 h 46"/>
              <a:gd name="T8" fmla="*/ 2147483646 w 43"/>
              <a:gd name="T9" fmla="*/ 0 h 4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3"/>
              <a:gd name="T16" fmla="*/ 0 h 46"/>
              <a:gd name="T17" fmla="*/ 43 w 43"/>
              <a:gd name="T18" fmla="*/ 46 h 4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3" h="46">
                <a:moveTo>
                  <a:pt x="30" y="0"/>
                </a:moveTo>
                <a:cubicBezTo>
                  <a:pt x="18" y="0"/>
                  <a:pt x="0" y="0"/>
                  <a:pt x="5" y="13"/>
                </a:cubicBezTo>
                <a:cubicBezTo>
                  <a:pt x="10" y="26"/>
                  <a:pt x="28" y="46"/>
                  <a:pt x="35" y="38"/>
                </a:cubicBezTo>
                <a:cubicBezTo>
                  <a:pt x="43" y="31"/>
                  <a:pt x="43" y="15"/>
                  <a:pt x="43" y="15"/>
                </a:cubicBezTo>
                <a:lnTo>
                  <a:pt x="3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35" name="Freeform 571"/>
          <p:cNvSpPr>
            <a:spLocks/>
          </p:cNvSpPr>
          <p:nvPr userDrawn="1"/>
        </p:nvSpPr>
        <p:spPr bwMode="auto">
          <a:xfrm>
            <a:off x="7401937" y="2332874"/>
            <a:ext cx="30152" cy="45228"/>
          </a:xfrm>
          <a:custGeom>
            <a:avLst/>
            <a:gdLst>
              <a:gd name="T0" fmla="*/ 2147483646 w 33"/>
              <a:gd name="T1" fmla="*/ 0 h 49"/>
              <a:gd name="T2" fmla="*/ 2147483646 w 33"/>
              <a:gd name="T3" fmla="*/ 2147483646 h 49"/>
              <a:gd name="T4" fmla="*/ 2147483646 w 33"/>
              <a:gd name="T5" fmla="*/ 2147483646 h 49"/>
              <a:gd name="T6" fmla="*/ 2147483646 w 33"/>
              <a:gd name="T7" fmla="*/ 2147483646 h 49"/>
              <a:gd name="T8" fmla="*/ 2147483646 w 33"/>
              <a:gd name="T9" fmla="*/ 0 h 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49"/>
              <a:gd name="T17" fmla="*/ 33 w 33"/>
              <a:gd name="T18" fmla="*/ 49 h 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49">
                <a:moveTo>
                  <a:pt x="15" y="0"/>
                </a:moveTo>
                <a:cubicBezTo>
                  <a:pt x="5" y="0"/>
                  <a:pt x="0" y="21"/>
                  <a:pt x="2" y="28"/>
                </a:cubicBezTo>
                <a:cubicBezTo>
                  <a:pt x="5" y="36"/>
                  <a:pt x="23" y="49"/>
                  <a:pt x="28" y="41"/>
                </a:cubicBezTo>
                <a:cubicBezTo>
                  <a:pt x="33" y="33"/>
                  <a:pt x="23" y="5"/>
                  <a:pt x="23" y="5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36" name="Freeform 572"/>
          <p:cNvSpPr>
            <a:spLocks/>
          </p:cNvSpPr>
          <p:nvPr userDrawn="1"/>
        </p:nvSpPr>
        <p:spPr bwMode="auto">
          <a:xfrm>
            <a:off x="7110471" y="1744918"/>
            <a:ext cx="68679" cy="100505"/>
          </a:xfrm>
          <a:custGeom>
            <a:avLst/>
            <a:gdLst>
              <a:gd name="T0" fmla="*/ 2147483646 w 74"/>
              <a:gd name="T1" fmla="*/ 2147483646 h 107"/>
              <a:gd name="T2" fmla="*/ 2147483646 w 74"/>
              <a:gd name="T3" fmla="*/ 2147483646 h 107"/>
              <a:gd name="T4" fmla="*/ 2147483646 w 74"/>
              <a:gd name="T5" fmla="*/ 2147483646 h 107"/>
              <a:gd name="T6" fmla="*/ 2147483646 w 74"/>
              <a:gd name="T7" fmla="*/ 2147483646 h 107"/>
              <a:gd name="T8" fmla="*/ 2147483646 w 74"/>
              <a:gd name="T9" fmla="*/ 2147483646 h 107"/>
              <a:gd name="T10" fmla="*/ 2147483646 w 74"/>
              <a:gd name="T11" fmla="*/ 2147483646 h 10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4"/>
              <a:gd name="T19" fmla="*/ 0 h 107"/>
              <a:gd name="T20" fmla="*/ 74 w 74"/>
              <a:gd name="T21" fmla="*/ 107 h 10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4" h="107">
                <a:moveTo>
                  <a:pt x="44" y="15"/>
                </a:moveTo>
                <a:cubicBezTo>
                  <a:pt x="31" y="8"/>
                  <a:pt x="21" y="0"/>
                  <a:pt x="11" y="33"/>
                </a:cubicBezTo>
                <a:cubicBezTo>
                  <a:pt x="0" y="66"/>
                  <a:pt x="0" y="107"/>
                  <a:pt x="16" y="97"/>
                </a:cubicBezTo>
                <a:cubicBezTo>
                  <a:pt x="31" y="86"/>
                  <a:pt x="46" y="71"/>
                  <a:pt x="56" y="64"/>
                </a:cubicBezTo>
                <a:cubicBezTo>
                  <a:pt x="66" y="56"/>
                  <a:pt x="74" y="36"/>
                  <a:pt x="74" y="36"/>
                </a:cubicBezTo>
                <a:lnTo>
                  <a:pt x="44" y="1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37" name="Freeform 573"/>
          <p:cNvSpPr>
            <a:spLocks/>
          </p:cNvSpPr>
          <p:nvPr userDrawn="1"/>
        </p:nvSpPr>
        <p:spPr bwMode="auto">
          <a:xfrm>
            <a:off x="7038442" y="1811921"/>
            <a:ext cx="56953" cy="78729"/>
          </a:xfrm>
          <a:custGeom>
            <a:avLst/>
            <a:gdLst>
              <a:gd name="T0" fmla="*/ 2147483646 w 61"/>
              <a:gd name="T1" fmla="*/ 0 h 84"/>
              <a:gd name="T2" fmla="*/ 2147483646 w 61"/>
              <a:gd name="T3" fmla="*/ 2147483646 h 84"/>
              <a:gd name="T4" fmla="*/ 2147483646 w 61"/>
              <a:gd name="T5" fmla="*/ 2147483646 h 84"/>
              <a:gd name="T6" fmla="*/ 2147483646 w 61"/>
              <a:gd name="T7" fmla="*/ 2147483646 h 84"/>
              <a:gd name="T8" fmla="*/ 2147483646 w 61"/>
              <a:gd name="T9" fmla="*/ 2147483646 h 84"/>
              <a:gd name="T10" fmla="*/ 2147483646 w 61"/>
              <a:gd name="T11" fmla="*/ 0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1"/>
              <a:gd name="T19" fmla="*/ 0 h 84"/>
              <a:gd name="T20" fmla="*/ 61 w 61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1" h="84">
                <a:moveTo>
                  <a:pt x="53" y="0"/>
                </a:moveTo>
                <a:cubicBezTo>
                  <a:pt x="40" y="10"/>
                  <a:pt x="17" y="8"/>
                  <a:pt x="17" y="8"/>
                </a:cubicBezTo>
                <a:cubicBezTo>
                  <a:pt x="17" y="8"/>
                  <a:pt x="0" y="43"/>
                  <a:pt x="17" y="64"/>
                </a:cubicBezTo>
                <a:cubicBezTo>
                  <a:pt x="35" y="84"/>
                  <a:pt x="45" y="76"/>
                  <a:pt x="53" y="71"/>
                </a:cubicBezTo>
                <a:cubicBezTo>
                  <a:pt x="61" y="66"/>
                  <a:pt x="58" y="36"/>
                  <a:pt x="58" y="36"/>
                </a:cubicBezTo>
                <a:lnTo>
                  <a:pt x="53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38" name="Freeform 574"/>
          <p:cNvSpPr>
            <a:spLocks/>
          </p:cNvSpPr>
          <p:nvPr userDrawn="1"/>
        </p:nvSpPr>
        <p:spPr bwMode="auto">
          <a:xfrm>
            <a:off x="6988189" y="1877248"/>
            <a:ext cx="43552" cy="38528"/>
          </a:xfrm>
          <a:custGeom>
            <a:avLst/>
            <a:gdLst>
              <a:gd name="T0" fmla="*/ 2147483646 w 48"/>
              <a:gd name="T1" fmla="*/ 0 h 41"/>
              <a:gd name="T2" fmla="*/ 2147483646 w 48"/>
              <a:gd name="T3" fmla="*/ 2147483646 h 41"/>
              <a:gd name="T4" fmla="*/ 2147483646 w 48"/>
              <a:gd name="T5" fmla="*/ 2147483646 h 41"/>
              <a:gd name="T6" fmla="*/ 2147483646 w 48"/>
              <a:gd name="T7" fmla="*/ 2147483646 h 41"/>
              <a:gd name="T8" fmla="*/ 2147483646 w 48"/>
              <a:gd name="T9" fmla="*/ 0 h 4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8"/>
              <a:gd name="T16" fmla="*/ 0 h 41"/>
              <a:gd name="T17" fmla="*/ 48 w 48"/>
              <a:gd name="T18" fmla="*/ 41 h 4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8" h="41">
                <a:moveTo>
                  <a:pt x="26" y="0"/>
                </a:moveTo>
                <a:cubicBezTo>
                  <a:pt x="13" y="0"/>
                  <a:pt x="0" y="31"/>
                  <a:pt x="10" y="36"/>
                </a:cubicBezTo>
                <a:cubicBezTo>
                  <a:pt x="21" y="41"/>
                  <a:pt x="33" y="31"/>
                  <a:pt x="41" y="28"/>
                </a:cubicBezTo>
                <a:cubicBezTo>
                  <a:pt x="48" y="26"/>
                  <a:pt x="46" y="11"/>
                  <a:pt x="46" y="11"/>
                </a:cubicBezTo>
                <a:lnTo>
                  <a:pt x="26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39" name="Freeform 575"/>
          <p:cNvSpPr>
            <a:spLocks/>
          </p:cNvSpPr>
          <p:nvPr userDrawn="1"/>
        </p:nvSpPr>
        <p:spPr bwMode="auto">
          <a:xfrm>
            <a:off x="6701748" y="1795170"/>
            <a:ext cx="167509" cy="135681"/>
          </a:xfrm>
          <a:custGeom>
            <a:avLst/>
            <a:gdLst>
              <a:gd name="T0" fmla="*/ 2147483646 w 180"/>
              <a:gd name="T1" fmla="*/ 2147483646 h 145"/>
              <a:gd name="T2" fmla="*/ 2147483646 w 180"/>
              <a:gd name="T3" fmla="*/ 2147483646 h 145"/>
              <a:gd name="T4" fmla="*/ 2147483646 w 180"/>
              <a:gd name="T5" fmla="*/ 2147483646 h 145"/>
              <a:gd name="T6" fmla="*/ 2147483646 w 180"/>
              <a:gd name="T7" fmla="*/ 2147483646 h 145"/>
              <a:gd name="T8" fmla="*/ 2147483646 w 180"/>
              <a:gd name="T9" fmla="*/ 2147483646 h 145"/>
              <a:gd name="T10" fmla="*/ 2147483646 w 180"/>
              <a:gd name="T11" fmla="*/ 2147483646 h 145"/>
              <a:gd name="T12" fmla="*/ 2147483646 w 180"/>
              <a:gd name="T13" fmla="*/ 2147483646 h 145"/>
              <a:gd name="T14" fmla="*/ 2147483646 w 180"/>
              <a:gd name="T15" fmla="*/ 2147483646 h 145"/>
              <a:gd name="T16" fmla="*/ 2147483646 w 180"/>
              <a:gd name="T17" fmla="*/ 2147483646 h 145"/>
              <a:gd name="T18" fmla="*/ 2147483646 w 180"/>
              <a:gd name="T19" fmla="*/ 0 h 145"/>
              <a:gd name="T20" fmla="*/ 2147483646 w 180"/>
              <a:gd name="T21" fmla="*/ 2147483646 h 14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80"/>
              <a:gd name="T34" fmla="*/ 0 h 145"/>
              <a:gd name="T35" fmla="*/ 180 w 180"/>
              <a:gd name="T36" fmla="*/ 145 h 14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80" h="145">
                <a:moveTo>
                  <a:pt x="104" y="61"/>
                </a:moveTo>
                <a:cubicBezTo>
                  <a:pt x="91" y="69"/>
                  <a:pt x="68" y="59"/>
                  <a:pt x="56" y="59"/>
                </a:cubicBezTo>
                <a:cubicBezTo>
                  <a:pt x="43" y="59"/>
                  <a:pt x="20" y="77"/>
                  <a:pt x="35" y="87"/>
                </a:cubicBezTo>
                <a:cubicBezTo>
                  <a:pt x="51" y="97"/>
                  <a:pt x="0" y="115"/>
                  <a:pt x="33" y="130"/>
                </a:cubicBezTo>
                <a:cubicBezTo>
                  <a:pt x="66" y="145"/>
                  <a:pt x="81" y="138"/>
                  <a:pt x="89" y="122"/>
                </a:cubicBezTo>
                <a:cubicBezTo>
                  <a:pt x="96" y="107"/>
                  <a:pt x="107" y="105"/>
                  <a:pt x="117" y="110"/>
                </a:cubicBezTo>
                <a:cubicBezTo>
                  <a:pt x="127" y="115"/>
                  <a:pt x="127" y="92"/>
                  <a:pt x="140" y="94"/>
                </a:cubicBezTo>
                <a:cubicBezTo>
                  <a:pt x="152" y="97"/>
                  <a:pt x="152" y="72"/>
                  <a:pt x="162" y="69"/>
                </a:cubicBezTo>
                <a:cubicBezTo>
                  <a:pt x="173" y="67"/>
                  <a:pt x="180" y="44"/>
                  <a:pt x="165" y="41"/>
                </a:cubicBezTo>
                <a:cubicBezTo>
                  <a:pt x="150" y="39"/>
                  <a:pt x="129" y="0"/>
                  <a:pt x="129" y="0"/>
                </a:cubicBezTo>
                <a:lnTo>
                  <a:pt x="104" y="6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40" name="Freeform 576"/>
          <p:cNvSpPr>
            <a:spLocks/>
          </p:cNvSpPr>
          <p:nvPr userDrawn="1"/>
        </p:nvSpPr>
        <p:spPr bwMode="auto">
          <a:xfrm>
            <a:off x="6614644" y="1806895"/>
            <a:ext cx="149083" cy="75380"/>
          </a:xfrm>
          <a:custGeom>
            <a:avLst/>
            <a:gdLst>
              <a:gd name="T0" fmla="*/ 2147483646 w 160"/>
              <a:gd name="T1" fmla="*/ 0 h 81"/>
              <a:gd name="T2" fmla="*/ 2147483646 w 160"/>
              <a:gd name="T3" fmla="*/ 2147483646 h 81"/>
              <a:gd name="T4" fmla="*/ 2147483646 w 160"/>
              <a:gd name="T5" fmla="*/ 2147483646 h 81"/>
              <a:gd name="T6" fmla="*/ 2147483646 w 160"/>
              <a:gd name="T7" fmla="*/ 2147483646 h 81"/>
              <a:gd name="T8" fmla="*/ 2147483646 w 160"/>
              <a:gd name="T9" fmla="*/ 2147483646 h 81"/>
              <a:gd name="T10" fmla="*/ 2147483646 w 160"/>
              <a:gd name="T11" fmla="*/ 2147483646 h 81"/>
              <a:gd name="T12" fmla="*/ 2147483646 w 160"/>
              <a:gd name="T13" fmla="*/ 2147483646 h 81"/>
              <a:gd name="T14" fmla="*/ 2147483646 w 160"/>
              <a:gd name="T15" fmla="*/ 0 h 8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60"/>
              <a:gd name="T25" fmla="*/ 0 h 81"/>
              <a:gd name="T26" fmla="*/ 160 w 160"/>
              <a:gd name="T27" fmla="*/ 81 h 8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60" h="81">
                <a:moveTo>
                  <a:pt x="130" y="0"/>
                </a:moveTo>
                <a:cubicBezTo>
                  <a:pt x="125" y="10"/>
                  <a:pt x="110" y="15"/>
                  <a:pt x="92" y="20"/>
                </a:cubicBezTo>
                <a:cubicBezTo>
                  <a:pt x="74" y="26"/>
                  <a:pt x="61" y="23"/>
                  <a:pt x="49" y="36"/>
                </a:cubicBezTo>
                <a:cubicBezTo>
                  <a:pt x="36" y="48"/>
                  <a:pt x="0" y="56"/>
                  <a:pt x="31" y="69"/>
                </a:cubicBezTo>
                <a:cubicBezTo>
                  <a:pt x="61" y="81"/>
                  <a:pt x="82" y="69"/>
                  <a:pt x="97" y="56"/>
                </a:cubicBezTo>
                <a:cubicBezTo>
                  <a:pt x="112" y="43"/>
                  <a:pt x="122" y="8"/>
                  <a:pt x="135" y="20"/>
                </a:cubicBezTo>
                <a:cubicBezTo>
                  <a:pt x="148" y="33"/>
                  <a:pt x="160" y="20"/>
                  <a:pt x="160" y="20"/>
                </a:cubicBezTo>
                <a:lnTo>
                  <a:pt x="13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41" name="Freeform 577"/>
          <p:cNvSpPr>
            <a:spLocks/>
          </p:cNvSpPr>
          <p:nvPr userDrawn="1"/>
        </p:nvSpPr>
        <p:spPr bwMode="auto">
          <a:xfrm>
            <a:off x="6897734" y="1783444"/>
            <a:ext cx="90455" cy="63653"/>
          </a:xfrm>
          <a:custGeom>
            <a:avLst/>
            <a:gdLst>
              <a:gd name="T0" fmla="*/ 2147483646 w 96"/>
              <a:gd name="T1" fmla="*/ 0 h 68"/>
              <a:gd name="T2" fmla="*/ 2147483646 w 96"/>
              <a:gd name="T3" fmla="*/ 2147483646 h 68"/>
              <a:gd name="T4" fmla="*/ 2147483646 w 96"/>
              <a:gd name="T5" fmla="*/ 2147483646 h 68"/>
              <a:gd name="T6" fmla="*/ 2147483646 w 96"/>
              <a:gd name="T7" fmla="*/ 2147483646 h 68"/>
              <a:gd name="T8" fmla="*/ 2147483646 w 96"/>
              <a:gd name="T9" fmla="*/ 2147483646 h 68"/>
              <a:gd name="T10" fmla="*/ 2147483646 w 96"/>
              <a:gd name="T11" fmla="*/ 2147483646 h 68"/>
              <a:gd name="T12" fmla="*/ 2147483646 w 96"/>
              <a:gd name="T13" fmla="*/ 2147483646 h 68"/>
              <a:gd name="T14" fmla="*/ 2147483646 w 96"/>
              <a:gd name="T15" fmla="*/ 2147483646 h 68"/>
              <a:gd name="T16" fmla="*/ 2147483646 w 96"/>
              <a:gd name="T17" fmla="*/ 2147483646 h 68"/>
              <a:gd name="T18" fmla="*/ 2147483646 w 96"/>
              <a:gd name="T19" fmla="*/ 0 h 6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6"/>
              <a:gd name="T31" fmla="*/ 0 h 68"/>
              <a:gd name="T32" fmla="*/ 96 w 96"/>
              <a:gd name="T33" fmla="*/ 68 h 6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6" h="68">
                <a:moveTo>
                  <a:pt x="40" y="0"/>
                </a:moveTo>
                <a:cubicBezTo>
                  <a:pt x="40" y="0"/>
                  <a:pt x="63" y="0"/>
                  <a:pt x="73" y="15"/>
                </a:cubicBezTo>
                <a:cubicBezTo>
                  <a:pt x="84" y="30"/>
                  <a:pt x="96" y="56"/>
                  <a:pt x="96" y="56"/>
                </a:cubicBezTo>
                <a:cubicBezTo>
                  <a:pt x="63" y="68"/>
                  <a:pt x="63" y="68"/>
                  <a:pt x="63" y="68"/>
                </a:cubicBezTo>
                <a:cubicBezTo>
                  <a:pt x="63" y="68"/>
                  <a:pt x="53" y="53"/>
                  <a:pt x="43" y="61"/>
                </a:cubicBezTo>
                <a:cubicBezTo>
                  <a:pt x="33" y="68"/>
                  <a:pt x="15" y="61"/>
                  <a:pt x="7" y="53"/>
                </a:cubicBezTo>
                <a:cubicBezTo>
                  <a:pt x="0" y="45"/>
                  <a:pt x="10" y="25"/>
                  <a:pt x="25" y="35"/>
                </a:cubicBezTo>
                <a:cubicBezTo>
                  <a:pt x="40" y="45"/>
                  <a:pt x="63" y="51"/>
                  <a:pt x="63" y="51"/>
                </a:cubicBezTo>
                <a:cubicBezTo>
                  <a:pt x="50" y="15"/>
                  <a:pt x="50" y="15"/>
                  <a:pt x="50" y="15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42" name="Freeform 578"/>
          <p:cNvSpPr>
            <a:spLocks/>
          </p:cNvSpPr>
          <p:nvPr userDrawn="1"/>
        </p:nvSpPr>
        <p:spPr bwMode="auto">
          <a:xfrm>
            <a:off x="6959713" y="1721466"/>
            <a:ext cx="31827" cy="38527"/>
          </a:xfrm>
          <a:custGeom>
            <a:avLst/>
            <a:gdLst>
              <a:gd name="T0" fmla="*/ 2147483646 w 35"/>
              <a:gd name="T1" fmla="*/ 2147483646 h 40"/>
              <a:gd name="T2" fmla="*/ 2147483646 w 35"/>
              <a:gd name="T3" fmla="*/ 2147483646 h 40"/>
              <a:gd name="T4" fmla="*/ 2147483646 w 35"/>
              <a:gd name="T5" fmla="*/ 2147483646 h 40"/>
              <a:gd name="T6" fmla="*/ 2147483646 w 35"/>
              <a:gd name="T7" fmla="*/ 2147483646 h 40"/>
              <a:gd name="T8" fmla="*/ 2147483646 w 35"/>
              <a:gd name="T9" fmla="*/ 0 h 40"/>
              <a:gd name="T10" fmla="*/ 2147483646 w 35"/>
              <a:gd name="T11" fmla="*/ 2147483646 h 4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5"/>
              <a:gd name="T19" fmla="*/ 0 h 40"/>
              <a:gd name="T20" fmla="*/ 35 w 35"/>
              <a:gd name="T21" fmla="*/ 40 h 4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5" h="40">
                <a:moveTo>
                  <a:pt x="20" y="10"/>
                </a:moveTo>
                <a:cubicBezTo>
                  <a:pt x="12" y="15"/>
                  <a:pt x="0" y="20"/>
                  <a:pt x="2" y="30"/>
                </a:cubicBezTo>
                <a:cubicBezTo>
                  <a:pt x="5" y="40"/>
                  <a:pt x="23" y="38"/>
                  <a:pt x="23" y="38"/>
                </a:cubicBezTo>
                <a:cubicBezTo>
                  <a:pt x="35" y="17"/>
                  <a:pt x="35" y="17"/>
                  <a:pt x="35" y="17"/>
                </a:cubicBezTo>
                <a:cubicBezTo>
                  <a:pt x="35" y="0"/>
                  <a:pt x="35" y="0"/>
                  <a:pt x="35" y="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43" name="Freeform 579"/>
          <p:cNvSpPr>
            <a:spLocks/>
          </p:cNvSpPr>
          <p:nvPr userDrawn="1"/>
        </p:nvSpPr>
        <p:spPr bwMode="auto">
          <a:xfrm>
            <a:off x="6996566" y="1761668"/>
            <a:ext cx="26801" cy="43552"/>
          </a:xfrm>
          <a:custGeom>
            <a:avLst/>
            <a:gdLst>
              <a:gd name="T0" fmla="*/ 2147483646 w 16"/>
              <a:gd name="T1" fmla="*/ 2147483646 h 26"/>
              <a:gd name="T2" fmla="*/ 0 w 16"/>
              <a:gd name="T3" fmla="*/ 2147483646 h 26"/>
              <a:gd name="T4" fmla="*/ 2147483646 w 16"/>
              <a:gd name="T5" fmla="*/ 2147483646 h 26"/>
              <a:gd name="T6" fmla="*/ 2147483646 w 16"/>
              <a:gd name="T7" fmla="*/ 2147483646 h 26"/>
              <a:gd name="T8" fmla="*/ 2147483646 w 16"/>
              <a:gd name="T9" fmla="*/ 0 h 26"/>
              <a:gd name="T10" fmla="*/ 2147483646 w 16"/>
              <a:gd name="T11" fmla="*/ 2147483646 h 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26"/>
              <a:gd name="T20" fmla="*/ 16 w 16"/>
              <a:gd name="T21" fmla="*/ 26 h 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26">
                <a:moveTo>
                  <a:pt x="2" y="9"/>
                </a:moveTo>
                <a:lnTo>
                  <a:pt x="0" y="26"/>
                </a:lnTo>
                <a:lnTo>
                  <a:pt x="9" y="24"/>
                </a:lnTo>
                <a:lnTo>
                  <a:pt x="16" y="13"/>
                </a:lnTo>
                <a:lnTo>
                  <a:pt x="16" y="0"/>
                </a:lnTo>
                <a:lnTo>
                  <a:pt x="2" y="9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44" name="Freeform 580"/>
          <p:cNvSpPr>
            <a:spLocks/>
          </p:cNvSpPr>
          <p:nvPr userDrawn="1"/>
        </p:nvSpPr>
        <p:spPr bwMode="auto">
          <a:xfrm>
            <a:off x="7004941" y="1703039"/>
            <a:ext cx="25127" cy="30152"/>
          </a:xfrm>
          <a:custGeom>
            <a:avLst/>
            <a:gdLst>
              <a:gd name="T0" fmla="*/ 0 w 28"/>
              <a:gd name="T1" fmla="*/ 2147483646 h 33"/>
              <a:gd name="T2" fmla="*/ 2147483646 w 28"/>
              <a:gd name="T3" fmla="*/ 2147483646 h 33"/>
              <a:gd name="T4" fmla="*/ 2147483646 w 28"/>
              <a:gd name="T5" fmla="*/ 2147483646 h 33"/>
              <a:gd name="T6" fmla="*/ 0 w 28"/>
              <a:gd name="T7" fmla="*/ 2147483646 h 33"/>
              <a:gd name="T8" fmla="*/ 0 60000 65536"/>
              <a:gd name="T9" fmla="*/ 0 60000 65536"/>
              <a:gd name="T10" fmla="*/ 0 60000 65536"/>
              <a:gd name="T11" fmla="*/ 0 60000 65536"/>
              <a:gd name="T12" fmla="*/ 0 w 28"/>
              <a:gd name="T13" fmla="*/ 0 h 33"/>
              <a:gd name="T14" fmla="*/ 28 w 28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8" h="33">
                <a:moveTo>
                  <a:pt x="0" y="8"/>
                </a:moveTo>
                <a:cubicBezTo>
                  <a:pt x="8" y="23"/>
                  <a:pt x="25" y="33"/>
                  <a:pt x="25" y="33"/>
                </a:cubicBezTo>
                <a:cubicBezTo>
                  <a:pt x="28" y="13"/>
                  <a:pt x="28" y="13"/>
                  <a:pt x="28" y="13"/>
                </a:cubicBezTo>
                <a:cubicBezTo>
                  <a:pt x="13" y="0"/>
                  <a:pt x="0" y="8"/>
                  <a:pt x="0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45" name="Freeform 581"/>
          <p:cNvSpPr>
            <a:spLocks/>
          </p:cNvSpPr>
          <p:nvPr userDrawn="1"/>
        </p:nvSpPr>
        <p:spPr bwMode="auto">
          <a:xfrm>
            <a:off x="7130572" y="1692988"/>
            <a:ext cx="41877" cy="31827"/>
          </a:xfrm>
          <a:custGeom>
            <a:avLst/>
            <a:gdLst>
              <a:gd name="T0" fmla="*/ 2147483646 w 45"/>
              <a:gd name="T1" fmla="*/ 0 h 33"/>
              <a:gd name="T2" fmla="*/ 2147483646 w 45"/>
              <a:gd name="T3" fmla="*/ 2147483646 h 33"/>
              <a:gd name="T4" fmla="*/ 2147483646 w 45"/>
              <a:gd name="T5" fmla="*/ 2147483646 h 33"/>
              <a:gd name="T6" fmla="*/ 2147483646 w 45"/>
              <a:gd name="T7" fmla="*/ 2147483646 h 33"/>
              <a:gd name="T8" fmla="*/ 2147483646 w 45"/>
              <a:gd name="T9" fmla="*/ 0 h 3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5"/>
              <a:gd name="T16" fmla="*/ 0 h 33"/>
              <a:gd name="T17" fmla="*/ 45 w 45"/>
              <a:gd name="T18" fmla="*/ 33 h 3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5" h="33">
                <a:moveTo>
                  <a:pt x="15" y="0"/>
                </a:moveTo>
                <a:cubicBezTo>
                  <a:pt x="5" y="18"/>
                  <a:pt x="0" y="33"/>
                  <a:pt x="15" y="33"/>
                </a:cubicBezTo>
                <a:cubicBezTo>
                  <a:pt x="30" y="33"/>
                  <a:pt x="35" y="26"/>
                  <a:pt x="35" y="26"/>
                </a:cubicBezTo>
                <a:cubicBezTo>
                  <a:pt x="35" y="26"/>
                  <a:pt x="45" y="15"/>
                  <a:pt x="38" y="10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46" name="Freeform 582"/>
          <p:cNvSpPr>
            <a:spLocks/>
          </p:cNvSpPr>
          <p:nvPr userDrawn="1"/>
        </p:nvSpPr>
        <p:spPr bwMode="auto">
          <a:xfrm>
            <a:off x="6870932" y="1882275"/>
            <a:ext cx="38528" cy="33501"/>
          </a:xfrm>
          <a:custGeom>
            <a:avLst/>
            <a:gdLst>
              <a:gd name="T0" fmla="*/ 0 w 40"/>
              <a:gd name="T1" fmla="*/ 2147483646 h 36"/>
              <a:gd name="T2" fmla="*/ 2147483646 w 40"/>
              <a:gd name="T3" fmla="*/ 2147483646 h 36"/>
              <a:gd name="T4" fmla="*/ 2147483646 w 40"/>
              <a:gd name="T5" fmla="*/ 2147483646 h 36"/>
              <a:gd name="T6" fmla="*/ 2147483646 w 40"/>
              <a:gd name="T7" fmla="*/ 2147483646 h 36"/>
              <a:gd name="T8" fmla="*/ 0 w 40"/>
              <a:gd name="T9" fmla="*/ 2147483646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0"/>
              <a:gd name="T16" fmla="*/ 0 h 36"/>
              <a:gd name="T17" fmla="*/ 40 w 40"/>
              <a:gd name="T18" fmla="*/ 36 h 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0" h="36">
                <a:moveTo>
                  <a:pt x="0" y="16"/>
                </a:moveTo>
                <a:cubicBezTo>
                  <a:pt x="0" y="16"/>
                  <a:pt x="7" y="0"/>
                  <a:pt x="15" y="6"/>
                </a:cubicBezTo>
                <a:cubicBezTo>
                  <a:pt x="23" y="11"/>
                  <a:pt x="35" y="13"/>
                  <a:pt x="38" y="21"/>
                </a:cubicBezTo>
                <a:cubicBezTo>
                  <a:pt x="40" y="28"/>
                  <a:pt x="23" y="36"/>
                  <a:pt x="23" y="36"/>
                </a:cubicBezTo>
                <a:lnTo>
                  <a:pt x="0" y="1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47" name="Freeform 583"/>
          <p:cNvSpPr>
            <a:spLocks/>
          </p:cNvSpPr>
          <p:nvPr userDrawn="1"/>
        </p:nvSpPr>
        <p:spPr bwMode="auto">
          <a:xfrm>
            <a:off x="6817329" y="1909076"/>
            <a:ext cx="30152" cy="15075"/>
          </a:xfrm>
          <a:custGeom>
            <a:avLst/>
            <a:gdLst>
              <a:gd name="T0" fmla="*/ 0 w 33"/>
              <a:gd name="T1" fmla="*/ 2147483646 h 16"/>
              <a:gd name="T2" fmla="*/ 2147483646 w 33"/>
              <a:gd name="T3" fmla="*/ 0 h 16"/>
              <a:gd name="T4" fmla="*/ 2147483646 w 33"/>
              <a:gd name="T5" fmla="*/ 2147483646 h 16"/>
              <a:gd name="T6" fmla="*/ 2147483646 w 33"/>
              <a:gd name="T7" fmla="*/ 2147483646 h 16"/>
              <a:gd name="T8" fmla="*/ 0 w 33"/>
              <a:gd name="T9" fmla="*/ 2147483646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16"/>
              <a:gd name="T17" fmla="*/ 33 w 33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16">
                <a:moveTo>
                  <a:pt x="0" y="13"/>
                </a:moveTo>
                <a:cubicBezTo>
                  <a:pt x="5" y="0"/>
                  <a:pt x="16" y="0"/>
                  <a:pt x="16" y="0"/>
                </a:cubicBezTo>
                <a:cubicBezTo>
                  <a:pt x="33" y="16"/>
                  <a:pt x="33" y="16"/>
                  <a:pt x="33" y="16"/>
                </a:cubicBezTo>
                <a:cubicBezTo>
                  <a:pt x="33" y="16"/>
                  <a:pt x="33" y="16"/>
                  <a:pt x="33" y="16"/>
                </a:cubicBezTo>
                <a:lnTo>
                  <a:pt x="0" y="1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48" name="Freeform 584"/>
          <p:cNvSpPr>
            <a:spLocks/>
          </p:cNvSpPr>
          <p:nvPr userDrawn="1"/>
        </p:nvSpPr>
        <p:spPr bwMode="auto">
          <a:xfrm>
            <a:off x="6641446" y="3401582"/>
            <a:ext cx="983279" cy="520955"/>
          </a:xfrm>
          <a:custGeom>
            <a:avLst/>
            <a:gdLst>
              <a:gd name="T0" fmla="*/ 2147483646 w 1053"/>
              <a:gd name="T1" fmla="*/ 2147483646 h 558"/>
              <a:gd name="T2" fmla="*/ 2147483646 w 1053"/>
              <a:gd name="T3" fmla="*/ 2147483646 h 558"/>
              <a:gd name="T4" fmla="*/ 2147483646 w 1053"/>
              <a:gd name="T5" fmla="*/ 2147483646 h 558"/>
              <a:gd name="T6" fmla="*/ 2147483646 w 1053"/>
              <a:gd name="T7" fmla="*/ 2147483646 h 558"/>
              <a:gd name="T8" fmla="*/ 2147483646 w 1053"/>
              <a:gd name="T9" fmla="*/ 2147483646 h 558"/>
              <a:gd name="T10" fmla="*/ 2147483646 w 1053"/>
              <a:gd name="T11" fmla="*/ 2147483646 h 558"/>
              <a:gd name="T12" fmla="*/ 2147483646 w 1053"/>
              <a:gd name="T13" fmla="*/ 2147483646 h 558"/>
              <a:gd name="T14" fmla="*/ 2147483646 w 1053"/>
              <a:gd name="T15" fmla="*/ 2147483646 h 558"/>
              <a:gd name="T16" fmla="*/ 2147483646 w 1053"/>
              <a:gd name="T17" fmla="*/ 2147483646 h 558"/>
              <a:gd name="T18" fmla="*/ 2147483646 w 1053"/>
              <a:gd name="T19" fmla="*/ 2147483646 h 558"/>
              <a:gd name="T20" fmla="*/ 2147483646 w 1053"/>
              <a:gd name="T21" fmla="*/ 2147483646 h 558"/>
              <a:gd name="T22" fmla="*/ 2147483646 w 1053"/>
              <a:gd name="T23" fmla="*/ 2147483646 h 558"/>
              <a:gd name="T24" fmla="*/ 2147483646 w 1053"/>
              <a:gd name="T25" fmla="*/ 2147483646 h 558"/>
              <a:gd name="T26" fmla="*/ 2147483646 w 1053"/>
              <a:gd name="T27" fmla="*/ 2147483646 h 558"/>
              <a:gd name="T28" fmla="*/ 2147483646 w 1053"/>
              <a:gd name="T29" fmla="*/ 2147483646 h 558"/>
              <a:gd name="T30" fmla="*/ 2147483646 w 1053"/>
              <a:gd name="T31" fmla="*/ 2147483646 h 558"/>
              <a:gd name="T32" fmla="*/ 2147483646 w 1053"/>
              <a:gd name="T33" fmla="*/ 2147483646 h 558"/>
              <a:gd name="T34" fmla="*/ 2147483646 w 1053"/>
              <a:gd name="T35" fmla="*/ 2147483646 h 558"/>
              <a:gd name="T36" fmla="*/ 2147483646 w 1053"/>
              <a:gd name="T37" fmla="*/ 2147483646 h 558"/>
              <a:gd name="T38" fmla="*/ 2147483646 w 1053"/>
              <a:gd name="T39" fmla="*/ 2147483646 h 558"/>
              <a:gd name="T40" fmla="*/ 2147483646 w 1053"/>
              <a:gd name="T41" fmla="*/ 2147483646 h 558"/>
              <a:gd name="T42" fmla="*/ 2147483646 w 1053"/>
              <a:gd name="T43" fmla="*/ 2147483646 h 558"/>
              <a:gd name="T44" fmla="*/ 2147483646 w 1053"/>
              <a:gd name="T45" fmla="*/ 2147483646 h 558"/>
              <a:gd name="T46" fmla="*/ 2147483646 w 1053"/>
              <a:gd name="T47" fmla="*/ 2147483646 h 558"/>
              <a:gd name="T48" fmla="*/ 2147483646 w 1053"/>
              <a:gd name="T49" fmla="*/ 2147483646 h 558"/>
              <a:gd name="T50" fmla="*/ 2147483646 w 1053"/>
              <a:gd name="T51" fmla="*/ 2147483646 h 558"/>
              <a:gd name="T52" fmla="*/ 2147483646 w 1053"/>
              <a:gd name="T53" fmla="*/ 2147483646 h 558"/>
              <a:gd name="T54" fmla="*/ 2147483646 w 1053"/>
              <a:gd name="T55" fmla="*/ 2147483646 h 558"/>
              <a:gd name="T56" fmla="*/ 2147483646 w 1053"/>
              <a:gd name="T57" fmla="*/ 2147483646 h 558"/>
              <a:gd name="T58" fmla="*/ 2147483646 w 1053"/>
              <a:gd name="T59" fmla="*/ 2147483646 h 558"/>
              <a:gd name="T60" fmla="*/ 2147483646 w 1053"/>
              <a:gd name="T61" fmla="*/ 2147483646 h 558"/>
              <a:gd name="T62" fmla="*/ 2147483646 w 1053"/>
              <a:gd name="T63" fmla="*/ 2147483646 h 558"/>
              <a:gd name="T64" fmla="*/ 2147483646 w 1053"/>
              <a:gd name="T65" fmla="*/ 2147483646 h 558"/>
              <a:gd name="T66" fmla="*/ 2147483646 w 1053"/>
              <a:gd name="T67" fmla="*/ 2147483646 h 558"/>
              <a:gd name="T68" fmla="*/ 2147483646 w 1053"/>
              <a:gd name="T69" fmla="*/ 2147483646 h 558"/>
              <a:gd name="T70" fmla="*/ 2147483646 w 1053"/>
              <a:gd name="T71" fmla="*/ 2147483646 h 558"/>
              <a:gd name="T72" fmla="*/ 2147483646 w 1053"/>
              <a:gd name="T73" fmla="*/ 2147483646 h 558"/>
              <a:gd name="T74" fmla="*/ 2147483646 w 1053"/>
              <a:gd name="T75" fmla="*/ 2147483646 h 558"/>
              <a:gd name="T76" fmla="*/ 2147483646 w 1053"/>
              <a:gd name="T77" fmla="*/ 2147483646 h 558"/>
              <a:gd name="T78" fmla="*/ 2147483646 w 1053"/>
              <a:gd name="T79" fmla="*/ 2147483646 h 558"/>
              <a:gd name="T80" fmla="*/ 2147483646 w 1053"/>
              <a:gd name="T81" fmla="*/ 2147483646 h 558"/>
              <a:gd name="T82" fmla="*/ 2147483646 w 1053"/>
              <a:gd name="T83" fmla="*/ 2147483646 h 558"/>
              <a:gd name="T84" fmla="*/ 2147483646 w 1053"/>
              <a:gd name="T85" fmla="*/ 2147483646 h 558"/>
              <a:gd name="T86" fmla="*/ 2147483646 w 1053"/>
              <a:gd name="T87" fmla="*/ 2147483646 h 558"/>
              <a:gd name="T88" fmla="*/ 2147483646 w 1053"/>
              <a:gd name="T89" fmla="*/ 2147483646 h 558"/>
              <a:gd name="T90" fmla="*/ 2147483646 w 1053"/>
              <a:gd name="T91" fmla="*/ 2147483646 h 558"/>
              <a:gd name="T92" fmla="*/ 2147483646 w 1053"/>
              <a:gd name="T93" fmla="*/ 2147483646 h 558"/>
              <a:gd name="T94" fmla="*/ 2147483646 w 1053"/>
              <a:gd name="T95" fmla="*/ 2147483646 h 558"/>
              <a:gd name="T96" fmla="*/ 2147483646 w 1053"/>
              <a:gd name="T97" fmla="*/ 2147483646 h 55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053"/>
              <a:gd name="T148" fmla="*/ 0 h 558"/>
              <a:gd name="T149" fmla="*/ 1053 w 1053"/>
              <a:gd name="T150" fmla="*/ 558 h 55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053" h="558">
                <a:moveTo>
                  <a:pt x="10" y="418"/>
                </a:moveTo>
                <a:cubicBezTo>
                  <a:pt x="0" y="400"/>
                  <a:pt x="19" y="382"/>
                  <a:pt x="23" y="366"/>
                </a:cubicBezTo>
                <a:cubicBezTo>
                  <a:pt x="26" y="349"/>
                  <a:pt x="34" y="377"/>
                  <a:pt x="34" y="377"/>
                </a:cubicBezTo>
                <a:cubicBezTo>
                  <a:pt x="34" y="377"/>
                  <a:pt x="47" y="377"/>
                  <a:pt x="54" y="348"/>
                </a:cubicBezTo>
                <a:cubicBezTo>
                  <a:pt x="60" y="319"/>
                  <a:pt x="52" y="325"/>
                  <a:pt x="52" y="325"/>
                </a:cubicBezTo>
                <a:cubicBezTo>
                  <a:pt x="52" y="325"/>
                  <a:pt x="44" y="315"/>
                  <a:pt x="29" y="302"/>
                </a:cubicBezTo>
                <a:cubicBezTo>
                  <a:pt x="15" y="289"/>
                  <a:pt x="3" y="258"/>
                  <a:pt x="3" y="258"/>
                </a:cubicBezTo>
                <a:cubicBezTo>
                  <a:pt x="3" y="258"/>
                  <a:pt x="5" y="240"/>
                  <a:pt x="29" y="223"/>
                </a:cubicBezTo>
                <a:cubicBezTo>
                  <a:pt x="54" y="205"/>
                  <a:pt x="60" y="244"/>
                  <a:pt x="60" y="244"/>
                </a:cubicBezTo>
                <a:cubicBezTo>
                  <a:pt x="60" y="244"/>
                  <a:pt x="65" y="239"/>
                  <a:pt x="57" y="218"/>
                </a:cubicBezTo>
                <a:cubicBezTo>
                  <a:pt x="49" y="197"/>
                  <a:pt x="76" y="193"/>
                  <a:pt x="93" y="180"/>
                </a:cubicBezTo>
                <a:cubicBezTo>
                  <a:pt x="109" y="167"/>
                  <a:pt x="130" y="156"/>
                  <a:pt x="156" y="156"/>
                </a:cubicBezTo>
                <a:cubicBezTo>
                  <a:pt x="182" y="156"/>
                  <a:pt x="176" y="169"/>
                  <a:pt x="194" y="179"/>
                </a:cubicBezTo>
                <a:cubicBezTo>
                  <a:pt x="211" y="188"/>
                  <a:pt x="226" y="198"/>
                  <a:pt x="226" y="198"/>
                </a:cubicBezTo>
                <a:cubicBezTo>
                  <a:pt x="226" y="198"/>
                  <a:pt x="244" y="190"/>
                  <a:pt x="262" y="169"/>
                </a:cubicBezTo>
                <a:cubicBezTo>
                  <a:pt x="280" y="148"/>
                  <a:pt x="275" y="182"/>
                  <a:pt x="281" y="188"/>
                </a:cubicBezTo>
                <a:cubicBezTo>
                  <a:pt x="288" y="195"/>
                  <a:pt x="304" y="192"/>
                  <a:pt x="316" y="179"/>
                </a:cubicBezTo>
                <a:cubicBezTo>
                  <a:pt x="327" y="166"/>
                  <a:pt x="337" y="182"/>
                  <a:pt x="337" y="182"/>
                </a:cubicBezTo>
                <a:cubicBezTo>
                  <a:pt x="337" y="182"/>
                  <a:pt x="359" y="185"/>
                  <a:pt x="371" y="184"/>
                </a:cubicBezTo>
                <a:cubicBezTo>
                  <a:pt x="382" y="182"/>
                  <a:pt x="381" y="177"/>
                  <a:pt x="381" y="161"/>
                </a:cubicBezTo>
                <a:cubicBezTo>
                  <a:pt x="381" y="144"/>
                  <a:pt x="359" y="148"/>
                  <a:pt x="359" y="148"/>
                </a:cubicBezTo>
                <a:cubicBezTo>
                  <a:pt x="359" y="148"/>
                  <a:pt x="351" y="120"/>
                  <a:pt x="355" y="109"/>
                </a:cubicBezTo>
                <a:cubicBezTo>
                  <a:pt x="358" y="97"/>
                  <a:pt x="381" y="104"/>
                  <a:pt x="381" y="104"/>
                </a:cubicBezTo>
                <a:cubicBezTo>
                  <a:pt x="386" y="88"/>
                  <a:pt x="386" y="88"/>
                  <a:pt x="386" y="88"/>
                </a:cubicBezTo>
                <a:cubicBezTo>
                  <a:pt x="386" y="88"/>
                  <a:pt x="386" y="88"/>
                  <a:pt x="377" y="55"/>
                </a:cubicBezTo>
                <a:cubicBezTo>
                  <a:pt x="369" y="22"/>
                  <a:pt x="399" y="48"/>
                  <a:pt x="425" y="42"/>
                </a:cubicBezTo>
                <a:cubicBezTo>
                  <a:pt x="451" y="35"/>
                  <a:pt x="465" y="34"/>
                  <a:pt x="491" y="31"/>
                </a:cubicBezTo>
                <a:cubicBezTo>
                  <a:pt x="517" y="27"/>
                  <a:pt x="534" y="26"/>
                  <a:pt x="547" y="13"/>
                </a:cubicBezTo>
                <a:cubicBezTo>
                  <a:pt x="560" y="0"/>
                  <a:pt x="569" y="9"/>
                  <a:pt x="586" y="6"/>
                </a:cubicBezTo>
                <a:cubicBezTo>
                  <a:pt x="602" y="3"/>
                  <a:pt x="615" y="0"/>
                  <a:pt x="621" y="21"/>
                </a:cubicBezTo>
                <a:cubicBezTo>
                  <a:pt x="628" y="42"/>
                  <a:pt x="634" y="35"/>
                  <a:pt x="647" y="34"/>
                </a:cubicBezTo>
                <a:cubicBezTo>
                  <a:pt x="661" y="32"/>
                  <a:pt x="677" y="44"/>
                  <a:pt x="691" y="53"/>
                </a:cubicBezTo>
                <a:cubicBezTo>
                  <a:pt x="706" y="63"/>
                  <a:pt x="711" y="63"/>
                  <a:pt x="721" y="63"/>
                </a:cubicBezTo>
                <a:cubicBezTo>
                  <a:pt x="730" y="63"/>
                  <a:pt x="740" y="48"/>
                  <a:pt x="757" y="32"/>
                </a:cubicBezTo>
                <a:cubicBezTo>
                  <a:pt x="773" y="16"/>
                  <a:pt x="771" y="31"/>
                  <a:pt x="784" y="31"/>
                </a:cubicBezTo>
                <a:cubicBezTo>
                  <a:pt x="797" y="31"/>
                  <a:pt x="781" y="53"/>
                  <a:pt x="792" y="73"/>
                </a:cubicBezTo>
                <a:cubicBezTo>
                  <a:pt x="804" y="92"/>
                  <a:pt x="870" y="195"/>
                  <a:pt x="887" y="195"/>
                </a:cubicBezTo>
                <a:cubicBezTo>
                  <a:pt x="903" y="195"/>
                  <a:pt x="937" y="192"/>
                  <a:pt x="958" y="195"/>
                </a:cubicBezTo>
                <a:cubicBezTo>
                  <a:pt x="979" y="198"/>
                  <a:pt x="983" y="223"/>
                  <a:pt x="996" y="229"/>
                </a:cubicBezTo>
                <a:cubicBezTo>
                  <a:pt x="1009" y="236"/>
                  <a:pt x="1053" y="240"/>
                  <a:pt x="1053" y="240"/>
                </a:cubicBezTo>
                <a:cubicBezTo>
                  <a:pt x="1053" y="240"/>
                  <a:pt x="1025" y="251"/>
                  <a:pt x="1025" y="262"/>
                </a:cubicBezTo>
                <a:cubicBezTo>
                  <a:pt x="1025" y="273"/>
                  <a:pt x="1012" y="284"/>
                  <a:pt x="1004" y="284"/>
                </a:cubicBezTo>
                <a:cubicBezTo>
                  <a:pt x="997" y="284"/>
                  <a:pt x="982" y="284"/>
                  <a:pt x="986" y="296"/>
                </a:cubicBezTo>
                <a:cubicBezTo>
                  <a:pt x="989" y="307"/>
                  <a:pt x="997" y="322"/>
                  <a:pt x="986" y="322"/>
                </a:cubicBezTo>
                <a:cubicBezTo>
                  <a:pt x="974" y="322"/>
                  <a:pt x="961" y="316"/>
                  <a:pt x="961" y="316"/>
                </a:cubicBezTo>
                <a:cubicBezTo>
                  <a:pt x="961" y="316"/>
                  <a:pt x="944" y="292"/>
                  <a:pt x="928" y="307"/>
                </a:cubicBezTo>
                <a:cubicBezTo>
                  <a:pt x="911" y="322"/>
                  <a:pt x="907" y="335"/>
                  <a:pt x="911" y="346"/>
                </a:cubicBezTo>
                <a:cubicBezTo>
                  <a:pt x="915" y="357"/>
                  <a:pt x="911" y="372"/>
                  <a:pt x="918" y="386"/>
                </a:cubicBezTo>
                <a:cubicBezTo>
                  <a:pt x="926" y="399"/>
                  <a:pt x="926" y="406"/>
                  <a:pt x="926" y="406"/>
                </a:cubicBezTo>
                <a:cubicBezTo>
                  <a:pt x="926" y="406"/>
                  <a:pt x="903" y="389"/>
                  <a:pt x="892" y="395"/>
                </a:cubicBezTo>
                <a:cubicBezTo>
                  <a:pt x="881" y="401"/>
                  <a:pt x="870" y="406"/>
                  <a:pt x="870" y="406"/>
                </a:cubicBezTo>
                <a:cubicBezTo>
                  <a:pt x="870" y="406"/>
                  <a:pt x="881" y="453"/>
                  <a:pt x="885" y="459"/>
                </a:cubicBezTo>
                <a:cubicBezTo>
                  <a:pt x="888" y="464"/>
                  <a:pt x="875" y="518"/>
                  <a:pt x="866" y="522"/>
                </a:cubicBezTo>
                <a:cubicBezTo>
                  <a:pt x="866" y="522"/>
                  <a:pt x="842" y="503"/>
                  <a:pt x="830" y="500"/>
                </a:cubicBezTo>
                <a:cubicBezTo>
                  <a:pt x="819" y="496"/>
                  <a:pt x="785" y="492"/>
                  <a:pt x="770" y="492"/>
                </a:cubicBezTo>
                <a:cubicBezTo>
                  <a:pt x="755" y="492"/>
                  <a:pt x="748" y="485"/>
                  <a:pt x="740" y="492"/>
                </a:cubicBezTo>
                <a:cubicBezTo>
                  <a:pt x="733" y="500"/>
                  <a:pt x="722" y="503"/>
                  <a:pt x="720" y="496"/>
                </a:cubicBezTo>
                <a:cubicBezTo>
                  <a:pt x="718" y="488"/>
                  <a:pt x="722" y="472"/>
                  <a:pt x="712" y="481"/>
                </a:cubicBezTo>
                <a:cubicBezTo>
                  <a:pt x="703" y="490"/>
                  <a:pt x="692" y="483"/>
                  <a:pt x="694" y="488"/>
                </a:cubicBezTo>
                <a:cubicBezTo>
                  <a:pt x="695" y="494"/>
                  <a:pt x="701" y="494"/>
                  <a:pt x="697" y="502"/>
                </a:cubicBezTo>
                <a:cubicBezTo>
                  <a:pt x="694" y="509"/>
                  <a:pt x="684" y="509"/>
                  <a:pt x="684" y="509"/>
                </a:cubicBezTo>
                <a:cubicBezTo>
                  <a:pt x="684" y="509"/>
                  <a:pt x="678" y="499"/>
                  <a:pt x="673" y="498"/>
                </a:cubicBezTo>
                <a:cubicBezTo>
                  <a:pt x="660" y="494"/>
                  <a:pt x="660" y="499"/>
                  <a:pt x="652" y="502"/>
                </a:cubicBezTo>
                <a:cubicBezTo>
                  <a:pt x="637" y="507"/>
                  <a:pt x="630" y="511"/>
                  <a:pt x="628" y="517"/>
                </a:cubicBezTo>
                <a:cubicBezTo>
                  <a:pt x="628" y="517"/>
                  <a:pt x="602" y="507"/>
                  <a:pt x="587" y="526"/>
                </a:cubicBezTo>
                <a:cubicBezTo>
                  <a:pt x="572" y="545"/>
                  <a:pt x="551" y="558"/>
                  <a:pt x="534" y="541"/>
                </a:cubicBezTo>
                <a:cubicBezTo>
                  <a:pt x="518" y="524"/>
                  <a:pt x="491" y="509"/>
                  <a:pt x="480" y="487"/>
                </a:cubicBezTo>
                <a:cubicBezTo>
                  <a:pt x="469" y="464"/>
                  <a:pt x="486" y="459"/>
                  <a:pt x="450" y="457"/>
                </a:cubicBezTo>
                <a:cubicBezTo>
                  <a:pt x="415" y="455"/>
                  <a:pt x="392" y="462"/>
                  <a:pt x="379" y="455"/>
                </a:cubicBezTo>
                <a:cubicBezTo>
                  <a:pt x="366" y="447"/>
                  <a:pt x="370" y="438"/>
                  <a:pt x="355" y="455"/>
                </a:cubicBezTo>
                <a:cubicBezTo>
                  <a:pt x="340" y="472"/>
                  <a:pt x="340" y="470"/>
                  <a:pt x="327" y="472"/>
                </a:cubicBezTo>
                <a:cubicBezTo>
                  <a:pt x="314" y="474"/>
                  <a:pt x="299" y="475"/>
                  <a:pt x="297" y="457"/>
                </a:cubicBezTo>
                <a:cubicBezTo>
                  <a:pt x="295" y="438"/>
                  <a:pt x="287" y="425"/>
                  <a:pt x="289" y="414"/>
                </a:cubicBezTo>
                <a:cubicBezTo>
                  <a:pt x="291" y="402"/>
                  <a:pt x="308" y="378"/>
                  <a:pt x="289" y="391"/>
                </a:cubicBezTo>
                <a:cubicBezTo>
                  <a:pt x="271" y="404"/>
                  <a:pt x="248" y="415"/>
                  <a:pt x="246" y="436"/>
                </a:cubicBezTo>
                <a:cubicBezTo>
                  <a:pt x="244" y="457"/>
                  <a:pt x="242" y="464"/>
                  <a:pt x="250" y="483"/>
                </a:cubicBezTo>
                <a:cubicBezTo>
                  <a:pt x="257" y="502"/>
                  <a:pt x="263" y="513"/>
                  <a:pt x="261" y="524"/>
                </a:cubicBezTo>
                <a:cubicBezTo>
                  <a:pt x="259" y="535"/>
                  <a:pt x="256" y="541"/>
                  <a:pt x="248" y="541"/>
                </a:cubicBezTo>
                <a:cubicBezTo>
                  <a:pt x="241" y="541"/>
                  <a:pt x="237" y="537"/>
                  <a:pt x="220" y="522"/>
                </a:cubicBezTo>
                <a:cubicBezTo>
                  <a:pt x="203" y="507"/>
                  <a:pt x="201" y="488"/>
                  <a:pt x="186" y="502"/>
                </a:cubicBezTo>
                <a:cubicBezTo>
                  <a:pt x="171" y="515"/>
                  <a:pt x="156" y="500"/>
                  <a:pt x="158" y="517"/>
                </a:cubicBezTo>
                <a:cubicBezTo>
                  <a:pt x="160" y="533"/>
                  <a:pt x="151" y="545"/>
                  <a:pt x="145" y="528"/>
                </a:cubicBezTo>
                <a:cubicBezTo>
                  <a:pt x="139" y="511"/>
                  <a:pt x="143" y="490"/>
                  <a:pt x="143" y="490"/>
                </a:cubicBezTo>
                <a:cubicBezTo>
                  <a:pt x="143" y="490"/>
                  <a:pt x="139" y="464"/>
                  <a:pt x="128" y="474"/>
                </a:cubicBezTo>
                <a:cubicBezTo>
                  <a:pt x="117" y="483"/>
                  <a:pt x="100" y="477"/>
                  <a:pt x="108" y="466"/>
                </a:cubicBezTo>
                <a:cubicBezTo>
                  <a:pt x="115" y="455"/>
                  <a:pt x="124" y="444"/>
                  <a:pt x="111" y="444"/>
                </a:cubicBezTo>
                <a:cubicBezTo>
                  <a:pt x="98" y="444"/>
                  <a:pt x="89" y="438"/>
                  <a:pt x="95" y="429"/>
                </a:cubicBezTo>
                <a:cubicBezTo>
                  <a:pt x="100" y="419"/>
                  <a:pt x="93" y="412"/>
                  <a:pt x="104" y="412"/>
                </a:cubicBezTo>
                <a:cubicBezTo>
                  <a:pt x="115" y="412"/>
                  <a:pt x="106" y="397"/>
                  <a:pt x="121" y="410"/>
                </a:cubicBezTo>
                <a:cubicBezTo>
                  <a:pt x="136" y="423"/>
                  <a:pt x="139" y="393"/>
                  <a:pt x="139" y="393"/>
                </a:cubicBezTo>
                <a:cubicBezTo>
                  <a:pt x="139" y="393"/>
                  <a:pt x="141" y="372"/>
                  <a:pt x="160" y="382"/>
                </a:cubicBezTo>
                <a:cubicBezTo>
                  <a:pt x="179" y="391"/>
                  <a:pt x="175" y="386"/>
                  <a:pt x="181" y="374"/>
                </a:cubicBezTo>
                <a:cubicBezTo>
                  <a:pt x="186" y="363"/>
                  <a:pt x="186" y="365"/>
                  <a:pt x="183" y="356"/>
                </a:cubicBezTo>
                <a:cubicBezTo>
                  <a:pt x="179" y="346"/>
                  <a:pt x="183" y="341"/>
                  <a:pt x="171" y="341"/>
                </a:cubicBezTo>
                <a:cubicBezTo>
                  <a:pt x="160" y="341"/>
                  <a:pt x="117" y="322"/>
                  <a:pt x="100" y="333"/>
                </a:cubicBezTo>
                <a:cubicBezTo>
                  <a:pt x="83" y="344"/>
                  <a:pt x="65" y="350"/>
                  <a:pt x="61" y="357"/>
                </a:cubicBezTo>
                <a:cubicBezTo>
                  <a:pt x="57" y="365"/>
                  <a:pt x="55" y="395"/>
                  <a:pt x="38" y="393"/>
                </a:cubicBezTo>
                <a:cubicBezTo>
                  <a:pt x="22" y="391"/>
                  <a:pt x="10" y="418"/>
                  <a:pt x="10" y="41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49" name="Freeform 585"/>
          <p:cNvSpPr>
            <a:spLocks/>
          </p:cNvSpPr>
          <p:nvPr userDrawn="1"/>
        </p:nvSpPr>
        <p:spPr bwMode="auto">
          <a:xfrm>
            <a:off x="6867583" y="3755029"/>
            <a:ext cx="402023" cy="288116"/>
          </a:xfrm>
          <a:custGeom>
            <a:avLst/>
            <a:gdLst>
              <a:gd name="T0" fmla="*/ 2147483646 w 430"/>
              <a:gd name="T1" fmla="*/ 2147483646 h 309"/>
              <a:gd name="T2" fmla="*/ 2147483646 w 430"/>
              <a:gd name="T3" fmla="*/ 2147483646 h 309"/>
              <a:gd name="T4" fmla="*/ 2147483646 w 430"/>
              <a:gd name="T5" fmla="*/ 2147483646 h 309"/>
              <a:gd name="T6" fmla="*/ 2147483646 w 430"/>
              <a:gd name="T7" fmla="*/ 2147483646 h 309"/>
              <a:gd name="T8" fmla="*/ 2147483646 w 430"/>
              <a:gd name="T9" fmla="*/ 2147483646 h 309"/>
              <a:gd name="T10" fmla="*/ 2147483646 w 430"/>
              <a:gd name="T11" fmla="*/ 2147483646 h 309"/>
              <a:gd name="T12" fmla="*/ 2147483646 w 430"/>
              <a:gd name="T13" fmla="*/ 2147483646 h 309"/>
              <a:gd name="T14" fmla="*/ 2147483646 w 430"/>
              <a:gd name="T15" fmla="*/ 2147483646 h 309"/>
              <a:gd name="T16" fmla="*/ 2147483646 w 430"/>
              <a:gd name="T17" fmla="*/ 2147483646 h 309"/>
              <a:gd name="T18" fmla="*/ 2147483646 w 430"/>
              <a:gd name="T19" fmla="*/ 2147483646 h 309"/>
              <a:gd name="T20" fmla="*/ 2147483646 w 430"/>
              <a:gd name="T21" fmla="*/ 2147483646 h 309"/>
              <a:gd name="T22" fmla="*/ 2147483646 w 430"/>
              <a:gd name="T23" fmla="*/ 2147483646 h 309"/>
              <a:gd name="T24" fmla="*/ 2147483646 w 430"/>
              <a:gd name="T25" fmla="*/ 2147483646 h 309"/>
              <a:gd name="T26" fmla="*/ 2147483646 w 430"/>
              <a:gd name="T27" fmla="*/ 2147483646 h 309"/>
              <a:gd name="T28" fmla="*/ 2147483646 w 430"/>
              <a:gd name="T29" fmla="*/ 2147483646 h 309"/>
              <a:gd name="T30" fmla="*/ 2147483646 w 430"/>
              <a:gd name="T31" fmla="*/ 2147483646 h 309"/>
              <a:gd name="T32" fmla="*/ 2147483646 w 430"/>
              <a:gd name="T33" fmla="*/ 2147483646 h 309"/>
              <a:gd name="T34" fmla="*/ 2147483646 w 430"/>
              <a:gd name="T35" fmla="*/ 2147483646 h 309"/>
              <a:gd name="T36" fmla="*/ 2147483646 w 430"/>
              <a:gd name="T37" fmla="*/ 2147483646 h 309"/>
              <a:gd name="T38" fmla="*/ 2147483646 w 430"/>
              <a:gd name="T39" fmla="*/ 2147483646 h 309"/>
              <a:gd name="T40" fmla="*/ 2147483646 w 430"/>
              <a:gd name="T41" fmla="*/ 2147483646 h 309"/>
              <a:gd name="T42" fmla="*/ 2147483646 w 430"/>
              <a:gd name="T43" fmla="*/ 2147483646 h 309"/>
              <a:gd name="T44" fmla="*/ 2147483646 w 430"/>
              <a:gd name="T45" fmla="*/ 2147483646 h 309"/>
              <a:gd name="T46" fmla="*/ 2147483646 w 430"/>
              <a:gd name="T47" fmla="*/ 2147483646 h 309"/>
              <a:gd name="T48" fmla="*/ 2147483646 w 430"/>
              <a:gd name="T49" fmla="*/ 2147483646 h 309"/>
              <a:gd name="T50" fmla="*/ 2147483646 w 430"/>
              <a:gd name="T51" fmla="*/ 2147483646 h 309"/>
              <a:gd name="T52" fmla="*/ 2147483646 w 430"/>
              <a:gd name="T53" fmla="*/ 2147483646 h 309"/>
              <a:gd name="T54" fmla="*/ 2147483646 w 430"/>
              <a:gd name="T55" fmla="*/ 2147483646 h 309"/>
              <a:gd name="T56" fmla="*/ 2147483646 w 430"/>
              <a:gd name="T57" fmla="*/ 2147483646 h 309"/>
              <a:gd name="T58" fmla="*/ 2147483646 w 430"/>
              <a:gd name="T59" fmla="*/ 2147483646 h 309"/>
              <a:gd name="T60" fmla="*/ 2147483646 w 430"/>
              <a:gd name="T61" fmla="*/ 2147483646 h 309"/>
              <a:gd name="T62" fmla="*/ 2147483646 w 430"/>
              <a:gd name="T63" fmla="*/ 2147483646 h 309"/>
              <a:gd name="T64" fmla="*/ 2147483646 w 430"/>
              <a:gd name="T65" fmla="*/ 2147483646 h 309"/>
              <a:gd name="T66" fmla="*/ 2147483646 w 430"/>
              <a:gd name="T67" fmla="*/ 2147483646 h 309"/>
              <a:gd name="T68" fmla="*/ 2147483646 w 430"/>
              <a:gd name="T69" fmla="*/ 2147483646 h 309"/>
              <a:gd name="T70" fmla="*/ 2147483646 w 430"/>
              <a:gd name="T71" fmla="*/ 2147483646 h 309"/>
              <a:gd name="T72" fmla="*/ 2147483646 w 430"/>
              <a:gd name="T73" fmla="*/ 2147483646 h 309"/>
              <a:gd name="T74" fmla="*/ 2147483646 w 430"/>
              <a:gd name="T75" fmla="*/ 2147483646 h 309"/>
              <a:gd name="T76" fmla="*/ 2147483646 w 430"/>
              <a:gd name="T77" fmla="*/ 2147483646 h 309"/>
              <a:gd name="T78" fmla="*/ 2147483646 w 430"/>
              <a:gd name="T79" fmla="*/ 2147483646 h 309"/>
              <a:gd name="T80" fmla="*/ 2147483646 w 430"/>
              <a:gd name="T81" fmla="*/ 2147483646 h 309"/>
              <a:gd name="T82" fmla="*/ 2147483646 w 430"/>
              <a:gd name="T83" fmla="*/ 2147483646 h 309"/>
              <a:gd name="T84" fmla="*/ 2147483646 w 430"/>
              <a:gd name="T85" fmla="*/ 2147483646 h 309"/>
              <a:gd name="T86" fmla="*/ 2147483646 w 430"/>
              <a:gd name="T87" fmla="*/ 2147483646 h 309"/>
              <a:gd name="T88" fmla="*/ 2147483646 w 430"/>
              <a:gd name="T89" fmla="*/ 2147483646 h 309"/>
              <a:gd name="T90" fmla="*/ 2147483646 w 430"/>
              <a:gd name="T91" fmla="*/ 2147483646 h 309"/>
              <a:gd name="T92" fmla="*/ 2147483646 w 430"/>
              <a:gd name="T93" fmla="*/ 2147483646 h 309"/>
              <a:gd name="T94" fmla="*/ 2147483646 w 430"/>
              <a:gd name="T95" fmla="*/ 2147483646 h 309"/>
              <a:gd name="T96" fmla="*/ 2147483646 w 430"/>
              <a:gd name="T97" fmla="*/ 2147483646 h 309"/>
              <a:gd name="T98" fmla="*/ 2147483646 w 430"/>
              <a:gd name="T99" fmla="*/ 2147483646 h 309"/>
              <a:gd name="T100" fmla="*/ 2147483646 w 430"/>
              <a:gd name="T101" fmla="*/ 2147483646 h 30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30"/>
              <a:gd name="T154" fmla="*/ 0 h 309"/>
              <a:gd name="T155" fmla="*/ 430 w 430"/>
              <a:gd name="T156" fmla="*/ 309 h 30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30" h="309">
                <a:moveTo>
                  <a:pt x="6" y="163"/>
                </a:moveTo>
                <a:cubicBezTo>
                  <a:pt x="14" y="163"/>
                  <a:pt x="17" y="157"/>
                  <a:pt x="19" y="146"/>
                </a:cubicBezTo>
                <a:cubicBezTo>
                  <a:pt x="21" y="135"/>
                  <a:pt x="15" y="124"/>
                  <a:pt x="8" y="105"/>
                </a:cubicBezTo>
                <a:cubicBezTo>
                  <a:pt x="0" y="86"/>
                  <a:pt x="2" y="79"/>
                  <a:pt x="4" y="58"/>
                </a:cubicBezTo>
                <a:cubicBezTo>
                  <a:pt x="6" y="37"/>
                  <a:pt x="29" y="26"/>
                  <a:pt x="47" y="13"/>
                </a:cubicBezTo>
                <a:cubicBezTo>
                  <a:pt x="66" y="0"/>
                  <a:pt x="49" y="24"/>
                  <a:pt x="47" y="36"/>
                </a:cubicBezTo>
                <a:cubicBezTo>
                  <a:pt x="45" y="47"/>
                  <a:pt x="53" y="60"/>
                  <a:pt x="55" y="79"/>
                </a:cubicBezTo>
                <a:cubicBezTo>
                  <a:pt x="57" y="97"/>
                  <a:pt x="72" y="96"/>
                  <a:pt x="85" y="94"/>
                </a:cubicBezTo>
                <a:cubicBezTo>
                  <a:pt x="98" y="92"/>
                  <a:pt x="98" y="94"/>
                  <a:pt x="113" y="77"/>
                </a:cubicBezTo>
                <a:cubicBezTo>
                  <a:pt x="128" y="60"/>
                  <a:pt x="124" y="69"/>
                  <a:pt x="137" y="77"/>
                </a:cubicBezTo>
                <a:cubicBezTo>
                  <a:pt x="150" y="84"/>
                  <a:pt x="173" y="77"/>
                  <a:pt x="208" y="79"/>
                </a:cubicBezTo>
                <a:cubicBezTo>
                  <a:pt x="244" y="81"/>
                  <a:pt x="227" y="86"/>
                  <a:pt x="238" y="109"/>
                </a:cubicBezTo>
                <a:cubicBezTo>
                  <a:pt x="249" y="131"/>
                  <a:pt x="276" y="146"/>
                  <a:pt x="292" y="163"/>
                </a:cubicBezTo>
                <a:cubicBezTo>
                  <a:pt x="309" y="180"/>
                  <a:pt x="330" y="167"/>
                  <a:pt x="345" y="148"/>
                </a:cubicBezTo>
                <a:cubicBezTo>
                  <a:pt x="360" y="129"/>
                  <a:pt x="386" y="139"/>
                  <a:pt x="386" y="139"/>
                </a:cubicBezTo>
                <a:cubicBezTo>
                  <a:pt x="386" y="139"/>
                  <a:pt x="371" y="156"/>
                  <a:pt x="376" y="160"/>
                </a:cubicBezTo>
                <a:cubicBezTo>
                  <a:pt x="380" y="163"/>
                  <a:pt x="383" y="168"/>
                  <a:pt x="390" y="167"/>
                </a:cubicBezTo>
                <a:cubicBezTo>
                  <a:pt x="398" y="166"/>
                  <a:pt x="405" y="162"/>
                  <a:pt x="412" y="165"/>
                </a:cubicBezTo>
                <a:cubicBezTo>
                  <a:pt x="418" y="169"/>
                  <a:pt x="424" y="169"/>
                  <a:pt x="427" y="176"/>
                </a:cubicBezTo>
                <a:cubicBezTo>
                  <a:pt x="430" y="183"/>
                  <a:pt x="427" y="185"/>
                  <a:pt x="422" y="192"/>
                </a:cubicBezTo>
                <a:cubicBezTo>
                  <a:pt x="417" y="198"/>
                  <a:pt x="407" y="199"/>
                  <a:pt x="404" y="201"/>
                </a:cubicBezTo>
                <a:cubicBezTo>
                  <a:pt x="401" y="204"/>
                  <a:pt x="392" y="208"/>
                  <a:pt x="392" y="208"/>
                </a:cubicBezTo>
                <a:cubicBezTo>
                  <a:pt x="392" y="208"/>
                  <a:pt x="374" y="205"/>
                  <a:pt x="382" y="196"/>
                </a:cubicBezTo>
                <a:cubicBezTo>
                  <a:pt x="390" y="187"/>
                  <a:pt x="389" y="179"/>
                  <a:pt x="389" y="179"/>
                </a:cubicBezTo>
                <a:cubicBezTo>
                  <a:pt x="389" y="179"/>
                  <a:pt x="374" y="179"/>
                  <a:pt x="365" y="181"/>
                </a:cubicBezTo>
                <a:cubicBezTo>
                  <a:pt x="356" y="183"/>
                  <a:pt x="345" y="184"/>
                  <a:pt x="345" y="184"/>
                </a:cubicBezTo>
                <a:cubicBezTo>
                  <a:pt x="334" y="207"/>
                  <a:pt x="334" y="207"/>
                  <a:pt x="334" y="207"/>
                </a:cubicBezTo>
                <a:cubicBezTo>
                  <a:pt x="331" y="228"/>
                  <a:pt x="331" y="228"/>
                  <a:pt x="331" y="228"/>
                </a:cubicBezTo>
                <a:cubicBezTo>
                  <a:pt x="331" y="228"/>
                  <a:pt x="313" y="232"/>
                  <a:pt x="306" y="229"/>
                </a:cubicBezTo>
                <a:cubicBezTo>
                  <a:pt x="299" y="227"/>
                  <a:pt x="291" y="237"/>
                  <a:pt x="291" y="237"/>
                </a:cubicBezTo>
                <a:cubicBezTo>
                  <a:pt x="297" y="260"/>
                  <a:pt x="297" y="260"/>
                  <a:pt x="297" y="260"/>
                </a:cubicBezTo>
                <a:cubicBezTo>
                  <a:pt x="297" y="260"/>
                  <a:pt x="291" y="305"/>
                  <a:pt x="287" y="307"/>
                </a:cubicBezTo>
                <a:cubicBezTo>
                  <a:pt x="283" y="309"/>
                  <a:pt x="268" y="304"/>
                  <a:pt x="262" y="300"/>
                </a:cubicBezTo>
                <a:cubicBezTo>
                  <a:pt x="262" y="300"/>
                  <a:pt x="268" y="280"/>
                  <a:pt x="257" y="280"/>
                </a:cubicBezTo>
                <a:cubicBezTo>
                  <a:pt x="246" y="280"/>
                  <a:pt x="237" y="273"/>
                  <a:pt x="235" y="268"/>
                </a:cubicBezTo>
                <a:cubicBezTo>
                  <a:pt x="233" y="264"/>
                  <a:pt x="232" y="247"/>
                  <a:pt x="242" y="253"/>
                </a:cubicBezTo>
                <a:cubicBezTo>
                  <a:pt x="253" y="259"/>
                  <a:pt x="255" y="255"/>
                  <a:pt x="255" y="255"/>
                </a:cubicBezTo>
                <a:cubicBezTo>
                  <a:pt x="252" y="247"/>
                  <a:pt x="252" y="247"/>
                  <a:pt x="252" y="247"/>
                </a:cubicBezTo>
                <a:cubicBezTo>
                  <a:pt x="252" y="247"/>
                  <a:pt x="241" y="245"/>
                  <a:pt x="237" y="247"/>
                </a:cubicBezTo>
                <a:cubicBezTo>
                  <a:pt x="234" y="250"/>
                  <a:pt x="208" y="249"/>
                  <a:pt x="205" y="245"/>
                </a:cubicBezTo>
                <a:cubicBezTo>
                  <a:pt x="203" y="241"/>
                  <a:pt x="186" y="232"/>
                  <a:pt x="186" y="232"/>
                </a:cubicBezTo>
                <a:cubicBezTo>
                  <a:pt x="166" y="212"/>
                  <a:pt x="166" y="212"/>
                  <a:pt x="166" y="212"/>
                </a:cubicBezTo>
                <a:cubicBezTo>
                  <a:pt x="166" y="212"/>
                  <a:pt x="156" y="202"/>
                  <a:pt x="154" y="197"/>
                </a:cubicBezTo>
                <a:cubicBezTo>
                  <a:pt x="151" y="192"/>
                  <a:pt x="156" y="183"/>
                  <a:pt x="152" y="177"/>
                </a:cubicBezTo>
                <a:cubicBezTo>
                  <a:pt x="149" y="170"/>
                  <a:pt x="152" y="162"/>
                  <a:pt x="142" y="167"/>
                </a:cubicBezTo>
                <a:cubicBezTo>
                  <a:pt x="133" y="172"/>
                  <a:pt x="129" y="177"/>
                  <a:pt x="121" y="171"/>
                </a:cubicBezTo>
                <a:cubicBezTo>
                  <a:pt x="114" y="165"/>
                  <a:pt x="105" y="151"/>
                  <a:pt x="105" y="151"/>
                </a:cubicBezTo>
                <a:cubicBezTo>
                  <a:pt x="105" y="151"/>
                  <a:pt x="74" y="125"/>
                  <a:pt x="63" y="135"/>
                </a:cubicBezTo>
                <a:cubicBezTo>
                  <a:pt x="52" y="145"/>
                  <a:pt x="38" y="154"/>
                  <a:pt x="39" y="158"/>
                </a:cubicBezTo>
                <a:cubicBezTo>
                  <a:pt x="41" y="162"/>
                  <a:pt x="40" y="174"/>
                  <a:pt x="32" y="173"/>
                </a:cubicBezTo>
                <a:cubicBezTo>
                  <a:pt x="24" y="172"/>
                  <a:pt x="6" y="163"/>
                  <a:pt x="6" y="16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50" name="Freeform 586"/>
          <p:cNvSpPr>
            <a:spLocks/>
          </p:cNvSpPr>
          <p:nvPr userDrawn="1"/>
        </p:nvSpPr>
        <p:spPr bwMode="auto">
          <a:xfrm>
            <a:off x="7194225" y="3842132"/>
            <a:ext cx="256288" cy="134008"/>
          </a:xfrm>
          <a:custGeom>
            <a:avLst/>
            <a:gdLst>
              <a:gd name="T0" fmla="*/ 2147483646 w 274"/>
              <a:gd name="T1" fmla="*/ 2147483646 h 143"/>
              <a:gd name="T2" fmla="*/ 2147483646 w 274"/>
              <a:gd name="T3" fmla="*/ 2147483646 h 143"/>
              <a:gd name="T4" fmla="*/ 2147483646 w 274"/>
              <a:gd name="T5" fmla="*/ 2147483646 h 143"/>
              <a:gd name="T6" fmla="*/ 2147483646 w 274"/>
              <a:gd name="T7" fmla="*/ 2147483646 h 143"/>
              <a:gd name="T8" fmla="*/ 2147483646 w 274"/>
              <a:gd name="T9" fmla="*/ 2147483646 h 143"/>
              <a:gd name="T10" fmla="*/ 2147483646 w 274"/>
              <a:gd name="T11" fmla="*/ 2147483646 h 143"/>
              <a:gd name="T12" fmla="*/ 2147483646 w 274"/>
              <a:gd name="T13" fmla="*/ 2147483646 h 143"/>
              <a:gd name="T14" fmla="*/ 2147483646 w 274"/>
              <a:gd name="T15" fmla="*/ 2147483646 h 143"/>
              <a:gd name="T16" fmla="*/ 2147483646 w 274"/>
              <a:gd name="T17" fmla="*/ 2147483646 h 143"/>
              <a:gd name="T18" fmla="*/ 2147483646 w 274"/>
              <a:gd name="T19" fmla="*/ 2147483646 h 143"/>
              <a:gd name="T20" fmla="*/ 2147483646 w 274"/>
              <a:gd name="T21" fmla="*/ 2147483646 h 143"/>
              <a:gd name="T22" fmla="*/ 2147483646 w 274"/>
              <a:gd name="T23" fmla="*/ 2147483646 h 143"/>
              <a:gd name="T24" fmla="*/ 2147483646 w 274"/>
              <a:gd name="T25" fmla="*/ 2147483646 h 143"/>
              <a:gd name="T26" fmla="*/ 2147483646 w 274"/>
              <a:gd name="T27" fmla="*/ 2147483646 h 143"/>
              <a:gd name="T28" fmla="*/ 2147483646 w 274"/>
              <a:gd name="T29" fmla="*/ 2147483646 h 143"/>
              <a:gd name="T30" fmla="*/ 2147483646 w 274"/>
              <a:gd name="T31" fmla="*/ 2147483646 h 143"/>
              <a:gd name="T32" fmla="*/ 2147483646 w 274"/>
              <a:gd name="T33" fmla="*/ 2147483646 h 143"/>
              <a:gd name="T34" fmla="*/ 2147483646 w 274"/>
              <a:gd name="T35" fmla="*/ 2147483646 h 143"/>
              <a:gd name="T36" fmla="*/ 2147483646 w 274"/>
              <a:gd name="T37" fmla="*/ 2147483646 h 143"/>
              <a:gd name="T38" fmla="*/ 2147483646 w 274"/>
              <a:gd name="T39" fmla="*/ 2147483646 h 143"/>
              <a:gd name="T40" fmla="*/ 2147483646 w 274"/>
              <a:gd name="T41" fmla="*/ 2147483646 h 143"/>
              <a:gd name="T42" fmla="*/ 2147483646 w 274"/>
              <a:gd name="T43" fmla="*/ 2147483646 h 143"/>
              <a:gd name="T44" fmla="*/ 2147483646 w 274"/>
              <a:gd name="T45" fmla="*/ 2147483646 h 143"/>
              <a:gd name="T46" fmla="*/ 2147483646 w 274"/>
              <a:gd name="T47" fmla="*/ 2147483646 h 143"/>
              <a:gd name="T48" fmla="*/ 2147483646 w 274"/>
              <a:gd name="T49" fmla="*/ 2147483646 h 143"/>
              <a:gd name="T50" fmla="*/ 2147483646 w 274"/>
              <a:gd name="T51" fmla="*/ 2147483646 h 143"/>
              <a:gd name="T52" fmla="*/ 2147483646 w 274"/>
              <a:gd name="T53" fmla="*/ 2147483646 h 143"/>
              <a:gd name="T54" fmla="*/ 2147483646 w 274"/>
              <a:gd name="T55" fmla="*/ 2147483646 h 143"/>
              <a:gd name="T56" fmla="*/ 2147483646 w 274"/>
              <a:gd name="T57" fmla="*/ 2147483646 h 143"/>
              <a:gd name="T58" fmla="*/ 2147483646 w 274"/>
              <a:gd name="T59" fmla="*/ 2147483646 h 143"/>
              <a:gd name="T60" fmla="*/ 2147483646 w 274"/>
              <a:gd name="T61" fmla="*/ 2147483646 h 143"/>
              <a:gd name="T62" fmla="*/ 2147483646 w 274"/>
              <a:gd name="T63" fmla="*/ 2147483646 h 143"/>
              <a:gd name="T64" fmla="*/ 2147483646 w 274"/>
              <a:gd name="T65" fmla="*/ 2147483646 h 143"/>
              <a:gd name="T66" fmla="*/ 2147483646 w 274"/>
              <a:gd name="T67" fmla="*/ 2147483646 h 143"/>
              <a:gd name="T68" fmla="*/ 2147483646 w 274"/>
              <a:gd name="T69" fmla="*/ 2147483646 h 143"/>
              <a:gd name="T70" fmla="*/ 2147483646 w 274"/>
              <a:gd name="T71" fmla="*/ 2147483646 h 143"/>
              <a:gd name="T72" fmla="*/ 2147483646 w 274"/>
              <a:gd name="T73" fmla="*/ 2147483646 h 14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74"/>
              <a:gd name="T112" fmla="*/ 0 h 143"/>
              <a:gd name="T113" fmla="*/ 274 w 274"/>
              <a:gd name="T114" fmla="*/ 143 h 14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74" h="143">
                <a:moveTo>
                  <a:pt x="274" y="50"/>
                </a:moveTo>
                <a:cubicBezTo>
                  <a:pt x="274" y="50"/>
                  <a:pt x="250" y="31"/>
                  <a:pt x="238" y="28"/>
                </a:cubicBezTo>
                <a:cubicBezTo>
                  <a:pt x="227" y="24"/>
                  <a:pt x="193" y="20"/>
                  <a:pt x="178" y="20"/>
                </a:cubicBezTo>
                <a:cubicBezTo>
                  <a:pt x="163" y="20"/>
                  <a:pt x="156" y="13"/>
                  <a:pt x="148" y="20"/>
                </a:cubicBezTo>
                <a:cubicBezTo>
                  <a:pt x="141" y="28"/>
                  <a:pt x="130" y="31"/>
                  <a:pt x="128" y="24"/>
                </a:cubicBezTo>
                <a:cubicBezTo>
                  <a:pt x="126" y="16"/>
                  <a:pt x="130" y="0"/>
                  <a:pt x="120" y="9"/>
                </a:cubicBezTo>
                <a:cubicBezTo>
                  <a:pt x="111" y="18"/>
                  <a:pt x="100" y="11"/>
                  <a:pt x="102" y="16"/>
                </a:cubicBezTo>
                <a:cubicBezTo>
                  <a:pt x="103" y="22"/>
                  <a:pt x="109" y="22"/>
                  <a:pt x="105" y="30"/>
                </a:cubicBezTo>
                <a:cubicBezTo>
                  <a:pt x="102" y="37"/>
                  <a:pt x="92" y="37"/>
                  <a:pt x="92" y="37"/>
                </a:cubicBezTo>
                <a:cubicBezTo>
                  <a:pt x="92" y="37"/>
                  <a:pt x="86" y="27"/>
                  <a:pt x="81" y="26"/>
                </a:cubicBezTo>
                <a:cubicBezTo>
                  <a:pt x="68" y="22"/>
                  <a:pt x="68" y="27"/>
                  <a:pt x="60" y="30"/>
                </a:cubicBezTo>
                <a:cubicBezTo>
                  <a:pt x="45" y="35"/>
                  <a:pt x="38" y="39"/>
                  <a:pt x="36" y="45"/>
                </a:cubicBezTo>
                <a:cubicBezTo>
                  <a:pt x="36" y="45"/>
                  <a:pt x="21" y="62"/>
                  <a:pt x="26" y="66"/>
                </a:cubicBezTo>
                <a:cubicBezTo>
                  <a:pt x="30" y="69"/>
                  <a:pt x="33" y="74"/>
                  <a:pt x="40" y="73"/>
                </a:cubicBezTo>
                <a:cubicBezTo>
                  <a:pt x="48" y="72"/>
                  <a:pt x="55" y="68"/>
                  <a:pt x="62" y="71"/>
                </a:cubicBezTo>
                <a:cubicBezTo>
                  <a:pt x="68" y="75"/>
                  <a:pt x="74" y="75"/>
                  <a:pt x="77" y="82"/>
                </a:cubicBezTo>
                <a:cubicBezTo>
                  <a:pt x="80" y="89"/>
                  <a:pt x="77" y="91"/>
                  <a:pt x="72" y="98"/>
                </a:cubicBezTo>
                <a:cubicBezTo>
                  <a:pt x="67" y="104"/>
                  <a:pt x="57" y="105"/>
                  <a:pt x="54" y="107"/>
                </a:cubicBezTo>
                <a:cubicBezTo>
                  <a:pt x="51" y="110"/>
                  <a:pt x="42" y="114"/>
                  <a:pt x="42" y="114"/>
                </a:cubicBezTo>
                <a:cubicBezTo>
                  <a:pt x="42" y="114"/>
                  <a:pt x="34" y="120"/>
                  <a:pt x="31" y="121"/>
                </a:cubicBezTo>
                <a:cubicBezTo>
                  <a:pt x="28" y="122"/>
                  <a:pt x="16" y="126"/>
                  <a:pt x="14" y="126"/>
                </a:cubicBezTo>
                <a:cubicBezTo>
                  <a:pt x="13" y="125"/>
                  <a:pt x="7" y="115"/>
                  <a:pt x="5" y="126"/>
                </a:cubicBezTo>
                <a:cubicBezTo>
                  <a:pt x="2" y="136"/>
                  <a:pt x="0" y="140"/>
                  <a:pt x="10" y="141"/>
                </a:cubicBezTo>
                <a:cubicBezTo>
                  <a:pt x="19" y="142"/>
                  <a:pt x="27" y="141"/>
                  <a:pt x="33" y="142"/>
                </a:cubicBezTo>
                <a:cubicBezTo>
                  <a:pt x="40" y="143"/>
                  <a:pt x="50" y="136"/>
                  <a:pt x="50" y="136"/>
                </a:cubicBezTo>
                <a:cubicBezTo>
                  <a:pt x="64" y="132"/>
                  <a:pt x="64" y="132"/>
                  <a:pt x="64" y="132"/>
                </a:cubicBezTo>
                <a:cubicBezTo>
                  <a:pt x="64" y="132"/>
                  <a:pt x="95" y="138"/>
                  <a:pt x="103" y="133"/>
                </a:cubicBezTo>
                <a:cubicBezTo>
                  <a:pt x="110" y="128"/>
                  <a:pt x="124" y="105"/>
                  <a:pt x="132" y="103"/>
                </a:cubicBezTo>
                <a:cubicBezTo>
                  <a:pt x="139" y="101"/>
                  <a:pt x="145" y="100"/>
                  <a:pt x="157" y="101"/>
                </a:cubicBezTo>
                <a:cubicBezTo>
                  <a:pt x="169" y="102"/>
                  <a:pt x="174" y="100"/>
                  <a:pt x="182" y="96"/>
                </a:cubicBezTo>
                <a:cubicBezTo>
                  <a:pt x="190" y="92"/>
                  <a:pt x="199" y="84"/>
                  <a:pt x="199" y="84"/>
                </a:cubicBezTo>
                <a:cubicBezTo>
                  <a:pt x="199" y="84"/>
                  <a:pt x="210" y="72"/>
                  <a:pt x="220" y="77"/>
                </a:cubicBezTo>
                <a:cubicBezTo>
                  <a:pt x="231" y="82"/>
                  <a:pt x="232" y="77"/>
                  <a:pt x="237" y="74"/>
                </a:cubicBezTo>
                <a:cubicBezTo>
                  <a:pt x="242" y="71"/>
                  <a:pt x="240" y="65"/>
                  <a:pt x="244" y="64"/>
                </a:cubicBezTo>
                <a:cubicBezTo>
                  <a:pt x="247" y="63"/>
                  <a:pt x="256" y="62"/>
                  <a:pt x="256" y="62"/>
                </a:cubicBezTo>
                <a:cubicBezTo>
                  <a:pt x="256" y="62"/>
                  <a:pt x="263" y="59"/>
                  <a:pt x="266" y="59"/>
                </a:cubicBezTo>
                <a:cubicBezTo>
                  <a:pt x="268" y="60"/>
                  <a:pt x="274" y="50"/>
                  <a:pt x="274" y="5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51" name="Freeform 587"/>
          <p:cNvSpPr>
            <a:spLocks/>
          </p:cNvSpPr>
          <p:nvPr userDrawn="1"/>
        </p:nvSpPr>
        <p:spPr bwMode="auto">
          <a:xfrm>
            <a:off x="7291382" y="3450162"/>
            <a:ext cx="1472405" cy="1051959"/>
          </a:xfrm>
          <a:custGeom>
            <a:avLst/>
            <a:gdLst>
              <a:gd name="T0" fmla="*/ 2147483646 w 1580"/>
              <a:gd name="T1" fmla="*/ 2147483646 h 1128"/>
              <a:gd name="T2" fmla="*/ 2147483646 w 1580"/>
              <a:gd name="T3" fmla="*/ 2147483646 h 1128"/>
              <a:gd name="T4" fmla="*/ 2147483646 w 1580"/>
              <a:gd name="T5" fmla="*/ 2147483646 h 1128"/>
              <a:gd name="T6" fmla="*/ 2147483646 w 1580"/>
              <a:gd name="T7" fmla="*/ 2147483646 h 1128"/>
              <a:gd name="T8" fmla="*/ 2147483646 w 1580"/>
              <a:gd name="T9" fmla="*/ 2147483646 h 1128"/>
              <a:gd name="T10" fmla="*/ 2147483646 w 1580"/>
              <a:gd name="T11" fmla="*/ 2147483646 h 1128"/>
              <a:gd name="T12" fmla="*/ 2147483646 w 1580"/>
              <a:gd name="T13" fmla="*/ 2147483646 h 1128"/>
              <a:gd name="T14" fmla="*/ 2147483646 w 1580"/>
              <a:gd name="T15" fmla="*/ 2147483646 h 1128"/>
              <a:gd name="T16" fmla="*/ 2147483646 w 1580"/>
              <a:gd name="T17" fmla="*/ 2147483646 h 1128"/>
              <a:gd name="T18" fmla="*/ 2147483646 w 1580"/>
              <a:gd name="T19" fmla="*/ 2147483646 h 1128"/>
              <a:gd name="T20" fmla="*/ 2147483646 w 1580"/>
              <a:gd name="T21" fmla="*/ 2147483646 h 1128"/>
              <a:gd name="T22" fmla="*/ 2147483646 w 1580"/>
              <a:gd name="T23" fmla="*/ 2147483646 h 1128"/>
              <a:gd name="T24" fmla="*/ 2147483646 w 1580"/>
              <a:gd name="T25" fmla="*/ 2147483646 h 1128"/>
              <a:gd name="T26" fmla="*/ 2147483646 w 1580"/>
              <a:gd name="T27" fmla="*/ 2147483646 h 1128"/>
              <a:gd name="T28" fmla="*/ 2147483646 w 1580"/>
              <a:gd name="T29" fmla="*/ 2147483646 h 1128"/>
              <a:gd name="T30" fmla="*/ 2147483646 w 1580"/>
              <a:gd name="T31" fmla="*/ 2147483646 h 1128"/>
              <a:gd name="T32" fmla="*/ 2147483646 w 1580"/>
              <a:gd name="T33" fmla="*/ 2147483646 h 1128"/>
              <a:gd name="T34" fmla="*/ 2147483646 w 1580"/>
              <a:gd name="T35" fmla="*/ 2147483646 h 1128"/>
              <a:gd name="T36" fmla="*/ 2147483646 w 1580"/>
              <a:gd name="T37" fmla="*/ 2147483646 h 1128"/>
              <a:gd name="T38" fmla="*/ 2147483646 w 1580"/>
              <a:gd name="T39" fmla="*/ 2147483646 h 1128"/>
              <a:gd name="T40" fmla="*/ 2147483646 w 1580"/>
              <a:gd name="T41" fmla="*/ 2147483646 h 1128"/>
              <a:gd name="T42" fmla="*/ 2147483646 w 1580"/>
              <a:gd name="T43" fmla="*/ 2147483646 h 1128"/>
              <a:gd name="T44" fmla="*/ 2147483646 w 1580"/>
              <a:gd name="T45" fmla="*/ 2147483646 h 1128"/>
              <a:gd name="T46" fmla="*/ 2147483646 w 1580"/>
              <a:gd name="T47" fmla="*/ 2147483646 h 1128"/>
              <a:gd name="T48" fmla="*/ 2147483646 w 1580"/>
              <a:gd name="T49" fmla="*/ 2147483646 h 1128"/>
              <a:gd name="T50" fmla="*/ 2147483646 w 1580"/>
              <a:gd name="T51" fmla="*/ 2147483646 h 1128"/>
              <a:gd name="T52" fmla="*/ 2147483646 w 1580"/>
              <a:gd name="T53" fmla="*/ 2147483646 h 1128"/>
              <a:gd name="T54" fmla="*/ 2147483646 w 1580"/>
              <a:gd name="T55" fmla="*/ 2147483646 h 1128"/>
              <a:gd name="T56" fmla="*/ 2147483646 w 1580"/>
              <a:gd name="T57" fmla="*/ 2147483646 h 1128"/>
              <a:gd name="T58" fmla="*/ 2147483646 w 1580"/>
              <a:gd name="T59" fmla="*/ 2147483646 h 1128"/>
              <a:gd name="T60" fmla="*/ 2147483646 w 1580"/>
              <a:gd name="T61" fmla="*/ 2147483646 h 1128"/>
              <a:gd name="T62" fmla="*/ 2147483646 w 1580"/>
              <a:gd name="T63" fmla="*/ 2147483646 h 1128"/>
              <a:gd name="T64" fmla="*/ 2147483646 w 1580"/>
              <a:gd name="T65" fmla="*/ 2147483646 h 1128"/>
              <a:gd name="T66" fmla="*/ 2147483646 w 1580"/>
              <a:gd name="T67" fmla="*/ 2147483646 h 1128"/>
              <a:gd name="T68" fmla="*/ 2147483646 w 1580"/>
              <a:gd name="T69" fmla="*/ 2147483646 h 1128"/>
              <a:gd name="T70" fmla="*/ 2147483646 w 1580"/>
              <a:gd name="T71" fmla="*/ 2147483646 h 1128"/>
              <a:gd name="T72" fmla="*/ 2147483646 w 1580"/>
              <a:gd name="T73" fmla="*/ 2147483646 h 1128"/>
              <a:gd name="T74" fmla="*/ 2147483646 w 1580"/>
              <a:gd name="T75" fmla="*/ 2147483646 h 1128"/>
              <a:gd name="T76" fmla="*/ 2147483646 w 1580"/>
              <a:gd name="T77" fmla="*/ 2147483646 h 1128"/>
              <a:gd name="T78" fmla="*/ 2147483646 w 1580"/>
              <a:gd name="T79" fmla="*/ 2147483646 h 1128"/>
              <a:gd name="T80" fmla="*/ 2147483646 w 1580"/>
              <a:gd name="T81" fmla="*/ 2147483646 h 1128"/>
              <a:gd name="T82" fmla="*/ 2147483646 w 1580"/>
              <a:gd name="T83" fmla="*/ 2147483646 h 1128"/>
              <a:gd name="T84" fmla="*/ 2147483646 w 1580"/>
              <a:gd name="T85" fmla="*/ 2147483646 h 1128"/>
              <a:gd name="T86" fmla="*/ 2147483646 w 1580"/>
              <a:gd name="T87" fmla="*/ 2147483646 h 1128"/>
              <a:gd name="T88" fmla="*/ 2147483646 w 1580"/>
              <a:gd name="T89" fmla="*/ 2147483646 h 1128"/>
              <a:gd name="T90" fmla="*/ 2147483646 w 1580"/>
              <a:gd name="T91" fmla="*/ 2147483646 h 1128"/>
              <a:gd name="T92" fmla="*/ 2147483646 w 1580"/>
              <a:gd name="T93" fmla="*/ 2147483646 h 1128"/>
              <a:gd name="T94" fmla="*/ 2147483646 w 1580"/>
              <a:gd name="T95" fmla="*/ 2147483646 h 1128"/>
              <a:gd name="T96" fmla="*/ 2147483646 w 1580"/>
              <a:gd name="T97" fmla="*/ 2147483646 h 1128"/>
              <a:gd name="T98" fmla="*/ 2147483646 w 1580"/>
              <a:gd name="T99" fmla="*/ 2147483646 h 1128"/>
              <a:gd name="T100" fmla="*/ 2147483646 w 1580"/>
              <a:gd name="T101" fmla="*/ 2147483646 h 1128"/>
              <a:gd name="T102" fmla="*/ 2147483646 w 1580"/>
              <a:gd name="T103" fmla="*/ 2147483646 h 1128"/>
              <a:gd name="T104" fmla="*/ 2147483646 w 1580"/>
              <a:gd name="T105" fmla="*/ 2147483646 h 1128"/>
              <a:gd name="T106" fmla="*/ 2147483646 w 1580"/>
              <a:gd name="T107" fmla="*/ 2147483646 h 112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80"/>
              <a:gd name="T163" fmla="*/ 0 h 1128"/>
              <a:gd name="T164" fmla="*/ 1580 w 1580"/>
              <a:gd name="T165" fmla="*/ 1128 h 112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80" h="1128">
                <a:moveTo>
                  <a:pt x="358" y="188"/>
                </a:moveTo>
                <a:cubicBezTo>
                  <a:pt x="358" y="188"/>
                  <a:pt x="330" y="199"/>
                  <a:pt x="330" y="210"/>
                </a:cubicBezTo>
                <a:cubicBezTo>
                  <a:pt x="330" y="221"/>
                  <a:pt x="317" y="232"/>
                  <a:pt x="309" y="232"/>
                </a:cubicBezTo>
                <a:cubicBezTo>
                  <a:pt x="302" y="232"/>
                  <a:pt x="287" y="232"/>
                  <a:pt x="291" y="244"/>
                </a:cubicBezTo>
                <a:cubicBezTo>
                  <a:pt x="294" y="255"/>
                  <a:pt x="302" y="270"/>
                  <a:pt x="291" y="270"/>
                </a:cubicBezTo>
                <a:cubicBezTo>
                  <a:pt x="279" y="270"/>
                  <a:pt x="266" y="264"/>
                  <a:pt x="266" y="264"/>
                </a:cubicBezTo>
                <a:cubicBezTo>
                  <a:pt x="266" y="264"/>
                  <a:pt x="249" y="240"/>
                  <a:pt x="233" y="255"/>
                </a:cubicBezTo>
                <a:cubicBezTo>
                  <a:pt x="216" y="270"/>
                  <a:pt x="212" y="283"/>
                  <a:pt x="216" y="294"/>
                </a:cubicBezTo>
                <a:cubicBezTo>
                  <a:pt x="220" y="305"/>
                  <a:pt x="216" y="320"/>
                  <a:pt x="223" y="334"/>
                </a:cubicBezTo>
                <a:cubicBezTo>
                  <a:pt x="231" y="347"/>
                  <a:pt x="231" y="354"/>
                  <a:pt x="231" y="354"/>
                </a:cubicBezTo>
                <a:cubicBezTo>
                  <a:pt x="231" y="354"/>
                  <a:pt x="208" y="337"/>
                  <a:pt x="197" y="343"/>
                </a:cubicBezTo>
                <a:cubicBezTo>
                  <a:pt x="186" y="349"/>
                  <a:pt x="175" y="354"/>
                  <a:pt x="175" y="354"/>
                </a:cubicBezTo>
                <a:cubicBezTo>
                  <a:pt x="175" y="354"/>
                  <a:pt x="186" y="401"/>
                  <a:pt x="190" y="407"/>
                </a:cubicBezTo>
                <a:cubicBezTo>
                  <a:pt x="193" y="412"/>
                  <a:pt x="180" y="466"/>
                  <a:pt x="171" y="470"/>
                </a:cubicBezTo>
                <a:cubicBezTo>
                  <a:pt x="171" y="470"/>
                  <a:pt x="165" y="480"/>
                  <a:pt x="163" y="479"/>
                </a:cubicBezTo>
                <a:cubicBezTo>
                  <a:pt x="160" y="479"/>
                  <a:pt x="153" y="482"/>
                  <a:pt x="153" y="482"/>
                </a:cubicBezTo>
                <a:cubicBezTo>
                  <a:pt x="153" y="482"/>
                  <a:pt x="144" y="483"/>
                  <a:pt x="141" y="484"/>
                </a:cubicBezTo>
                <a:cubicBezTo>
                  <a:pt x="137" y="485"/>
                  <a:pt x="139" y="491"/>
                  <a:pt x="134" y="494"/>
                </a:cubicBezTo>
                <a:cubicBezTo>
                  <a:pt x="129" y="497"/>
                  <a:pt x="128" y="502"/>
                  <a:pt x="117" y="497"/>
                </a:cubicBezTo>
                <a:cubicBezTo>
                  <a:pt x="107" y="492"/>
                  <a:pt x="96" y="504"/>
                  <a:pt x="96" y="504"/>
                </a:cubicBezTo>
                <a:cubicBezTo>
                  <a:pt x="96" y="504"/>
                  <a:pt x="87" y="512"/>
                  <a:pt x="79" y="516"/>
                </a:cubicBezTo>
                <a:cubicBezTo>
                  <a:pt x="71" y="520"/>
                  <a:pt x="66" y="522"/>
                  <a:pt x="54" y="521"/>
                </a:cubicBezTo>
                <a:cubicBezTo>
                  <a:pt x="42" y="520"/>
                  <a:pt x="36" y="521"/>
                  <a:pt x="29" y="523"/>
                </a:cubicBezTo>
                <a:cubicBezTo>
                  <a:pt x="21" y="525"/>
                  <a:pt x="7" y="548"/>
                  <a:pt x="0" y="553"/>
                </a:cubicBezTo>
                <a:cubicBezTo>
                  <a:pt x="0" y="553"/>
                  <a:pt x="12" y="553"/>
                  <a:pt x="13" y="558"/>
                </a:cubicBezTo>
                <a:cubicBezTo>
                  <a:pt x="15" y="562"/>
                  <a:pt x="8" y="579"/>
                  <a:pt x="15" y="583"/>
                </a:cubicBezTo>
                <a:cubicBezTo>
                  <a:pt x="21" y="587"/>
                  <a:pt x="28" y="582"/>
                  <a:pt x="35" y="587"/>
                </a:cubicBezTo>
                <a:cubicBezTo>
                  <a:pt x="42" y="593"/>
                  <a:pt x="43" y="612"/>
                  <a:pt x="43" y="612"/>
                </a:cubicBezTo>
                <a:cubicBezTo>
                  <a:pt x="43" y="612"/>
                  <a:pt x="41" y="621"/>
                  <a:pt x="44" y="630"/>
                </a:cubicBezTo>
                <a:cubicBezTo>
                  <a:pt x="48" y="640"/>
                  <a:pt x="68" y="654"/>
                  <a:pt x="68" y="654"/>
                </a:cubicBezTo>
                <a:cubicBezTo>
                  <a:pt x="68" y="654"/>
                  <a:pt x="101" y="673"/>
                  <a:pt x="105" y="673"/>
                </a:cubicBezTo>
                <a:cubicBezTo>
                  <a:pt x="110" y="673"/>
                  <a:pt x="119" y="673"/>
                  <a:pt x="119" y="673"/>
                </a:cubicBezTo>
                <a:cubicBezTo>
                  <a:pt x="119" y="673"/>
                  <a:pt x="136" y="684"/>
                  <a:pt x="141" y="691"/>
                </a:cubicBezTo>
                <a:cubicBezTo>
                  <a:pt x="145" y="699"/>
                  <a:pt x="166" y="709"/>
                  <a:pt x="153" y="714"/>
                </a:cubicBezTo>
                <a:cubicBezTo>
                  <a:pt x="140" y="719"/>
                  <a:pt x="137" y="724"/>
                  <a:pt x="144" y="731"/>
                </a:cubicBezTo>
                <a:cubicBezTo>
                  <a:pt x="151" y="738"/>
                  <a:pt x="164" y="738"/>
                  <a:pt x="159" y="746"/>
                </a:cubicBezTo>
                <a:cubicBezTo>
                  <a:pt x="154" y="754"/>
                  <a:pt x="141" y="749"/>
                  <a:pt x="146" y="755"/>
                </a:cubicBezTo>
                <a:cubicBezTo>
                  <a:pt x="151" y="761"/>
                  <a:pt x="156" y="753"/>
                  <a:pt x="160" y="762"/>
                </a:cubicBezTo>
                <a:cubicBezTo>
                  <a:pt x="165" y="772"/>
                  <a:pt x="165" y="776"/>
                  <a:pt x="159" y="780"/>
                </a:cubicBezTo>
                <a:cubicBezTo>
                  <a:pt x="153" y="783"/>
                  <a:pt x="149" y="786"/>
                  <a:pt x="145" y="785"/>
                </a:cubicBezTo>
                <a:cubicBezTo>
                  <a:pt x="141" y="783"/>
                  <a:pt x="145" y="774"/>
                  <a:pt x="139" y="778"/>
                </a:cubicBezTo>
                <a:cubicBezTo>
                  <a:pt x="133" y="781"/>
                  <a:pt x="127" y="786"/>
                  <a:pt x="136" y="793"/>
                </a:cubicBezTo>
                <a:cubicBezTo>
                  <a:pt x="144" y="800"/>
                  <a:pt x="152" y="786"/>
                  <a:pt x="153" y="800"/>
                </a:cubicBezTo>
                <a:cubicBezTo>
                  <a:pt x="154" y="814"/>
                  <a:pt x="139" y="816"/>
                  <a:pt x="150" y="821"/>
                </a:cubicBezTo>
                <a:cubicBezTo>
                  <a:pt x="160" y="826"/>
                  <a:pt x="168" y="826"/>
                  <a:pt x="179" y="829"/>
                </a:cubicBezTo>
                <a:cubicBezTo>
                  <a:pt x="190" y="833"/>
                  <a:pt x="194" y="822"/>
                  <a:pt x="200" y="840"/>
                </a:cubicBezTo>
                <a:cubicBezTo>
                  <a:pt x="206" y="857"/>
                  <a:pt x="200" y="846"/>
                  <a:pt x="219" y="861"/>
                </a:cubicBezTo>
                <a:cubicBezTo>
                  <a:pt x="238" y="876"/>
                  <a:pt x="258" y="885"/>
                  <a:pt x="258" y="885"/>
                </a:cubicBezTo>
                <a:cubicBezTo>
                  <a:pt x="288" y="903"/>
                  <a:pt x="288" y="903"/>
                  <a:pt x="288" y="903"/>
                </a:cubicBezTo>
                <a:cubicBezTo>
                  <a:pt x="288" y="903"/>
                  <a:pt x="309" y="901"/>
                  <a:pt x="323" y="908"/>
                </a:cubicBezTo>
                <a:cubicBezTo>
                  <a:pt x="337" y="915"/>
                  <a:pt x="340" y="893"/>
                  <a:pt x="350" y="911"/>
                </a:cubicBezTo>
                <a:cubicBezTo>
                  <a:pt x="361" y="930"/>
                  <a:pt x="353" y="932"/>
                  <a:pt x="367" y="934"/>
                </a:cubicBezTo>
                <a:cubicBezTo>
                  <a:pt x="381" y="935"/>
                  <a:pt x="360" y="920"/>
                  <a:pt x="384" y="925"/>
                </a:cubicBezTo>
                <a:cubicBezTo>
                  <a:pt x="409" y="931"/>
                  <a:pt x="415" y="921"/>
                  <a:pt x="415" y="921"/>
                </a:cubicBezTo>
                <a:cubicBezTo>
                  <a:pt x="415" y="921"/>
                  <a:pt x="414" y="897"/>
                  <a:pt x="428" y="908"/>
                </a:cubicBezTo>
                <a:cubicBezTo>
                  <a:pt x="442" y="918"/>
                  <a:pt x="443" y="920"/>
                  <a:pt x="447" y="923"/>
                </a:cubicBezTo>
                <a:cubicBezTo>
                  <a:pt x="450" y="927"/>
                  <a:pt x="457" y="918"/>
                  <a:pt x="457" y="918"/>
                </a:cubicBezTo>
                <a:cubicBezTo>
                  <a:pt x="457" y="918"/>
                  <a:pt x="474" y="910"/>
                  <a:pt x="485" y="908"/>
                </a:cubicBezTo>
                <a:cubicBezTo>
                  <a:pt x="497" y="905"/>
                  <a:pt x="501" y="900"/>
                  <a:pt x="508" y="897"/>
                </a:cubicBezTo>
                <a:cubicBezTo>
                  <a:pt x="515" y="895"/>
                  <a:pt x="511" y="876"/>
                  <a:pt x="522" y="884"/>
                </a:cubicBezTo>
                <a:cubicBezTo>
                  <a:pt x="532" y="893"/>
                  <a:pt x="518" y="891"/>
                  <a:pt x="535" y="897"/>
                </a:cubicBezTo>
                <a:cubicBezTo>
                  <a:pt x="551" y="903"/>
                  <a:pt x="543" y="905"/>
                  <a:pt x="552" y="898"/>
                </a:cubicBezTo>
                <a:cubicBezTo>
                  <a:pt x="562" y="891"/>
                  <a:pt x="557" y="877"/>
                  <a:pt x="570" y="884"/>
                </a:cubicBezTo>
                <a:cubicBezTo>
                  <a:pt x="583" y="891"/>
                  <a:pt x="585" y="897"/>
                  <a:pt x="585" y="905"/>
                </a:cubicBezTo>
                <a:cubicBezTo>
                  <a:pt x="585" y="914"/>
                  <a:pt x="593" y="918"/>
                  <a:pt x="597" y="917"/>
                </a:cubicBezTo>
                <a:cubicBezTo>
                  <a:pt x="600" y="916"/>
                  <a:pt x="611" y="909"/>
                  <a:pt x="611" y="909"/>
                </a:cubicBezTo>
                <a:cubicBezTo>
                  <a:pt x="611" y="909"/>
                  <a:pt x="616" y="901"/>
                  <a:pt x="625" y="908"/>
                </a:cubicBezTo>
                <a:cubicBezTo>
                  <a:pt x="634" y="915"/>
                  <a:pt x="639" y="907"/>
                  <a:pt x="640" y="927"/>
                </a:cubicBezTo>
                <a:cubicBezTo>
                  <a:pt x="641" y="947"/>
                  <a:pt x="638" y="963"/>
                  <a:pt x="638" y="963"/>
                </a:cubicBezTo>
                <a:cubicBezTo>
                  <a:pt x="621" y="986"/>
                  <a:pt x="621" y="986"/>
                  <a:pt x="621" y="986"/>
                </a:cubicBezTo>
                <a:cubicBezTo>
                  <a:pt x="621" y="986"/>
                  <a:pt x="611" y="991"/>
                  <a:pt x="614" y="1006"/>
                </a:cubicBezTo>
                <a:cubicBezTo>
                  <a:pt x="618" y="1022"/>
                  <a:pt x="611" y="1028"/>
                  <a:pt x="623" y="1030"/>
                </a:cubicBezTo>
                <a:cubicBezTo>
                  <a:pt x="634" y="1032"/>
                  <a:pt x="632" y="1016"/>
                  <a:pt x="647" y="1025"/>
                </a:cubicBezTo>
                <a:cubicBezTo>
                  <a:pt x="663" y="1035"/>
                  <a:pt x="656" y="1038"/>
                  <a:pt x="659" y="1047"/>
                </a:cubicBezTo>
                <a:cubicBezTo>
                  <a:pt x="663" y="1057"/>
                  <a:pt x="675" y="1046"/>
                  <a:pt x="663" y="1057"/>
                </a:cubicBezTo>
                <a:cubicBezTo>
                  <a:pt x="650" y="1067"/>
                  <a:pt x="645" y="1051"/>
                  <a:pt x="650" y="1067"/>
                </a:cubicBezTo>
                <a:cubicBezTo>
                  <a:pt x="654" y="1084"/>
                  <a:pt x="648" y="1077"/>
                  <a:pt x="659" y="1081"/>
                </a:cubicBezTo>
                <a:cubicBezTo>
                  <a:pt x="670" y="1086"/>
                  <a:pt x="658" y="1073"/>
                  <a:pt x="684" y="1086"/>
                </a:cubicBezTo>
                <a:cubicBezTo>
                  <a:pt x="710" y="1099"/>
                  <a:pt x="718" y="1091"/>
                  <a:pt x="719" y="1085"/>
                </a:cubicBezTo>
                <a:cubicBezTo>
                  <a:pt x="720" y="1079"/>
                  <a:pt x="719" y="1069"/>
                  <a:pt x="726" y="1066"/>
                </a:cubicBezTo>
                <a:cubicBezTo>
                  <a:pt x="733" y="1064"/>
                  <a:pt x="753" y="1070"/>
                  <a:pt x="753" y="1070"/>
                </a:cubicBezTo>
                <a:cubicBezTo>
                  <a:pt x="753" y="1070"/>
                  <a:pt x="760" y="1069"/>
                  <a:pt x="771" y="1073"/>
                </a:cubicBezTo>
                <a:cubicBezTo>
                  <a:pt x="781" y="1078"/>
                  <a:pt x="789" y="1073"/>
                  <a:pt x="789" y="1073"/>
                </a:cubicBezTo>
                <a:cubicBezTo>
                  <a:pt x="789" y="1073"/>
                  <a:pt x="799" y="1067"/>
                  <a:pt x="802" y="1058"/>
                </a:cubicBezTo>
                <a:cubicBezTo>
                  <a:pt x="806" y="1049"/>
                  <a:pt x="803" y="1042"/>
                  <a:pt x="817" y="1047"/>
                </a:cubicBezTo>
                <a:cubicBezTo>
                  <a:pt x="832" y="1053"/>
                  <a:pt x="836" y="1058"/>
                  <a:pt x="836" y="1058"/>
                </a:cubicBezTo>
                <a:cubicBezTo>
                  <a:pt x="836" y="1058"/>
                  <a:pt x="840" y="1055"/>
                  <a:pt x="850" y="1063"/>
                </a:cubicBezTo>
                <a:cubicBezTo>
                  <a:pt x="861" y="1071"/>
                  <a:pt x="855" y="1072"/>
                  <a:pt x="854" y="1080"/>
                </a:cubicBezTo>
                <a:cubicBezTo>
                  <a:pt x="853" y="1089"/>
                  <a:pt x="856" y="1086"/>
                  <a:pt x="864" y="1091"/>
                </a:cubicBezTo>
                <a:cubicBezTo>
                  <a:pt x="873" y="1096"/>
                  <a:pt x="883" y="1093"/>
                  <a:pt x="883" y="1093"/>
                </a:cubicBezTo>
                <a:cubicBezTo>
                  <a:pt x="883" y="1093"/>
                  <a:pt x="897" y="1091"/>
                  <a:pt x="906" y="1092"/>
                </a:cubicBezTo>
                <a:cubicBezTo>
                  <a:pt x="914" y="1093"/>
                  <a:pt x="915" y="1092"/>
                  <a:pt x="924" y="1094"/>
                </a:cubicBezTo>
                <a:cubicBezTo>
                  <a:pt x="934" y="1097"/>
                  <a:pt x="940" y="1105"/>
                  <a:pt x="940" y="1105"/>
                </a:cubicBezTo>
                <a:cubicBezTo>
                  <a:pt x="940" y="1105"/>
                  <a:pt x="925" y="1107"/>
                  <a:pt x="931" y="1118"/>
                </a:cubicBezTo>
                <a:cubicBezTo>
                  <a:pt x="937" y="1128"/>
                  <a:pt x="937" y="1124"/>
                  <a:pt x="944" y="1125"/>
                </a:cubicBezTo>
                <a:cubicBezTo>
                  <a:pt x="951" y="1126"/>
                  <a:pt x="952" y="1127"/>
                  <a:pt x="952" y="1121"/>
                </a:cubicBezTo>
                <a:cubicBezTo>
                  <a:pt x="952" y="1116"/>
                  <a:pt x="951" y="1106"/>
                  <a:pt x="951" y="1106"/>
                </a:cubicBezTo>
                <a:cubicBezTo>
                  <a:pt x="951" y="1106"/>
                  <a:pt x="958" y="1101"/>
                  <a:pt x="970" y="1098"/>
                </a:cubicBezTo>
                <a:cubicBezTo>
                  <a:pt x="982" y="1094"/>
                  <a:pt x="986" y="1091"/>
                  <a:pt x="986" y="1091"/>
                </a:cubicBezTo>
                <a:cubicBezTo>
                  <a:pt x="986" y="1091"/>
                  <a:pt x="991" y="1078"/>
                  <a:pt x="1004" y="1080"/>
                </a:cubicBezTo>
                <a:cubicBezTo>
                  <a:pt x="1017" y="1083"/>
                  <a:pt x="1018" y="1078"/>
                  <a:pt x="1021" y="1070"/>
                </a:cubicBezTo>
                <a:cubicBezTo>
                  <a:pt x="1023" y="1062"/>
                  <a:pt x="1028" y="1053"/>
                  <a:pt x="1028" y="1053"/>
                </a:cubicBezTo>
                <a:cubicBezTo>
                  <a:pt x="1028" y="1053"/>
                  <a:pt x="1038" y="1060"/>
                  <a:pt x="1038" y="1066"/>
                </a:cubicBezTo>
                <a:cubicBezTo>
                  <a:pt x="1038" y="1066"/>
                  <a:pt x="1057" y="1073"/>
                  <a:pt x="1062" y="1067"/>
                </a:cubicBezTo>
                <a:cubicBezTo>
                  <a:pt x="1066" y="1062"/>
                  <a:pt x="1071" y="1056"/>
                  <a:pt x="1077" y="1059"/>
                </a:cubicBezTo>
                <a:cubicBezTo>
                  <a:pt x="1083" y="1063"/>
                  <a:pt x="1091" y="1059"/>
                  <a:pt x="1091" y="1059"/>
                </a:cubicBezTo>
                <a:cubicBezTo>
                  <a:pt x="1091" y="1059"/>
                  <a:pt x="1091" y="1059"/>
                  <a:pt x="1104" y="1062"/>
                </a:cubicBezTo>
                <a:cubicBezTo>
                  <a:pt x="1117" y="1064"/>
                  <a:pt x="1117" y="1066"/>
                  <a:pt x="1123" y="1060"/>
                </a:cubicBezTo>
                <a:cubicBezTo>
                  <a:pt x="1129" y="1055"/>
                  <a:pt x="1126" y="1039"/>
                  <a:pt x="1126" y="1039"/>
                </a:cubicBezTo>
                <a:cubicBezTo>
                  <a:pt x="1126" y="1039"/>
                  <a:pt x="1114" y="1037"/>
                  <a:pt x="1123" y="1032"/>
                </a:cubicBezTo>
                <a:cubicBezTo>
                  <a:pt x="1131" y="1028"/>
                  <a:pt x="1129" y="1024"/>
                  <a:pt x="1134" y="1022"/>
                </a:cubicBezTo>
                <a:cubicBezTo>
                  <a:pt x="1140" y="1019"/>
                  <a:pt x="1141" y="1015"/>
                  <a:pt x="1141" y="1015"/>
                </a:cubicBezTo>
                <a:cubicBezTo>
                  <a:pt x="1141" y="1015"/>
                  <a:pt x="1148" y="998"/>
                  <a:pt x="1158" y="999"/>
                </a:cubicBezTo>
                <a:cubicBezTo>
                  <a:pt x="1167" y="1001"/>
                  <a:pt x="1185" y="981"/>
                  <a:pt x="1185" y="981"/>
                </a:cubicBezTo>
                <a:cubicBezTo>
                  <a:pt x="1185" y="981"/>
                  <a:pt x="1190" y="962"/>
                  <a:pt x="1188" y="958"/>
                </a:cubicBezTo>
                <a:cubicBezTo>
                  <a:pt x="1187" y="955"/>
                  <a:pt x="1185" y="947"/>
                  <a:pt x="1183" y="947"/>
                </a:cubicBezTo>
                <a:cubicBezTo>
                  <a:pt x="1180" y="947"/>
                  <a:pt x="1168" y="937"/>
                  <a:pt x="1183" y="937"/>
                </a:cubicBezTo>
                <a:cubicBezTo>
                  <a:pt x="1197" y="937"/>
                  <a:pt x="1192" y="930"/>
                  <a:pt x="1200" y="938"/>
                </a:cubicBezTo>
                <a:cubicBezTo>
                  <a:pt x="1208" y="947"/>
                  <a:pt x="1208" y="941"/>
                  <a:pt x="1214" y="936"/>
                </a:cubicBezTo>
                <a:cubicBezTo>
                  <a:pt x="1220" y="931"/>
                  <a:pt x="1219" y="924"/>
                  <a:pt x="1221" y="918"/>
                </a:cubicBezTo>
                <a:cubicBezTo>
                  <a:pt x="1224" y="912"/>
                  <a:pt x="1220" y="903"/>
                  <a:pt x="1228" y="907"/>
                </a:cubicBezTo>
                <a:cubicBezTo>
                  <a:pt x="1236" y="910"/>
                  <a:pt x="1233" y="914"/>
                  <a:pt x="1239" y="907"/>
                </a:cubicBezTo>
                <a:cubicBezTo>
                  <a:pt x="1245" y="900"/>
                  <a:pt x="1246" y="894"/>
                  <a:pt x="1239" y="890"/>
                </a:cubicBezTo>
                <a:cubicBezTo>
                  <a:pt x="1232" y="887"/>
                  <a:pt x="1227" y="880"/>
                  <a:pt x="1227" y="880"/>
                </a:cubicBezTo>
                <a:cubicBezTo>
                  <a:pt x="1227" y="880"/>
                  <a:pt x="1217" y="876"/>
                  <a:pt x="1227" y="873"/>
                </a:cubicBezTo>
                <a:cubicBezTo>
                  <a:pt x="1238" y="869"/>
                  <a:pt x="1242" y="866"/>
                  <a:pt x="1239" y="862"/>
                </a:cubicBezTo>
                <a:cubicBezTo>
                  <a:pt x="1235" y="859"/>
                  <a:pt x="1231" y="854"/>
                  <a:pt x="1231" y="854"/>
                </a:cubicBezTo>
                <a:cubicBezTo>
                  <a:pt x="1231" y="854"/>
                  <a:pt x="1233" y="848"/>
                  <a:pt x="1221" y="854"/>
                </a:cubicBezTo>
                <a:cubicBezTo>
                  <a:pt x="1209" y="860"/>
                  <a:pt x="1206" y="861"/>
                  <a:pt x="1199" y="854"/>
                </a:cubicBezTo>
                <a:cubicBezTo>
                  <a:pt x="1192" y="847"/>
                  <a:pt x="1187" y="841"/>
                  <a:pt x="1197" y="837"/>
                </a:cubicBezTo>
                <a:cubicBezTo>
                  <a:pt x="1206" y="834"/>
                  <a:pt x="1198" y="820"/>
                  <a:pt x="1212" y="832"/>
                </a:cubicBezTo>
                <a:cubicBezTo>
                  <a:pt x="1226" y="843"/>
                  <a:pt x="1220" y="837"/>
                  <a:pt x="1228" y="835"/>
                </a:cubicBezTo>
                <a:cubicBezTo>
                  <a:pt x="1236" y="833"/>
                  <a:pt x="1244" y="817"/>
                  <a:pt x="1244" y="817"/>
                </a:cubicBezTo>
                <a:cubicBezTo>
                  <a:pt x="1244" y="817"/>
                  <a:pt x="1240" y="809"/>
                  <a:pt x="1234" y="808"/>
                </a:cubicBezTo>
                <a:cubicBezTo>
                  <a:pt x="1228" y="807"/>
                  <a:pt x="1234" y="806"/>
                  <a:pt x="1224" y="802"/>
                </a:cubicBezTo>
                <a:cubicBezTo>
                  <a:pt x="1213" y="799"/>
                  <a:pt x="1209" y="801"/>
                  <a:pt x="1208" y="793"/>
                </a:cubicBezTo>
                <a:cubicBezTo>
                  <a:pt x="1207" y="785"/>
                  <a:pt x="1212" y="781"/>
                  <a:pt x="1212" y="781"/>
                </a:cubicBezTo>
                <a:cubicBezTo>
                  <a:pt x="1212" y="781"/>
                  <a:pt x="1218" y="783"/>
                  <a:pt x="1226" y="785"/>
                </a:cubicBezTo>
                <a:cubicBezTo>
                  <a:pt x="1234" y="786"/>
                  <a:pt x="1234" y="776"/>
                  <a:pt x="1234" y="776"/>
                </a:cubicBezTo>
                <a:cubicBezTo>
                  <a:pt x="1234" y="776"/>
                  <a:pt x="1228" y="763"/>
                  <a:pt x="1222" y="763"/>
                </a:cubicBezTo>
                <a:cubicBezTo>
                  <a:pt x="1217" y="763"/>
                  <a:pt x="1212" y="758"/>
                  <a:pt x="1212" y="758"/>
                </a:cubicBezTo>
                <a:cubicBezTo>
                  <a:pt x="1212" y="758"/>
                  <a:pt x="1205" y="739"/>
                  <a:pt x="1211" y="732"/>
                </a:cubicBezTo>
                <a:cubicBezTo>
                  <a:pt x="1217" y="725"/>
                  <a:pt x="1225" y="716"/>
                  <a:pt x="1217" y="718"/>
                </a:cubicBezTo>
                <a:cubicBezTo>
                  <a:pt x="1208" y="719"/>
                  <a:pt x="1208" y="719"/>
                  <a:pt x="1208" y="719"/>
                </a:cubicBezTo>
                <a:cubicBezTo>
                  <a:pt x="1208" y="719"/>
                  <a:pt x="1194" y="728"/>
                  <a:pt x="1197" y="720"/>
                </a:cubicBezTo>
                <a:cubicBezTo>
                  <a:pt x="1199" y="712"/>
                  <a:pt x="1215" y="708"/>
                  <a:pt x="1200" y="706"/>
                </a:cubicBezTo>
                <a:cubicBezTo>
                  <a:pt x="1185" y="704"/>
                  <a:pt x="1147" y="743"/>
                  <a:pt x="1179" y="704"/>
                </a:cubicBezTo>
                <a:cubicBezTo>
                  <a:pt x="1211" y="664"/>
                  <a:pt x="1211" y="650"/>
                  <a:pt x="1224" y="652"/>
                </a:cubicBezTo>
                <a:cubicBezTo>
                  <a:pt x="1236" y="654"/>
                  <a:pt x="1236" y="639"/>
                  <a:pt x="1245" y="645"/>
                </a:cubicBezTo>
                <a:cubicBezTo>
                  <a:pt x="1253" y="651"/>
                  <a:pt x="1265" y="641"/>
                  <a:pt x="1265" y="637"/>
                </a:cubicBezTo>
                <a:cubicBezTo>
                  <a:pt x="1265" y="632"/>
                  <a:pt x="1268" y="626"/>
                  <a:pt x="1265" y="624"/>
                </a:cubicBezTo>
                <a:cubicBezTo>
                  <a:pt x="1261" y="621"/>
                  <a:pt x="1253" y="611"/>
                  <a:pt x="1247" y="613"/>
                </a:cubicBezTo>
                <a:cubicBezTo>
                  <a:pt x="1241" y="616"/>
                  <a:pt x="1231" y="619"/>
                  <a:pt x="1231" y="619"/>
                </a:cubicBezTo>
                <a:cubicBezTo>
                  <a:pt x="1231" y="619"/>
                  <a:pt x="1217" y="620"/>
                  <a:pt x="1214" y="612"/>
                </a:cubicBezTo>
                <a:cubicBezTo>
                  <a:pt x="1212" y="604"/>
                  <a:pt x="1213" y="594"/>
                  <a:pt x="1206" y="604"/>
                </a:cubicBezTo>
                <a:cubicBezTo>
                  <a:pt x="1199" y="613"/>
                  <a:pt x="1197" y="616"/>
                  <a:pt x="1193" y="624"/>
                </a:cubicBezTo>
                <a:cubicBezTo>
                  <a:pt x="1190" y="632"/>
                  <a:pt x="1180" y="632"/>
                  <a:pt x="1180" y="632"/>
                </a:cubicBezTo>
                <a:cubicBezTo>
                  <a:pt x="1180" y="632"/>
                  <a:pt x="1166" y="626"/>
                  <a:pt x="1165" y="619"/>
                </a:cubicBezTo>
                <a:cubicBezTo>
                  <a:pt x="1164" y="612"/>
                  <a:pt x="1171" y="600"/>
                  <a:pt x="1156" y="604"/>
                </a:cubicBezTo>
                <a:cubicBezTo>
                  <a:pt x="1140" y="607"/>
                  <a:pt x="1137" y="610"/>
                  <a:pt x="1134" y="599"/>
                </a:cubicBezTo>
                <a:cubicBezTo>
                  <a:pt x="1132" y="589"/>
                  <a:pt x="1131" y="584"/>
                  <a:pt x="1134" y="574"/>
                </a:cubicBezTo>
                <a:cubicBezTo>
                  <a:pt x="1138" y="565"/>
                  <a:pt x="1140" y="555"/>
                  <a:pt x="1154" y="562"/>
                </a:cubicBezTo>
                <a:cubicBezTo>
                  <a:pt x="1168" y="569"/>
                  <a:pt x="1174" y="558"/>
                  <a:pt x="1183" y="551"/>
                </a:cubicBezTo>
                <a:cubicBezTo>
                  <a:pt x="1191" y="544"/>
                  <a:pt x="1197" y="537"/>
                  <a:pt x="1199" y="530"/>
                </a:cubicBezTo>
                <a:cubicBezTo>
                  <a:pt x="1201" y="523"/>
                  <a:pt x="1201" y="513"/>
                  <a:pt x="1209" y="517"/>
                </a:cubicBezTo>
                <a:cubicBezTo>
                  <a:pt x="1218" y="520"/>
                  <a:pt x="1224" y="517"/>
                  <a:pt x="1224" y="510"/>
                </a:cubicBezTo>
                <a:cubicBezTo>
                  <a:pt x="1224" y="503"/>
                  <a:pt x="1224" y="499"/>
                  <a:pt x="1224" y="499"/>
                </a:cubicBezTo>
                <a:cubicBezTo>
                  <a:pt x="1224" y="499"/>
                  <a:pt x="1220" y="477"/>
                  <a:pt x="1238" y="496"/>
                </a:cubicBezTo>
                <a:cubicBezTo>
                  <a:pt x="1255" y="515"/>
                  <a:pt x="1252" y="523"/>
                  <a:pt x="1252" y="523"/>
                </a:cubicBezTo>
                <a:cubicBezTo>
                  <a:pt x="1252" y="523"/>
                  <a:pt x="1242" y="528"/>
                  <a:pt x="1239" y="542"/>
                </a:cubicBezTo>
                <a:cubicBezTo>
                  <a:pt x="1235" y="556"/>
                  <a:pt x="1242" y="547"/>
                  <a:pt x="1239" y="558"/>
                </a:cubicBezTo>
                <a:cubicBezTo>
                  <a:pt x="1235" y="569"/>
                  <a:pt x="1232" y="570"/>
                  <a:pt x="1232" y="570"/>
                </a:cubicBezTo>
                <a:cubicBezTo>
                  <a:pt x="1232" y="570"/>
                  <a:pt x="1238" y="584"/>
                  <a:pt x="1252" y="566"/>
                </a:cubicBezTo>
                <a:cubicBezTo>
                  <a:pt x="1266" y="549"/>
                  <a:pt x="1276" y="545"/>
                  <a:pt x="1283" y="540"/>
                </a:cubicBezTo>
                <a:cubicBezTo>
                  <a:pt x="1290" y="536"/>
                  <a:pt x="1303" y="536"/>
                  <a:pt x="1303" y="536"/>
                </a:cubicBezTo>
                <a:cubicBezTo>
                  <a:pt x="1303" y="536"/>
                  <a:pt x="1316" y="526"/>
                  <a:pt x="1321" y="522"/>
                </a:cubicBezTo>
                <a:cubicBezTo>
                  <a:pt x="1326" y="517"/>
                  <a:pt x="1337" y="504"/>
                  <a:pt x="1337" y="504"/>
                </a:cubicBezTo>
                <a:cubicBezTo>
                  <a:pt x="1337" y="504"/>
                  <a:pt x="1347" y="508"/>
                  <a:pt x="1354" y="505"/>
                </a:cubicBezTo>
                <a:cubicBezTo>
                  <a:pt x="1361" y="503"/>
                  <a:pt x="1368" y="503"/>
                  <a:pt x="1369" y="491"/>
                </a:cubicBezTo>
                <a:cubicBezTo>
                  <a:pt x="1370" y="479"/>
                  <a:pt x="1360" y="472"/>
                  <a:pt x="1375" y="477"/>
                </a:cubicBezTo>
                <a:cubicBezTo>
                  <a:pt x="1390" y="482"/>
                  <a:pt x="1397" y="490"/>
                  <a:pt x="1397" y="490"/>
                </a:cubicBezTo>
                <a:cubicBezTo>
                  <a:pt x="1397" y="490"/>
                  <a:pt x="1407" y="490"/>
                  <a:pt x="1406" y="482"/>
                </a:cubicBezTo>
                <a:cubicBezTo>
                  <a:pt x="1406" y="475"/>
                  <a:pt x="1405" y="466"/>
                  <a:pt x="1409" y="462"/>
                </a:cubicBezTo>
                <a:cubicBezTo>
                  <a:pt x="1413" y="458"/>
                  <a:pt x="1420" y="452"/>
                  <a:pt x="1420" y="452"/>
                </a:cubicBezTo>
                <a:cubicBezTo>
                  <a:pt x="1420" y="452"/>
                  <a:pt x="1425" y="443"/>
                  <a:pt x="1436" y="440"/>
                </a:cubicBezTo>
                <a:cubicBezTo>
                  <a:pt x="1446" y="437"/>
                  <a:pt x="1452" y="440"/>
                  <a:pt x="1452" y="440"/>
                </a:cubicBezTo>
                <a:cubicBezTo>
                  <a:pt x="1467" y="449"/>
                  <a:pt x="1467" y="449"/>
                  <a:pt x="1467" y="449"/>
                </a:cubicBezTo>
                <a:cubicBezTo>
                  <a:pt x="1466" y="445"/>
                  <a:pt x="1460" y="434"/>
                  <a:pt x="1469" y="424"/>
                </a:cubicBezTo>
                <a:cubicBezTo>
                  <a:pt x="1477" y="416"/>
                  <a:pt x="1477" y="392"/>
                  <a:pt x="1477" y="376"/>
                </a:cubicBezTo>
                <a:cubicBezTo>
                  <a:pt x="1477" y="359"/>
                  <a:pt x="1482" y="338"/>
                  <a:pt x="1500" y="350"/>
                </a:cubicBezTo>
                <a:cubicBezTo>
                  <a:pt x="1518" y="361"/>
                  <a:pt x="1529" y="356"/>
                  <a:pt x="1541" y="340"/>
                </a:cubicBezTo>
                <a:cubicBezTo>
                  <a:pt x="1552" y="324"/>
                  <a:pt x="1558" y="296"/>
                  <a:pt x="1558" y="296"/>
                </a:cubicBezTo>
                <a:cubicBezTo>
                  <a:pt x="1558" y="296"/>
                  <a:pt x="1567" y="281"/>
                  <a:pt x="1573" y="273"/>
                </a:cubicBezTo>
                <a:cubicBezTo>
                  <a:pt x="1580" y="265"/>
                  <a:pt x="1576" y="257"/>
                  <a:pt x="1573" y="247"/>
                </a:cubicBezTo>
                <a:cubicBezTo>
                  <a:pt x="1570" y="237"/>
                  <a:pt x="1558" y="228"/>
                  <a:pt x="1558" y="228"/>
                </a:cubicBezTo>
                <a:cubicBezTo>
                  <a:pt x="1558" y="228"/>
                  <a:pt x="1531" y="247"/>
                  <a:pt x="1519" y="252"/>
                </a:cubicBezTo>
                <a:cubicBezTo>
                  <a:pt x="1508" y="257"/>
                  <a:pt x="1493" y="254"/>
                  <a:pt x="1485" y="247"/>
                </a:cubicBezTo>
                <a:cubicBezTo>
                  <a:pt x="1477" y="241"/>
                  <a:pt x="1474" y="213"/>
                  <a:pt x="1474" y="213"/>
                </a:cubicBezTo>
                <a:cubicBezTo>
                  <a:pt x="1474" y="213"/>
                  <a:pt x="1454" y="188"/>
                  <a:pt x="1445" y="193"/>
                </a:cubicBezTo>
                <a:cubicBezTo>
                  <a:pt x="1435" y="198"/>
                  <a:pt x="1422" y="198"/>
                  <a:pt x="1417" y="190"/>
                </a:cubicBezTo>
                <a:cubicBezTo>
                  <a:pt x="1412" y="182"/>
                  <a:pt x="1404" y="187"/>
                  <a:pt x="1391" y="171"/>
                </a:cubicBezTo>
                <a:cubicBezTo>
                  <a:pt x="1378" y="154"/>
                  <a:pt x="1362" y="107"/>
                  <a:pt x="1358" y="88"/>
                </a:cubicBezTo>
                <a:cubicBezTo>
                  <a:pt x="1355" y="68"/>
                  <a:pt x="1366" y="47"/>
                  <a:pt x="1332" y="34"/>
                </a:cubicBezTo>
                <a:cubicBezTo>
                  <a:pt x="1298" y="21"/>
                  <a:pt x="1301" y="0"/>
                  <a:pt x="1269" y="9"/>
                </a:cubicBezTo>
                <a:cubicBezTo>
                  <a:pt x="1236" y="19"/>
                  <a:pt x="1217" y="21"/>
                  <a:pt x="1217" y="21"/>
                </a:cubicBezTo>
                <a:cubicBezTo>
                  <a:pt x="1217" y="21"/>
                  <a:pt x="1194" y="42"/>
                  <a:pt x="1199" y="52"/>
                </a:cubicBezTo>
                <a:cubicBezTo>
                  <a:pt x="1204" y="62"/>
                  <a:pt x="1204" y="81"/>
                  <a:pt x="1204" y="81"/>
                </a:cubicBezTo>
                <a:cubicBezTo>
                  <a:pt x="1204" y="81"/>
                  <a:pt x="1199" y="104"/>
                  <a:pt x="1183" y="119"/>
                </a:cubicBezTo>
                <a:cubicBezTo>
                  <a:pt x="1166" y="133"/>
                  <a:pt x="1165" y="148"/>
                  <a:pt x="1165" y="148"/>
                </a:cubicBezTo>
                <a:cubicBezTo>
                  <a:pt x="1165" y="148"/>
                  <a:pt x="1158" y="185"/>
                  <a:pt x="1140" y="187"/>
                </a:cubicBezTo>
                <a:cubicBezTo>
                  <a:pt x="1122" y="188"/>
                  <a:pt x="1109" y="198"/>
                  <a:pt x="1103" y="193"/>
                </a:cubicBezTo>
                <a:cubicBezTo>
                  <a:pt x="1103" y="193"/>
                  <a:pt x="1097" y="211"/>
                  <a:pt x="1096" y="219"/>
                </a:cubicBezTo>
                <a:cubicBezTo>
                  <a:pt x="1094" y="228"/>
                  <a:pt x="1087" y="222"/>
                  <a:pt x="1085" y="235"/>
                </a:cubicBezTo>
                <a:cubicBezTo>
                  <a:pt x="1084" y="248"/>
                  <a:pt x="1085" y="251"/>
                  <a:pt x="1094" y="253"/>
                </a:cubicBezTo>
                <a:cubicBezTo>
                  <a:pt x="1103" y="255"/>
                  <a:pt x="1103" y="246"/>
                  <a:pt x="1110" y="255"/>
                </a:cubicBezTo>
                <a:cubicBezTo>
                  <a:pt x="1116" y="264"/>
                  <a:pt x="1118" y="261"/>
                  <a:pt x="1121" y="260"/>
                </a:cubicBezTo>
                <a:cubicBezTo>
                  <a:pt x="1125" y="259"/>
                  <a:pt x="1139" y="264"/>
                  <a:pt x="1141" y="255"/>
                </a:cubicBezTo>
                <a:cubicBezTo>
                  <a:pt x="1143" y="247"/>
                  <a:pt x="1146" y="248"/>
                  <a:pt x="1153" y="248"/>
                </a:cubicBezTo>
                <a:cubicBezTo>
                  <a:pt x="1159" y="247"/>
                  <a:pt x="1165" y="244"/>
                  <a:pt x="1168" y="255"/>
                </a:cubicBezTo>
                <a:cubicBezTo>
                  <a:pt x="1171" y="265"/>
                  <a:pt x="1168" y="263"/>
                  <a:pt x="1181" y="273"/>
                </a:cubicBezTo>
                <a:cubicBezTo>
                  <a:pt x="1193" y="282"/>
                  <a:pt x="1200" y="284"/>
                  <a:pt x="1202" y="296"/>
                </a:cubicBezTo>
                <a:cubicBezTo>
                  <a:pt x="1205" y="308"/>
                  <a:pt x="1199" y="318"/>
                  <a:pt x="1199" y="318"/>
                </a:cubicBezTo>
                <a:cubicBezTo>
                  <a:pt x="1199" y="318"/>
                  <a:pt x="1175" y="312"/>
                  <a:pt x="1168" y="318"/>
                </a:cubicBezTo>
                <a:cubicBezTo>
                  <a:pt x="1161" y="325"/>
                  <a:pt x="1151" y="325"/>
                  <a:pt x="1151" y="325"/>
                </a:cubicBezTo>
                <a:cubicBezTo>
                  <a:pt x="1151" y="325"/>
                  <a:pt x="1128" y="323"/>
                  <a:pt x="1128" y="334"/>
                </a:cubicBezTo>
                <a:cubicBezTo>
                  <a:pt x="1128" y="345"/>
                  <a:pt x="1123" y="354"/>
                  <a:pt x="1123" y="354"/>
                </a:cubicBezTo>
                <a:cubicBezTo>
                  <a:pt x="1123" y="354"/>
                  <a:pt x="1112" y="346"/>
                  <a:pt x="1108" y="353"/>
                </a:cubicBezTo>
                <a:cubicBezTo>
                  <a:pt x="1104" y="360"/>
                  <a:pt x="1105" y="359"/>
                  <a:pt x="1096" y="359"/>
                </a:cubicBezTo>
                <a:cubicBezTo>
                  <a:pt x="1087" y="358"/>
                  <a:pt x="1083" y="350"/>
                  <a:pt x="1083" y="350"/>
                </a:cubicBezTo>
                <a:cubicBezTo>
                  <a:pt x="1083" y="350"/>
                  <a:pt x="1080" y="347"/>
                  <a:pt x="1073" y="351"/>
                </a:cubicBezTo>
                <a:cubicBezTo>
                  <a:pt x="1067" y="354"/>
                  <a:pt x="1060" y="349"/>
                  <a:pt x="1060" y="356"/>
                </a:cubicBezTo>
                <a:cubicBezTo>
                  <a:pt x="1060" y="363"/>
                  <a:pt x="1057" y="368"/>
                  <a:pt x="1057" y="368"/>
                </a:cubicBezTo>
                <a:cubicBezTo>
                  <a:pt x="1038" y="368"/>
                  <a:pt x="1038" y="368"/>
                  <a:pt x="1038" y="368"/>
                </a:cubicBezTo>
                <a:cubicBezTo>
                  <a:pt x="1038" y="368"/>
                  <a:pt x="1017" y="367"/>
                  <a:pt x="1014" y="362"/>
                </a:cubicBezTo>
                <a:cubicBezTo>
                  <a:pt x="1010" y="357"/>
                  <a:pt x="1003" y="354"/>
                  <a:pt x="996" y="358"/>
                </a:cubicBezTo>
                <a:cubicBezTo>
                  <a:pt x="989" y="362"/>
                  <a:pt x="981" y="359"/>
                  <a:pt x="981" y="359"/>
                </a:cubicBezTo>
                <a:cubicBezTo>
                  <a:pt x="975" y="353"/>
                  <a:pt x="975" y="353"/>
                  <a:pt x="975" y="353"/>
                </a:cubicBezTo>
                <a:cubicBezTo>
                  <a:pt x="975" y="353"/>
                  <a:pt x="954" y="376"/>
                  <a:pt x="965" y="379"/>
                </a:cubicBezTo>
                <a:cubicBezTo>
                  <a:pt x="976" y="383"/>
                  <a:pt x="982" y="382"/>
                  <a:pt x="982" y="382"/>
                </a:cubicBezTo>
                <a:cubicBezTo>
                  <a:pt x="982" y="382"/>
                  <a:pt x="985" y="396"/>
                  <a:pt x="980" y="403"/>
                </a:cubicBezTo>
                <a:cubicBezTo>
                  <a:pt x="974" y="410"/>
                  <a:pt x="965" y="413"/>
                  <a:pt x="961" y="413"/>
                </a:cubicBezTo>
                <a:cubicBezTo>
                  <a:pt x="957" y="414"/>
                  <a:pt x="947" y="405"/>
                  <a:pt x="949" y="418"/>
                </a:cubicBezTo>
                <a:cubicBezTo>
                  <a:pt x="951" y="430"/>
                  <a:pt x="944" y="437"/>
                  <a:pt x="944" y="437"/>
                </a:cubicBezTo>
                <a:cubicBezTo>
                  <a:pt x="944" y="437"/>
                  <a:pt x="935" y="436"/>
                  <a:pt x="925" y="435"/>
                </a:cubicBezTo>
                <a:cubicBezTo>
                  <a:pt x="915" y="433"/>
                  <a:pt x="913" y="430"/>
                  <a:pt x="913" y="430"/>
                </a:cubicBezTo>
                <a:cubicBezTo>
                  <a:pt x="888" y="441"/>
                  <a:pt x="888" y="441"/>
                  <a:pt x="888" y="441"/>
                </a:cubicBezTo>
                <a:cubicBezTo>
                  <a:pt x="888" y="441"/>
                  <a:pt x="871" y="447"/>
                  <a:pt x="857" y="447"/>
                </a:cubicBezTo>
                <a:cubicBezTo>
                  <a:pt x="843" y="447"/>
                  <a:pt x="828" y="461"/>
                  <a:pt x="828" y="461"/>
                </a:cubicBezTo>
                <a:cubicBezTo>
                  <a:pt x="828" y="461"/>
                  <a:pt x="816" y="471"/>
                  <a:pt x="817" y="481"/>
                </a:cubicBezTo>
                <a:cubicBezTo>
                  <a:pt x="819" y="490"/>
                  <a:pt x="813" y="499"/>
                  <a:pt x="808" y="499"/>
                </a:cubicBezTo>
                <a:cubicBezTo>
                  <a:pt x="803" y="499"/>
                  <a:pt x="798" y="483"/>
                  <a:pt x="798" y="483"/>
                </a:cubicBezTo>
                <a:cubicBezTo>
                  <a:pt x="791" y="466"/>
                  <a:pt x="791" y="466"/>
                  <a:pt x="791" y="466"/>
                </a:cubicBezTo>
                <a:cubicBezTo>
                  <a:pt x="791" y="466"/>
                  <a:pt x="779" y="457"/>
                  <a:pt x="772" y="458"/>
                </a:cubicBezTo>
                <a:cubicBezTo>
                  <a:pt x="765" y="459"/>
                  <a:pt x="746" y="456"/>
                  <a:pt x="746" y="456"/>
                </a:cubicBezTo>
                <a:cubicBezTo>
                  <a:pt x="746" y="456"/>
                  <a:pt x="734" y="452"/>
                  <a:pt x="731" y="445"/>
                </a:cubicBezTo>
                <a:cubicBezTo>
                  <a:pt x="727" y="438"/>
                  <a:pt x="722" y="431"/>
                  <a:pt x="722" y="431"/>
                </a:cubicBezTo>
                <a:cubicBezTo>
                  <a:pt x="722" y="431"/>
                  <a:pt x="707" y="420"/>
                  <a:pt x="702" y="435"/>
                </a:cubicBezTo>
                <a:cubicBezTo>
                  <a:pt x="698" y="450"/>
                  <a:pt x="677" y="455"/>
                  <a:pt x="677" y="455"/>
                </a:cubicBezTo>
                <a:cubicBezTo>
                  <a:pt x="677" y="455"/>
                  <a:pt x="670" y="443"/>
                  <a:pt x="656" y="445"/>
                </a:cubicBezTo>
                <a:cubicBezTo>
                  <a:pt x="641" y="448"/>
                  <a:pt x="617" y="443"/>
                  <a:pt x="617" y="443"/>
                </a:cubicBezTo>
                <a:cubicBezTo>
                  <a:pt x="597" y="427"/>
                  <a:pt x="597" y="427"/>
                  <a:pt x="597" y="427"/>
                </a:cubicBezTo>
                <a:cubicBezTo>
                  <a:pt x="597" y="427"/>
                  <a:pt x="589" y="417"/>
                  <a:pt x="583" y="410"/>
                </a:cubicBezTo>
                <a:cubicBezTo>
                  <a:pt x="577" y="403"/>
                  <a:pt x="559" y="381"/>
                  <a:pt x="559" y="381"/>
                </a:cubicBezTo>
                <a:cubicBezTo>
                  <a:pt x="538" y="364"/>
                  <a:pt x="538" y="364"/>
                  <a:pt x="538" y="364"/>
                </a:cubicBezTo>
                <a:cubicBezTo>
                  <a:pt x="505" y="351"/>
                  <a:pt x="505" y="351"/>
                  <a:pt x="505" y="351"/>
                </a:cubicBezTo>
                <a:cubicBezTo>
                  <a:pt x="505" y="351"/>
                  <a:pt x="489" y="350"/>
                  <a:pt x="477" y="342"/>
                </a:cubicBezTo>
                <a:cubicBezTo>
                  <a:pt x="465" y="334"/>
                  <a:pt x="461" y="317"/>
                  <a:pt x="461" y="317"/>
                </a:cubicBezTo>
                <a:cubicBezTo>
                  <a:pt x="467" y="292"/>
                  <a:pt x="467" y="292"/>
                  <a:pt x="467" y="292"/>
                </a:cubicBezTo>
                <a:cubicBezTo>
                  <a:pt x="467" y="292"/>
                  <a:pt x="460" y="266"/>
                  <a:pt x="444" y="252"/>
                </a:cubicBezTo>
                <a:cubicBezTo>
                  <a:pt x="429" y="238"/>
                  <a:pt x="400" y="225"/>
                  <a:pt x="400" y="225"/>
                </a:cubicBezTo>
                <a:cubicBezTo>
                  <a:pt x="400" y="225"/>
                  <a:pt x="375" y="213"/>
                  <a:pt x="372" y="205"/>
                </a:cubicBezTo>
                <a:cubicBezTo>
                  <a:pt x="369" y="197"/>
                  <a:pt x="358" y="188"/>
                  <a:pt x="358" y="18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52" name="Freeform 588"/>
          <p:cNvSpPr>
            <a:spLocks/>
          </p:cNvSpPr>
          <p:nvPr userDrawn="1"/>
        </p:nvSpPr>
        <p:spPr bwMode="auto">
          <a:xfrm>
            <a:off x="8458920" y="3857209"/>
            <a:ext cx="199336" cy="162484"/>
          </a:xfrm>
          <a:custGeom>
            <a:avLst/>
            <a:gdLst>
              <a:gd name="T0" fmla="*/ 2147483646 w 215"/>
              <a:gd name="T1" fmla="*/ 2147483646 h 174"/>
              <a:gd name="T2" fmla="*/ 2147483646 w 215"/>
              <a:gd name="T3" fmla="*/ 2147483646 h 174"/>
              <a:gd name="T4" fmla="*/ 2147483646 w 215"/>
              <a:gd name="T5" fmla="*/ 2147483646 h 174"/>
              <a:gd name="T6" fmla="*/ 2147483646 w 215"/>
              <a:gd name="T7" fmla="*/ 2147483646 h 174"/>
              <a:gd name="T8" fmla="*/ 2147483646 w 215"/>
              <a:gd name="T9" fmla="*/ 2147483646 h 174"/>
              <a:gd name="T10" fmla="*/ 2147483646 w 215"/>
              <a:gd name="T11" fmla="*/ 2147483646 h 174"/>
              <a:gd name="T12" fmla="*/ 2147483646 w 215"/>
              <a:gd name="T13" fmla="*/ 2147483646 h 174"/>
              <a:gd name="T14" fmla="*/ 2147483646 w 215"/>
              <a:gd name="T15" fmla="*/ 2147483646 h 174"/>
              <a:gd name="T16" fmla="*/ 2147483646 w 215"/>
              <a:gd name="T17" fmla="*/ 2147483646 h 174"/>
              <a:gd name="T18" fmla="*/ 2147483646 w 215"/>
              <a:gd name="T19" fmla="*/ 2147483646 h 174"/>
              <a:gd name="T20" fmla="*/ 2147483646 w 215"/>
              <a:gd name="T21" fmla="*/ 2147483646 h 174"/>
              <a:gd name="T22" fmla="*/ 2147483646 w 215"/>
              <a:gd name="T23" fmla="*/ 2147483646 h 174"/>
              <a:gd name="T24" fmla="*/ 2147483646 w 215"/>
              <a:gd name="T25" fmla="*/ 2147483646 h 174"/>
              <a:gd name="T26" fmla="*/ 2147483646 w 215"/>
              <a:gd name="T27" fmla="*/ 2147483646 h 174"/>
              <a:gd name="T28" fmla="*/ 0 w 215"/>
              <a:gd name="T29" fmla="*/ 2147483646 h 174"/>
              <a:gd name="T30" fmla="*/ 2147483646 w 215"/>
              <a:gd name="T31" fmla="*/ 2147483646 h 174"/>
              <a:gd name="T32" fmla="*/ 2147483646 w 215"/>
              <a:gd name="T33" fmla="*/ 2147483646 h 174"/>
              <a:gd name="T34" fmla="*/ 2147483646 w 215"/>
              <a:gd name="T35" fmla="*/ 2147483646 h 174"/>
              <a:gd name="T36" fmla="*/ 2147483646 w 215"/>
              <a:gd name="T37" fmla="*/ 2147483646 h 174"/>
              <a:gd name="T38" fmla="*/ 2147483646 w 215"/>
              <a:gd name="T39" fmla="*/ 2147483646 h 174"/>
              <a:gd name="T40" fmla="*/ 2147483646 w 215"/>
              <a:gd name="T41" fmla="*/ 2147483646 h 174"/>
              <a:gd name="T42" fmla="*/ 2147483646 w 215"/>
              <a:gd name="T43" fmla="*/ 2147483646 h 174"/>
              <a:gd name="T44" fmla="*/ 2147483646 w 215"/>
              <a:gd name="T45" fmla="*/ 2147483646 h 174"/>
              <a:gd name="T46" fmla="*/ 2147483646 w 215"/>
              <a:gd name="T47" fmla="*/ 2147483646 h 174"/>
              <a:gd name="T48" fmla="*/ 2147483646 w 215"/>
              <a:gd name="T49" fmla="*/ 2147483646 h 174"/>
              <a:gd name="T50" fmla="*/ 2147483646 w 215"/>
              <a:gd name="T51" fmla="*/ 2147483646 h 174"/>
              <a:gd name="T52" fmla="*/ 2147483646 w 215"/>
              <a:gd name="T53" fmla="*/ 2147483646 h 174"/>
              <a:gd name="T54" fmla="*/ 2147483646 w 215"/>
              <a:gd name="T55" fmla="*/ 2147483646 h 174"/>
              <a:gd name="T56" fmla="*/ 2147483646 w 215"/>
              <a:gd name="T57" fmla="*/ 2147483646 h 174"/>
              <a:gd name="T58" fmla="*/ 2147483646 w 215"/>
              <a:gd name="T59" fmla="*/ 2147483646 h 174"/>
              <a:gd name="T60" fmla="*/ 2147483646 w 215"/>
              <a:gd name="T61" fmla="*/ 2147483646 h 174"/>
              <a:gd name="T62" fmla="*/ 2147483646 w 215"/>
              <a:gd name="T63" fmla="*/ 2147483646 h 17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15"/>
              <a:gd name="T97" fmla="*/ 0 h 174"/>
              <a:gd name="T98" fmla="*/ 215 w 215"/>
              <a:gd name="T99" fmla="*/ 174 h 17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15" h="174">
                <a:moveTo>
                  <a:pt x="215" y="12"/>
                </a:moveTo>
                <a:cubicBezTo>
                  <a:pt x="200" y="3"/>
                  <a:pt x="200" y="3"/>
                  <a:pt x="200" y="3"/>
                </a:cubicBezTo>
                <a:cubicBezTo>
                  <a:pt x="200" y="3"/>
                  <a:pt x="194" y="0"/>
                  <a:pt x="184" y="3"/>
                </a:cubicBezTo>
                <a:cubicBezTo>
                  <a:pt x="173" y="6"/>
                  <a:pt x="168" y="15"/>
                  <a:pt x="168" y="15"/>
                </a:cubicBezTo>
                <a:cubicBezTo>
                  <a:pt x="168" y="15"/>
                  <a:pt x="161" y="21"/>
                  <a:pt x="157" y="25"/>
                </a:cubicBezTo>
                <a:cubicBezTo>
                  <a:pt x="153" y="29"/>
                  <a:pt x="154" y="38"/>
                  <a:pt x="154" y="45"/>
                </a:cubicBezTo>
                <a:cubicBezTo>
                  <a:pt x="155" y="53"/>
                  <a:pt x="145" y="53"/>
                  <a:pt x="145" y="53"/>
                </a:cubicBezTo>
                <a:cubicBezTo>
                  <a:pt x="145" y="53"/>
                  <a:pt x="138" y="45"/>
                  <a:pt x="123" y="40"/>
                </a:cubicBezTo>
                <a:cubicBezTo>
                  <a:pt x="108" y="35"/>
                  <a:pt x="118" y="42"/>
                  <a:pt x="117" y="54"/>
                </a:cubicBezTo>
                <a:cubicBezTo>
                  <a:pt x="116" y="66"/>
                  <a:pt x="109" y="66"/>
                  <a:pt x="102" y="68"/>
                </a:cubicBezTo>
                <a:cubicBezTo>
                  <a:pt x="95" y="71"/>
                  <a:pt x="85" y="67"/>
                  <a:pt x="85" y="67"/>
                </a:cubicBezTo>
                <a:cubicBezTo>
                  <a:pt x="85" y="67"/>
                  <a:pt x="74" y="80"/>
                  <a:pt x="69" y="85"/>
                </a:cubicBezTo>
                <a:cubicBezTo>
                  <a:pt x="64" y="89"/>
                  <a:pt x="51" y="99"/>
                  <a:pt x="51" y="99"/>
                </a:cubicBezTo>
                <a:cubicBezTo>
                  <a:pt x="51" y="99"/>
                  <a:pt x="38" y="99"/>
                  <a:pt x="31" y="103"/>
                </a:cubicBezTo>
                <a:cubicBezTo>
                  <a:pt x="24" y="108"/>
                  <a:pt x="14" y="112"/>
                  <a:pt x="0" y="129"/>
                </a:cubicBezTo>
                <a:cubicBezTo>
                  <a:pt x="0" y="129"/>
                  <a:pt x="24" y="116"/>
                  <a:pt x="31" y="112"/>
                </a:cubicBezTo>
                <a:cubicBezTo>
                  <a:pt x="39" y="108"/>
                  <a:pt x="52" y="108"/>
                  <a:pt x="59" y="108"/>
                </a:cubicBezTo>
                <a:cubicBezTo>
                  <a:pt x="65" y="108"/>
                  <a:pt x="84" y="112"/>
                  <a:pt x="87" y="110"/>
                </a:cubicBezTo>
                <a:cubicBezTo>
                  <a:pt x="91" y="108"/>
                  <a:pt x="106" y="109"/>
                  <a:pt x="106" y="118"/>
                </a:cubicBezTo>
                <a:cubicBezTo>
                  <a:pt x="106" y="126"/>
                  <a:pt x="93" y="131"/>
                  <a:pt x="92" y="135"/>
                </a:cubicBezTo>
                <a:cubicBezTo>
                  <a:pt x="91" y="138"/>
                  <a:pt x="86" y="131"/>
                  <a:pt x="79" y="138"/>
                </a:cubicBezTo>
                <a:cubicBezTo>
                  <a:pt x="72" y="144"/>
                  <a:pt x="65" y="152"/>
                  <a:pt x="68" y="158"/>
                </a:cubicBezTo>
                <a:cubicBezTo>
                  <a:pt x="72" y="164"/>
                  <a:pt x="76" y="167"/>
                  <a:pt x="85" y="169"/>
                </a:cubicBezTo>
                <a:cubicBezTo>
                  <a:pt x="95" y="170"/>
                  <a:pt x="98" y="167"/>
                  <a:pt x="108" y="171"/>
                </a:cubicBezTo>
                <a:cubicBezTo>
                  <a:pt x="117" y="174"/>
                  <a:pt x="118" y="167"/>
                  <a:pt x="127" y="163"/>
                </a:cubicBezTo>
                <a:cubicBezTo>
                  <a:pt x="135" y="159"/>
                  <a:pt x="148" y="148"/>
                  <a:pt x="156" y="150"/>
                </a:cubicBezTo>
                <a:cubicBezTo>
                  <a:pt x="163" y="153"/>
                  <a:pt x="148" y="133"/>
                  <a:pt x="144" y="129"/>
                </a:cubicBezTo>
                <a:cubicBezTo>
                  <a:pt x="140" y="125"/>
                  <a:pt x="144" y="107"/>
                  <a:pt x="153" y="106"/>
                </a:cubicBezTo>
                <a:cubicBezTo>
                  <a:pt x="163" y="105"/>
                  <a:pt x="180" y="82"/>
                  <a:pt x="189" y="78"/>
                </a:cubicBezTo>
                <a:cubicBezTo>
                  <a:pt x="197" y="74"/>
                  <a:pt x="202" y="60"/>
                  <a:pt x="203" y="57"/>
                </a:cubicBezTo>
                <a:cubicBezTo>
                  <a:pt x="204" y="54"/>
                  <a:pt x="200" y="39"/>
                  <a:pt x="200" y="39"/>
                </a:cubicBezTo>
                <a:lnTo>
                  <a:pt x="215" y="1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53" name="Freeform 589"/>
          <p:cNvSpPr>
            <a:spLocks/>
          </p:cNvSpPr>
          <p:nvPr userDrawn="1"/>
        </p:nvSpPr>
        <p:spPr bwMode="auto">
          <a:xfrm>
            <a:off x="8554401" y="3994565"/>
            <a:ext cx="73704" cy="135683"/>
          </a:xfrm>
          <a:custGeom>
            <a:avLst/>
            <a:gdLst>
              <a:gd name="T0" fmla="*/ 2147483646 w 80"/>
              <a:gd name="T1" fmla="*/ 2147483646 h 145"/>
              <a:gd name="T2" fmla="*/ 2147483646 w 80"/>
              <a:gd name="T3" fmla="*/ 2147483646 h 145"/>
              <a:gd name="T4" fmla="*/ 2147483646 w 80"/>
              <a:gd name="T5" fmla="*/ 2147483646 h 145"/>
              <a:gd name="T6" fmla="*/ 2147483646 w 80"/>
              <a:gd name="T7" fmla="*/ 2147483646 h 145"/>
              <a:gd name="T8" fmla="*/ 2147483646 w 80"/>
              <a:gd name="T9" fmla="*/ 2147483646 h 145"/>
              <a:gd name="T10" fmla="*/ 2147483646 w 80"/>
              <a:gd name="T11" fmla="*/ 2147483646 h 145"/>
              <a:gd name="T12" fmla="*/ 2147483646 w 80"/>
              <a:gd name="T13" fmla="*/ 2147483646 h 145"/>
              <a:gd name="T14" fmla="*/ 2147483646 w 80"/>
              <a:gd name="T15" fmla="*/ 2147483646 h 145"/>
              <a:gd name="T16" fmla="*/ 2147483646 w 80"/>
              <a:gd name="T17" fmla="*/ 2147483646 h 145"/>
              <a:gd name="T18" fmla="*/ 2147483646 w 80"/>
              <a:gd name="T19" fmla="*/ 2147483646 h 145"/>
              <a:gd name="T20" fmla="*/ 2147483646 w 80"/>
              <a:gd name="T21" fmla="*/ 2147483646 h 145"/>
              <a:gd name="T22" fmla="*/ 2147483646 w 80"/>
              <a:gd name="T23" fmla="*/ 2147483646 h 145"/>
              <a:gd name="T24" fmla="*/ 2147483646 w 80"/>
              <a:gd name="T25" fmla="*/ 2147483646 h 145"/>
              <a:gd name="T26" fmla="*/ 2147483646 w 80"/>
              <a:gd name="T27" fmla="*/ 2147483646 h 14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80"/>
              <a:gd name="T43" fmla="*/ 0 h 145"/>
              <a:gd name="T44" fmla="*/ 80 w 80"/>
              <a:gd name="T45" fmla="*/ 145 h 14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80" h="145">
                <a:moveTo>
                  <a:pt x="12" y="25"/>
                </a:moveTo>
                <a:cubicBezTo>
                  <a:pt x="12" y="25"/>
                  <a:pt x="43" y="0"/>
                  <a:pt x="56" y="4"/>
                </a:cubicBezTo>
                <a:cubicBezTo>
                  <a:pt x="56" y="4"/>
                  <a:pt x="65" y="18"/>
                  <a:pt x="67" y="21"/>
                </a:cubicBezTo>
                <a:cubicBezTo>
                  <a:pt x="69" y="24"/>
                  <a:pt x="72" y="31"/>
                  <a:pt x="75" y="38"/>
                </a:cubicBezTo>
                <a:cubicBezTo>
                  <a:pt x="78" y="45"/>
                  <a:pt x="77" y="50"/>
                  <a:pt x="78" y="54"/>
                </a:cubicBezTo>
                <a:cubicBezTo>
                  <a:pt x="78" y="58"/>
                  <a:pt x="80" y="78"/>
                  <a:pt x="74" y="94"/>
                </a:cubicBezTo>
                <a:cubicBezTo>
                  <a:pt x="68" y="111"/>
                  <a:pt x="69" y="109"/>
                  <a:pt x="52" y="115"/>
                </a:cubicBezTo>
                <a:cubicBezTo>
                  <a:pt x="36" y="120"/>
                  <a:pt x="17" y="145"/>
                  <a:pt x="9" y="132"/>
                </a:cubicBezTo>
                <a:cubicBezTo>
                  <a:pt x="0" y="118"/>
                  <a:pt x="6" y="98"/>
                  <a:pt x="11" y="96"/>
                </a:cubicBezTo>
                <a:cubicBezTo>
                  <a:pt x="16" y="94"/>
                  <a:pt x="21" y="84"/>
                  <a:pt x="21" y="84"/>
                </a:cubicBezTo>
                <a:cubicBezTo>
                  <a:pt x="19" y="71"/>
                  <a:pt x="19" y="71"/>
                  <a:pt x="19" y="71"/>
                </a:cubicBezTo>
                <a:cubicBezTo>
                  <a:pt x="19" y="71"/>
                  <a:pt x="8" y="59"/>
                  <a:pt x="9" y="55"/>
                </a:cubicBezTo>
                <a:cubicBezTo>
                  <a:pt x="10" y="50"/>
                  <a:pt x="11" y="39"/>
                  <a:pt x="11" y="39"/>
                </a:cubicBezTo>
                <a:lnTo>
                  <a:pt x="12" y="2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54" name="Freeform 590"/>
          <p:cNvSpPr>
            <a:spLocks/>
          </p:cNvSpPr>
          <p:nvPr userDrawn="1"/>
        </p:nvSpPr>
        <p:spPr bwMode="auto">
          <a:xfrm>
            <a:off x="8631455" y="3765079"/>
            <a:ext cx="380245" cy="448925"/>
          </a:xfrm>
          <a:custGeom>
            <a:avLst/>
            <a:gdLst>
              <a:gd name="T0" fmla="*/ 2147483646 w 407"/>
              <a:gd name="T1" fmla="*/ 2147483646 h 480"/>
              <a:gd name="T2" fmla="*/ 2147483646 w 407"/>
              <a:gd name="T3" fmla="*/ 2147483646 h 480"/>
              <a:gd name="T4" fmla="*/ 2147483646 w 407"/>
              <a:gd name="T5" fmla="*/ 2147483646 h 480"/>
              <a:gd name="T6" fmla="*/ 2147483646 w 407"/>
              <a:gd name="T7" fmla="*/ 2147483646 h 480"/>
              <a:gd name="T8" fmla="*/ 2147483646 w 407"/>
              <a:gd name="T9" fmla="*/ 2147483646 h 480"/>
              <a:gd name="T10" fmla="*/ 2147483646 w 407"/>
              <a:gd name="T11" fmla="*/ 2147483646 h 480"/>
              <a:gd name="T12" fmla="*/ 2147483646 w 407"/>
              <a:gd name="T13" fmla="*/ 2147483646 h 480"/>
              <a:gd name="T14" fmla="*/ 2147483646 w 407"/>
              <a:gd name="T15" fmla="*/ 2147483646 h 480"/>
              <a:gd name="T16" fmla="*/ 2147483646 w 407"/>
              <a:gd name="T17" fmla="*/ 2147483646 h 480"/>
              <a:gd name="T18" fmla="*/ 2147483646 w 407"/>
              <a:gd name="T19" fmla="*/ 2147483646 h 480"/>
              <a:gd name="T20" fmla="*/ 2147483646 w 407"/>
              <a:gd name="T21" fmla="*/ 2147483646 h 480"/>
              <a:gd name="T22" fmla="*/ 2147483646 w 407"/>
              <a:gd name="T23" fmla="*/ 2147483646 h 480"/>
              <a:gd name="T24" fmla="*/ 2147483646 w 407"/>
              <a:gd name="T25" fmla="*/ 2147483646 h 480"/>
              <a:gd name="T26" fmla="*/ 2147483646 w 407"/>
              <a:gd name="T27" fmla="*/ 2147483646 h 480"/>
              <a:gd name="T28" fmla="*/ 2147483646 w 407"/>
              <a:gd name="T29" fmla="*/ 2147483646 h 480"/>
              <a:gd name="T30" fmla="*/ 2147483646 w 407"/>
              <a:gd name="T31" fmla="*/ 2147483646 h 480"/>
              <a:gd name="T32" fmla="*/ 2147483646 w 407"/>
              <a:gd name="T33" fmla="*/ 2147483646 h 480"/>
              <a:gd name="T34" fmla="*/ 2147483646 w 407"/>
              <a:gd name="T35" fmla="*/ 2147483646 h 480"/>
              <a:gd name="T36" fmla="*/ 2147483646 w 407"/>
              <a:gd name="T37" fmla="*/ 2147483646 h 480"/>
              <a:gd name="T38" fmla="*/ 2147483646 w 407"/>
              <a:gd name="T39" fmla="*/ 2147483646 h 480"/>
              <a:gd name="T40" fmla="*/ 2147483646 w 407"/>
              <a:gd name="T41" fmla="*/ 2147483646 h 480"/>
              <a:gd name="T42" fmla="*/ 2147483646 w 407"/>
              <a:gd name="T43" fmla="*/ 2147483646 h 480"/>
              <a:gd name="T44" fmla="*/ 2147483646 w 407"/>
              <a:gd name="T45" fmla="*/ 2147483646 h 480"/>
              <a:gd name="T46" fmla="*/ 2147483646 w 407"/>
              <a:gd name="T47" fmla="*/ 2147483646 h 480"/>
              <a:gd name="T48" fmla="*/ 2147483646 w 407"/>
              <a:gd name="T49" fmla="*/ 2147483646 h 480"/>
              <a:gd name="T50" fmla="*/ 2147483646 w 407"/>
              <a:gd name="T51" fmla="*/ 2147483646 h 480"/>
              <a:gd name="T52" fmla="*/ 2147483646 w 407"/>
              <a:gd name="T53" fmla="*/ 2147483646 h 480"/>
              <a:gd name="T54" fmla="*/ 2147483646 w 407"/>
              <a:gd name="T55" fmla="*/ 2147483646 h 480"/>
              <a:gd name="T56" fmla="*/ 2147483646 w 407"/>
              <a:gd name="T57" fmla="*/ 2147483646 h 480"/>
              <a:gd name="T58" fmla="*/ 2147483646 w 407"/>
              <a:gd name="T59" fmla="*/ 2147483646 h 480"/>
              <a:gd name="T60" fmla="*/ 2147483646 w 407"/>
              <a:gd name="T61" fmla="*/ 2147483646 h 480"/>
              <a:gd name="T62" fmla="*/ 2147483646 w 407"/>
              <a:gd name="T63" fmla="*/ 2147483646 h 480"/>
              <a:gd name="T64" fmla="*/ 2147483646 w 407"/>
              <a:gd name="T65" fmla="*/ 2147483646 h 480"/>
              <a:gd name="T66" fmla="*/ 2147483646 w 407"/>
              <a:gd name="T67" fmla="*/ 2147483646 h 480"/>
              <a:gd name="T68" fmla="*/ 2147483646 w 407"/>
              <a:gd name="T69" fmla="*/ 2147483646 h 480"/>
              <a:gd name="T70" fmla="*/ 2147483646 w 407"/>
              <a:gd name="T71" fmla="*/ 2147483646 h 480"/>
              <a:gd name="T72" fmla="*/ 2147483646 w 407"/>
              <a:gd name="T73" fmla="*/ 2147483646 h 480"/>
              <a:gd name="T74" fmla="*/ 2147483646 w 407"/>
              <a:gd name="T75" fmla="*/ 2147483646 h 480"/>
              <a:gd name="T76" fmla="*/ 2147483646 w 407"/>
              <a:gd name="T77" fmla="*/ 2147483646 h 480"/>
              <a:gd name="T78" fmla="*/ 2147483646 w 407"/>
              <a:gd name="T79" fmla="*/ 2147483646 h 480"/>
              <a:gd name="T80" fmla="*/ 2147483646 w 407"/>
              <a:gd name="T81" fmla="*/ 2147483646 h 480"/>
              <a:gd name="T82" fmla="*/ 2147483646 w 407"/>
              <a:gd name="T83" fmla="*/ 2147483646 h 480"/>
              <a:gd name="T84" fmla="*/ 2147483646 w 407"/>
              <a:gd name="T85" fmla="*/ 2147483646 h 480"/>
              <a:gd name="T86" fmla="*/ 2147483646 w 407"/>
              <a:gd name="T87" fmla="*/ 2147483646 h 480"/>
              <a:gd name="T88" fmla="*/ 2147483646 w 407"/>
              <a:gd name="T89" fmla="*/ 2147483646 h 480"/>
              <a:gd name="T90" fmla="*/ 2147483646 w 407"/>
              <a:gd name="T91" fmla="*/ 2147483646 h 480"/>
              <a:gd name="T92" fmla="*/ 2147483646 w 407"/>
              <a:gd name="T93" fmla="*/ 2147483646 h 480"/>
              <a:gd name="T94" fmla="*/ 2147483646 w 407"/>
              <a:gd name="T95" fmla="*/ 2147483646 h 48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407"/>
              <a:gd name="T145" fmla="*/ 0 h 480"/>
              <a:gd name="T146" fmla="*/ 407 w 407"/>
              <a:gd name="T147" fmla="*/ 480 h 48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407" h="480">
                <a:moveTo>
                  <a:pt x="320" y="5"/>
                </a:moveTo>
                <a:cubicBezTo>
                  <a:pt x="308" y="6"/>
                  <a:pt x="295" y="0"/>
                  <a:pt x="303" y="22"/>
                </a:cubicBezTo>
                <a:cubicBezTo>
                  <a:pt x="310" y="45"/>
                  <a:pt x="324" y="52"/>
                  <a:pt x="306" y="63"/>
                </a:cubicBezTo>
                <a:cubicBezTo>
                  <a:pt x="289" y="74"/>
                  <a:pt x="284" y="73"/>
                  <a:pt x="276" y="79"/>
                </a:cubicBezTo>
                <a:cubicBezTo>
                  <a:pt x="267" y="85"/>
                  <a:pt x="262" y="100"/>
                  <a:pt x="266" y="110"/>
                </a:cubicBezTo>
                <a:cubicBezTo>
                  <a:pt x="269" y="120"/>
                  <a:pt x="274" y="117"/>
                  <a:pt x="273" y="129"/>
                </a:cubicBezTo>
                <a:cubicBezTo>
                  <a:pt x="272" y="142"/>
                  <a:pt x="272" y="113"/>
                  <a:pt x="284" y="131"/>
                </a:cubicBezTo>
                <a:cubicBezTo>
                  <a:pt x="297" y="148"/>
                  <a:pt x="297" y="147"/>
                  <a:pt x="295" y="154"/>
                </a:cubicBezTo>
                <a:cubicBezTo>
                  <a:pt x="294" y="161"/>
                  <a:pt x="289" y="169"/>
                  <a:pt x="284" y="165"/>
                </a:cubicBezTo>
                <a:cubicBezTo>
                  <a:pt x="279" y="161"/>
                  <a:pt x="281" y="153"/>
                  <a:pt x="269" y="160"/>
                </a:cubicBezTo>
                <a:cubicBezTo>
                  <a:pt x="258" y="167"/>
                  <a:pt x="255" y="165"/>
                  <a:pt x="261" y="179"/>
                </a:cubicBezTo>
                <a:cubicBezTo>
                  <a:pt x="267" y="192"/>
                  <a:pt x="262" y="198"/>
                  <a:pt x="265" y="206"/>
                </a:cubicBezTo>
                <a:cubicBezTo>
                  <a:pt x="267" y="213"/>
                  <a:pt x="274" y="207"/>
                  <a:pt x="269" y="219"/>
                </a:cubicBezTo>
                <a:cubicBezTo>
                  <a:pt x="265" y="231"/>
                  <a:pt x="262" y="225"/>
                  <a:pt x="260" y="234"/>
                </a:cubicBezTo>
                <a:cubicBezTo>
                  <a:pt x="256" y="246"/>
                  <a:pt x="250" y="256"/>
                  <a:pt x="250" y="260"/>
                </a:cubicBezTo>
                <a:cubicBezTo>
                  <a:pt x="250" y="263"/>
                  <a:pt x="245" y="261"/>
                  <a:pt x="241" y="267"/>
                </a:cubicBezTo>
                <a:cubicBezTo>
                  <a:pt x="238" y="273"/>
                  <a:pt x="241" y="279"/>
                  <a:pt x="235" y="287"/>
                </a:cubicBezTo>
                <a:cubicBezTo>
                  <a:pt x="229" y="294"/>
                  <a:pt x="224" y="283"/>
                  <a:pt x="218" y="292"/>
                </a:cubicBezTo>
                <a:cubicBezTo>
                  <a:pt x="212" y="300"/>
                  <a:pt x="212" y="295"/>
                  <a:pt x="207" y="304"/>
                </a:cubicBezTo>
                <a:cubicBezTo>
                  <a:pt x="202" y="313"/>
                  <a:pt x="197" y="314"/>
                  <a:pt x="193" y="313"/>
                </a:cubicBezTo>
                <a:cubicBezTo>
                  <a:pt x="190" y="311"/>
                  <a:pt x="183" y="310"/>
                  <a:pt x="188" y="304"/>
                </a:cubicBezTo>
                <a:cubicBezTo>
                  <a:pt x="193" y="298"/>
                  <a:pt x="199" y="292"/>
                  <a:pt x="194" y="290"/>
                </a:cubicBezTo>
                <a:cubicBezTo>
                  <a:pt x="190" y="289"/>
                  <a:pt x="187" y="284"/>
                  <a:pt x="185" y="288"/>
                </a:cubicBezTo>
                <a:cubicBezTo>
                  <a:pt x="182" y="292"/>
                  <a:pt x="180" y="282"/>
                  <a:pt x="177" y="295"/>
                </a:cubicBezTo>
                <a:cubicBezTo>
                  <a:pt x="175" y="309"/>
                  <a:pt x="177" y="314"/>
                  <a:pt x="177" y="319"/>
                </a:cubicBezTo>
                <a:cubicBezTo>
                  <a:pt x="177" y="324"/>
                  <a:pt x="171" y="320"/>
                  <a:pt x="169" y="326"/>
                </a:cubicBezTo>
                <a:cubicBezTo>
                  <a:pt x="166" y="332"/>
                  <a:pt x="163" y="335"/>
                  <a:pt x="166" y="343"/>
                </a:cubicBezTo>
                <a:cubicBezTo>
                  <a:pt x="170" y="352"/>
                  <a:pt x="156" y="359"/>
                  <a:pt x="153" y="349"/>
                </a:cubicBezTo>
                <a:cubicBezTo>
                  <a:pt x="149" y="340"/>
                  <a:pt x="149" y="333"/>
                  <a:pt x="143" y="333"/>
                </a:cubicBezTo>
                <a:cubicBezTo>
                  <a:pt x="137" y="333"/>
                  <a:pt x="124" y="336"/>
                  <a:pt x="122" y="341"/>
                </a:cubicBezTo>
                <a:cubicBezTo>
                  <a:pt x="119" y="346"/>
                  <a:pt x="112" y="349"/>
                  <a:pt x="106" y="346"/>
                </a:cubicBezTo>
                <a:cubicBezTo>
                  <a:pt x="100" y="342"/>
                  <a:pt x="99" y="332"/>
                  <a:pt x="94" y="342"/>
                </a:cubicBezTo>
                <a:cubicBezTo>
                  <a:pt x="89" y="352"/>
                  <a:pt x="84" y="348"/>
                  <a:pt x="75" y="349"/>
                </a:cubicBezTo>
                <a:cubicBezTo>
                  <a:pt x="67" y="351"/>
                  <a:pt x="53" y="373"/>
                  <a:pt x="52" y="380"/>
                </a:cubicBezTo>
                <a:cubicBezTo>
                  <a:pt x="51" y="388"/>
                  <a:pt x="37" y="379"/>
                  <a:pt x="37" y="388"/>
                </a:cubicBezTo>
                <a:cubicBezTo>
                  <a:pt x="37" y="396"/>
                  <a:pt x="41" y="396"/>
                  <a:pt x="41" y="396"/>
                </a:cubicBezTo>
                <a:cubicBezTo>
                  <a:pt x="41" y="396"/>
                  <a:pt x="37" y="402"/>
                  <a:pt x="28" y="401"/>
                </a:cubicBezTo>
                <a:cubicBezTo>
                  <a:pt x="20" y="400"/>
                  <a:pt x="19" y="396"/>
                  <a:pt x="10" y="407"/>
                </a:cubicBezTo>
                <a:cubicBezTo>
                  <a:pt x="1" y="418"/>
                  <a:pt x="0" y="432"/>
                  <a:pt x="11" y="429"/>
                </a:cubicBezTo>
                <a:cubicBezTo>
                  <a:pt x="22" y="427"/>
                  <a:pt x="20" y="421"/>
                  <a:pt x="26" y="423"/>
                </a:cubicBezTo>
                <a:cubicBezTo>
                  <a:pt x="32" y="426"/>
                  <a:pt x="38" y="426"/>
                  <a:pt x="36" y="434"/>
                </a:cubicBezTo>
                <a:cubicBezTo>
                  <a:pt x="33" y="443"/>
                  <a:pt x="36" y="444"/>
                  <a:pt x="33" y="449"/>
                </a:cubicBezTo>
                <a:cubicBezTo>
                  <a:pt x="31" y="454"/>
                  <a:pt x="28" y="454"/>
                  <a:pt x="25" y="458"/>
                </a:cubicBezTo>
                <a:cubicBezTo>
                  <a:pt x="21" y="461"/>
                  <a:pt x="16" y="463"/>
                  <a:pt x="21" y="467"/>
                </a:cubicBezTo>
                <a:cubicBezTo>
                  <a:pt x="26" y="472"/>
                  <a:pt x="25" y="463"/>
                  <a:pt x="31" y="471"/>
                </a:cubicBezTo>
                <a:cubicBezTo>
                  <a:pt x="37" y="480"/>
                  <a:pt x="44" y="476"/>
                  <a:pt x="46" y="472"/>
                </a:cubicBezTo>
                <a:cubicBezTo>
                  <a:pt x="47" y="469"/>
                  <a:pt x="52" y="460"/>
                  <a:pt x="49" y="452"/>
                </a:cubicBezTo>
                <a:cubicBezTo>
                  <a:pt x="47" y="443"/>
                  <a:pt x="49" y="438"/>
                  <a:pt x="54" y="438"/>
                </a:cubicBezTo>
                <a:cubicBezTo>
                  <a:pt x="59" y="438"/>
                  <a:pt x="62" y="437"/>
                  <a:pt x="62" y="431"/>
                </a:cubicBezTo>
                <a:cubicBezTo>
                  <a:pt x="62" y="424"/>
                  <a:pt x="58" y="412"/>
                  <a:pt x="53" y="413"/>
                </a:cubicBezTo>
                <a:cubicBezTo>
                  <a:pt x="51" y="401"/>
                  <a:pt x="51" y="401"/>
                  <a:pt x="51" y="401"/>
                </a:cubicBezTo>
                <a:cubicBezTo>
                  <a:pt x="51" y="401"/>
                  <a:pt x="38" y="395"/>
                  <a:pt x="53" y="394"/>
                </a:cubicBezTo>
                <a:cubicBezTo>
                  <a:pt x="68" y="392"/>
                  <a:pt x="73" y="385"/>
                  <a:pt x="78" y="384"/>
                </a:cubicBezTo>
                <a:cubicBezTo>
                  <a:pt x="83" y="383"/>
                  <a:pt x="91" y="378"/>
                  <a:pt x="91" y="378"/>
                </a:cubicBezTo>
                <a:cubicBezTo>
                  <a:pt x="91" y="378"/>
                  <a:pt x="97" y="373"/>
                  <a:pt x="102" y="377"/>
                </a:cubicBezTo>
                <a:cubicBezTo>
                  <a:pt x="107" y="380"/>
                  <a:pt x="103" y="370"/>
                  <a:pt x="110" y="369"/>
                </a:cubicBezTo>
                <a:cubicBezTo>
                  <a:pt x="116" y="368"/>
                  <a:pt x="124" y="374"/>
                  <a:pt x="132" y="375"/>
                </a:cubicBezTo>
                <a:cubicBezTo>
                  <a:pt x="139" y="377"/>
                  <a:pt x="147" y="357"/>
                  <a:pt x="151" y="370"/>
                </a:cubicBezTo>
                <a:cubicBezTo>
                  <a:pt x="156" y="384"/>
                  <a:pt x="144" y="386"/>
                  <a:pt x="154" y="392"/>
                </a:cubicBezTo>
                <a:cubicBezTo>
                  <a:pt x="164" y="399"/>
                  <a:pt x="172" y="394"/>
                  <a:pt x="172" y="394"/>
                </a:cubicBezTo>
                <a:cubicBezTo>
                  <a:pt x="172" y="394"/>
                  <a:pt x="174" y="368"/>
                  <a:pt x="181" y="362"/>
                </a:cubicBezTo>
                <a:cubicBezTo>
                  <a:pt x="188" y="356"/>
                  <a:pt x="194" y="353"/>
                  <a:pt x="196" y="358"/>
                </a:cubicBezTo>
                <a:cubicBezTo>
                  <a:pt x="197" y="363"/>
                  <a:pt x="197" y="365"/>
                  <a:pt x="197" y="372"/>
                </a:cubicBezTo>
                <a:cubicBezTo>
                  <a:pt x="197" y="378"/>
                  <a:pt x="202" y="380"/>
                  <a:pt x="202" y="380"/>
                </a:cubicBezTo>
                <a:cubicBezTo>
                  <a:pt x="202" y="380"/>
                  <a:pt x="225" y="381"/>
                  <a:pt x="230" y="372"/>
                </a:cubicBezTo>
                <a:cubicBezTo>
                  <a:pt x="235" y="362"/>
                  <a:pt x="235" y="342"/>
                  <a:pt x="242" y="341"/>
                </a:cubicBezTo>
                <a:cubicBezTo>
                  <a:pt x="250" y="340"/>
                  <a:pt x="245" y="347"/>
                  <a:pt x="256" y="347"/>
                </a:cubicBezTo>
                <a:cubicBezTo>
                  <a:pt x="267" y="347"/>
                  <a:pt x="269" y="331"/>
                  <a:pt x="269" y="331"/>
                </a:cubicBezTo>
                <a:cubicBezTo>
                  <a:pt x="269" y="331"/>
                  <a:pt x="290" y="330"/>
                  <a:pt x="290" y="324"/>
                </a:cubicBezTo>
                <a:cubicBezTo>
                  <a:pt x="290" y="317"/>
                  <a:pt x="278" y="308"/>
                  <a:pt x="290" y="303"/>
                </a:cubicBezTo>
                <a:cubicBezTo>
                  <a:pt x="303" y="298"/>
                  <a:pt x="299" y="281"/>
                  <a:pt x="299" y="281"/>
                </a:cubicBezTo>
                <a:cubicBezTo>
                  <a:pt x="298" y="268"/>
                  <a:pt x="298" y="268"/>
                  <a:pt x="298" y="268"/>
                </a:cubicBezTo>
                <a:cubicBezTo>
                  <a:pt x="301" y="256"/>
                  <a:pt x="301" y="256"/>
                  <a:pt x="301" y="256"/>
                </a:cubicBezTo>
                <a:cubicBezTo>
                  <a:pt x="314" y="260"/>
                  <a:pt x="314" y="260"/>
                  <a:pt x="314" y="260"/>
                </a:cubicBezTo>
                <a:cubicBezTo>
                  <a:pt x="315" y="240"/>
                  <a:pt x="315" y="240"/>
                  <a:pt x="315" y="240"/>
                </a:cubicBezTo>
                <a:cubicBezTo>
                  <a:pt x="315" y="240"/>
                  <a:pt x="317" y="222"/>
                  <a:pt x="320" y="218"/>
                </a:cubicBezTo>
                <a:cubicBezTo>
                  <a:pt x="322" y="214"/>
                  <a:pt x="322" y="196"/>
                  <a:pt x="315" y="196"/>
                </a:cubicBezTo>
                <a:cubicBezTo>
                  <a:pt x="308" y="196"/>
                  <a:pt x="299" y="197"/>
                  <a:pt x="301" y="183"/>
                </a:cubicBezTo>
                <a:cubicBezTo>
                  <a:pt x="304" y="170"/>
                  <a:pt x="310" y="166"/>
                  <a:pt x="306" y="156"/>
                </a:cubicBezTo>
                <a:cubicBezTo>
                  <a:pt x="303" y="147"/>
                  <a:pt x="292" y="123"/>
                  <a:pt x="292" y="123"/>
                </a:cubicBezTo>
                <a:cubicBezTo>
                  <a:pt x="292" y="123"/>
                  <a:pt x="284" y="113"/>
                  <a:pt x="283" y="110"/>
                </a:cubicBezTo>
                <a:cubicBezTo>
                  <a:pt x="282" y="106"/>
                  <a:pt x="284" y="101"/>
                  <a:pt x="295" y="104"/>
                </a:cubicBezTo>
                <a:cubicBezTo>
                  <a:pt x="306" y="106"/>
                  <a:pt x="306" y="115"/>
                  <a:pt x="310" y="113"/>
                </a:cubicBezTo>
                <a:cubicBezTo>
                  <a:pt x="314" y="112"/>
                  <a:pt x="310" y="106"/>
                  <a:pt x="317" y="102"/>
                </a:cubicBezTo>
                <a:cubicBezTo>
                  <a:pt x="325" y="99"/>
                  <a:pt x="335" y="102"/>
                  <a:pt x="335" y="108"/>
                </a:cubicBezTo>
                <a:cubicBezTo>
                  <a:pt x="335" y="115"/>
                  <a:pt x="323" y="116"/>
                  <a:pt x="335" y="118"/>
                </a:cubicBezTo>
                <a:cubicBezTo>
                  <a:pt x="347" y="121"/>
                  <a:pt x="341" y="106"/>
                  <a:pt x="351" y="120"/>
                </a:cubicBezTo>
                <a:cubicBezTo>
                  <a:pt x="360" y="133"/>
                  <a:pt x="356" y="137"/>
                  <a:pt x="369" y="117"/>
                </a:cubicBezTo>
                <a:cubicBezTo>
                  <a:pt x="383" y="97"/>
                  <a:pt x="368" y="110"/>
                  <a:pt x="388" y="91"/>
                </a:cubicBezTo>
                <a:cubicBezTo>
                  <a:pt x="407" y="73"/>
                  <a:pt x="401" y="64"/>
                  <a:pt x="401" y="64"/>
                </a:cubicBezTo>
                <a:cubicBezTo>
                  <a:pt x="388" y="58"/>
                  <a:pt x="388" y="58"/>
                  <a:pt x="388" y="58"/>
                </a:cubicBezTo>
                <a:cubicBezTo>
                  <a:pt x="388" y="58"/>
                  <a:pt x="381" y="51"/>
                  <a:pt x="375" y="54"/>
                </a:cubicBezTo>
                <a:cubicBezTo>
                  <a:pt x="369" y="58"/>
                  <a:pt x="358" y="54"/>
                  <a:pt x="358" y="54"/>
                </a:cubicBezTo>
                <a:cubicBezTo>
                  <a:pt x="358" y="54"/>
                  <a:pt x="346" y="53"/>
                  <a:pt x="344" y="46"/>
                </a:cubicBezTo>
                <a:cubicBezTo>
                  <a:pt x="343" y="38"/>
                  <a:pt x="335" y="30"/>
                  <a:pt x="335" y="30"/>
                </a:cubicBezTo>
                <a:lnTo>
                  <a:pt x="320" y="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55" name="Freeform 591"/>
          <p:cNvSpPr>
            <a:spLocks/>
          </p:cNvSpPr>
          <p:nvPr userDrawn="1"/>
        </p:nvSpPr>
        <p:spPr bwMode="auto">
          <a:xfrm>
            <a:off x="8701810" y="4118523"/>
            <a:ext cx="58628" cy="51928"/>
          </a:xfrm>
          <a:custGeom>
            <a:avLst/>
            <a:gdLst>
              <a:gd name="T0" fmla="*/ 2147483646 w 62"/>
              <a:gd name="T1" fmla="*/ 2147483646 h 56"/>
              <a:gd name="T2" fmla="*/ 2147483646 w 62"/>
              <a:gd name="T3" fmla="*/ 2147483646 h 56"/>
              <a:gd name="T4" fmla="*/ 2147483646 w 62"/>
              <a:gd name="T5" fmla="*/ 2147483646 h 56"/>
              <a:gd name="T6" fmla="*/ 2147483646 w 62"/>
              <a:gd name="T7" fmla="*/ 2147483646 h 56"/>
              <a:gd name="T8" fmla="*/ 2147483646 w 62"/>
              <a:gd name="T9" fmla="*/ 2147483646 h 56"/>
              <a:gd name="T10" fmla="*/ 2147483646 w 62"/>
              <a:gd name="T11" fmla="*/ 2147483646 h 56"/>
              <a:gd name="T12" fmla="*/ 2147483646 w 62"/>
              <a:gd name="T13" fmla="*/ 2147483646 h 56"/>
              <a:gd name="T14" fmla="*/ 2147483646 w 62"/>
              <a:gd name="T15" fmla="*/ 2147483646 h 56"/>
              <a:gd name="T16" fmla="*/ 2147483646 w 62"/>
              <a:gd name="T17" fmla="*/ 2147483646 h 56"/>
              <a:gd name="T18" fmla="*/ 2147483646 w 62"/>
              <a:gd name="T19" fmla="*/ 2147483646 h 56"/>
              <a:gd name="T20" fmla="*/ 2147483646 w 62"/>
              <a:gd name="T21" fmla="*/ 2147483646 h 5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2"/>
              <a:gd name="T34" fmla="*/ 0 h 56"/>
              <a:gd name="T35" fmla="*/ 62 w 62"/>
              <a:gd name="T36" fmla="*/ 56 h 5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2" h="56">
                <a:moveTo>
                  <a:pt x="24" y="12"/>
                </a:moveTo>
                <a:cubicBezTo>
                  <a:pt x="20" y="14"/>
                  <a:pt x="14" y="12"/>
                  <a:pt x="9" y="21"/>
                </a:cubicBezTo>
                <a:cubicBezTo>
                  <a:pt x="4" y="29"/>
                  <a:pt x="0" y="40"/>
                  <a:pt x="8" y="40"/>
                </a:cubicBezTo>
                <a:cubicBezTo>
                  <a:pt x="15" y="40"/>
                  <a:pt x="20" y="38"/>
                  <a:pt x="21" y="42"/>
                </a:cubicBezTo>
                <a:cubicBezTo>
                  <a:pt x="22" y="45"/>
                  <a:pt x="14" y="56"/>
                  <a:pt x="21" y="51"/>
                </a:cubicBezTo>
                <a:cubicBezTo>
                  <a:pt x="29" y="46"/>
                  <a:pt x="30" y="35"/>
                  <a:pt x="35" y="29"/>
                </a:cubicBezTo>
                <a:cubicBezTo>
                  <a:pt x="40" y="23"/>
                  <a:pt x="37" y="18"/>
                  <a:pt x="47" y="22"/>
                </a:cubicBezTo>
                <a:cubicBezTo>
                  <a:pt x="57" y="26"/>
                  <a:pt x="62" y="14"/>
                  <a:pt x="62" y="14"/>
                </a:cubicBezTo>
                <a:cubicBezTo>
                  <a:pt x="62" y="14"/>
                  <a:pt x="62" y="0"/>
                  <a:pt x="57" y="2"/>
                </a:cubicBezTo>
                <a:cubicBezTo>
                  <a:pt x="52" y="5"/>
                  <a:pt x="36" y="5"/>
                  <a:pt x="36" y="5"/>
                </a:cubicBezTo>
                <a:lnTo>
                  <a:pt x="24" y="1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56" name="Freeform 592"/>
          <p:cNvSpPr>
            <a:spLocks/>
          </p:cNvSpPr>
          <p:nvPr userDrawn="1"/>
        </p:nvSpPr>
        <p:spPr bwMode="auto">
          <a:xfrm>
            <a:off x="8902821" y="3423361"/>
            <a:ext cx="97156" cy="333343"/>
          </a:xfrm>
          <a:custGeom>
            <a:avLst/>
            <a:gdLst>
              <a:gd name="T0" fmla="*/ 2147483646 w 105"/>
              <a:gd name="T1" fmla="*/ 2147483646 h 356"/>
              <a:gd name="T2" fmla="*/ 2147483646 w 105"/>
              <a:gd name="T3" fmla="*/ 2147483646 h 356"/>
              <a:gd name="T4" fmla="*/ 2147483646 w 105"/>
              <a:gd name="T5" fmla="*/ 2147483646 h 356"/>
              <a:gd name="T6" fmla="*/ 2147483646 w 105"/>
              <a:gd name="T7" fmla="*/ 2147483646 h 356"/>
              <a:gd name="T8" fmla="*/ 2147483646 w 105"/>
              <a:gd name="T9" fmla="*/ 2147483646 h 356"/>
              <a:gd name="T10" fmla="*/ 2147483646 w 105"/>
              <a:gd name="T11" fmla="*/ 2147483646 h 356"/>
              <a:gd name="T12" fmla="*/ 2147483646 w 105"/>
              <a:gd name="T13" fmla="*/ 2147483646 h 356"/>
              <a:gd name="T14" fmla="*/ 2147483646 w 105"/>
              <a:gd name="T15" fmla="*/ 2147483646 h 356"/>
              <a:gd name="T16" fmla="*/ 2147483646 w 105"/>
              <a:gd name="T17" fmla="*/ 2147483646 h 356"/>
              <a:gd name="T18" fmla="*/ 2147483646 w 105"/>
              <a:gd name="T19" fmla="*/ 2147483646 h 356"/>
              <a:gd name="T20" fmla="*/ 2147483646 w 105"/>
              <a:gd name="T21" fmla="*/ 2147483646 h 356"/>
              <a:gd name="T22" fmla="*/ 2147483646 w 105"/>
              <a:gd name="T23" fmla="*/ 2147483646 h 356"/>
              <a:gd name="T24" fmla="*/ 2147483646 w 105"/>
              <a:gd name="T25" fmla="*/ 2147483646 h 356"/>
              <a:gd name="T26" fmla="*/ 2147483646 w 105"/>
              <a:gd name="T27" fmla="*/ 2147483646 h 356"/>
              <a:gd name="T28" fmla="*/ 2147483646 w 105"/>
              <a:gd name="T29" fmla="*/ 2147483646 h 356"/>
              <a:gd name="T30" fmla="*/ 2147483646 w 105"/>
              <a:gd name="T31" fmla="*/ 2147483646 h 356"/>
              <a:gd name="T32" fmla="*/ 2147483646 w 105"/>
              <a:gd name="T33" fmla="*/ 2147483646 h 356"/>
              <a:gd name="T34" fmla="*/ 2147483646 w 105"/>
              <a:gd name="T35" fmla="*/ 2147483646 h 356"/>
              <a:gd name="T36" fmla="*/ 2147483646 w 105"/>
              <a:gd name="T37" fmla="*/ 2147483646 h 356"/>
              <a:gd name="T38" fmla="*/ 2147483646 w 105"/>
              <a:gd name="T39" fmla="*/ 2147483646 h 356"/>
              <a:gd name="T40" fmla="*/ 2147483646 w 105"/>
              <a:gd name="T41" fmla="*/ 2147483646 h 356"/>
              <a:gd name="T42" fmla="*/ 2147483646 w 105"/>
              <a:gd name="T43" fmla="*/ 2147483646 h 356"/>
              <a:gd name="T44" fmla="*/ 2147483646 w 105"/>
              <a:gd name="T45" fmla="*/ 2147483646 h 356"/>
              <a:gd name="T46" fmla="*/ 2147483646 w 105"/>
              <a:gd name="T47" fmla="*/ 2147483646 h 356"/>
              <a:gd name="T48" fmla="*/ 2147483646 w 105"/>
              <a:gd name="T49" fmla="*/ 2147483646 h 356"/>
              <a:gd name="T50" fmla="*/ 2147483646 w 105"/>
              <a:gd name="T51" fmla="*/ 2147483646 h 356"/>
              <a:gd name="T52" fmla="*/ 2147483646 w 105"/>
              <a:gd name="T53" fmla="*/ 2147483646 h 356"/>
              <a:gd name="T54" fmla="*/ 2147483646 w 105"/>
              <a:gd name="T55" fmla="*/ 2147483646 h 356"/>
              <a:gd name="T56" fmla="*/ 2147483646 w 105"/>
              <a:gd name="T57" fmla="*/ 2147483646 h 356"/>
              <a:gd name="T58" fmla="*/ 2147483646 w 105"/>
              <a:gd name="T59" fmla="*/ 2147483646 h 356"/>
              <a:gd name="T60" fmla="*/ 2147483646 w 105"/>
              <a:gd name="T61" fmla="*/ 2147483646 h 356"/>
              <a:gd name="T62" fmla="*/ 2147483646 w 105"/>
              <a:gd name="T63" fmla="*/ 2147483646 h 35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5"/>
              <a:gd name="T97" fmla="*/ 0 h 356"/>
              <a:gd name="T98" fmla="*/ 105 w 105"/>
              <a:gd name="T99" fmla="*/ 356 h 35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5" h="356">
                <a:moveTo>
                  <a:pt x="45" y="2"/>
                </a:moveTo>
                <a:cubicBezTo>
                  <a:pt x="34" y="4"/>
                  <a:pt x="26" y="8"/>
                  <a:pt x="29" y="27"/>
                </a:cubicBezTo>
                <a:cubicBezTo>
                  <a:pt x="31" y="45"/>
                  <a:pt x="39" y="44"/>
                  <a:pt x="27" y="59"/>
                </a:cubicBezTo>
                <a:cubicBezTo>
                  <a:pt x="16" y="74"/>
                  <a:pt x="15" y="83"/>
                  <a:pt x="19" y="90"/>
                </a:cubicBezTo>
                <a:cubicBezTo>
                  <a:pt x="23" y="96"/>
                  <a:pt x="30" y="97"/>
                  <a:pt x="23" y="114"/>
                </a:cubicBezTo>
                <a:cubicBezTo>
                  <a:pt x="15" y="131"/>
                  <a:pt x="13" y="129"/>
                  <a:pt x="23" y="144"/>
                </a:cubicBezTo>
                <a:cubicBezTo>
                  <a:pt x="32" y="158"/>
                  <a:pt x="46" y="151"/>
                  <a:pt x="37" y="173"/>
                </a:cubicBezTo>
                <a:cubicBezTo>
                  <a:pt x="29" y="195"/>
                  <a:pt x="32" y="186"/>
                  <a:pt x="34" y="205"/>
                </a:cubicBezTo>
                <a:cubicBezTo>
                  <a:pt x="35" y="225"/>
                  <a:pt x="41" y="232"/>
                  <a:pt x="30" y="235"/>
                </a:cubicBezTo>
                <a:cubicBezTo>
                  <a:pt x="19" y="237"/>
                  <a:pt x="0" y="220"/>
                  <a:pt x="13" y="240"/>
                </a:cubicBezTo>
                <a:cubicBezTo>
                  <a:pt x="25" y="259"/>
                  <a:pt x="31" y="251"/>
                  <a:pt x="30" y="264"/>
                </a:cubicBezTo>
                <a:cubicBezTo>
                  <a:pt x="29" y="278"/>
                  <a:pt x="34" y="284"/>
                  <a:pt x="35" y="300"/>
                </a:cubicBezTo>
                <a:cubicBezTo>
                  <a:pt x="36" y="316"/>
                  <a:pt x="31" y="322"/>
                  <a:pt x="29" y="328"/>
                </a:cubicBezTo>
                <a:cubicBezTo>
                  <a:pt x="26" y="334"/>
                  <a:pt x="14" y="334"/>
                  <a:pt x="26" y="342"/>
                </a:cubicBezTo>
                <a:cubicBezTo>
                  <a:pt x="39" y="349"/>
                  <a:pt x="38" y="340"/>
                  <a:pt x="45" y="336"/>
                </a:cubicBezTo>
                <a:cubicBezTo>
                  <a:pt x="52" y="331"/>
                  <a:pt x="53" y="315"/>
                  <a:pt x="59" y="328"/>
                </a:cubicBezTo>
                <a:cubicBezTo>
                  <a:pt x="66" y="342"/>
                  <a:pt x="58" y="356"/>
                  <a:pt x="67" y="355"/>
                </a:cubicBezTo>
                <a:cubicBezTo>
                  <a:pt x="75" y="354"/>
                  <a:pt x="79" y="328"/>
                  <a:pt x="74" y="322"/>
                </a:cubicBezTo>
                <a:cubicBezTo>
                  <a:pt x="69" y="316"/>
                  <a:pt x="63" y="318"/>
                  <a:pt x="57" y="300"/>
                </a:cubicBezTo>
                <a:cubicBezTo>
                  <a:pt x="51" y="281"/>
                  <a:pt x="48" y="284"/>
                  <a:pt x="53" y="270"/>
                </a:cubicBezTo>
                <a:cubicBezTo>
                  <a:pt x="58" y="257"/>
                  <a:pt x="52" y="249"/>
                  <a:pt x="57" y="238"/>
                </a:cubicBezTo>
                <a:cubicBezTo>
                  <a:pt x="62" y="227"/>
                  <a:pt x="63" y="213"/>
                  <a:pt x="70" y="216"/>
                </a:cubicBezTo>
                <a:cubicBezTo>
                  <a:pt x="78" y="220"/>
                  <a:pt x="88" y="240"/>
                  <a:pt x="96" y="237"/>
                </a:cubicBezTo>
                <a:cubicBezTo>
                  <a:pt x="105" y="235"/>
                  <a:pt x="104" y="220"/>
                  <a:pt x="99" y="218"/>
                </a:cubicBezTo>
                <a:cubicBezTo>
                  <a:pt x="94" y="215"/>
                  <a:pt x="84" y="209"/>
                  <a:pt x="79" y="202"/>
                </a:cubicBezTo>
                <a:cubicBezTo>
                  <a:pt x="74" y="194"/>
                  <a:pt x="70" y="186"/>
                  <a:pt x="70" y="176"/>
                </a:cubicBezTo>
                <a:cubicBezTo>
                  <a:pt x="70" y="166"/>
                  <a:pt x="64" y="145"/>
                  <a:pt x="64" y="134"/>
                </a:cubicBezTo>
                <a:cubicBezTo>
                  <a:pt x="64" y="123"/>
                  <a:pt x="62" y="106"/>
                  <a:pt x="59" y="93"/>
                </a:cubicBezTo>
                <a:cubicBezTo>
                  <a:pt x="57" y="81"/>
                  <a:pt x="52" y="70"/>
                  <a:pt x="57" y="56"/>
                </a:cubicBezTo>
                <a:cubicBezTo>
                  <a:pt x="62" y="43"/>
                  <a:pt x="54" y="37"/>
                  <a:pt x="54" y="22"/>
                </a:cubicBezTo>
                <a:cubicBezTo>
                  <a:pt x="54" y="7"/>
                  <a:pt x="59" y="0"/>
                  <a:pt x="52" y="1"/>
                </a:cubicBezTo>
                <a:cubicBezTo>
                  <a:pt x="45" y="2"/>
                  <a:pt x="45" y="2"/>
                  <a:pt x="45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57" name="Freeform 593"/>
          <p:cNvSpPr>
            <a:spLocks/>
          </p:cNvSpPr>
          <p:nvPr userDrawn="1"/>
        </p:nvSpPr>
        <p:spPr bwMode="auto">
          <a:xfrm>
            <a:off x="9020077" y="3750002"/>
            <a:ext cx="70353" cy="67004"/>
          </a:xfrm>
          <a:custGeom>
            <a:avLst/>
            <a:gdLst>
              <a:gd name="T0" fmla="*/ 2147483646 w 76"/>
              <a:gd name="T1" fmla="*/ 2147483646 h 72"/>
              <a:gd name="T2" fmla="*/ 2147483646 w 76"/>
              <a:gd name="T3" fmla="*/ 2147483646 h 72"/>
              <a:gd name="T4" fmla="*/ 2147483646 w 76"/>
              <a:gd name="T5" fmla="*/ 2147483646 h 72"/>
              <a:gd name="T6" fmla="*/ 2147483646 w 76"/>
              <a:gd name="T7" fmla="*/ 2147483646 h 72"/>
              <a:gd name="T8" fmla="*/ 2147483646 w 76"/>
              <a:gd name="T9" fmla="*/ 2147483646 h 72"/>
              <a:gd name="T10" fmla="*/ 2147483646 w 76"/>
              <a:gd name="T11" fmla="*/ 2147483646 h 72"/>
              <a:gd name="T12" fmla="*/ 2147483646 w 76"/>
              <a:gd name="T13" fmla="*/ 2147483646 h 72"/>
              <a:gd name="T14" fmla="*/ 2147483646 w 76"/>
              <a:gd name="T15" fmla="*/ 2147483646 h 72"/>
              <a:gd name="T16" fmla="*/ 2147483646 w 76"/>
              <a:gd name="T17" fmla="*/ 0 h 72"/>
              <a:gd name="T18" fmla="*/ 2147483646 w 76"/>
              <a:gd name="T19" fmla="*/ 2147483646 h 7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76"/>
              <a:gd name="T31" fmla="*/ 0 h 72"/>
              <a:gd name="T32" fmla="*/ 76 w 76"/>
              <a:gd name="T33" fmla="*/ 72 h 7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76" h="72">
                <a:moveTo>
                  <a:pt x="45" y="19"/>
                </a:moveTo>
                <a:cubicBezTo>
                  <a:pt x="40" y="21"/>
                  <a:pt x="32" y="33"/>
                  <a:pt x="28" y="41"/>
                </a:cubicBezTo>
                <a:cubicBezTo>
                  <a:pt x="24" y="48"/>
                  <a:pt x="18" y="56"/>
                  <a:pt x="15" y="56"/>
                </a:cubicBezTo>
                <a:cubicBezTo>
                  <a:pt x="11" y="56"/>
                  <a:pt x="0" y="43"/>
                  <a:pt x="7" y="56"/>
                </a:cubicBezTo>
                <a:cubicBezTo>
                  <a:pt x="15" y="68"/>
                  <a:pt x="24" y="72"/>
                  <a:pt x="31" y="65"/>
                </a:cubicBezTo>
                <a:cubicBezTo>
                  <a:pt x="37" y="59"/>
                  <a:pt x="38" y="45"/>
                  <a:pt x="44" y="41"/>
                </a:cubicBezTo>
                <a:cubicBezTo>
                  <a:pt x="50" y="37"/>
                  <a:pt x="54" y="31"/>
                  <a:pt x="59" y="31"/>
                </a:cubicBezTo>
                <a:cubicBezTo>
                  <a:pt x="64" y="31"/>
                  <a:pt x="71" y="24"/>
                  <a:pt x="74" y="19"/>
                </a:cubicBezTo>
                <a:cubicBezTo>
                  <a:pt x="76" y="14"/>
                  <a:pt x="70" y="0"/>
                  <a:pt x="70" y="0"/>
                </a:cubicBezTo>
                <a:lnTo>
                  <a:pt x="45" y="19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58" name="Freeform 594"/>
          <p:cNvSpPr>
            <a:spLocks/>
          </p:cNvSpPr>
          <p:nvPr userDrawn="1"/>
        </p:nvSpPr>
        <p:spPr bwMode="auto">
          <a:xfrm>
            <a:off x="9107182" y="3728227"/>
            <a:ext cx="28476" cy="38527"/>
          </a:xfrm>
          <a:custGeom>
            <a:avLst/>
            <a:gdLst>
              <a:gd name="T0" fmla="*/ 2147483646 w 30"/>
              <a:gd name="T1" fmla="*/ 2147483646 h 42"/>
              <a:gd name="T2" fmla="*/ 2147483646 w 30"/>
              <a:gd name="T3" fmla="*/ 2147483646 h 42"/>
              <a:gd name="T4" fmla="*/ 2147483646 w 30"/>
              <a:gd name="T5" fmla="*/ 2147483646 h 42"/>
              <a:gd name="T6" fmla="*/ 2147483646 w 30"/>
              <a:gd name="T7" fmla="*/ 2147483646 h 42"/>
              <a:gd name="T8" fmla="*/ 2147483646 w 30"/>
              <a:gd name="T9" fmla="*/ 2147483646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"/>
              <a:gd name="T16" fmla="*/ 0 h 42"/>
              <a:gd name="T17" fmla="*/ 30 w 30"/>
              <a:gd name="T18" fmla="*/ 42 h 4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" h="42">
                <a:moveTo>
                  <a:pt x="20" y="14"/>
                </a:moveTo>
                <a:cubicBezTo>
                  <a:pt x="13" y="16"/>
                  <a:pt x="10" y="0"/>
                  <a:pt x="5" y="21"/>
                </a:cubicBezTo>
                <a:cubicBezTo>
                  <a:pt x="0" y="42"/>
                  <a:pt x="21" y="26"/>
                  <a:pt x="21" y="26"/>
                </a:cubicBezTo>
                <a:cubicBezTo>
                  <a:pt x="30" y="18"/>
                  <a:pt x="30" y="18"/>
                  <a:pt x="30" y="18"/>
                </a:cubicBezTo>
                <a:lnTo>
                  <a:pt x="20" y="1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59" name="Freeform 595"/>
          <p:cNvSpPr>
            <a:spLocks/>
          </p:cNvSpPr>
          <p:nvPr userDrawn="1"/>
        </p:nvSpPr>
        <p:spPr bwMode="auto">
          <a:xfrm>
            <a:off x="9152409" y="3701425"/>
            <a:ext cx="21777" cy="21776"/>
          </a:xfrm>
          <a:custGeom>
            <a:avLst/>
            <a:gdLst>
              <a:gd name="T0" fmla="*/ 2147483646 w 24"/>
              <a:gd name="T1" fmla="*/ 2147483646 h 23"/>
              <a:gd name="T2" fmla="*/ 2147483646 w 24"/>
              <a:gd name="T3" fmla="*/ 2147483646 h 23"/>
              <a:gd name="T4" fmla="*/ 2147483646 w 24"/>
              <a:gd name="T5" fmla="*/ 2147483646 h 23"/>
              <a:gd name="T6" fmla="*/ 2147483646 w 24"/>
              <a:gd name="T7" fmla="*/ 0 h 23"/>
              <a:gd name="T8" fmla="*/ 2147483646 w 24"/>
              <a:gd name="T9" fmla="*/ 2147483646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4"/>
              <a:gd name="T16" fmla="*/ 0 h 23"/>
              <a:gd name="T17" fmla="*/ 24 w 24"/>
              <a:gd name="T18" fmla="*/ 23 h 2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4" h="23">
                <a:moveTo>
                  <a:pt x="11" y="7"/>
                </a:moveTo>
                <a:cubicBezTo>
                  <a:pt x="10" y="13"/>
                  <a:pt x="0" y="18"/>
                  <a:pt x="8" y="20"/>
                </a:cubicBezTo>
                <a:cubicBezTo>
                  <a:pt x="15" y="23"/>
                  <a:pt x="20" y="15"/>
                  <a:pt x="20" y="15"/>
                </a:cubicBezTo>
                <a:cubicBezTo>
                  <a:pt x="24" y="0"/>
                  <a:pt x="24" y="0"/>
                  <a:pt x="24" y="0"/>
                </a:cubicBezTo>
                <a:lnTo>
                  <a:pt x="11" y="7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60" name="Freeform 596"/>
          <p:cNvSpPr>
            <a:spLocks/>
          </p:cNvSpPr>
          <p:nvPr userDrawn="1"/>
        </p:nvSpPr>
        <p:spPr bwMode="auto">
          <a:xfrm>
            <a:off x="9182561" y="3679648"/>
            <a:ext cx="13401" cy="8376"/>
          </a:xfrm>
          <a:custGeom>
            <a:avLst/>
            <a:gdLst>
              <a:gd name="T0" fmla="*/ 2147483646 w 15"/>
              <a:gd name="T1" fmla="*/ 0 h 9"/>
              <a:gd name="T2" fmla="*/ 2147483646 w 15"/>
              <a:gd name="T3" fmla="*/ 2147483646 h 9"/>
              <a:gd name="T4" fmla="*/ 2147483646 w 15"/>
              <a:gd name="T5" fmla="*/ 2147483646 h 9"/>
              <a:gd name="T6" fmla="*/ 2147483646 w 15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15"/>
              <a:gd name="T13" fmla="*/ 0 h 9"/>
              <a:gd name="T14" fmla="*/ 15 w 15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5" h="9">
                <a:moveTo>
                  <a:pt x="9" y="0"/>
                </a:moveTo>
                <a:cubicBezTo>
                  <a:pt x="4" y="1"/>
                  <a:pt x="0" y="9"/>
                  <a:pt x="7" y="9"/>
                </a:cubicBezTo>
                <a:cubicBezTo>
                  <a:pt x="13" y="9"/>
                  <a:pt x="15" y="3"/>
                  <a:pt x="15" y="3"/>
                </a:cubicBezTo>
                <a:lnTo>
                  <a:pt x="9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61" name="Freeform 597"/>
          <p:cNvSpPr>
            <a:spLocks/>
          </p:cNvSpPr>
          <p:nvPr userDrawn="1"/>
        </p:nvSpPr>
        <p:spPr bwMode="auto">
          <a:xfrm>
            <a:off x="9226112" y="3619345"/>
            <a:ext cx="18427" cy="18427"/>
          </a:xfrm>
          <a:custGeom>
            <a:avLst/>
            <a:gdLst>
              <a:gd name="T0" fmla="*/ 2147483646 w 20"/>
              <a:gd name="T1" fmla="*/ 0 h 20"/>
              <a:gd name="T2" fmla="*/ 0 w 20"/>
              <a:gd name="T3" fmla="*/ 2147483646 h 20"/>
              <a:gd name="T4" fmla="*/ 2147483646 w 20"/>
              <a:gd name="T5" fmla="*/ 2147483646 h 20"/>
              <a:gd name="T6" fmla="*/ 2147483646 w 20"/>
              <a:gd name="T7" fmla="*/ 2147483646 h 20"/>
              <a:gd name="T8" fmla="*/ 2147483646 w 20"/>
              <a:gd name="T9" fmla="*/ 0 h 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20"/>
              <a:gd name="T17" fmla="*/ 20 w 20"/>
              <a:gd name="T18" fmla="*/ 20 h 2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20">
                <a:moveTo>
                  <a:pt x="6" y="0"/>
                </a:moveTo>
                <a:cubicBezTo>
                  <a:pt x="1" y="1"/>
                  <a:pt x="0" y="6"/>
                  <a:pt x="0" y="11"/>
                </a:cubicBezTo>
                <a:cubicBezTo>
                  <a:pt x="0" y="16"/>
                  <a:pt x="7" y="20"/>
                  <a:pt x="7" y="20"/>
                </a:cubicBezTo>
                <a:cubicBezTo>
                  <a:pt x="7" y="20"/>
                  <a:pt x="17" y="16"/>
                  <a:pt x="19" y="10"/>
                </a:cubicBezTo>
                <a:cubicBezTo>
                  <a:pt x="20" y="4"/>
                  <a:pt x="6" y="0"/>
                  <a:pt x="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62" name="Freeform 598"/>
          <p:cNvSpPr>
            <a:spLocks/>
          </p:cNvSpPr>
          <p:nvPr userDrawn="1"/>
        </p:nvSpPr>
        <p:spPr bwMode="auto">
          <a:xfrm>
            <a:off x="9236163" y="3585843"/>
            <a:ext cx="31827" cy="28477"/>
          </a:xfrm>
          <a:custGeom>
            <a:avLst/>
            <a:gdLst>
              <a:gd name="T0" fmla="*/ 2147483646 w 33"/>
              <a:gd name="T1" fmla="*/ 0 h 31"/>
              <a:gd name="T2" fmla="*/ 2147483646 w 33"/>
              <a:gd name="T3" fmla="*/ 2147483646 h 31"/>
              <a:gd name="T4" fmla="*/ 2147483646 w 33"/>
              <a:gd name="T5" fmla="*/ 2147483646 h 31"/>
              <a:gd name="T6" fmla="*/ 2147483646 w 33"/>
              <a:gd name="T7" fmla="*/ 2147483646 h 31"/>
              <a:gd name="T8" fmla="*/ 2147483646 w 33"/>
              <a:gd name="T9" fmla="*/ 2147483646 h 31"/>
              <a:gd name="T10" fmla="*/ 2147483646 w 33"/>
              <a:gd name="T11" fmla="*/ 0 h 3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31"/>
              <a:gd name="T20" fmla="*/ 33 w 33"/>
              <a:gd name="T21" fmla="*/ 31 h 3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31">
                <a:moveTo>
                  <a:pt x="24" y="0"/>
                </a:moveTo>
                <a:cubicBezTo>
                  <a:pt x="24" y="0"/>
                  <a:pt x="14" y="2"/>
                  <a:pt x="11" y="7"/>
                </a:cubicBezTo>
                <a:cubicBezTo>
                  <a:pt x="9" y="12"/>
                  <a:pt x="0" y="19"/>
                  <a:pt x="8" y="24"/>
                </a:cubicBezTo>
                <a:cubicBezTo>
                  <a:pt x="15" y="29"/>
                  <a:pt x="20" y="31"/>
                  <a:pt x="24" y="25"/>
                </a:cubicBezTo>
                <a:cubicBezTo>
                  <a:pt x="27" y="19"/>
                  <a:pt x="33" y="12"/>
                  <a:pt x="33" y="12"/>
                </a:cubicBezTo>
                <a:lnTo>
                  <a:pt x="24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63" name="Freeform 599"/>
          <p:cNvSpPr>
            <a:spLocks/>
          </p:cNvSpPr>
          <p:nvPr userDrawn="1"/>
        </p:nvSpPr>
        <p:spPr bwMode="auto">
          <a:xfrm>
            <a:off x="8391917" y="4359736"/>
            <a:ext cx="77055" cy="92131"/>
          </a:xfrm>
          <a:custGeom>
            <a:avLst/>
            <a:gdLst>
              <a:gd name="T0" fmla="*/ 2147483646 w 84"/>
              <a:gd name="T1" fmla="*/ 2147483646 h 100"/>
              <a:gd name="T2" fmla="*/ 2147483646 w 84"/>
              <a:gd name="T3" fmla="*/ 2147483646 h 100"/>
              <a:gd name="T4" fmla="*/ 2147483646 w 84"/>
              <a:gd name="T5" fmla="*/ 2147483646 h 100"/>
              <a:gd name="T6" fmla="*/ 2147483646 w 84"/>
              <a:gd name="T7" fmla="*/ 2147483646 h 100"/>
              <a:gd name="T8" fmla="*/ 2147483646 w 84"/>
              <a:gd name="T9" fmla="*/ 2147483646 h 100"/>
              <a:gd name="T10" fmla="*/ 2147483646 w 84"/>
              <a:gd name="T11" fmla="*/ 2147483646 h 100"/>
              <a:gd name="T12" fmla="*/ 2147483646 w 84"/>
              <a:gd name="T13" fmla="*/ 2147483646 h 1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4"/>
              <a:gd name="T22" fmla="*/ 0 h 100"/>
              <a:gd name="T23" fmla="*/ 84 w 84"/>
              <a:gd name="T24" fmla="*/ 100 h 10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4" h="100">
                <a:moveTo>
                  <a:pt x="75" y="12"/>
                </a:moveTo>
                <a:cubicBezTo>
                  <a:pt x="58" y="0"/>
                  <a:pt x="41" y="5"/>
                  <a:pt x="37" y="21"/>
                </a:cubicBezTo>
                <a:cubicBezTo>
                  <a:pt x="33" y="38"/>
                  <a:pt x="30" y="54"/>
                  <a:pt x="22" y="61"/>
                </a:cubicBezTo>
                <a:cubicBezTo>
                  <a:pt x="14" y="67"/>
                  <a:pt x="0" y="76"/>
                  <a:pt x="10" y="86"/>
                </a:cubicBezTo>
                <a:cubicBezTo>
                  <a:pt x="19" y="97"/>
                  <a:pt x="22" y="97"/>
                  <a:pt x="39" y="99"/>
                </a:cubicBezTo>
                <a:cubicBezTo>
                  <a:pt x="57" y="100"/>
                  <a:pt x="64" y="40"/>
                  <a:pt x="64" y="40"/>
                </a:cubicBezTo>
                <a:cubicBezTo>
                  <a:pt x="64" y="40"/>
                  <a:pt x="84" y="19"/>
                  <a:pt x="75" y="1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64" name="Freeform 600"/>
          <p:cNvSpPr>
            <a:spLocks/>
          </p:cNvSpPr>
          <p:nvPr userDrawn="1"/>
        </p:nvSpPr>
        <p:spPr bwMode="auto">
          <a:xfrm>
            <a:off x="8396943" y="4537295"/>
            <a:ext cx="108880" cy="185936"/>
          </a:xfrm>
          <a:custGeom>
            <a:avLst/>
            <a:gdLst>
              <a:gd name="T0" fmla="*/ 2147483646 w 117"/>
              <a:gd name="T1" fmla="*/ 2147483646 h 200"/>
              <a:gd name="T2" fmla="*/ 2147483646 w 117"/>
              <a:gd name="T3" fmla="*/ 2147483646 h 200"/>
              <a:gd name="T4" fmla="*/ 2147483646 w 117"/>
              <a:gd name="T5" fmla="*/ 2147483646 h 200"/>
              <a:gd name="T6" fmla="*/ 2147483646 w 117"/>
              <a:gd name="T7" fmla="*/ 2147483646 h 200"/>
              <a:gd name="T8" fmla="*/ 2147483646 w 117"/>
              <a:gd name="T9" fmla="*/ 2147483646 h 200"/>
              <a:gd name="T10" fmla="*/ 2147483646 w 117"/>
              <a:gd name="T11" fmla="*/ 2147483646 h 200"/>
              <a:gd name="T12" fmla="*/ 2147483646 w 117"/>
              <a:gd name="T13" fmla="*/ 2147483646 h 200"/>
              <a:gd name="T14" fmla="*/ 2147483646 w 117"/>
              <a:gd name="T15" fmla="*/ 2147483646 h 200"/>
              <a:gd name="T16" fmla="*/ 2147483646 w 117"/>
              <a:gd name="T17" fmla="*/ 2147483646 h 200"/>
              <a:gd name="T18" fmla="*/ 2147483646 w 117"/>
              <a:gd name="T19" fmla="*/ 2147483646 h 200"/>
              <a:gd name="T20" fmla="*/ 2147483646 w 117"/>
              <a:gd name="T21" fmla="*/ 2147483646 h 200"/>
              <a:gd name="T22" fmla="*/ 2147483646 w 117"/>
              <a:gd name="T23" fmla="*/ 2147483646 h 200"/>
              <a:gd name="T24" fmla="*/ 2147483646 w 117"/>
              <a:gd name="T25" fmla="*/ 2147483646 h 200"/>
              <a:gd name="T26" fmla="*/ 2147483646 w 117"/>
              <a:gd name="T27" fmla="*/ 2147483646 h 200"/>
              <a:gd name="T28" fmla="*/ 2147483646 w 117"/>
              <a:gd name="T29" fmla="*/ 2147483646 h 200"/>
              <a:gd name="T30" fmla="*/ 2147483646 w 117"/>
              <a:gd name="T31" fmla="*/ 2147483646 h 200"/>
              <a:gd name="T32" fmla="*/ 2147483646 w 117"/>
              <a:gd name="T33" fmla="*/ 2147483646 h 200"/>
              <a:gd name="T34" fmla="*/ 2147483646 w 117"/>
              <a:gd name="T35" fmla="*/ 2147483646 h 200"/>
              <a:gd name="T36" fmla="*/ 2147483646 w 117"/>
              <a:gd name="T37" fmla="*/ 2147483646 h 200"/>
              <a:gd name="T38" fmla="*/ 2147483646 w 117"/>
              <a:gd name="T39" fmla="*/ 2147483646 h 200"/>
              <a:gd name="T40" fmla="*/ 2147483646 w 117"/>
              <a:gd name="T41" fmla="*/ 2147483646 h 200"/>
              <a:gd name="T42" fmla="*/ 2147483646 w 117"/>
              <a:gd name="T43" fmla="*/ 2147483646 h 200"/>
              <a:gd name="T44" fmla="*/ 2147483646 w 117"/>
              <a:gd name="T45" fmla="*/ 2147483646 h 200"/>
              <a:gd name="T46" fmla="*/ 2147483646 w 117"/>
              <a:gd name="T47" fmla="*/ 2147483646 h 200"/>
              <a:gd name="T48" fmla="*/ 2147483646 w 117"/>
              <a:gd name="T49" fmla="*/ 2147483646 h 200"/>
              <a:gd name="T50" fmla="*/ 2147483646 w 117"/>
              <a:gd name="T51" fmla="*/ 2147483646 h 20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17"/>
              <a:gd name="T79" fmla="*/ 0 h 200"/>
              <a:gd name="T80" fmla="*/ 117 w 117"/>
              <a:gd name="T81" fmla="*/ 200 h 20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17" h="200">
                <a:moveTo>
                  <a:pt x="43" y="16"/>
                </a:moveTo>
                <a:cubicBezTo>
                  <a:pt x="38" y="20"/>
                  <a:pt x="20" y="0"/>
                  <a:pt x="17" y="13"/>
                </a:cubicBezTo>
                <a:cubicBezTo>
                  <a:pt x="15" y="27"/>
                  <a:pt x="0" y="81"/>
                  <a:pt x="15" y="92"/>
                </a:cubicBezTo>
                <a:cubicBezTo>
                  <a:pt x="29" y="102"/>
                  <a:pt x="36" y="101"/>
                  <a:pt x="36" y="112"/>
                </a:cubicBezTo>
                <a:cubicBezTo>
                  <a:pt x="36" y="123"/>
                  <a:pt x="24" y="124"/>
                  <a:pt x="28" y="132"/>
                </a:cubicBezTo>
                <a:cubicBezTo>
                  <a:pt x="32" y="140"/>
                  <a:pt x="36" y="146"/>
                  <a:pt x="44" y="151"/>
                </a:cubicBezTo>
                <a:cubicBezTo>
                  <a:pt x="52" y="157"/>
                  <a:pt x="52" y="147"/>
                  <a:pt x="63" y="151"/>
                </a:cubicBezTo>
                <a:cubicBezTo>
                  <a:pt x="74" y="155"/>
                  <a:pt x="92" y="165"/>
                  <a:pt x="93" y="173"/>
                </a:cubicBezTo>
                <a:cubicBezTo>
                  <a:pt x="94" y="181"/>
                  <a:pt x="84" y="188"/>
                  <a:pt x="88" y="192"/>
                </a:cubicBezTo>
                <a:cubicBezTo>
                  <a:pt x="92" y="196"/>
                  <a:pt x="88" y="194"/>
                  <a:pt x="103" y="197"/>
                </a:cubicBezTo>
                <a:cubicBezTo>
                  <a:pt x="117" y="200"/>
                  <a:pt x="111" y="184"/>
                  <a:pt x="104" y="182"/>
                </a:cubicBezTo>
                <a:cubicBezTo>
                  <a:pt x="97" y="181"/>
                  <a:pt x="98" y="173"/>
                  <a:pt x="98" y="173"/>
                </a:cubicBezTo>
                <a:cubicBezTo>
                  <a:pt x="98" y="173"/>
                  <a:pt x="105" y="167"/>
                  <a:pt x="111" y="169"/>
                </a:cubicBezTo>
                <a:cubicBezTo>
                  <a:pt x="116" y="170"/>
                  <a:pt x="116" y="159"/>
                  <a:pt x="116" y="159"/>
                </a:cubicBezTo>
                <a:cubicBezTo>
                  <a:pt x="116" y="159"/>
                  <a:pt x="111" y="143"/>
                  <a:pt x="103" y="143"/>
                </a:cubicBezTo>
                <a:cubicBezTo>
                  <a:pt x="94" y="143"/>
                  <a:pt x="89" y="143"/>
                  <a:pt x="85" y="140"/>
                </a:cubicBezTo>
                <a:cubicBezTo>
                  <a:pt x="81" y="138"/>
                  <a:pt x="81" y="120"/>
                  <a:pt x="73" y="127"/>
                </a:cubicBezTo>
                <a:cubicBezTo>
                  <a:pt x="65" y="134"/>
                  <a:pt x="54" y="136"/>
                  <a:pt x="54" y="136"/>
                </a:cubicBezTo>
                <a:cubicBezTo>
                  <a:pt x="54" y="136"/>
                  <a:pt x="44" y="136"/>
                  <a:pt x="44" y="132"/>
                </a:cubicBezTo>
                <a:cubicBezTo>
                  <a:pt x="44" y="128"/>
                  <a:pt x="36" y="116"/>
                  <a:pt x="44" y="113"/>
                </a:cubicBezTo>
                <a:cubicBezTo>
                  <a:pt x="52" y="111"/>
                  <a:pt x="48" y="123"/>
                  <a:pt x="51" y="101"/>
                </a:cubicBezTo>
                <a:cubicBezTo>
                  <a:pt x="54" y="79"/>
                  <a:pt x="46" y="78"/>
                  <a:pt x="58" y="69"/>
                </a:cubicBezTo>
                <a:cubicBezTo>
                  <a:pt x="70" y="59"/>
                  <a:pt x="70" y="58"/>
                  <a:pt x="70" y="47"/>
                </a:cubicBezTo>
                <a:cubicBezTo>
                  <a:pt x="70" y="36"/>
                  <a:pt x="70" y="25"/>
                  <a:pt x="67" y="21"/>
                </a:cubicBezTo>
                <a:cubicBezTo>
                  <a:pt x="65" y="17"/>
                  <a:pt x="59" y="9"/>
                  <a:pt x="59" y="9"/>
                </a:cubicBezTo>
                <a:lnTo>
                  <a:pt x="43" y="1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65" name="Freeform 601"/>
          <p:cNvSpPr>
            <a:spLocks/>
          </p:cNvSpPr>
          <p:nvPr userDrawn="1"/>
        </p:nvSpPr>
        <p:spPr bwMode="auto">
          <a:xfrm>
            <a:off x="8333288" y="4738307"/>
            <a:ext cx="63653" cy="68679"/>
          </a:xfrm>
          <a:custGeom>
            <a:avLst/>
            <a:gdLst>
              <a:gd name="T0" fmla="*/ 2147483646 w 68"/>
              <a:gd name="T1" fmla="*/ 2147483646 h 74"/>
              <a:gd name="T2" fmla="*/ 2147483646 w 68"/>
              <a:gd name="T3" fmla="*/ 2147483646 h 74"/>
              <a:gd name="T4" fmla="*/ 2147483646 w 68"/>
              <a:gd name="T5" fmla="*/ 2147483646 h 74"/>
              <a:gd name="T6" fmla="*/ 2147483646 w 68"/>
              <a:gd name="T7" fmla="*/ 2147483646 h 74"/>
              <a:gd name="T8" fmla="*/ 2147483646 w 68"/>
              <a:gd name="T9" fmla="*/ 2147483646 h 74"/>
              <a:gd name="T10" fmla="*/ 2147483646 w 68"/>
              <a:gd name="T11" fmla="*/ 2147483646 h 74"/>
              <a:gd name="T12" fmla="*/ 2147483646 w 68"/>
              <a:gd name="T13" fmla="*/ 2147483646 h 74"/>
              <a:gd name="T14" fmla="*/ 2147483646 w 68"/>
              <a:gd name="T15" fmla="*/ 2147483646 h 74"/>
              <a:gd name="T16" fmla="*/ 2147483646 w 68"/>
              <a:gd name="T17" fmla="*/ 2147483646 h 7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8"/>
              <a:gd name="T28" fmla="*/ 0 h 74"/>
              <a:gd name="T29" fmla="*/ 68 w 68"/>
              <a:gd name="T30" fmla="*/ 74 h 7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8" h="74">
                <a:moveTo>
                  <a:pt x="66" y="3"/>
                </a:moveTo>
                <a:cubicBezTo>
                  <a:pt x="60" y="0"/>
                  <a:pt x="61" y="1"/>
                  <a:pt x="57" y="16"/>
                </a:cubicBezTo>
                <a:cubicBezTo>
                  <a:pt x="53" y="31"/>
                  <a:pt x="49" y="46"/>
                  <a:pt x="41" y="49"/>
                </a:cubicBezTo>
                <a:cubicBezTo>
                  <a:pt x="32" y="51"/>
                  <a:pt x="26" y="59"/>
                  <a:pt x="20" y="62"/>
                </a:cubicBezTo>
                <a:cubicBezTo>
                  <a:pt x="15" y="65"/>
                  <a:pt x="0" y="54"/>
                  <a:pt x="3" y="63"/>
                </a:cubicBezTo>
                <a:cubicBezTo>
                  <a:pt x="5" y="73"/>
                  <a:pt x="13" y="74"/>
                  <a:pt x="32" y="67"/>
                </a:cubicBezTo>
                <a:cubicBezTo>
                  <a:pt x="51" y="61"/>
                  <a:pt x="61" y="39"/>
                  <a:pt x="61" y="39"/>
                </a:cubicBezTo>
                <a:cubicBezTo>
                  <a:pt x="68" y="20"/>
                  <a:pt x="68" y="20"/>
                  <a:pt x="68" y="20"/>
                </a:cubicBezTo>
                <a:lnTo>
                  <a:pt x="66" y="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66" name="Freeform 602"/>
          <p:cNvSpPr>
            <a:spLocks/>
          </p:cNvSpPr>
          <p:nvPr userDrawn="1"/>
        </p:nvSpPr>
        <p:spPr bwMode="auto">
          <a:xfrm>
            <a:off x="8440495" y="4716531"/>
            <a:ext cx="77055" cy="75379"/>
          </a:xfrm>
          <a:custGeom>
            <a:avLst/>
            <a:gdLst>
              <a:gd name="T0" fmla="*/ 2147483646 w 83"/>
              <a:gd name="T1" fmla="*/ 2147483646 h 81"/>
              <a:gd name="T2" fmla="*/ 2147483646 w 83"/>
              <a:gd name="T3" fmla="*/ 2147483646 h 81"/>
              <a:gd name="T4" fmla="*/ 2147483646 w 83"/>
              <a:gd name="T5" fmla="*/ 2147483646 h 81"/>
              <a:gd name="T6" fmla="*/ 2147483646 w 83"/>
              <a:gd name="T7" fmla="*/ 2147483646 h 81"/>
              <a:gd name="T8" fmla="*/ 2147483646 w 83"/>
              <a:gd name="T9" fmla="*/ 2147483646 h 81"/>
              <a:gd name="T10" fmla="*/ 2147483646 w 83"/>
              <a:gd name="T11" fmla="*/ 2147483646 h 81"/>
              <a:gd name="T12" fmla="*/ 2147483646 w 83"/>
              <a:gd name="T13" fmla="*/ 2147483646 h 81"/>
              <a:gd name="T14" fmla="*/ 2147483646 w 83"/>
              <a:gd name="T15" fmla="*/ 2147483646 h 81"/>
              <a:gd name="T16" fmla="*/ 2147483646 w 83"/>
              <a:gd name="T17" fmla="*/ 2147483646 h 81"/>
              <a:gd name="T18" fmla="*/ 2147483646 w 83"/>
              <a:gd name="T19" fmla="*/ 2147483646 h 81"/>
              <a:gd name="T20" fmla="*/ 2147483646 w 83"/>
              <a:gd name="T21" fmla="*/ 2147483646 h 81"/>
              <a:gd name="T22" fmla="*/ 2147483646 w 83"/>
              <a:gd name="T23" fmla="*/ 2147483646 h 81"/>
              <a:gd name="T24" fmla="*/ 2147483646 w 83"/>
              <a:gd name="T25" fmla="*/ 2147483646 h 81"/>
              <a:gd name="T26" fmla="*/ 2147483646 w 83"/>
              <a:gd name="T27" fmla="*/ 2147483646 h 81"/>
              <a:gd name="T28" fmla="*/ 2147483646 w 83"/>
              <a:gd name="T29" fmla="*/ 2147483646 h 8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83"/>
              <a:gd name="T46" fmla="*/ 0 h 81"/>
              <a:gd name="T47" fmla="*/ 83 w 83"/>
              <a:gd name="T48" fmla="*/ 81 h 8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83" h="81">
                <a:moveTo>
                  <a:pt x="27" y="11"/>
                </a:moveTo>
                <a:cubicBezTo>
                  <a:pt x="22" y="11"/>
                  <a:pt x="18" y="0"/>
                  <a:pt x="14" y="9"/>
                </a:cubicBezTo>
                <a:cubicBezTo>
                  <a:pt x="10" y="19"/>
                  <a:pt x="0" y="40"/>
                  <a:pt x="12" y="39"/>
                </a:cubicBezTo>
                <a:cubicBezTo>
                  <a:pt x="24" y="38"/>
                  <a:pt x="26" y="20"/>
                  <a:pt x="31" y="27"/>
                </a:cubicBezTo>
                <a:cubicBezTo>
                  <a:pt x="37" y="34"/>
                  <a:pt x="26" y="35"/>
                  <a:pt x="33" y="40"/>
                </a:cubicBezTo>
                <a:cubicBezTo>
                  <a:pt x="39" y="46"/>
                  <a:pt x="43" y="50"/>
                  <a:pt x="37" y="54"/>
                </a:cubicBezTo>
                <a:cubicBezTo>
                  <a:pt x="30" y="58"/>
                  <a:pt x="20" y="57"/>
                  <a:pt x="22" y="62"/>
                </a:cubicBezTo>
                <a:cubicBezTo>
                  <a:pt x="27" y="76"/>
                  <a:pt x="42" y="81"/>
                  <a:pt x="45" y="73"/>
                </a:cubicBezTo>
                <a:cubicBezTo>
                  <a:pt x="47" y="65"/>
                  <a:pt x="43" y="59"/>
                  <a:pt x="49" y="54"/>
                </a:cubicBezTo>
                <a:cubicBezTo>
                  <a:pt x="54" y="49"/>
                  <a:pt x="57" y="47"/>
                  <a:pt x="60" y="57"/>
                </a:cubicBezTo>
                <a:cubicBezTo>
                  <a:pt x="62" y="66"/>
                  <a:pt x="81" y="46"/>
                  <a:pt x="81" y="46"/>
                </a:cubicBezTo>
                <a:cubicBezTo>
                  <a:pt x="81" y="46"/>
                  <a:pt x="83" y="27"/>
                  <a:pt x="76" y="34"/>
                </a:cubicBezTo>
                <a:cubicBezTo>
                  <a:pt x="69" y="40"/>
                  <a:pt x="59" y="42"/>
                  <a:pt x="56" y="38"/>
                </a:cubicBezTo>
                <a:cubicBezTo>
                  <a:pt x="47" y="30"/>
                  <a:pt x="34" y="32"/>
                  <a:pt x="37" y="24"/>
                </a:cubicBezTo>
                <a:cubicBezTo>
                  <a:pt x="39" y="16"/>
                  <a:pt x="27" y="11"/>
                  <a:pt x="27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67" name="Freeform 603"/>
          <p:cNvSpPr>
            <a:spLocks/>
          </p:cNvSpPr>
          <p:nvPr userDrawn="1"/>
        </p:nvSpPr>
        <p:spPr bwMode="auto">
          <a:xfrm>
            <a:off x="8507499" y="4696430"/>
            <a:ext cx="40203" cy="63653"/>
          </a:xfrm>
          <a:custGeom>
            <a:avLst/>
            <a:gdLst>
              <a:gd name="T0" fmla="*/ 2147483646 w 42"/>
              <a:gd name="T1" fmla="*/ 2147483646 h 68"/>
              <a:gd name="T2" fmla="*/ 2147483646 w 42"/>
              <a:gd name="T3" fmla="*/ 2147483646 h 68"/>
              <a:gd name="T4" fmla="*/ 2147483646 w 42"/>
              <a:gd name="T5" fmla="*/ 2147483646 h 68"/>
              <a:gd name="T6" fmla="*/ 2147483646 w 42"/>
              <a:gd name="T7" fmla="*/ 2147483646 h 68"/>
              <a:gd name="T8" fmla="*/ 2147483646 w 42"/>
              <a:gd name="T9" fmla="*/ 2147483646 h 68"/>
              <a:gd name="T10" fmla="*/ 2147483646 w 42"/>
              <a:gd name="T11" fmla="*/ 2147483646 h 68"/>
              <a:gd name="T12" fmla="*/ 2147483646 w 42"/>
              <a:gd name="T13" fmla="*/ 2147483646 h 68"/>
              <a:gd name="T14" fmla="*/ 2147483646 w 42"/>
              <a:gd name="T15" fmla="*/ 2147483646 h 68"/>
              <a:gd name="T16" fmla="*/ 2147483646 w 42"/>
              <a:gd name="T17" fmla="*/ 2147483646 h 68"/>
              <a:gd name="T18" fmla="*/ 2147483646 w 42"/>
              <a:gd name="T19" fmla="*/ 2147483646 h 6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2"/>
              <a:gd name="T31" fmla="*/ 0 h 68"/>
              <a:gd name="T32" fmla="*/ 42 w 42"/>
              <a:gd name="T33" fmla="*/ 68 h 6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2" h="68">
                <a:moveTo>
                  <a:pt x="19" y="15"/>
                </a:moveTo>
                <a:cubicBezTo>
                  <a:pt x="15" y="17"/>
                  <a:pt x="0" y="28"/>
                  <a:pt x="7" y="36"/>
                </a:cubicBezTo>
                <a:cubicBezTo>
                  <a:pt x="13" y="44"/>
                  <a:pt x="19" y="40"/>
                  <a:pt x="20" y="47"/>
                </a:cubicBezTo>
                <a:cubicBezTo>
                  <a:pt x="21" y="53"/>
                  <a:pt x="9" y="63"/>
                  <a:pt x="19" y="65"/>
                </a:cubicBezTo>
                <a:cubicBezTo>
                  <a:pt x="28" y="68"/>
                  <a:pt x="35" y="53"/>
                  <a:pt x="34" y="49"/>
                </a:cubicBezTo>
                <a:cubicBezTo>
                  <a:pt x="32" y="45"/>
                  <a:pt x="23" y="34"/>
                  <a:pt x="32" y="34"/>
                </a:cubicBezTo>
                <a:cubicBezTo>
                  <a:pt x="42" y="34"/>
                  <a:pt x="42" y="25"/>
                  <a:pt x="40" y="21"/>
                </a:cubicBezTo>
                <a:cubicBezTo>
                  <a:pt x="39" y="17"/>
                  <a:pt x="36" y="0"/>
                  <a:pt x="32" y="9"/>
                </a:cubicBezTo>
                <a:cubicBezTo>
                  <a:pt x="28" y="17"/>
                  <a:pt x="23" y="23"/>
                  <a:pt x="23" y="23"/>
                </a:cubicBezTo>
                <a:lnTo>
                  <a:pt x="19" y="1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68" name="Freeform 604"/>
          <p:cNvSpPr>
            <a:spLocks/>
          </p:cNvSpPr>
          <p:nvPr userDrawn="1"/>
        </p:nvSpPr>
        <p:spPr bwMode="auto">
          <a:xfrm>
            <a:off x="8447195" y="4766785"/>
            <a:ext cx="107205" cy="110556"/>
          </a:xfrm>
          <a:custGeom>
            <a:avLst/>
            <a:gdLst>
              <a:gd name="T0" fmla="*/ 2147483646 w 115"/>
              <a:gd name="T1" fmla="*/ 2147483646 h 120"/>
              <a:gd name="T2" fmla="*/ 2147483646 w 115"/>
              <a:gd name="T3" fmla="*/ 2147483646 h 120"/>
              <a:gd name="T4" fmla="*/ 2147483646 w 115"/>
              <a:gd name="T5" fmla="*/ 2147483646 h 120"/>
              <a:gd name="T6" fmla="*/ 2147483646 w 115"/>
              <a:gd name="T7" fmla="*/ 2147483646 h 120"/>
              <a:gd name="T8" fmla="*/ 2147483646 w 115"/>
              <a:gd name="T9" fmla="*/ 2147483646 h 120"/>
              <a:gd name="T10" fmla="*/ 2147483646 w 115"/>
              <a:gd name="T11" fmla="*/ 2147483646 h 120"/>
              <a:gd name="T12" fmla="*/ 2147483646 w 115"/>
              <a:gd name="T13" fmla="*/ 2147483646 h 120"/>
              <a:gd name="T14" fmla="*/ 2147483646 w 115"/>
              <a:gd name="T15" fmla="*/ 2147483646 h 120"/>
              <a:gd name="T16" fmla="*/ 2147483646 w 115"/>
              <a:gd name="T17" fmla="*/ 2147483646 h 120"/>
              <a:gd name="T18" fmla="*/ 2147483646 w 115"/>
              <a:gd name="T19" fmla="*/ 2147483646 h 120"/>
              <a:gd name="T20" fmla="*/ 2147483646 w 115"/>
              <a:gd name="T21" fmla="*/ 2147483646 h 120"/>
              <a:gd name="T22" fmla="*/ 2147483646 w 115"/>
              <a:gd name="T23" fmla="*/ 2147483646 h 120"/>
              <a:gd name="T24" fmla="*/ 2147483646 w 115"/>
              <a:gd name="T25" fmla="*/ 2147483646 h 120"/>
              <a:gd name="T26" fmla="*/ 2147483646 w 115"/>
              <a:gd name="T27" fmla="*/ 2147483646 h 120"/>
              <a:gd name="T28" fmla="*/ 2147483646 w 115"/>
              <a:gd name="T29" fmla="*/ 2147483646 h 120"/>
              <a:gd name="T30" fmla="*/ 2147483646 w 115"/>
              <a:gd name="T31" fmla="*/ 2147483646 h 120"/>
              <a:gd name="T32" fmla="*/ 2147483646 w 115"/>
              <a:gd name="T33" fmla="*/ 2147483646 h 120"/>
              <a:gd name="T34" fmla="*/ 2147483646 w 115"/>
              <a:gd name="T35" fmla="*/ 2147483646 h 120"/>
              <a:gd name="T36" fmla="*/ 2147483646 w 115"/>
              <a:gd name="T37" fmla="*/ 2147483646 h 120"/>
              <a:gd name="T38" fmla="*/ 2147483646 w 115"/>
              <a:gd name="T39" fmla="*/ 2147483646 h 120"/>
              <a:gd name="T40" fmla="*/ 2147483646 w 115"/>
              <a:gd name="T41" fmla="*/ 2147483646 h 120"/>
              <a:gd name="T42" fmla="*/ 2147483646 w 115"/>
              <a:gd name="T43" fmla="*/ 2147483646 h 12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15"/>
              <a:gd name="T67" fmla="*/ 0 h 120"/>
              <a:gd name="T68" fmla="*/ 115 w 115"/>
              <a:gd name="T69" fmla="*/ 120 h 120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15" h="120">
                <a:moveTo>
                  <a:pt x="55" y="37"/>
                </a:moveTo>
                <a:cubicBezTo>
                  <a:pt x="50" y="44"/>
                  <a:pt x="39" y="48"/>
                  <a:pt x="32" y="44"/>
                </a:cubicBezTo>
                <a:cubicBezTo>
                  <a:pt x="26" y="40"/>
                  <a:pt x="30" y="31"/>
                  <a:pt x="20" y="44"/>
                </a:cubicBezTo>
                <a:cubicBezTo>
                  <a:pt x="11" y="58"/>
                  <a:pt x="5" y="47"/>
                  <a:pt x="3" y="58"/>
                </a:cubicBezTo>
                <a:cubicBezTo>
                  <a:pt x="0" y="69"/>
                  <a:pt x="5" y="78"/>
                  <a:pt x="16" y="71"/>
                </a:cubicBezTo>
                <a:cubicBezTo>
                  <a:pt x="27" y="65"/>
                  <a:pt x="26" y="56"/>
                  <a:pt x="38" y="59"/>
                </a:cubicBezTo>
                <a:cubicBezTo>
                  <a:pt x="50" y="62"/>
                  <a:pt x="47" y="65"/>
                  <a:pt x="54" y="63"/>
                </a:cubicBezTo>
                <a:cubicBezTo>
                  <a:pt x="61" y="62"/>
                  <a:pt x="73" y="61"/>
                  <a:pt x="66" y="77"/>
                </a:cubicBezTo>
                <a:cubicBezTo>
                  <a:pt x="59" y="93"/>
                  <a:pt x="51" y="109"/>
                  <a:pt x="59" y="111"/>
                </a:cubicBezTo>
                <a:cubicBezTo>
                  <a:pt x="67" y="112"/>
                  <a:pt x="70" y="93"/>
                  <a:pt x="80" y="107"/>
                </a:cubicBezTo>
                <a:cubicBezTo>
                  <a:pt x="89" y="120"/>
                  <a:pt x="89" y="113"/>
                  <a:pt x="96" y="107"/>
                </a:cubicBezTo>
                <a:cubicBezTo>
                  <a:pt x="103" y="100"/>
                  <a:pt x="103" y="86"/>
                  <a:pt x="96" y="84"/>
                </a:cubicBezTo>
                <a:cubicBezTo>
                  <a:pt x="89" y="81"/>
                  <a:pt x="81" y="71"/>
                  <a:pt x="89" y="69"/>
                </a:cubicBezTo>
                <a:cubicBezTo>
                  <a:pt x="97" y="66"/>
                  <a:pt x="103" y="51"/>
                  <a:pt x="104" y="63"/>
                </a:cubicBezTo>
                <a:cubicBezTo>
                  <a:pt x="105" y="75"/>
                  <a:pt x="104" y="89"/>
                  <a:pt x="109" y="84"/>
                </a:cubicBezTo>
                <a:cubicBezTo>
                  <a:pt x="115" y="78"/>
                  <a:pt x="111" y="63"/>
                  <a:pt x="111" y="52"/>
                </a:cubicBezTo>
                <a:cubicBezTo>
                  <a:pt x="111" y="42"/>
                  <a:pt x="113" y="24"/>
                  <a:pt x="113" y="24"/>
                </a:cubicBezTo>
                <a:cubicBezTo>
                  <a:pt x="113" y="24"/>
                  <a:pt x="115" y="0"/>
                  <a:pt x="105" y="8"/>
                </a:cubicBezTo>
                <a:cubicBezTo>
                  <a:pt x="96" y="16"/>
                  <a:pt x="89" y="8"/>
                  <a:pt x="86" y="17"/>
                </a:cubicBezTo>
                <a:cubicBezTo>
                  <a:pt x="84" y="27"/>
                  <a:pt x="73" y="33"/>
                  <a:pt x="69" y="36"/>
                </a:cubicBezTo>
                <a:cubicBezTo>
                  <a:pt x="65" y="39"/>
                  <a:pt x="65" y="27"/>
                  <a:pt x="61" y="29"/>
                </a:cubicBezTo>
                <a:cubicBezTo>
                  <a:pt x="57" y="32"/>
                  <a:pt x="55" y="37"/>
                  <a:pt x="55" y="3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69" name="Freeform 605"/>
          <p:cNvSpPr>
            <a:spLocks/>
          </p:cNvSpPr>
          <p:nvPr userDrawn="1"/>
        </p:nvSpPr>
        <p:spPr bwMode="auto">
          <a:xfrm>
            <a:off x="7624725" y="3518839"/>
            <a:ext cx="790644" cy="396997"/>
          </a:xfrm>
          <a:custGeom>
            <a:avLst/>
            <a:gdLst>
              <a:gd name="T0" fmla="*/ 2147483646 w 847"/>
              <a:gd name="T1" fmla="*/ 2147483646 h 426"/>
              <a:gd name="T2" fmla="*/ 2147483646 w 847"/>
              <a:gd name="T3" fmla="*/ 2147483646 h 426"/>
              <a:gd name="T4" fmla="*/ 2147483646 w 847"/>
              <a:gd name="T5" fmla="*/ 2147483646 h 426"/>
              <a:gd name="T6" fmla="*/ 2147483646 w 847"/>
              <a:gd name="T7" fmla="*/ 2147483646 h 426"/>
              <a:gd name="T8" fmla="*/ 2147483646 w 847"/>
              <a:gd name="T9" fmla="*/ 2147483646 h 426"/>
              <a:gd name="T10" fmla="*/ 2147483646 w 847"/>
              <a:gd name="T11" fmla="*/ 2147483646 h 426"/>
              <a:gd name="T12" fmla="*/ 2147483646 w 847"/>
              <a:gd name="T13" fmla="*/ 2147483646 h 426"/>
              <a:gd name="T14" fmla="*/ 2147483646 w 847"/>
              <a:gd name="T15" fmla="*/ 2147483646 h 426"/>
              <a:gd name="T16" fmla="*/ 2147483646 w 847"/>
              <a:gd name="T17" fmla="*/ 2147483646 h 426"/>
              <a:gd name="T18" fmla="*/ 2147483646 w 847"/>
              <a:gd name="T19" fmla="*/ 2147483646 h 426"/>
              <a:gd name="T20" fmla="*/ 2147483646 w 847"/>
              <a:gd name="T21" fmla="*/ 2147483646 h 426"/>
              <a:gd name="T22" fmla="*/ 2147483646 w 847"/>
              <a:gd name="T23" fmla="*/ 2147483646 h 426"/>
              <a:gd name="T24" fmla="*/ 2147483646 w 847"/>
              <a:gd name="T25" fmla="*/ 2147483646 h 426"/>
              <a:gd name="T26" fmla="*/ 2147483646 w 847"/>
              <a:gd name="T27" fmla="*/ 2147483646 h 426"/>
              <a:gd name="T28" fmla="*/ 2147483646 w 847"/>
              <a:gd name="T29" fmla="*/ 2147483646 h 426"/>
              <a:gd name="T30" fmla="*/ 2147483646 w 847"/>
              <a:gd name="T31" fmla="*/ 2147483646 h 426"/>
              <a:gd name="T32" fmla="*/ 2147483646 w 847"/>
              <a:gd name="T33" fmla="*/ 2147483646 h 426"/>
              <a:gd name="T34" fmla="*/ 2147483646 w 847"/>
              <a:gd name="T35" fmla="*/ 2147483646 h 426"/>
              <a:gd name="T36" fmla="*/ 2147483646 w 847"/>
              <a:gd name="T37" fmla="*/ 2147483646 h 426"/>
              <a:gd name="T38" fmla="*/ 2147483646 w 847"/>
              <a:gd name="T39" fmla="*/ 2147483646 h 426"/>
              <a:gd name="T40" fmla="*/ 2147483646 w 847"/>
              <a:gd name="T41" fmla="*/ 2147483646 h 426"/>
              <a:gd name="T42" fmla="*/ 2147483646 w 847"/>
              <a:gd name="T43" fmla="*/ 2147483646 h 426"/>
              <a:gd name="T44" fmla="*/ 2147483646 w 847"/>
              <a:gd name="T45" fmla="*/ 2147483646 h 426"/>
              <a:gd name="T46" fmla="*/ 2147483646 w 847"/>
              <a:gd name="T47" fmla="*/ 2147483646 h 426"/>
              <a:gd name="T48" fmla="*/ 2147483646 w 847"/>
              <a:gd name="T49" fmla="*/ 2147483646 h 426"/>
              <a:gd name="T50" fmla="*/ 2147483646 w 847"/>
              <a:gd name="T51" fmla="*/ 2147483646 h 426"/>
              <a:gd name="T52" fmla="*/ 2147483646 w 847"/>
              <a:gd name="T53" fmla="*/ 2147483646 h 426"/>
              <a:gd name="T54" fmla="*/ 2147483646 w 847"/>
              <a:gd name="T55" fmla="*/ 2147483646 h 426"/>
              <a:gd name="T56" fmla="*/ 2147483646 w 847"/>
              <a:gd name="T57" fmla="*/ 2147483646 h 426"/>
              <a:gd name="T58" fmla="*/ 2147483646 w 847"/>
              <a:gd name="T59" fmla="*/ 2147483646 h 426"/>
              <a:gd name="T60" fmla="*/ 2147483646 w 847"/>
              <a:gd name="T61" fmla="*/ 2147483646 h 426"/>
              <a:gd name="T62" fmla="*/ 2147483646 w 847"/>
              <a:gd name="T63" fmla="*/ 2147483646 h 426"/>
              <a:gd name="T64" fmla="*/ 2147483646 w 847"/>
              <a:gd name="T65" fmla="*/ 2147483646 h 426"/>
              <a:gd name="T66" fmla="*/ 2147483646 w 847"/>
              <a:gd name="T67" fmla="*/ 2147483646 h 426"/>
              <a:gd name="T68" fmla="*/ 2147483646 w 847"/>
              <a:gd name="T69" fmla="*/ 2147483646 h 426"/>
              <a:gd name="T70" fmla="*/ 2147483646 w 847"/>
              <a:gd name="T71" fmla="*/ 2147483646 h 426"/>
              <a:gd name="T72" fmla="*/ 2147483646 w 847"/>
              <a:gd name="T73" fmla="*/ 2147483646 h 426"/>
              <a:gd name="T74" fmla="*/ 2147483646 w 847"/>
              <a:gd name="T75" fmla="*/ 2147483646 h 426"/>
              <a:gd name="T76" fmla="*/ 2147483646 w 847"/>
              <a:gd name="T77" fmla="*/ 2147483646 h 426"/>
              <a:gd name="T78" fmla="*/ 2147483646 w 847"/>
              <a:gd name="T79" fmla="*/ 2147483646 h 426"/>
              <a:gd name="T80" fmla="*/ 2147483646 w 847"/>
              <a:gd name="T81" fmla="*/ 2147483646 h 426"/>
              <a:gd name="T82" fmla="*/ 2147483646 w 847"/>
              <a:gd name="T83" fmla="*/ 2147483646 h 426"/>
              <a:gd name="T84" fmla="*/ 2147483646 w 847"/>
              <a:gd name="T85" fmla="*/ 2147483646 h 426"/>
              <a:gd name="T86" fmla="*/ 0 w 847"/>
              <a:gd name="T87" fmla="*/ 2147483646 h 4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847"/>
              <a:gd name="T133" fmla="*/ 0 h 426"/>
              <a:gd name="T134" fmla="*/ 847 w 847"/>
              <a:gd name="T135" fmla="*/ 426 h 42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847" h="426">
                <a:moveTo>
                  <a:pt x="0" y="116"/>
                </a:moveTo>
                <a:cubicBezTo>
                  <a:pt x="0" y="116"/>
                  <a:pt x="11" y="124"/>
                  <a:pt x="14" y="132"/>
                </a:cubicBezTo>
                <a:cubicBezTo>
                  <a:pt x="17" y="140"/>
                  <a:pt x="42" y="152"/>
                  <a:pt x="42" y="152"/>
                </a:cubicBezTo>
                <a:cubicBezTo>
                  <a:pt x="42" y="152"/>
                  <a:pt x="71" y="165"/>
                  <a:pt x="86" y="179"/>
                </a:cubicBezTo>
                <a:cubicBezTo>
                  <a:pt x="102" y="193"/>
                  <a:pt x="109" y="219"/>
                  <a:pt x="109" y="219"/>
                </a:cubicBezTo>
                <a:cubicBezTo>
                  <a:pt x="103" y="244"/>
                  <a:pt x="103" y="244"/>
                  <a:pt x="103" y="244"/>
                </a:cubicBezTo>
                <a:cubicBezTo>
                  <a:pt x="103" y="244"/>
                  <a:pt x="107" y="261"/>
                  <a:pt x="119" y="269"/>
                </a:cubicBezTo>
                <a:cubicBezTo>
                  <a:pt x="131" y="277"/>
                  <a:pt x="147" y="278"/>
                  <a:pt x="147" y="278"/>
                </a:cubicBezTo>
                <a:cubicBezTo>
                  <a:pt x="180" y="291"/>
                  <a:pt x="180" y="291"/>
                  <a:pt x="180" y="291"/>
                </a:cubicBezTo>
                <a:cubicBezTo>
                  <a:pt x="201" y="308"/>
                  <a:pt x="201" y="308"/>
                  <a:pt x="201" y="308"/>
                </a:cubicBezTo>
                <a:cubicBezTo>
                  <a:pt x="201" y="308"/>
                  <a:pt x="219" y="330"/>
                  <a:pt x="225" y="337"/>
                </a:cubicBezTo>
                <a:cubicBezTo>
                  <a:pt x="231" y="344"/>
                  <a:pt x="239" y="354"/>
                  <a:pt x="239" y="354"/>
                </a:cubicBezTo>
                <a:cubicBezTo>
                  <a:pt x="259" y="370"/>
                  <a:pt x="259" y="370"/>
                  <a:pt x="259" y="370"/>
                </a:cubicBezTo>
                <a:cubicBezTo>
                  <a:pt x="259" y="370"/>
                  <a:pt x="283" y="375"/>
                  <a:pt x="298" y="372"/>
                </a:cubicBezTo>
                <a:cubicBezTo>
                  <a:pt x="312" y="370"/>
                  <a:pt x="319" y="382"/>
                  <a:pt x="319" y="382"/>
                </a:cubicBezTo>
                <a:cubicBezTo>
                  <a:pt x="319" y="382"/>
                  <a:pt x="340" y="377"/>
                  <a:pt x="344" y="362"/>
                </a:cubicBezTo>
                <a:cubicBezTo>
                  <a:pt x="349" y="347"/>
                  <a:pt x="364" y="358"/>
                  <a:pt x="364" y="358"/>
                </a:cubicBezTo>
                <a:cubicBezTo>
                  <a:pt x="364" y="358"/>
                  <a:pt x="369" y="365"/>
                  <a:pt x="373" y="372"/>
                </a:cubicBezTo>
                <a:cubicBezTo>
                  <a:pt x="376" y="379"/>
                  <a:pt x="388" y="383"/>
                  <a:pt x="388" y="383"/>
                </a:cubicBezTo>
                <a:cubicBezTo>
                  <a:pt x="388" y="383"/>
                  <a:pt x="407" y="386"/>
                  <a:pt x="414" y="385"/>
                </a:cubicBezTo>
                <a:cubicBezTo>
                  <a:pt x="421" y="384"/>
                  <a:pt x="433" y="393"/>
                  <a:pt x="433" y="393"/>
                </a:cubicBezTo>
                <a:cubicBezTo>
                  <a:pt x="440" y="410"/>
                  <a:pt x="440" y="410"/>
                  <a:pt x="440" y="410"/>
                </a:cubicBezTo>
                <a:cubicBezTo>
                  <a:pt x="440" y="410"/>
                  <a:pt x="445" y="426"/>
                  <a:pt x="450" y="426"/>
                </a:cubicBezTo>
                <a:cubicBezTo>
                  <a:pt x="455" y="426"/>
                  <a:pt x="461" y="417"/>
                  <a:pt x="459" y="408"/>
                </a:cubicBezTo>
                <a:cubicBezTo>
                  <a:pt x="458" y="398"/>
                  <a:pt x="470" y="388"/>
                  <a:pt x="470" y="388"/>
                </a:cubicBezTo>
                <a:cubicBezTo>
                  <a:pt x="470" y="388"/>
                  <a:pt x="485" y="374"/>
                  <a:pt x="499" y="374"/>
                </a:cubicBezTo>
                <a:cubicBezTo>
                  <a:pt x="513" y="374"/>
                  <a:pt x="530" y="368"/>
                  <a:pt x="530" y="368"/>
                </a:cubicBezTo>
                <a:cubicBezTo>
                  <a:pt x="555" y="357"/>
                  <a:pt x="555" y="357"/>
                  <a:pt x="555" y="357"/>
                </a:cubicBezTo>
                <a:cubicBezTo>
                  <a:pt x="555" y="357"/>
                  <a:pt x="557" y="360"/>
                  <a:pt x="567" y="362"/>
                </a:cubicBezTo>
                <a:cubicBezTo>
                  <a:pt x="577" y="363"/>
                  <a:pt x="586" y="364"/>
                  <a:pt x="586" y="364"/>
                </a:cubicBezTo>
                <a:cubicBezTo>
                  <a:pt x="586" y="364"/>
                  <a:pt x="593" y="357"/>
                  <a:pt x="591" y="345"/>
                </a:cubicBezTo>
                <a:cubicBezTo>
                  <a:pt x="589" y="332"/>
                  <a:pt x="599" y="341"/>
                  <a:pt x="603" y="340"/>
                </a:cubicBezTo>
                <a:cubicBezTo>
                  <a:pt x="607" y="340"/>
                  <a:pt x="616" y="337"/>
                  <a:pt x="622" y="330"/>
                </a:cubicBezTo>
                <a:cubicBezTo>
                  <a:pt x="627" y="323"/>
                  <a:pt x="624" y="309"/>
                  <a:pt x="624" y="309"/>
                </a:cubicBezTo>
                <a:cubicBezTo>
                  <a:pt x="624" y="309"/>
                  <a:pt x="618" y="310"/>
                  <a:pt x="607" y="306"/>
                </a:cubicBezTo>
                <a:cubicBezTo>
                  <a:pt x="596" y="303"/>
                  <a:pt x="617" y="280"/>
                  <a:pt x="617" y="280"/>
                </a:cubicBezTo>
                <a:cubicBezTo>
                  <a:pt x="623" y="286"/>
                  <a:pt x="623" y="286"/>
                  <a:pt x="623" y="286"/>
                </a:cubicBezTo>
                <a:cubicBezTo>
                  <a:pt x="623" y="286"/>
                  <a:pt x="631" y="289"/>
                  <a:pt x="638" y="285"/>
                </a:cubicBezTo>
                <a:cubicBezTo>
                  <a:pt x="645" y="281"/>
                  <a:pt x="652" y="284"/>
                  <a:pt x="656" y="289"/>
                </a:cubicBezTo>
                <a:cubicBezTo>
                  <a:pt x="659" y="294"/>
                  <a:pt x="680" y="295"/>
                  <a:pt x="680" y="295"/>
                </a:cubicBezTo>
                <a:cubicBezTo>
                  <a:pt x="699" y="295"/>
                  <a:pt x="699" y="295"/>
                  <a:pt x="699" y="295"/>
                </a:cubicBezTo>
                <a:cubicBezTo>
                  <a:pt x="699" y="295"/>
                  <a:pt x="702" y="290"/>
                  <a:pt x="702" y="283"/>
                </a:cubicBezTo>
                <a:cubicBezTo>
                  <a:pt x="702" y="276"/>
                  <a:pt x="709" y="281"/>
                  <a:pt x="715" y="278"/>
                </a:cubicBezTo>
                <a:cubicBezTo>
                  <a:pt x="722" y="274"/>
                  <a:pt x="725" y="277"/>
                  <a:pt x="725" y="277"/>
                </a:cubicBezTo>
                <a:cubicBezTo>
                  <a:pt x="725" y="277"/>
                  <a:pt x="729" y="285"/>
                  <a:pt x="738" y="286"/>
                </a:cubicBezTo>
                <a:cubicBezTo>
                  <a:pt x="747" y="286"/>
                  <a:pt x="746" y="287"/>
                  <a:pt x="750" y="280"/>
                </a:cubicBezTo>
                <a:cubicBezTo>
                  <a:pt x="754" y="273"/>
                  <a:pt x="765" y="281"/>
                  <a:pt x="765" y="281"/>
                </a:cubicBezTo>
                <a:cubicBezTo>
                  <a:pt x="765" y="281"/>
                  <a:pt x="770" y="272"/>
                  <a:pt x="770" y="261"/>
                </a:cubicBezTo>
                <a:cubicBezTo>
                  <a:pt x="770" y="250"/>
                  <a:pt x="793" y="252"/>
                  <a:pt x="793" y="252"/>
                </a:cubicBezTo>
                <a:cubicBezTo>
                  <a:pt x="793" y="252"/>
                  <a:pt x="803" y="252"/>
                  <a:pt x="810" y="245"/>
                </a:cubicBezTo>
                <a:cubicBezTo>
                  <a:pt x="817" y="239"/>
                  <a:pt x="841" y="245"/>
                  <a:pt x="841" y="245"/>
                </a:cubicBezTo>
                <a:cubicBezTo>
                  <a:pt x="841" y="245"/>
                  <a:pt x="847" y="235"/>
                  <a:pt x="844" y="223"/>
                </a:cubicBezTo>
                <a:cubicBezTo>
                  <a:pt x="842" y="211"/>
                  <a:pt x="835" y="209"/>
                  <a:pt x="823" y="200"/>
                </a:cubicBezTo>
                <a:cubicBezTo>
                  <a:pt x="810" y="190"/>
                  <a:pt x="813" y="192"/>
                  <a:pt x="810" y="182"/>
                </a:cubicBezTo>
                <a:cubicBezTo>
                  <a:pt x="807" y="171"/>
                  <a:pt x="801" y="174"/>
                  <a:pt x="795" y="175"/>
                </a:cubicBezTo>
                <a:cubicBezTo>
                  <a:pt x="788" y="175"/>
                  <a:pt x="785" y="174"/>
                  <a:pt x="783" y="182"/>
                </a:cubicBezTo>
                <a:cubicBezTo>
                  <a:pt x="781" y="191"/>
                  <a:pt x="767" y="186"/>
                  <a:pt x="763" y="187"/>
                </a:cubicBezTo>
                <a:cubicBezTo>
                  <a:pt x="760" y="188"/>
                  <a:pt x="758" y="191"/>
                  <a:pt x="752" y="182"/>
                </a:cubicBezTo>
                <a:cubicBezTo>
                  <a:pt x="745" y="173"/>
                  <a:pt x="745" y="182"/>
                  <a:pt x="736" y="180"/>
                </a:cubicBezTo>
                <a:cubicBezTo>
                  <a:pt x="727" y="178"/>
                  <a:pt x="726" y="175"/>
                  <a:pt x="727" y="162"/>
                </a:cubicBezTo>
                <a:cubicBezTo>
                  <a:pt x="729" y="149"/>
                  <a:pt x="736" y="155"/>
                  <a:pt x="738" y="146"/>
                </a:cubicBezTo>
                <a:cubicBezTo>
                  <a:pt x="739" y="138"/>
                  <a:pt x="745" y="120"/>
                  <a:pt x="745" y="120"/>
                </a:cubicBezTo>
                <a:cubicBezTo>
                  <a:pt x="738" y="115"/>
                  <a:pt x="727" y="94"/>
                  <a:pt x="727" y="94"/>
                </a:cubicBezTo>
                <a:cubicBezTo>
                  <a:pt x="727" y="94"/>
                  <a:pt x="690" y="96"/>
                  <a:pt x="677" y="91"/>
                </a:cubicBezTo>
                <a:cubicBezTo>
                  <a:pt x="664" y="86"/>
                  <a:pt x="659" y="94"/>
                  <a:pt x="641" y="104"/>
                </a:cubicBezTo>
                <a:cubicBezTo>
                  <a:pt x="623" y="114"/>
                  <a:pt x="608" y="115"/>
                  <a:pt x="594" y="114"/>
                </a:cubicBezTo>
                <a:cubicBezTo>
                  <a:pt x="579" y="112"/>
                  <a:pt x="548" y="117"/>
                  <a:pt x="537" y="109"/>
                </a:cubicBezTo>
                <a:cubicBezTo>
                  <a:pt x="525" y="101"/>
                  <a:pt x="502" y="89"/>
                  <a:pt x="502" y="89"/>
                </a:cubicBezTo>
                <a:cubicBezTo>
                  <a:pt x="502" y="89"/>
                  <a:pt x="496" y="68"/>
                  <a:pt x="485" y="68"/>
                </a:cubicBezTo>
                <a:cubicBezTo>
                  <a:pt x="473" y="68"/>
                  <a:pt x="475" y="55"/>
                  <a:pt x="450" y="68"/>
                </a:cubicBezTo>
                <a:cubicBezTo>
                  <a:pt x="426" y="81"/>
                  <a:pt x="416" y="89"/>
                  <a:pt x="402" y="81"/>
                </a:cubicBezTo>
                <a:cubicBezTo>
                  <a:pt x="387" y="73"/>
                  <a:pt x="371" y="57"/>
                  <a:pt x="371" y="57"/>
                </a:cubicBezTo>
                <a:cubicBezTo>
                  <a:pt x="371" y="57"/>
                  <a:pt x="371" y="32"/>
                  <a:pt x="356" y="18"/>
                </a:cubicBezTo>
                <a:cubicBezTo>
                  <a:pt x="341" y="3"/>
                  <a:pt x="332" y="10"/>
                  <a:pt x="315" y="5"/>
                </a:cubicBezTo>
                <a:cubicBezTo>
                  <a:pt x="299" y="0"/>
                  <a:pt x="288" y="8"/>
                  <a:pt x="288" y="8"/>
                </a:cubicBezTo>
                <a:cubicBezTo>
                  <a:pt x="288" y="8"/>
                  <a:pt x="270" y="50"/>
                  <a:pt x="276" y="60"/>
                </a:cubicBezTo>
                <a:cubicBezTo>
                  <a:pt x="283" y="70"/>
                  <a:pt x="297" y="80"/>
                  <a:pt x="286" y="91"/>
                </a:cubicBezTo>
                <a:cubicBezTo>
                  <a:pt x="275" y="102"/>
                  <a:pt x="249" y="102"/>
                  <a:pt x="249" y="102"/>
                </a:cubicBezTo>
                <a:cubicBezTo>
                  <a:pt x="249" y="102"/>
                  <a:pt x="227" y="101"/>
                  <a:pt x="205" y="94"/>
                </a:cubicBezTo>
                <a:cubicBezTo>
                  <a:pt x="182" y="88"/>
                  <a:pt x="167" y="86"/>
                  <a:pt x="167" y="86"/>
                </a:cubicBezTo>
                <a:cubicBezTo>
                  <a:pt x="167" y="86"/>
                  <a:pt x="164" y="72"/>
                  <a:pt x="157" y="68"/>
                </a:cubicBezTo>
                <a:cubicBezTo>
                  <a:pt x="151" y="65"/>
                  <a:pt x="140" y="62"/>
                  <a:pt x="140" y="62"/>
                </a:cubicBezTo>
                <a:cubicBezTo>
                  <a:pt x="140" y="62"/>
                  <a:pt x="131" y="75"/>
                  <a:pt x="117" y="67"/>
                </a:cubicBezTo>
                <a:cubicBezTo>
                  <a:pt x="102" y="59"/>
                  <a:pt x="89" y="55"/>
                  <a:pt x="89" y="55"/>
                </a:cubicBezTo>
                <a:cubicBezTo>
                  <a:pt x="89" y="55"/>
                  <a:pt x="68" y="76"/>
                  <a:pt x="58" y="86"/>
                </a:cubicBezTo>
                <a:cubicBezTo>
                  <a:pt x="48" y="96"/>
                  <a:pt x="22" y="96"/>
                  <a:pt x="22" y="96"/>
                </a:cubicBezTo>
                <a:cubicBezTo>
                  <a:pt x="0" y="115"/>
                  <a:pt x="0" y="115"/>
                  <a:pt x="0" y="115"/>
                </a:cubicBezTo>
                <a:lnTo>
                  <a:pt x="0" y="11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70" name="Freeform 606"/>
          <p:cNvSpPr>
            <a:spLocks/>
          </p:cNvSpPr>
          <p:nvPr userDrawn="1"/>
        </p:nvSpPr>
        <p:spPr bwMode="auto">
          <a:xfrm>
            <a:off x="6768752" y="3857209"/>
            <a:ext cx="348419" cy="268015"/>
          </a:xfrm>
          <a:custGeom>
            <a:avLst/>
            <a:gdLst>
              <a:gd name="T0" fmla="*/ 2147483646 w 374"/>
              <a:gd name="T1" fmla="*/ 2147483646 h 288"/>
              <a:gd name="T2" fmla="*/ 2147483646 w 374"/>
              <a:gd name="T3" fmla="*/ 2147483646 h 288"/>
              <a:gd name="T4" fmla="*/ 2147483646 w 374"/>
              <a:gd name="T5" fmla="*/ 2147483646 h 288"/>
              <a:gd name="T6" fmla="*/ 2147483646 w 374"/>
              <a:gd name="T7" fmla="*/ 2147483646 h 288"/>
              <a:gd name="T8" fmla="*/ 2147483646 w 374"/>
              <a:gd name="T9" fmla="*/ 2147483646 h 288"/>
              <a:gd name="T10" fmla="*/ 2147483646 w 374"/>
              <a:gd name="T11" fmla="*/ 2147483646 h 288"/>
              <a:gd name="T12" fmla="*/ 2147483646 w 374"/>
              <a:gd name="T13" fmla="*/ 2147483646 h 288"/>
              <a:gd name="T14" fmla="*/ 2147483646 w 374"/>
              <a:gd name="T15" fmla="*/ 2147483646 h 288"/>
              <a:gd name="T16" fmla="*/ 2147483646 w 374"/>
              <a:gd name="T17" fmla="*/ 2147483646 h 288"/>
              <a:gd name="T18" fmla="*/ 2147483646 w 374"/>
              <a:gd name="T19" fmla="*/ 2147483646 h 288"/>
              <a:gd name="T20" fmla="*/ 2147483646 w 374"/>
              <a:gd name="T21" fmla="*/ 2147483646 h 288"/>
              <a:gd name="T22" fmla="*/ 2147483646 w 374"/>
              <a:gd name="T23" fmla="*/ 2147483646 h 288"/>
              <a:gd name="T24" fmla="*/ 2147483646 w 374"/>
              <a:gd name="T25" fmla="*/ 2147483646 h 288"/>
              <a:gd name="T26" fmla="*/ 2147483646 w 374"/>
              <a:gd name="T27" fmla="*/ 2147483646 h 288"/>
              <a:gd name="T28" fmla="*/ 2147483646 w 374"/>
              <a:gd name="T29" fmla="*/ 2147483646 h 288"/>
              <a:gd name="T30" fmla="*/ 2147483646 w 374"/>
              <a:gd name="T31" fmla="*/ 2147483646 h 288"/>
              <a:gd name="T32" fmla="*/ 2147483646 w 374"/>
              <a:gd name="T33" fmla="*/ 2147483646 h 288"/>
              <a:gd name="T34" fmla="*/ 2147483646 w 374"/>
              <a:gd name="T35" fmla="*/ 2147483646 h 288"/>
              <a:gd name="T36" fmla="*/ 2147483646 w 374"/>
              <a:gd name="T37" fmla="*/ 2147483646 h 288"/>
              <a:gd name="T38" fmla="*/ 2147483646 w 374"/>
              <a:gd name="T39" fmla="*/ 2147483646 h 288"/>
              <a:gd name="T40" fmla="*/ 2147483646 w 374"/>
              <a:gd name="T41" fmla="*/ 2147483646 h 288"/>
              <a:gd name="T42" fmla="*/ 2147483646 w 374"/>
              <a:gd name="T43" fmla="*/ 2147483646 h 288"/>
              <a:gd name="T44" fmla="*/ 2147483646 w 374"/>
              <a:gd name="T45" fmla="*/ 2147483646 h 288"/>
              <a:gd name="T46" fmla="*/ 2147483646 w 374"/>
              <a:gd name="T47" fmla="*/ 2147483646 h 288"/>
              <a:gd name="T48" fmla="*/ 2147483646 w 374"/>
              <a:gd name="T49" fmla="*/ 2147483646 h 288"/>
              <a:gd name="T50" fmla="*/ 2147483646 w 374"/>
              <a:gd name="T51" fmla="*/ 2147483646 h 288"/>
              <a:gd name="T52" fmla="*/ 2147483646 w 374"/>
              <a:gd name="T53" fmla="*/ 2147483646 h 288"/>
              <a:gd name="T54" fmla="*/ 2147483646 w 374"/>
              <a:gd name="T55" fmla="*/ 2147483646 h 288"/>
              <a:gd name="T56" fmla="*/ 2147483646 w 374"/>
              <a:gd name="T57" fmla="*/ 2147483646 h 288"/>
              <a:gd name="T58" fmla="*/ 2147483646 w 374"/>
              <a:gd name="T59" fmla="*/ 2147483646 h 288"/>
              <a:gd name="T60" fmla="*/ 2147483646 w 374"/>
              <a:gd name="T61" fmla="*/ 2147483646 h 288"/>
              <a:gd name="T62" fmla="*/ 2147483646 w 374"/>
              <a:gd name="T63" fmla="*/ 2147483646 h 288"/>
              <a:gd name="T64" fmla="*/ 2147483646 w 374"/>
              <a:gd name="T65" fmla="*/ 2147483646 h 288"/>
              <a:gd name="T66" fmla="*/ 2147483646 w 374"/>
              <a:gd name="T67" fmla="*/ 2147483646 h 288"/>
              <a:gd name="T68" fmla="*/ 2147483646 w 374"/>
              <a:gd name="T69" fmla="*/ 2147483646 h 288"/>
              <a:gd name="T70" fmla="*/ 2147483646 w 374"/>
              <a:gd name="T71" fmla="*/ 2147483646 h 288"/>
              <a:gd name="T72" fmla="*/ 2147483646 w 374"/>
              <a:gd name="T73" fmla="*/ 2147483646 h 288"/>
              <a:gd name="T74" fmla="*/ 2147483646 w 374"/>
              <a:gd name="T75" fmla="*/ 2147483646 h 288"/>
              <a:gd name="T76" fmla="*/ 2147483646 w 374"/>
              <a:gd name="T77" fmla="*/ 2147483646 h 288"/>
              <a:gd name="T78" fmla="*/ 2147483646 w 374"/>
              <a:gd name="T79" fmla="*/ 2147483646 h 288"/>
              <a:gd name="T80" fmla="*/ 2147483646 w 374"/>
              <a:gd name="T81" fmla="*/ 2147483646 h 288"/>
              <a:gd name="T82" fmla="*/ 2147483646 w 374"/>
              <a:gd name="T83" fmla="*/ 2147483646 h 288"/>
              <a:gd name="T84" fmla="*/ 2147483646 w 374"/>
              <a:gd name="T85" fmla="*/ 2147483646 h 288"/>
              <a:gd name="T86" fmla="*/ 2147483646 w 374"/>
              <a:gd name="T87" fmla="*/ 2147483646 h 288"/>
              <a:gd name="T88" fmla="*/ 2147483646 w 374"/>
              <a:gd name="T89" fmla="*/ 2147483646 h 288"/>
              <a:gd name="T90" fmla="*/ 2147483646 w 374"/>
              <a:gd name="T91" fmla="*/ 2147483646 h 288"/>
              <a:gd name="T92" fmla="*/ 2147483646 w 374"/>
              <a:gd name="T93" fmla="*/ 2147483646 h 288"/>
              <a:gd name="T94" fmla="*/ 2147483646 w 374"/>
              <a:gd name="T95" fmla="*/ 2147483646 h 288"/>
              <a:gd name="T96" fmla="*/ 2147483646 w 374"/>
              <a:gd name="T97" fmla="*/ 2147483646 h 288"/>
              <a:gd name="T98" fmla="*/ 2147483646 w 374"/>
              <a:gd name="T99" fmla="*/ 2147483646 h 288"/>
              <a:gd name="T100" fmla="*/ 2147483646 w 374"/>
              <a:gd name="T101" fmla="*/ 2147483646 h 288"/>
              <a:gd name="T102" fmla="*/ 2147483646 w 374"/>
              <a:gd name="T103" fmla="*/ 2147483646 h 288"/>
              <a:gd name="T104" fmla="*/ 2147483646 w 374"/>
              <a:gd name="T105" fmla="*/ 2147483646 h 28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74"/>
              <a:gd name="T160" fmla="*/ 0 h 288"/>
              <a:gd name="T161" fmla="*/ 374 w 374"/>
              <a:gd name="T162" fmla="*/ 288 h 28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74" h="288">
                <a:moveTo>
                  <a:pt x="7" y="2"/>
                </a:moveTo>
                <a:cubicBezTo>
                  <a:pt x="7" y="2"/>
                  <a:pt x="3" y="23"/>
                  <a:pt x="9" y="40"/>
                </a:cubicBezTo>
                <a:cubicBezTo>
                  <a:pt x="15" y="57"/>
                  <a:pt x="24" y="45"/>
                  <a:pt x="22" y="29"/>
                </a:cubicBezTo>
                <a:cubicBezTo>
                  <a:pt x="20" y="12"/>
                  <a:pt x="35" y="27"/>
                  <a:pt x="50" y="14"/>
                </a:cubicBezTo>
                <a:cubicBezTo>
                  <a:pt x="65" y="0"/>
                  <a:pt x="67" y="19"/>
                  <a:pt x="84" y="34"/>
                </a:cubicBezTo>
                <a:cubicBezTo>
                  <a:pt x="101" y="49"/>
                  <a:pt x="105" y="53"/>
                  <a:pt x="112" y="53"/>
                </a:cubicBezTo>
                <a:cubicBezTo>
                  <a:pt x="112" y="53"/>
                  <a:pt x="130" y="62"/>
                  <a:pt x="138" y="63"/>
                </a:cubicBezTo>
                <a:cubicBezTo>
                  <a:pt x="146" y="64"/>
                  <a:pt x="147" y="52"/>
                  <a:pt x="145" y="48"/>
                </a:cubicBezTo>
                <a:cubicBezTo>
                  <a:pt x="144" y="44"/>
                  <a:pt x="158" y="35"/>
                  <a:pt x="169" y="25"/>
                </a:cubicBezTo>
                <a:cubicBezTo>
                  <a:pt x="180" y="15"/>
                  <a:pt x="211" y="41"/>
                  <a:pt x="211" y="41"/>
                </a:cubicBezTo>
                <a:cubicBezTo>
                  <a:pt x="211" y="41"/>
                  <a:pt x="220" y="55"/>
                  <a:pt x="227" y="61"/>
                </a:cubicBezTo>
                <a:cubicBezTo>
                  <a:pt x="235" y="67"/>
                  <a:pt x="239" y="62"/>
                  <a:pt x="248" y="57"/>
                </a:cubicBezTo>
                <a:cubicBezTo>
                  <a:pt x="258" y="52"/>
                  <a:pt x="255" y="60"/>
                  <a:pt x="258" y="67"/>
                </a:cubicBezTo>
                <a:cubicBezTo>
                  <a:pt x="262" y="73"/>
                  <a:pt x="257" y="82"/>
                  <a:pt x="260" y="87"/>
                </a:cubicBezTo>
                <a:cubicBezTo>
                  <a:pt x="262" y="92"/>
                  <a:pt x="272" y="102"/>
                  <a:pt x="272" y="102"/>
                </a:cubicBezTo>
                <a:cubicBezTo>
                  <a:pt x="292" y="122"/>
                  <a:pt x="292" y="122"/>
                  <a:pt x="292" y="122"/>
                </a:cubicBezTo>
                <a:cubicBezTo>
                  <a:pt x="292" y="122"/>
                  <a:pt x="309" y="131"/>
                  <a:pt x="311" y="135"/>
                </a:cubicBezTo>
                <a:cubicBezTo>
                  <a:pt x="314" y="139"/>
                  <a:pt x="340" y="140"/>
                  <a:pt x="343" y="137"/>
                </a:cubicBezTo>
                <a:cubicBezTo>
                  <a:pt x="347" y="135"/>
                  <a:pt x="358" y="137"/>
                  <a:pt x="358" y="137"/>
                </a:cubicBezTo>
                <a:cubicBezTo>
                  <a:pt x="361" y="145"/>
                  <a:pt x="361" y="145"/>
                  <a:pt x="361" y="145"/>
                </a:cubicBezTo>
                <a:cubicBezTo>
                  <a:pt x="361" y="145"/>
                  <a:pt x="359" y="149"/>
                  <a:pt x="348" y="143"/>
                </a:cubicBezTo>
                <a:cubicBezTo>
                  <a:pt x="338" y="137"/>
                  <a:pt x="339" y="154"/>
                  <a:pt x="341" y="158"/>
                </a:cubicBezTo>
                <a:cubicBezTo>
                  <a:pt x="343" y="163"/>
                  <a:pt x="352" y="170"/>
                  <a:pt x="363" y="170"/>
                </a:cubicBezTo>
                <a:cubicBezTo>
                  <a:pt x="374" y="170"/>
                  <a:pt x="368" y="190"/>
                  <a:pt x="368" y="190"/>
                </a:cubicBezTo>
                <a:cubicBezTo>
                  <a:pt x="368" y="190"/>
                  <a:pt x="354" y="195"/>
                  <a:pt x="347" y="197"/>
                </a:cubicBezTo>
                <a:cubicBezTo>
                  <a:pt x="340" y="200"/>
                  <a:pt x="331" y="204"/>
                  <a:pt x="328" y="214"/>
                </a:cubicBezTo>
                <a:cubicBezTo>
                  <a:pt x="326" y="223"/>
                  <a:pt x="325" y="232"/>
                  <a:pt x="316" y="239"/>
                </a:cubicBezTo>
                <a:cubicBezTo>
                  <a:pt x="306" y="246"/>
                  <a:pt x="296" y="245"/>
                  <a:pt x="290" y="250"/>
                </a:cubicBezTo>
                <a:cubicBezTo>
                  <a:pt x="284" y="255"/>
                  <a:pt x="274" y="250"/>
                  <a:pt x="269" y="258"/>
                </a:cubicBezTo>
                <a:cubicBezTo>
                  <a:pt x="263" y="266"/>
                  <a:pt x="259" y="288"/>
                  <a:pt x="250" y="266"/>
                </a:cubicBezTo>
                <a:cubicBezTo>
                  <a:pt x="240" y="245"/>
                  <a:pt x="251" y="238"/>
                  <a:pt x="251" y="238"/>
                </a:cubicBezTo>
                <a:cubicBezTo>
                  <a:pt x="251" y="238"/>
                  <a:pt x="256" y="229"/>
                  <a:pt x="251" y="228"/>
                </a:cubicBezTo>
                <a:cubicBezTo>
                  <a:pt x="246" y="226"/>
                  <a:pt x="230" y="212"/>
                  <a:pt x="219" y="212"/>
                </a:cubicBezTo>
                <a:cubicBezTo>
                  <a:pt x="209" y="212"/>
                  <a:pt x="179" y="197"/>
                  <a:pt x="173" y="192"/>
                </a:cubicBezTo>
                <a:cubicBezTo>
                  <a:pt x="168" y="188"/>
                  <a:pt x="156" y="176"/>
                  <a:pt x="149" y="176"/>
                </a:cubicBezTo>
                <a:cubicBezTo>
                  <a:pt x="142" y="176"/>
                  <a:pt x="129" y="173"/>
                  <a:pt x="121" y="169"/>
                </a:cubicBezTo>
                <a:cubicBezTo>
                  <a:pt x="112" y="165"/>
                  <a:pt x="98" y="170"/>
                  <a:pt x="98" y="170"/>
                </a:cubicBezTo>
                <a:cubicBezTo>
                  <a:pt x="50" y="192"/>
                  <a:pt x="50" y="192"/>
                  <a:pt x="50" y="192"/>
                </a:cubicBezTo>
                <a:cubicBezTo>
                  <a:pt x="50" y="192"/>
                  <a:pt x="53" y="171"/>
                  <a:pt x="53" y="158"/>
                </a:cubicBezTo>
                <a:cubicBezTo>
                  <a:pt x="53" y="146"/>
                  <a:pt x="49" y="131"/>
                  <a:pt x="57" y="127"/>
                </a:cubicBezTo>
                <a:cubicBezTo>
                  <a:pt x="66" y="122"/>
                  <a:pt x="70" y="122"/>
                  <a:pt x="73" y="119"/>
                </a:cubicBezTo>
                <a:cubicBezTo>
                  <a:pt x="75" y="115"/>
                  <a:pt x="76" y="104"/>
                  <a:pt x="66" y="104"/>
                </a:cubicBezTo>
                <a:cubicBezTo>
                  <a:pt x="55" y="104"/>
                  <a:pt x="50" y="96"/>
                  <a:pt x="47" y="102"/>
                </a:cubicBezTo>
                <a:cubicBezTo>
                  <a:pt x="43" y="108"/>
                  <a:pt x="36" y="111"/>
                  <a:pt x="31" y="111"/>
                </a:cubicBezTo>
                <a:cubicBezTo>
                  <a:pt x="27" y="111"/>
                  <a:pt x="15" y="107"/>
                  <a:pt x="15" y="99"/>
                </a:cubicBezTo>
                <a:cubicBezTo>
                  <a:pt x="15" y="90"/>
                  <a:pt x="16" y="80"/>
                  <a:pt x="22" y="77"/>
                </a:cubicBezTo>
                <a:cubicBezTo>
                  <a:pt x="28" y="75"/>
                  <a:pt x="27" y="65"/>
                  <a:pt x="36" y="72"/>
                </a:cubicBezTo>
                <a:cubicBezTo>
                  <a:pt x="46" y="79"/>
                  <a:pt x="54" y="76"/>
                  <a:pt x="60" y="74"/>
                </a:cubicBezTo>
                <a:cubicBezTo>
                  <a:pt x="66" y="72"/>
                  <a:pt x="68" y="65"/>
                  <a:pt x="63" y="59"/>
                </a:cubicBezTo>
                <a:cubicBezTo>
                  <a:pt x="58" y="53"/>
                  <a:pt x="47" y="30"/>
                  <a:pt x="47" y="30"/>
                </a:cubicBezTo>
                <a:cubicBezTo>
                  <a:pt x="47" y="30"/>
                  <a:pt x="35" y="42"/>
                  <a:pt x="28" y="52"/>
                </a:cubicBezTo>
                <a:cubicBezTo>
                  <a:pt x="21" y="61"/>
                  <a:pt x="2" y="59"/>
                  <a:pt x="1" y="41"/>
                </a:cubicBezTo>
                <a:cubicBezTo>
                  <a:pt x="0" y="23"/>
                  <a:pt x="7" y="2"/>
                  <a:pt x="7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71" name="Freeform 607"/>
          <p:cNvSpPr>
            <a:spLocks/>
          </p:cNvSpPr>
          <p:nvPr userDrawn="1"/>
        </p:nvSpPr>
        <p:spPr bwMode="auto">
          <a:xfrm>
            <a:off x="7135597" y="3920861"/>
            <a:ext cx="195987" cy="135683"/>
          </a:xfrm>
          <a:custGeom>
            <a:avLst/>
            <a:gdLst>
              <a:gd name="T0" fmla="*/ 2147483646 w 210"/>
              <a:gd name="T1" fmla="*/ 2147483646 h 144"/>
              <a:gd name="T2" fmla="*/ 2147483646 w 210"/>
              <a:gd name="T3" fmla="*/ 2147483646 h 144"/>
              <a:gd name="T4" fmla="*/ 2147483646 w 210"/>
              <a:gd name="T5" fmla="*/ 2147483646 h 144"/>
              <a:gd name="T6" fmla="*/ 2147483646 w 210"/>
              <a:gd name="T7" fmla="*/ 2147483646 h 144"/>
              <a:gd name="T8" fmla="*/ 2147483646 w 210"/>
              <a:gd name="T9" fmla="*/ 2147483646 h 144"/>
              <a:gd name="T10" fmla="*/ 2147483646 w 210"/>
              <a:gd name="T11" fmla="*/ 2147483646 h 144"/>
              <a:gd name="T12" fmla="*/ 2147483646 w 210"/>
              <a:gd name="T13" fmla="*/ 2147483646 h 144"/>
              <a:gd name="T14" fmla="*/ 2147483646 w 210"/>
              <a:gd name="T15" fmla="*/ 2147483646 h 144"/>
              <a:gd name="T16" fmla="*/ 2147483646 w 210"/>
              <a:gd name="T17" fmla="*/ 2147483646 h 144"/>
              <a:gd name="T18" fmla="*/ 2147483646 w 210"/>
              <a:gd name="T19" fmla="*/ 2147483646 h 144"/>
              <a:gd name="T20" fmla="*/ 2147483646 w 210"/>
              <a:gd name="T21" fmla="*/ 2147483646 h 144"/>
              <a:gd name="T22" fmla="*/ 2147483646 w 210"/>
              <a:gd name="T23" fmla="*/ 2147483646 h 144"/>
              <a:gd name="T24" fmla="*/ 2147483646 w 210"/>
              <a:gd name="T25" fmla="*/ 2147483646 h 144"/>
              <a:gd name="T26" fmla="*/ 2147483646 w 210"/>
              <a:gd name="T27" fmla="*/ 2147483646 h 144"/>
              <a:gd name="T28" fmla="*/ 2147483646 w 210"/>
              <a:gd name="T29" fmla="*/ 2147483646 h 144"/>
              <a:gd name="T30" fmla="*/ 2147483646 w 210"/>
              <a:gd name="T31" fmla="*/ 0 h 144"/>
              <a:gd name="T32" fmla="*/ 2147483646 w 210"/>
              <a:gd name="T33" fmla="*/ 2147483646 h 144"/>
              <a:gd name="T34" fmla="*/ 2147483646 w 210"/>
              <a:gd name="T35" fmla="*/ 2147483646 h 144"/>
              <a:gd name="T36" fmla="*/ 2147483646 w 210"/>
              <a:gd name="T37" fmla="*/ 2147483646 h 144"/>
              <a:gd name="T38" fmla="*/ 2147483646 w 210"/>
              <a:gd name="T39" fmla="*/ 2147483646 h 144"/>
              <a:gd name="T40" fmla="*/ 2147483646 w 210"/>
              <a:gd name="T41" fmla="*/ 2147483646 h 144"/>
              <a:gd name="T42" fmla="*/ 2147483646 w 210"/>
              <a:gd name="T43" fmla="*/ 2147483646 h 144"/>
              <a:gd name="T44" fmla="*/ 2147483646 w 210"/>
              <a:gd name="T45" fmla="*/ 2147483646 h 144"/>
              <a:gd name="T46" fmla="*/ 0 w 210"/>
              <a:gd name="T47" fmla="*/ 2147483646 h 144"/>
              <a:gd name="T48" fmla="*/ 2147483646 w 210"/>
              <a:gd name="T49" fmla="*/ 2147483646 h 144"/>
              <a:gd name="T50" fmla="*/ 2147483646 w 210"/>
              <a:gd name="T51" fmla="*/ 2147483646 h 144"/>
              <a:gd name="T52" fmla="*/ 2147483646 w 210"/>
              <a:gd name="T53" fmla="*/ 2147483646 h 144"/>
              <a:gd name="T54" fmla="*/ 2147483646 w 210"/>
              <a:gd name="T55" fmla="*/ 2147483646 h 144"/>
              <a:gd name="T56" fmla="*/ 2147483646 w 210"/>
              <a:gd name="T57" fmla="*/ 2147483646 h 144"/>
              <a:gd name="T58" fmla="*/ 2147483646 w 210"/>
              <a:gd name="T59" fmla="*/ 2147483646 h 144"/>
              <a:gd name="T60" fmla="*/ 2147483646 w 210"/>
              <a:gd name="T61" fmla="*/ 2147483646 h 144"/>
              <a:gd name="T62" fmla="*/ 2147483646 w 210"/>
              <a:gd name="T63" fmla="*/ 2147483646 h 14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10"/>
              <a:gd name="T97" fmla="*/ 0 h 144"/>
              <a:gd name="T98" fmla="*/ 210 w 210"/>
              <a:gd name="T99" fmla="*/ 144 h 14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10" h="144">
                <a:moveTo>
                  <a:pt x="210" y="125"/>
                </a:moveTo>
                <a:cubicBezTo>
                  <a:pt x="207" y="116"/>
                  <a:pt x="209" y="107"/>
                  <a:pt x="209" y="107"/>
                </a:cubicBezTo>
                <a:cubicBezTo>
                  <a:pt x="209" y="107"/>
                  <a:pt x="208" y="88"/>
                  <a:pt x="201" y="82"/>
                </a:cubicBezTo>
                <a:cubicBezTo>
                  <a:pt x="194" y="77"/>
                  <a:pt x="187" y="82"/>
                  <a:pt x="181" y="78"/>
                </a:cubicBezTo>
                <a:cubicBezTo>
                  <a:pt x="174" y="74"/>
                  <a:pt x="181" y="57"/>
                  <a:pt x="179" y="53"/>
                </a:cubicBezTo>
                <a:cubicBezTo>
                  <a:pt x="178" y="48"/>
                  <a:pt x="166" y="48"/>
                  <a:pt x="166" y="48"/>
                </a:cubicBezTo>
                <a:cubicBezTo>
                  <a:pt x="158" y="53"/>
                  <a:pt x="127" y="47"/>
                  <a:pt x="127" y="47"/>
                </a:cubicBezTo>
                <a:cubicBezTo>
                  <a:pt x="113" y="51"/>
                  <a:pt x="113" y="51"/>
                  <a:pt x="113" y="51"/>
                </a:cubicBezTo>
                <a:cubicBezTo>
                  <a:pt x="113" y="51"/>
                  <a:pt x="103" y="58"/>
                  <a:pt x="96" y="57"/>
                </a:cubicBezTo>
                <a:cubicBezTo>
                  <a:pt x="90" y="56"/>
                  <a:pt x="82" y="57"/>
                  <a:pt x="73" y="56"/>
                </a:cubicBezTo>
                <a:cubicBezTo>
                  <a:pt x="63" y="55"/>
                  <a:pt x="65" y="51"/>
                  <a:pt x="68" y="41"/>
                </a:cubicBezTo>
                <a:cubicBezTo>
                  <a:pt x="70" y="30"/>
                  <a:pt x="76" y="40"/>
                  <a:pt x="77" y="41"/>
                </a:cubicBezTo>
                <a:cubicBezTo>
                  <a:pt x="79" y="41"/>
                  <a:pt x="91" y="37"/>
                  <a:pt x="94" y="36"/>
                </a:cubicBezTo>
                <a:cubicBezTo>
                  <a:pt x="97" y="35"/>
                  <a:pt x="105" y="29"/>
                  <a:pt x="105" y="29"/>
                </a:cubicBezTo>
                <a:cubicBezTo>
                  <a:pt x="105" y="29"/>
                  <a:pt x="87" y="26"/>
                  <a:pt x="95" y="17"/>
                </a:cubicBezTo>
                <a:cubicBezTo>
                  <a:pt x="103" y="8"/>
                  <a:pt x="102" y="0"/>
                  <a:pt x="102" y="0"/>
                </a:cubicBezTo>
                <a:cubicBezTo>
                  <a:pt x="102" y="0"/>
                  <a:pt x="87" y="0"/>
                  <a:pt x="78" y="2"/>
                </a:cubicBezTo>
                <a:cubicBezTo>
                  <a:pt x="69" y="4"/>
                  <a:pt x="58" y="5"/>
                  <a:pt x="58" y="5"/>
                </a:cubicBezTo>
                <a:cubicBezTo>
                  <a:pt x="47" y="28"/>
                  <a:pt x="47" y="28"/>
                  <a:pt x="47" y="28"/>
                </a:cubicBezTo>
                <a:cubicBezTo>
                  <a:pt x="44" y="49"/>
                  <a:pt x="44" y="49"/>
                  <a:pt x="44" y="49"/>
                </a:cubicBezTo>
                <a:cubicBezTo>
                  <a:pt x="44" y="49"/>
                  <a:pt x="26" y="53"/>
                  <a:pt x="19" y="50"/>
                </a:cubicBezTo>
                <a:cubicBezTo>
                  <a:pt x="12" y="48"/>
                  <a:pt x="4" y="58"/>
                  <a:pt x="4" y="58"/>
                </a:cubicBezTo>
                <a:cubicBezTo>
                  <a:pt x="10" y="81"/>
                  <a:pt x="10" y="81"/>
                  <a:pt x="10" y="81"/>
                </a:cubicBezTo>
                <a:cubicBezTo>
                  <a:pt x="10" y="81"/>
                  <a:pt x="0" y="128"/>
                  <a:pt x="0" y="128"/>
                </a:cubicBezTo>
                <a:cubicBezTo>
                  <a:pt x="0" y="128"/>
                  <a:pt x="7" y="135"/>
                  <a:pt x="12" y="134"/>
                </a:cubicBezTo>
                <a:cubicBezTo>
                  <a:pt x="16" y="134"/>
                  <a:pt x="28" y="144"/>
                  <a:pt x="34" y="140"/>
                </a:cubicBezTo>
                <a:cubicBezTo>
                  <a:pt x="40" y="136"/>
                  <a:pt x="65" y="121"/>
                  <a:pt x="69" y="116"/>
                </a:cubicBezTo>
                <a:cubicBezTo>
                  <a:pt x="73" y="111"/>
                  <a:pt x="90" y="98"/>
                  <a:pt x="95" y="107"/>
                </a:cubicBezTo>
                <a:cubicBezTo>
                  <a:pt x="101" y="117"/>
                  <a:pt x="109" y="127"/>
                  <a:pt x="121" y="135"/>
                </a:cubicBezTo>
                <a:cubicBezTo>
                  <a:pt x="134" y="143"/>
                  <a:pt x="149" y="125"/>
                  <a:pt x="154" y="123"/>
                </a:cubicBezTo>
                <a:cubicBezTo>
                  <a:pt x="159" y="121"/>
                  <a:pt x="167" y="129"/>
                  <a:pt x="174" y="132"/>
                </a:cubicBezTo>
                <a:cubicBezTo>
                  <a:pt x="182" y="134"/>
                  <a:pt x="200" y="141"/>
                  <a:pt x="210" y="12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72" name="Freeform 608"/>
          <p:cNvSpPr>
            <a:spLocks/>
          </p:cNvSpPr>
          <p:nvPr userDrawn="1"/>
        </p:nvSpPr>
        <p:spPr bwMode="auto">
          <a:xfrm>
            <a:off x="6969763" y="4012992"/>
            <a:ext cx="361820" cy="266339"/>
          </a:xfrm>
          <a:custGeom>
            <a:avLst/>
            <a:gdLst>
              <a:gd name="T0" fmla="*/ 2147483646 w 387"/>
              <a:gd name="T1" fmla="*/ 2147483646 h 286"/>
              <a:gd name="T2" fmla="*/ 2147483646 w 387"/>
              <a:gd name="T3" fmla="*/ 2147483646 h 286"/>
              <a:gd name="T4" fmla="*/ 2147483646 w 387"/>
              <a:gd name="T5" fmla="*/ 2147483646 h 286"/>
              <a:gd name="T6" fmla="*/ 2147483646 w 387"/>
              <a:gd name="T7" fmla="*/ 2147483646 h 286"/>
              <a:gd name="T8" fmla="*/ 2147483646 w 387"/>
              <a:gd name="T9" fmla="*/ 2147483646 h 286"/>
              <a:gd name="T10" fmla="*/ 2147483646 w 387"/>
              <a:gd name="T11" fmla="*/ 2147483646 h 286"/>
              <a:gd name="T12" fmla="*/ 2147483646 w 387"/>
              <a:gd name="T13" fmla="*/ 2147483646 h 286"/>
              <a:gd name="T14" fmla="*/ 2147483646 w 387"/>
              <a:gd name="T15" fmla="*/ 2147483646 h 286"/>
              <a:gd name="T16" fmla="*/ 2147483646 w 387"/>
              <a:gd name="T17" fmla="*/ 2147483646 h 286"/>
              <a:gd name="T18" fmla="*/ 2147483646 w 387"/>
              <a:gd name="T19" fmla="*/ 2147483646 h 286"/>
              <a:gd name="T20" fmla="*/ 2147483646 w 387"/>
              <a:gd name="T21" fmla="*/ 2147483646 h 286"/>
              <a:gd name="T22" fmla="*/ 2147483646 w 387"/>
              <a:gd name="T23" fmla="*/ 2147483646 h 286"/>
              <a:gd name="T24" fmla="*/ 2147483646 w 387"/>
              <a:gd name="T25" fmla="*/ 2147483646 h 286"/>
              <a:gd name="T26" fmla="*/ 2147483646 w 387"/>
              <a:gd name="T27" fmla="*/ 2147483646 h 286"/>
              <a:gd name="T28" fmla="*/ 2147483646 w 387"/>
              <a:gd name="T29" fmla="*/ 2147483646 h 286"/>
              <a:gd name="T30" fmla="*/ 2147483646 w 387"/>
              <a:gd name="T31" fmla="*/ 2147483646 h 286"/>
              <a:gd name="T32" fmla="*/ 2147483646 w 387"/>
              <a:gd name="T33" fmla="*/ 2147483646 h 286"/>
              <a:gd name="T34" fmla="*/ 2147483646 w 387"/>
              <a:gd name="T35" fmla="*/ 2147483646 h 286"/>
              <a:gd name="T36" fmla="*/ 2147483646 w 387"/>
              <a:gd name="T37" fmla="*/ 2147483646 h 286"/>
              <a:gd name="T38" fmla="*/ 2147483646 w 387"/>
              <a:gd name="T39" fmla="*/ 2147483646 h 286"/>
              <a:gd name="T40" fmla="*/ 2147483646 w 387"/>
              <a:gd name="T41" fmla="*/ 2147483646 h 286"/>
              <a:gd name="T42" fmla="*/ 2147483646 w 387"/>
              <a:gd name="T43" fmla="*/ 2147483646 h 286"/>
              <a:gd name="T44" fmla="*/ 2147483646 w 387"/>
              <a:gd name="T45" fmla="*/ 2147483646 h 286"/>
              <a:gd name="T46" fmla="*/ 2147483646 w 387"/>
              <a:gd name="T47" fmla="*/ 2147483646 h 286"/>
              <a:gd name="T48" fmla="*/ 2147483646 w 387"/>
              <a:gd name="T49" fmla="*/ 2147483646 h 286"/>
              <a:gd name="T50" fmla="*/ 2147483646 w 387"/>
              <a:gd name="T51" fmla="*/ 2147483646 h 286"/>
              <a:gd name="T52" fmla="*/ 2147483646 w 387"/>
              <a:gd name="T53" fmla="*/ 2147483646 h 286"/>
              <a:gd name="T54" fmla="*/ 2147483646 w 387"/>
              <a:gd name="T55" fmla="*/ 2147483646 h 286"/>
              <a:gd name="T56" fmla="*/ 2147483646 w 387"/>
              <a:gd name="T57" fmla="*/ 2147483646 h 286"/>
              <a:gd name="T58" fmla="*/ 2147483646 w 387"/>
              <a:gd name="T59" fmla="*/ 2147483646 h 286"/>
              <a:gd name="T60" fmla="*/ 2147483646 w 387"/>
              <a:gd name="T61" fmla="*/ 2147483646 h 286"/>
              <a:gd name="T62" fmla="*/ 2147483646 w 387"/>
              <a:gd name="T63" fmla="*/ 2147483646 h 286"/>
              <a:gd name="T64" fmla="*/ 2147483646 w 387"/>
              <a:gd name="T65" fmla="*/ 2147483646 h 286"/>
              <a:gd name="T66" fmla="*/ 2147483646 w 387"/>
              <a:gd name="T67" fmla="*/ 2147483646 h 286"/>
              <a:gd name="T68" fmla="*/ 2147483646 w 387"/>
              <a:gd name="T69" fmla="*/ 2147483646 h 286"/>
              <a:gd name="T70" fmla="*/ 2147483646 w 387"/>
              <a:gd name="T71" fmla="*/ 2147483646 h 286"/>
              <a:gd name="T72" fmla="*/ 2147483646 w 387"/>
              <a:gd name="T73" fmla="*/ 2147483646 h 286"/>
              <a:gd name="T74" fmla="*/ 2147483646 w 387"/>
              <a:gd name="T75" fmla="*/ 2147483646 h 286"/>
              <a:gd name="T76" fmla="*/ 2147483646 w 387"/>
              <a:gd name="T77" fmla="*/ 2147483646 h 286"/>
              <a:gd name="T78" fmla="*/ 2147483646 w 387"/>
              <a:gd name="T79" fmla="*/ 2147483646 h 28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87"/>
              <a:gd name="T121" fmla="*/ 0 h 286"/>
              <a:gd name="T122" fmla="*/ 387 w 387"/>
              <a:gd name="T123" fmla="*/ 286 h 28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87" h="286">
                <a:moveTo>
                  <a:pt x="387" y="27"/>
                </a:moveTo>
                <a:cubicBezTo>
                  <a:pt x="377" y="43"/>
                  <a:pt x="359" y="36"/>
                  <a:pt x="351" y="34"/>
                </a:cubicBezTo>
                <a:cubicBezTo>
                  <a:pt x="344" y="31"/>
                  <a:pt x="336" y="23"/>
                  <a:pt x="331" y="25"/>
                </a:cubicBezTo>
                <a:cubicBezTo>
                  <a:pt x="326" y="27"/>
                  <a:pt x="311" y="45"/>
                  <a:pt x="298" y="37"/>
                </a:cubicBezTo>
                <a:cubicBezTo>
                  <a:pt x="286" y="29"/>
                  <a:pt x="278" y="19"/>
                  <a:pt x="272" y="9"/>
                </a:cubicBezTo>
                <a:cubicBezTo>
                  <a:pt x="267" y="0"/>
                  <a:pt x="250" y="13"/>
                  <a:pt x="246" y="18"/>
                </a:cubicBezTo>
                <a:cubicBezTo>
                  <a:pt x="242" y="23"/>
                  <a:pt x="217" y="38"/>
                  <a:pt x="211" y="42"/>
                </a:cubicBezTo>
                <a:cubicBezTo>
                  <a:pt x="205" y="46"/>
                  <a:pt x="193" y="36"/>
                  <a:pt x="189" y="36"/>
                </a:cubicBezTo>
                <a:cubicBezTo>
                  <a:pt x="184" y="37"/>
                  <a:pt x="177" y="30"/>
                  <a:pt x="177" y="30"/>
                </a:cubicBezTo>
                <a:cubicBezTo>
                  <a:pt x="173" y="32"/>
                  <a:pt x="158" y="27"/>
                  <a:pt x="152" y="23"/>
                </a:cubicBezTo>
                <a:cubicBezTo>
                  <a:pt x="152" y="23"/>
                  <a:pt x="138" y="28"/>
                  <a:pt x="131" y="30"/>
                </a:cubicBezTo>
                <a:cubicBezTo>
                  <a:pt x="124" y="33"/>
                  <a:pt x="115" y="37"/>
                  <a:pt x="112" y="47"/>
                </a:cubicBezTo>
                <a:cubicBezTo>
                  <a:pt x="110" y="56"/>
                  <a:pt x="109" y="65"/>
                  <a:pt x="100" y="72"/>
                </a:cubicBezTo>
                <a:cubicBezTo>
                  <a:pt x="90" y="79"/>
                  <a:pt x="80" y="78"/>
                  <a:pt x="74" y="83"/>
                </a:cubicBezTo>
                <a:cubicBezTo>
                  <a:pt x="68" y="88"/>
                  <a:pt x="58" y="83"/>
                  <a:pt x="53" y="91"/>
                </a:cubicBezTo>
                <a:cubicBezTo>
                  <a:pt x="47" y="99"/>
                  <a:pt x="43" y="121"/>
                  <a:pt x="34" y="99"/>
                </a:cubicBezTo>
                <a:cubicBezTo>
                  <a:pt x="24" y="78"/>
                  <a:pt x="35" y="71"/>
                  <a:pt x="35" y="71"/>
                </a:cubicBezTo>
                <a:cubicBezTo>
                  <a:pt x="35" y="71"/>
                  <a:pt x="14" y="86"/>
                  <a:pt x="20" y="104"/>
                </a:cubicBezTo>
                <a:cubicBezTo>
                  <a:pt x="26" y="122"/>
                  <a:pt x="24" y="136"/>
                  <a:pt x="15" y="142"/>
                </a:cubicBezTo>
                <a:cubicBezTo>
                  <a:pt x="6" y="148"/>
                  <a:pt x="0" y="150"/>
                  <a:pt x="4" y="163"/>
                </a:cubicBezTo>
                <a:cubicBezTo>
                  <a:pt x="9" y="176"/>
                  <a:pt x="11" y="187"/>
                  <a:pt x="21" y="199"/>
                </a:cubicBezTo>
                <a:cubicBezTo>
                  <a:pt x="30" y="211"/>
                  <a:pt x="37" y="223"/>
                  <a:pt x="37" y="229"/>
                </a:cubicBezTo>
                <a:cubicBezTo>
                  <a:pt x="37" y="234"/>
                  <a:pt x="38" y="239"/>
                  <a:pt x="31" y="247"/>
                </a:cubicBezTo>
                <a:cubicBezTo>
                  <a:pt x="24" y="256"/>
                  <a:pt x="10" y="266"/>
                  <a:pt x="10" y="266"/>
                </a:cubicBezTo>
                <a:cubicBezTo>
                  <a:pt x="10" y="266"/>
                  <a:pt x="17" y="279"/>
                  <a:pt x="31" y="282"/>
                </a:cubicBezTo>
                <a:cubicBezTo>
                  <a:pt x="46" y="286"/>
                  <a:pt x="95" y="278"/>
                  <a:pt x="112" y="275"/>
                </a:cubicBezTo>
                <a:cubicBezTo>
                  <a:pt x="130" y="273"/>
                  <a:pt x="150" y="272"/>
                  <a:pt x="155" y="263"/>
                </a:cubicBezTo>
                <a:cubicBezTo>
                  <a:pt x="159" y="253"/>
                  <a:pt x="158" y="248"/>
                  <a:pt x="162" y="232"/>
                </a:cubicBezTo>
                <a:cubicBezTo>
                  <a:pt x="165" y="216"/>
                  <a:pt x="168" y="203"/>
                  <a:pt x="177" y="205"/>
                </a:cubicBezTo>
                <a:cubicBezTo>
                  <a:pt x="186" y="207"/>
                  <a:pt x="179" y="205"/>
                  <a:pt x="200" y="200"/>
                </a:cubicBezTo>
                <a:cubicBezTo>
                  <a:pt x="222" y="196"/>
                  <a:pt x="231" y="177"/>
                  <a:pt x="238" y="173"/>
                </a:cubicBezTo>
                <a:cubicBezTo>
                  <a:pt x="245" y="170"/>
                  <a:pt x="254" y="143"/>
                  <a:pt x="257" y="135"/>
                </a:cubicBezTo>
                <a:cubicBezTo>
                  <a:pt x="259" y="126"/>
                  <a:pt x="269" y="119"/>
                  <a:pt x="278" y="117"/>
                </a:cubicBezTo>
                <a:cubicBezTo>
                  <a:pt x="287" y="115"/>
                  <a:pt x="292" y="104"/>
                  <a:pt x="296" y="95"/>
                </a:cubicBezTo>
                <a:cubicBezTo>
                  <a:pt x="299" y="85"/>
                  <a:pt x="301" y="77"/>
                  <a:pt x="296" y="72"/>
                </a:cubicBezTo>
                <a:cubicBezTo>
                  <a:pt x="290" y="68"/>
                  <a:pt x="288" y="59"/>
                  <a:pt x="296" y="58"/>
                </a:cubicBezTo>
                <a:cubicBezTo>
                  <a:pt x="303" y="57"/>
                  <a:pt x="304" y="45"/>
                  <a:pt x="310" y="48"/>
                </a:cubicBezTo>
                <a:cubicBezTo>
                  <a:pt x="315" y="50"/>
                  <a:pt x="320" y="48"/>
                  <a:pt x="328" y="44"/>
                </a:cubicBezTo>
                <a:cubicBezTo>
                  <a:pt x="337" y="41"/>
                  <a:pt x="334" y="38"/>
                  <a:pt x="347" y="43"/>
                </a:cubicBezTo>
                <a:cubicBezTo>
                  <a:pt x="360" y="48"/>
                  <a:pt x="387" y="43"/>
                  <a:pt x="387" y="2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73" name="Freeform 609"/>
          <p:cNvSpPr>
            <a:spLocks/>
          </p:cNvSpPr>
          <p:nvPr userDrawn="1"/>
        </p:nvSpPr>
        <p:spPr bwMode="auto">
          <a:xfrm>
            <a:off x="6483987" y="3823706"/>
            <a:ext cx="169184" cy="97156"/>
          </a:xfrm>
          <a:custGeom>
            <a:avLst/>
            <a:gdLst>
              <a:gd name="T0" fmla="*/ 2147483646 w 182"/>
              <a:gd name="T1" fmla="*/ 2147483646 h 104"/>
              <a:gd name="T2" fmla="*/ 2147483646 w 182"/>
              <a:gd name="T3" fmla="*/ 2147483646 h 104"/>
              <a:gd name="T4" fmla="*/ 2147483646 w 182"/>
              <a:gd name="T5" fmla="*/ 2147483646 h 104"/>
              <a:gd name="T6" fmla="*/ 0 w 182"/>
              <a:gd name="T7" fmla="*/ 2147483646 h 104"/>
              <a:gd name="T8" fmla="*/ 2147483646 w 182"/>
              <a:gd name="T9" fmla="*/ 2147483646 h 104"/>
              <a:gd name="T10" fmla="*/ 2147483646 w 182"/>
              <a:gd name="T11" fmla="*/ 2147483646 h 104"/>
              <a:gd name="T12" fmla="*/ 2147483646 w 182"/>
              <a:gd name="T13" fmla="*/ 2147483646 h 104"/>
              <a:gd name="T14" fmla="*/ 2147483646 w 182"/>
              <a:gd name="T15" fmla="*/ 2147483646 h 104"/>
              <a:gd name="T16" fmla="*/ 2147483646 w 182"/>
              <a:gd name="T17" fmla="*/ 2147483646 h 104"/>
              <a:gd name="T18" fmla="*/ 2147483646 w 182"/>
              <a:gd name="T19" fmla="*/ 2147483646 h 104"/>
              <a:gd name="T20" fmla="*/ 2147483646 w 182"/>
              <a:gd name="T21" fmla="*/ 2147483646 h 104"/>
              <a:gd name="T22" fmla="*/ 2147483646 w 182"/>
              <a:gd name="T23" fmla="*/ 2147483646 h 104"/>
              <a:gd name="T24" fmla="*/ 2147483646 w 182"/>
              <a:gd name="T25" fmla="*/ 2147483646 h 10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82"/>
              <a:gd name="T40" fmla="*/ 0 h 104"/>
              <a:gd name="T41" fmla="*/ 182 w 182"/>
              <a:gd name="T42" fmla="*/ 104 h 10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82" h="104">
                <a:moveTo>
                  <a:pt x="180" y="78"/>
                </a:moveTo>
                <a:cubicBezTo>
                  <a:pt x="154" y="55"/>
                  <a:pt x="163" y="42"/>
                  <a:pt x="144" y="41"/>
                </a:cubicBezTo>
                <a:cubicBezTo>
                  <a:pt x="124" y="39"/>
                  <a:pt x="89" y="31"/>
                  <a:pt x="77" y="29"/>
                </a:cubicBezTo>
                <a:cubicBezTo>
                  <a:pt x="66" y="28"/>
                  <a:pt x="28" y="0"/>
                  <a:pt x="0" y="9"/>
                </a:cubicBezTo>
                <a:cubicBezTo>
                  <a:pt x="0" y="9"/>
                  <a:pt x="6" y="23"/>
                  <a:pt x="13" y="27"/>
                </a:cubicBezTo>
                <a:cubicBezTo>
                  <a:pt x="19" y="31"/>
                  <a:pt x="37" y="48"/>
                  <a:pt x="38" y="54"/>
                </a:cubicBezTo>
                <a:cubicBezTo>
                  <a:pt x="39" y="59"/>
                  <a:pt x="20" y="71"/>
                  <a:pt x="27" y="83"/>
                </a:cubicBezTo>
                <a:cubicBezTo>
                  <a:pt x="34" y="94"/>
                  <a:pt x="56" y="98"/>
                  <a:pt x="66" y="97"/>
                </a:cubicBezTo>
                <a:cubicBezTo>
                  <a:pt x="76" y="96"/>
                  <a:pt x="90" y="95"/>
                  <a:pt x="105" y="95"/>
                </a:cubicBezTo>
                <a:cubicBezTo>
                  <a:pt x="120" y="95"/>
                  <a:pt x="118" y="91"/>
                  <a:pt x="130" y="97"/>
                </a:cubicBezTo>
                <a:cubicBezTo>
                  <a:pt x="141" y="104"/>
                  <a:pt x="150" y="104"/>
                  <a:pt x="153" y="100"/>
                </a:cubicBezTo>
                <a:cubicBezTo>
                  <a:pt x="156" y="96"/>
                  <a:pt x="182" y="104"/>
                  <a:pt x="179" y="98"/>
                </a:cubicBezTo>
                <a:cubicBezTo>
                  <a:pt x="176" y="92"/>
                  <a:pt x="180" y="78"/>
                  <a:pt x="180" y="7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74" name="Freeform 610"/>
          <p:cNvSpPr>
            <a:spLocks/>
          </p:cNvSpPr>
          <p:nvPr userDrawn="1"/>
        </p:nvSpPr>
        <p:spPr bwMode="auto">
          <a:xfrm>
            <a:off x="6604594" y="3862234"/>
            <a:ext cx="135681" cy="150759"/>
          </a:xfrm>
          <a:custGeom>
            <a:avLst/>
            <a:gdLst>
              <a:gd name="T0" fmla="*/ 0 w 145"/>
              <a:gd name="T1" fmla="*/ 2147483646 h 163"/>
              <a:gd name="T2" fmla="*/ 2147483646 w 145"/>
              <a:gd name="T3" fmla="*/ 2147483646 h 163"/>
              <a:gd name="T4" fmla="*/ 2147483646 w 145"/>
              <a:gd name="T5" fmla="*/ 2147483646 h 163"/>
              <a:gd name="T6" fmla="*/ 2147483646 w 145"/>
              <a:gd name="T7" fmla="*/ 2147483646 h 163"/>
              <a:gd name="T8" fmla="*/ 2147483646 w 145"/>
              <a:gd name="T9" fmla="*/ 2147483646 h 163"/>
              <a:gd name="T10" fmla="*/ 2147483646 w 145"/>
              <a:gd name="T11" fmla="*/ 0 h 163"/>
              <a:gd name="T12" fmla="*/ 2147483646 w 145"/>
              <a:gd name="T13" fmla="*/ 2147483646 h 163"/>
              <a:gd name="T14" fmla="*/ 2147483646 w 145"/>
              <a:gd name="T15" fmla="*/ 2147483646 h 163"/>
              <a:gd name="T16" fmla="*/ 2147483646 w 145"/>
              <a:gd name="T17" fmla="*/ 2147483646 h 163"/>
              <a:gd name="T18" fmla="*/ 2147483646 w 145"/>
              <a:gd name="T19" fmla="*/ 2147483646 h 163"/>
              <a:gd name="T20" fmla="*/ 2147483646 w 145"/>
              <a:gd name="T21" fmla="*/ 2147483646 h 163"/>
              <a:gd name="T22" fmla="*/ 2147483646 w 145"/>
              <a:gd name="T23" fmla="*/ 2147483646 h 163"/>
              <a:gd name="T24" fmla="*/ 2147483646 w 145"/>
              <a:gd name="T25" fmla="*/ 2147483646 h 163"/>
              <a:gd name="T26" fmla="*/ 2147483646 w 145"/>
              <a:gd name="T27" fmla="*/ 2147483646 h 163"/>
              <a:gd name="T28" fmla="*/ 2147483646 w 145"/>
              <a:gd name="T29" fmla="*/ 2147483646 h 163"/>
              <a:gd name="T30" fmla="*/ 2147483646 w 145"/>
              <a:gd name="T31" fmla="*/ 2147483646 h 163"/>
              <a:gd name="T32" fmla="*/ 2147483646 w 145"/>
              <a:gd name="T33" fmla="*/ 2147483646 h 163"/>
              <a:gd name="T34" fmla="*/ 2147483646 w 145"/>
              <a:gd name="T35" fmla="*/ 2147483646 h 163"/>
              <a:gd name="T36" fmla="*/ 2147483646 w 145"/>
              <a:gd name="T37" fmla="*/ 2147483646 h 163"/>
              <a:gd name="T38" fmla="*/ 0 w 145"/>
              <a:gd name="T39" fmla="*/ 2147483646 h 16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45"/>
              <a:gd name="T61" fmla="*/ 0 h 163"/>
              <a:gd name="T62" fmla="*/ 145 w 145"/>
              <a:gd name="T63" fmla="*/ 163 h 16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45" h="163">
                <a:moveTo>
                  <a:pt x="0" y="56"/>
                </a:moveTo>
                <a:cubicBezTo>
                  <a:pt x="11" y="63"/>
                  <a:pt x="20" y="63"/>
                  <a:pt x="23" y="59"/>
                </a:cubicBezTo>
                <a:cubicBezTo>
                  <a:pt x="26" y="55"/>
                  <a:pt x="52" y="63"/>
                  <a:pt x="49" y="57"/>
                </a:cubicBezTo>
                <a:cubicBezTo>
                  <a:pt x="46" y="51"/>
                  <a:pt x="50" y="37"/>
                  <a:pt x="50" y="37"/>
                </a:cubicBezTo>
                <a:cubicBezTo>
                  <a:pt x="76" y="60"/>
                  <a:pt x="90" y="47"/>
                  <a:pt x="82" y="37"/>
                </a:cubicBezTo>
                <a:cubicBezTo>
                  <a:pt x="74" y="27"/>
                  <a:pt x="76" y="0"/>
                  <a:pt x="76" y="0"/>
                </a:cubicBezTo>
                <a:cubicBezTo>
                  <a:pt x="76" y="0"/>
                  <a:pt x="89" y="26"/>
                  <a:pt x="97" y="34"/>
                </a:cubicBezTo>
                <a:cubicBezTo>
                  <a:pt x="104" y="43"/>
                  <a:pt x="111" y="59"/>
                  <a:pt x="120" y="64"/>
                </a:cubicBezTo>
                <a:cubicBezTo>
                  <a:pt x="129" y="68"/>
                  <a:pt x="137" y="76"/>
                  <a:pt x="141" y="81"/>
                </a:cubicBezTo>
                <a:cubicBezTo>
                  <a:pt x="145" y="85"/>
                  <a:pt x="136" y="89"/>
                  <a:pt x="132" y="93"/>
                </a:cubicBezTo>
                <a:cubicBezTo>
                  <a:pt x="128" y="97"/>
                  <a:pt x="120" y="95"/>
                  <a:pt x="120" y="105"/>
                </a:cubicBezTo>
                <a:cubicBezTo>
                  <a:pt x="120" y="115"/>
                  <a:pt x="116" y="121"/>
                  <a:pt x="112" y="129"/>
                </a:cubicBezTo>
                <a:cubicBezTo>
                  <a:pt x="109" y="137"/>
                  <a:pt x="109" y="150"/>
                  <a:pt x="109" y="156"/>
                </a:cubicBezTo>
                <a:cubicBezTo>
                  <a:pt x="109" y="163"/>
                  <a:pt x="94" y="160"/>
                  <a:pt x="88" y="156"/>
                </a:cubicBezTo>
                <a:cubicBezTo>
                  <a:pt x="82" y="152"/>
                  <a:pt x="76" y="133"/>
                  <a:pt x="77" y="128"/>
                </a:cubicBezTo>
                <a:cubicBezTo>
                  <a:pt x="78" y="124"/>
                  <a:pt x="80" y="115"/>
                  <a:pt x="71" y="119"/>
                </a:cubicBezTo>
                <a:cubicBezTo>
                  <a:pt x="63" y="124"/>
                  <a:pt x="54" y="128"/>
                  <a:pt x="51" y="124"/>
                </a:cubicBezTo>
                <a:cubicBezTo>
                  <a:pt x="47" y="120"/>
                  <a:pt x="43" y="110"/>
                  <a:pt x="40" y="107"/>
                </a:cubicBezTo>
                <a:cubicBezTo>
                  <a:pt x="38" y="104"/>
                  <a:pt x="19" y="88"/>
                  <a:pt x="16" y="85"/>
                </a:cubicBezTo>
                <a:cubicBezTo>
                  <a:pt x="13" y="82"/>
                  <a:pt x="0" y="56"/>
                  <a:pt x="0" y="5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75" name="Freeform 611"/>
          <p:cNvSpPr>
            <a:spLocks/>
          </p:cNvSpPr>
          <p:nvPr userDrawn="1"/>
        </p:nvSpPr>
        <p:spPr bwMode="auto">
          <a:xfrm>
            <a:off x="6545964" y="3907461"/>
            <a:ext cx="107205" cy="80404"/>
          </a:xfrm>
          <a:custGeom>
            <a:avLst/>
            <a:gdLst>
              <a:gd name="T0" fmla="*/ 2147483646 w 115"/>
              <a:gd name="T1" fmla="*/ 2147483646 h 86"/>
              <a:gd name="T2" fmla="*/ 2147483646 w 115"/>
              <a:gd name="T3" fmla="*/ 2147483646 h 86"/>
              <a:gd name="T4" fmla="*/ 2147483646 w 115"/>
              <a:gd name="T5" fmla="*/ 2147483646 h 86"/>
              <a:gd name="T6" fmla="*/ 2147483646 w 115"/>
              <a:gd name="T7" fmla="*/ 2147483646 h 86"/>
              <a:gd name="T8" fmla="*/ 2147483646 w 115"/>
              <a:gd name="T9" fmla="*/ 2147483646 h 86"/>
              <a:gd name="T10" fmla="*/ 0 w 115"/>
              <a:gd name="T11" fmla="*/ 2147483646 h 86"/>
              <a:gd name="T12" fmla="*/ 2147483646 w 115"/>
              <a:gd name="T13" fmla="*/ 2147483646 h 86"/>
              <a:gd name="T14" fmla="*/ 2147483646 w 115"/>
              <a:gd name="T15" fmla="*/ 2147483646 h 86"/>
              <a:gd name="T16" fmla="*/ 2147483646 w 115"/>
              <a:gd name="T17" fmla="*/ 2147483646 h 86"/>
              <a:gd name="T18" fmla="*/ 2147483646 w 115"/>
              <a:gd name="T19" fmla="*/ 2147483646 h 86"/>
              <a:gd name="T20" fmla="*/ 2147483646 w 115"/>
              <a:gd name="T21" fmla="*/ 2147483646 h 86"/>
              <a:gd name="T22" fmla="*/ 2147483646 w 115"/>
              <a:gd name="T23" fmla="*/ 2147483646 h 8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15"/>
              <a:gd name="T37" fmla="*/ 0 h 86"/>
              <a:gd name="T38" fmla="*/ 115 w 115"/>
              <a:gd name="T39" fmla="*/ 86 h 8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15" h="86">
                <a:moveTo>
                  <a:pt x="115" y="74"/>
                </a:moveTo>
                <a:cubicBezTo>
                  <a:pt x="111" y="70"/>
                  <a:pt x="107" y="60"/>
                  <a:pt x="104" y="57"/>
                </a:cubicBezTo>
                <a:cubicBezTo>
                  <a:pt x="102" y="54"/>
                  <a:pt x="83" y="38"/>
                  <a:pt x="80" y="35"/>
                </a:cubicBezTo>
                <a:cubicBezTo>
                  <a:pt x="77" y="32"/>
                  <a:pt x="64" y="6"/>
                  <a:pt x="64" y="6"/>
                </a:cubicBezTo>
                <a:cubicBezTo>
                  <a:pt x="52" y="0"/>
                  <a:pt x="54" y="4"/>
                  <a:pt x="39" y="4"/>
                </a:cubicBezTo>
                <a:cubicBezTo>
                  <a:pt x="24" y="4"/>
                  <a:pt x="10" y="5"/>
                  <a:pt x="0" y="6"/>
                </a:cubicBezTo>
                <a:cubicBezTo>
                  <a:pt x="0" y="6"/>
                  <a:pt x="13" y="28"/>
                  <a:pt x="20" y="32"/>
                </a:cubicBezTo>
                <a:cubicBezTo>
                  <a:pt x="26" y="35"/>
                  <a:pt x="31" y="43"/>
                  <a:pt x="31" y="54"/>
                </a:cubicBezTo>
                <a:cubicBezTo>
                  <a:pt x="32" y="64"/>
                  <a:pt x="35" y="71"/>
                  <a:pt x="41" y="71"/>
                </a:cubicBezTo>
                <a:cubicBezTo>
                  <a:pt x="47" y="72"/>
                  <a:pt x="50" y="65"/>
                  <a:pt x="60" y="69"/>
                </a:cubicBezTo>
                <a:cubicBezTo>
                  <a:pt x="71" y="74"/>
                  <a:pt x="70" y="74"/>
                  <a:pt x="80" y="78"/>
                </a:cubicBezTo>
                <a:cubicBezTo>
                  <a:pt x="89" y="82"/>
                  <a:pt x="113" y="86"/>
                  <a:pt x="115" y="7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76" name="Freeform 612"/>
          <p:cNvSpPr>
            <a:spLocks/>
          </p:cNvSpPr>
          <p:nvPr userDrawn="1"/>
        </p:nvSpPr>
        <p:spPr bwMode="auto">
          <a:xfrm>
            <a:off x="6581142" y="3969441"/>
            <a:ext cx="455625" cy="405372"/>
          </a:xfrm>
          <a:custGeom>
            <a:avLst/>
            <a:gdLst>
              <a:gd name="T0" fmla="*/ 2147483646 w 489"/>
              <a:gd name="T1" fmla="*/ 2147483646 h 434"/>
              <a:gd name="T2" fmla="*/ 2147483646 w 489"/>
              <a:gd name="T3" fmla="*/ 2147483646 h 434"/>
              <a:gd name="T4" fmla="*/ 2147483646 w 489"/>
              <a:gd name="T5" fmla="*/ 2147483646 h 434"/>
              <a:gd name="T6" fmla="*/ 2147483646 w 489"/>
              <a:gd name="T7" fmla="*/ 2147483646 h 434"/>
              <a:gd name="T8" fmla="*/ 2147483646 w 489"/>
              <a:gd name="T9" fmla="*/ 2147483646 h 434"/>
              <a:gd name="T10" fmla="*/ 2147483646 w 489"/>
              <a:gd name="T11" fmla="*/ 2147483646 h 434"/>
              <a:gd name="T12" fmla="*/ 2147483646 w 489"/>
              <a:gd name="T13" fmla="*/ 2147483646 h 434"/>
              <a:gd name="T14" fmla="*/ 2147483646 w 489"/>
              <a:gd name="T15" fmla="*/ 2147483646 h 434"/>
              <a:gd name="T16" fmla="*/ 2147483646 w 489"/>
              <a:gd name="T17" fmla="*/ 2147483646 h 434"/>
              <a:gd name="T18" fmla="*/ 2147483646 w 489"/>
              <a:gd name="T19" fmla="*/ 2147483646 h 434"/>
              <a:gd name="T20" fmla="*/ 2147483646 w 489"/>
              <a:gd name="T21" fmla="*/ 2147483646 h 434"/>
              <a:gd name="T22" fmla="*/ 2147483646 w 489"/>
              <a:gd name="T23" fmla="*/ 2147483646 h 434"/>
              <a:gd name="T24" fmla="*/ 2147483646 w 489"/>
              <a:gd name="T25" fmla="*/ 2147483646 h 434"/>
              <a:gd name="T26" fmla="*/ 2147483646 w 489"/>
              <a:gd name="T27" fmla="*/ 2147483646 h 434"/>
              <a:gd name="T28" fmla="*/ 2147483646 w 489"/>
              <a:gd name="T29" fmla="*/ 2147483646 h 434"/>
              <a:gd name="T30" fmla="*/ 2147483646 w 489"/>
              <a:gd name="T31" fmla="*/ 2147483646 h 434"/>
              <a:gd name="T32" fmla="*/ 2147483646 w 489"/>
              <a:gd name="T33" fmla="*/ 2147483646 h 434"/>
              <a:gd name="T34" fmla="*/ 2147483646 w 489"/>
              <a:gd name="T35" fmla="*/ 2147483646 h 434"/>
              <a:gd name="T36" fmla="*/ 2147483646 w 489"/>
              <a:gd name="T37" fmla="*/ 2147483646 h 434"/>
              <a:gd name="T38" fmla="*/ 2147483646 w 489"/>
              <a:gd name="T39" fmla="*/ 2147483646 h 434"/>
              <a:gd name="T40" fmla="*/ 2147483646 w 489"/>
              <a:gd name="T41" fmla="*/ 2147483646 h 434"/>
              <a:gd name="T42" fmla="*/ 2147483646 w 489"/>
              <a:gd name="T43" fmla="*/ 2147483646 h 434"/>
              <a:gd name="T44" fmla="*/ 2147483646 w 489"/>
              <a:gd name="T45" fmla="*/ 2147483646 h 434"/>
              <a:gd name="T46" fmla="*/ 2147483646 w 489"/>
              <a:gd name="T47" fmla="*/ 2147483646 h 434"/>
              <a:gd name="T48" fmla="*/ 2147483646 w 489"/>
              <a:gd name="T49" fmla="*/ 2147483646 h 434"/>
              <a:gd name="T50" fmla="*/ 2147483646 w 489"/>
              <a:gd name="T51" fmla="*/ 2147483646 h 434"/>
              <a:gd name="T52" fmla="*/ 2147483646 w 489"/>
              <a:gd name="T53" fmla="*/ 2147483646 h 434"/>
              <a:gd name="T54" fmla="*/ 2147483646 w 489"/>
              <a:gd name="T55" fmla="*/ 2147483646 h 434"/>
              <a:gd name="T56" fmla="*/ 2147483646 w 489"/>
              <a:gd name="T57" fmla="*/ 2147483646 h 434"/>
              <a:gd name="T58" fmla="*/ 2147483646 w 489"/>
              <a:gd name="T59" fmla="*/ 2147483646 h 434"/>
              <a:gd name="T60" fmla="*/ 2147483646 w 489"/>
              <a:gd name="T61" fmla="*/ 2147483646 h 434"/>
              <a:gd name="T62" fmla="*/ 2147483646 w 489"/>
              <a:gd name="T63" fmla="*/ 2147483646 h 434"/>
              <a:gd name="T64" fmla="*/ 2147483646 w 489"/>
              <a:gd name="T65" fmla="*/ 2147483646 h 434"/>
              <a:gd name="T66" fmla="*/ 2147483646 w 489"/>
              <a:gd name="T67" fmla="*/ 2147483646 h 434"/>
              <a:gd name="T68" fmla="*/ 2147483646 w 489"/>
              <a:gd name="T69" fmla="*/ 2147483646 h 434"/>
              <a:gd name="T70" fmla="*/ 2147483646 w 489"/>
              <a:gd name="T71" fmla="*/ 2147483646 h 434"/>
              <a:gd name="T72" fmla="*/ 2147483646 w 489"/>
              <a:gd name="T73" fmla="*/ 2147483646 h 434"/>
              <a:gd name="T74" fmla="*/ 2147483646 w 489"/>
              <a:gd name="T75" fmla="*/ 2147483646 h 434"/>
              <a:gd name="T76" fmla="*/ 2147483646 w 489"/>
              <a:gd name="T77" fmla="*/ 2147483646 h 434"/>
              <a:gd name="T78" fmla="*/ 2147483646 w 489"/>
              <a:gd name="T79" fmla="*/ 2147483646 h 434"/>
              <a:gd name="T80" fmla="*/ 2147483646 w 489"/>
              <a:gd name="T81" fmla="*/ 2147483646 h 434"/>
              <a:gd name="T82" fmla="*/ 2147483646 w 489"/>
              <a:gd name="T83" fmla="*/ 2147483646 h 434"/>
              <a:gd name="T84" fmla="*/ 2147483646 w 489"/>
              <a:gd name="T85" fmla="*/ 2147483646 h 434"/>
              <a:gd name="T86" fmla="*/ 2147483646 w 489"/>
              <a:gd name="T87" fmla="*/ 2147483646 h 434"/>
              <a:gd name="T88" fmla="*/ 2147483646 w 489"/>
              <a:gd name="T89" fmla="*/ 2147483646 h 434"/>
              <a:gd name="T90" fmla="*/ 2147483646 w 489"/>
              <a:gd name="T91" fmla="*/ 2147483646 h 434"/>
              <a:gd name="T92" fmla="*/ 2147483646 w 489"/>
              <a:gd name="T93" fmla="*/ 2147483646 h 434"/>
              <a:gd name="T94" fmla="*/ 2147483646 w 489"/>
              <a:gd name="T95" fmla="*/ 2147483646 h 434"/>
              <a:gd name="T96" fmla="*/ 2147483646 w 489"/>
              <a:gd name="T97" fmla="*/ 2147483646 h 434"/>
              <a:gd name="T98" fmla="*/ 2147483646 w 489"/>
              <a:gd name="T99" fmla="*/ 2147483646 h 434"/>
              <a:gd name="T100" fmla="*/ 2147483646 w 489"/>
              <a:gd name="T101" fmla="*/ 2147483646 h 434"/>
              <a:gd name="T102" fmla="*/ 2147483646 w 489"/>
              <a:gd name="T103" fmla="*/ 2147483646 h 434"/>
              <a:gd name="T104" fmla="*/ 2147483646 w 489"/>
              <a:gd name="T105" fmla="*/ 2147483646 h 434"/>
              <a:gd name="T106" fmla="*/ 2147483646 w 489"/>
              <a:gd name="T107" fmla="*/ 2147483646 h 43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89"/>
              <a:gd name="T163" fmla="*/ 0 h 434"/>
              <a:gd name="T164" fmla="*/ 489 w 489"/>
              <a:gd name="T165" fmla="*/ 434 h 43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89" h="434">
                <a:moveTo>
                  <a:pt x="449" y="329"/>
                </a:moveTo>
                <a:cubicBezTo>
                  <a:pt x="435" y="326"/>
                  <a:pt x="428" y="313"/>
                  <a:pt x="428" y="313"/>
                </a:cubicBezTo>
                <a:cubicBezTo>
                  <a:pt x="428" y="313"/>
                  <a:pt x="442" y="303"/>
                  <a:pt x="449" y="294"/>
                </a:cubicBezTo>
                <a:cubicBezTo>
                  <a:pt x="456" y="286"/>
                  <a:pt x="455" y="281"/>
                  <a:pt x="455" y="276"/>
                </a:cubicBezTo>
                <a:cubicBezTo>
                  <a:pt x="455" y="270"/>
                  <a:pt x="448" y="258"/>
                  <a:pt x="439" y="246"/>
                </a:cubicBezTo>
                <a:cubicBezTo>
                  <a:pt x="429" y="234"/>
                  <a:pt x="427" y="223"/>
                  <a:pt x="422" y="210"/>
                </a:cubicBezTo>
                <a:cubicBezTo>
                  <a:pt x="418" y="197"/>
                  <a:pt x="424" y="195"/>
                  <a:pt x="433" y="189"/>
                </a:cubicBezTo>
                <a:cubicBezTo>
                  <a:pt x="442" y="183"/>
                  <a:pt x="444" y="169"/>
                  <a:pt x="438" y="151"/>
                </a:cubicBezTo>
                <a:cubicBezTo>
                  <a:pt x="432" y="133"/>
                  <a:pt x="453" y="118"/>
                  <a:pt x="453" y="118"/>
                </a:cubicBezTo>
                <a:cubicBezTo>
                  <a:pt x="453" y="118"/>
                  <a:pt x="458" y="109"/>
                  <a:pt x="453" y="108"/>
                </a:cubicBezTo>
                <a:cubicBezTo>
                  <a:pt x="448" y="106"/>
                  <a:pt x="432" y="92"/>
                  <a:pt x="421" y="92"/>
                </a:cubicBezTo>
                <a:cubicBezTo>
                  <a:pt x="411" y="92"/>
                  <a:pt x="381" y="77"/>
                  <a:pt x="375" y="72"/>
                </a:cubicBezTo>
                <a:cubicBezTo>
                  <a:pt x="370" y="68"/>
                  <a:pt x="358" y="56"/>
                  <a:pt x="351" y="56"/>
                </a:cubicBezTo>
                <a:cubicBezTo>
                  <a:pt x="344" y="56"/>
                  <a:pt x="331" y="53"/>
                  <a:pt x="323" y="49"/>
                </a:cubicBezTo>
                <a:cubicBezTo>
                  <a:pt x="314" y="45"/>
                  <a:pt x="300" y="50"/>
                  <a:pt x="300" y="50"/>
                </a:cubicBezTo>
                <a:cubicBezTo>
                  <a:pt x="252" y="72"/>
                  <a:pt x="252" y="72"/>
                  <a:pt x="252" y="72"/>
                </a:cubicBezTo>
                <a:cubicBezTo>
                  <a:pt x="252" y="72"/>
                  <a:pt x="236" y="85"/>
                  <a:pt x="233" y="87"/>
                </a:cubicBezTo>
                <a:cubicBezTo>
                  <a:pt x="229" y="89"/>
                  <a:pt x="218" y="92"/>
                  <a:pt x="213" y="94"/>
                </a:cubicBezTo>
                <a:cubicBezTo>
                  <a:pt x="213" y="94"/>
                  <a:pt x="185" y="96"/>
                  <a:pt x="181" y="95"/>
                </a:cubicBezTo>
                <a:cubicBezTo>
                  <a:pt x="176" y="94"/>
                  <a:pt x="156" y="84"/>
                  <a:pt x="153" y="80"/>
                </a:cubicBezTo>
                <a:cubicBezTo>
                  <a:pt x="150" y="75"/>
                  <a:pt x="135" y="41"/>
                  <a:pt x="135" y="41"/>
                </a:cubicBezTo>
                <a:cubicBezTo>
                  <a:pt x="135" y="48"/>
                  <a:pt x="120" y="45"/>
                  <a:pt x="114" y="41"/>
                </a:cubicBezTo>
                <a:cubicBezTo>
                  <a:pt x="108" y="37"/>
                  <a:pt x="102" y="18"/>
                  <a:pt x="103" y="13"/>
                </a:cubicBezTo>
                <a:cubicBezTo>
                  <a:pt x="104" y="9"/>
                  <a:pt x="106" y="0"/>
                  <a:pt x="97" y="4"/>
                </a:cubicBezTo>
                <a:cubicBezTo>
                  <a:pt x="89" y="9"/>
                  <a:pt x="80" y="13"/>
                  <a:pt x="77" y="9"/>
                </a:cubicBezTo>
                <a:cubicBezTo>
                  <a:pt x="75" y="21"/>
                  <a:pt x="51" y="17"/>
                  <a:pt x="42" y="13"/>
                </a:cubicBezTo>
                <a:cubicBezTo>
                  <a:pt x="32" y="9"/>
                  <a:pt x="33" y="9"/>
                  <a:pt x="22" y="4"/>
                </a:cubicBezTo>
                <a:cubicBezTo>
                  <a:pt x="22" y="4"/>
                  <a:pt x="10" y="18"/>
                  <a:pt x="5" y="19"/>
                </a:cubicBezTo>
                <a:cubicBezTo>
                  <a:pt x="0" y="20"/>
                  <a:pt x="0" y="28"/>
                  <a:pt x="11" y="42"/>
                </a:cubicBezTo>
                <a:cubicBezTo>
                  <a:pt x="23" y="55"/>
                  <a:pt x="16" y="82"/>
                  <a:pt x="12" y="78"/>
                </a:cubicBezTo>
                <a:cubicBezTo>
                  <a:pt x="12" y="78"/>
                  <a:pt x="18" y="95"/>
                  <a:pt x="23" y="101"/>
                </a:cubicBezTo>
                <a:cubicBezTo>
                  <a:pt x="29" y="106"/>
                  <a:pt x="39" y="126"/>
                  <a:pt x="45" y="129"/>
                </a:cubicBezTo>
                <a:cubicBezTo>
                  <a:pt x="50" y="131"/>
                  <a:pt x="54" y="133"/>
                  <a:pt x="57" y="141"/>
                </a:cubicBezTo>
                <a:cubicBezTo>
                  <a:pt x="61" y="148"/>
                  <a:pt x="53" y="165"/>
                  <a:pt x="46" y="173"/>
                </a:cubicBezTo>
                <a:cubicBezTo>
                  <a:pt x="39" y="182"/>
                  <a:pt x="37" y="189"/>
                  <a:pt x="37" y="189"/>
                </a:cubicBezTo>
                <a:cubicBezTo>
                  <a:pt x="37" y="189"/>
                  <a:pt x="55" y="197"/>
                  <a:pt x="61" y="206"/>
                </a:cubicBezTo>
                <a:cubicBezTo>
                  <a:pt x="67" y="216"/>
                  <a:pt x="61" y="217"/>
                  <a:pt x="75" y="230"/>
                </a:cubicBezTo>
                <a:cubicBezTo>
                  <a:pt x="89" y="243"/>
                  <a:pt x="99" y="246"/>
                  <a:pt x="102" y="257"/>
                </a:cubicBezTo>
                <a:cubicBezTo>
                  <a:pt x="106" y="267"/>
                  <a:pt x="107" y="287"/>
                  <a:pt x="109" y="293"/>
                </a:cubicBezTo>
                <a:cubicBezTo>
                  <a:pt x="111" y="299"/>
                  <a:pt x="109" y="300"/>
                  <a:pt x="116" y="301"/>
                </a:cubicBezTo>
                <a:cubicBezTo>
                  <a:pt x="123" y="303"/>
                  <a:pt x="140" y="293"/>
                  <a:pt x="155" y="299"/>
                </a:cubicBezTo>
                <a:cubicBezTo>
                  <a:pt x="170" y="305"/>
                  <a:pt x="177" y="314"/>
                  <a:pt x="182" y="329"/>
                </a:cubicBezTo>
                <a:cubicBezTo>
                  <a:pt x="187" y="345"/>
                  <a:pt x="204" y="364"/>
                  <a:pt x="204" y="364"/>
                </a:cubicBezTo>
                <a:cubicBezTo>
                  <a:pt x="231" y="385"/>
                  <a:pt x="231" y="385"/>
                  <a:pt x="231" y="385"/>
                </a:cubicBezTo>
                <a:cubicBezTo>
                  <a:pt x="231" y="385"/>
                  <a:pt x="246" y="391"/>
                  <a:pt x="262" y="391"/>
                </a:cubicBezTo>
                <a:cubicBezTo>
                  <a:pt x="277" y="391"/>
                  <a:pt x="260" y="391"/>
                  <a:pt x="295" y="391"/>
                </a:cubicBezTo>
                <a:cubicBezTo>
                  <a:pt x="329" y="391"/>
                  <a:pt x="341" y="400"/>
                  <a:pt x="347" y="413"/>
                </a:cubicBezTo>
                <a:cubicBezTo>
                  <a:pt x="353" y="426"/>
                  <a:pt x="354" y="426"/>
                  <a:pt x="370" y="428"/>
                </a:cubicBezTo>
                <a:cubicBezTo>
                  <a:pt x="385" y="430"/>
                  <a:pt x="407" y="425"/>
                  <a:pt x="407" y="425"/>
                </a:cubicBezTo>
                <a:cubicBezTo>
                  <a:pt x="431" y="434"/>
                  <a:pt x="431" y="434"/>
                  <a:pt x="431" y="434"/>
                </a:cubicBezTo>
                <a:cubicBezTo>
                  <a:pt x="431" y="434"/>
                  <a:pt x="451" y="420"/>
                  <a:pt x="459" y="413"/>
                </a:cubicBezTo>
                <a:cubicBezTo>
                  <a:pt x="467" y="406"/>
                  <a:pt x="445" y="410"/>
                  <a:pt x="467" y="391"/>
                </a:cubicBezTo>
                <a:cubicBezTo>
                  <a:pt x="489" y="371"/>
                  <a:pt x="482" y="356"/>
                  <a:pt x="478" y="355"/>
                </a:cubicBezTo>
                <a:lnTo>
                  <a:pt x="449" y="329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77" name="Freeform 613"/>
          <p:cNvSpPr>
            <a:spLocks/>
          </p:cNvSpPr>
          <p:nvPr userDrawn="1"/>
        </p:nvSpPr>
        <p:spPr bwMode="auto">
          <a:xfrm>
            <a:off x="6448810" y="4038117"/>
            <a:ext cx="232839" cy="251264"/>
          </a:xfrm>
          <a:custGeom>
            <a:avLst/>
            <a:gdLst>
              <a:gd name="T0" fmla="*/ 2147483646 w 251"/>
              <a:gd name="T1" fmla="*/ 0 h 270"/>
              <a:gd name="T2" fmla="*/ 2147483646 w 251"/>
              <a:gd name="T3" fmla="*/ 2147483646 h 270"/>
              <a:gd name="T4" fmla="*/ 2147483646 w 251"/>
              <a:gd name="T5" fmla="*/ 2147483646 h 270"/>
              <a:gd name="T6" fmla="*/ 2147483646 w 251"/>
              <a:gd name="T7" fmla="*/ 2147483646 h 270"/>
              <a:gd name="T8" fmla="*/ 2147483646 w 251"/>
              <a:gd name="T9" fmla="*/ 2147483646 h 270"/>
              <a:gd name="T10" fmla="*/ 2147483646 w 251"/>
              <a:gd name="T11" fmla="*/ 2147483646 h 270"/>
              <a:gd name="T12" fmla="*/ 2147483646 w 251"/>
              <a:gd name="T13" fmla="*/ 2147483646 h 270"/>
              <a:gd name="T14" fmla="*/ 2147483646 w 251"/>
              <a:gd name="T15" fmla="*/ 2147483646 h 270"/>
              <a:gd name="T16" fmla="*/ 2147483646 w 251"/>
              <a:gd name="T17" fmla="*/ 2147483646 h 270"/>
              <a:gd name="T18" fmla="*/ 2147483646 w 251"/>
              <a:gd name="T19" fmla="*/ 2147483646 h 270"/>
              <a:gd name="T20" fmla="*/ 2147483646 w 251"/>
              <a:gd name="T21" fmla="*/ 2147483646 h 270"/>
              <a:gd name="T22" fmla="*/ 2147483646 w 251"/>
              <a:gd name="T23" fmla="*/ 2147483646 h 270"/>
              <a:gd name="T24" fmla="*/ 2147483646 w 251"/>
              <a:gd name="T25" fmla="*/ 2147483646 h 270"/>
              <a:gd name="T26" fmla="*/ 2147483646 w 251"/>
              <a:gd name="T27" fmla="*/ 2147483646 h 270"/>
              <a:gd name="T28" fmla="*/ 2147483646 w 251"/>
              <a:gd name="T29" fmla="*/ 2147483646 h 270"/>
              <a:gd name="T30" fmla="*/ 2147483646 w 251"/>
              <a:gd name="T31" fmla="*/ 2147483646 h 270"/>
              <a:gd name="T32" fmla="*/ 2147483646 w 251"/>
              <a:gd name="T33" fmla="*/ 2147483646 h 270"/>
              <a:gd name="T34" fmla="*/ 2147483646 w 251"/>
              <a:gd name="T35" fmla="*/ 2147483646 h 270"/>
              <a:gd name="T36" fmla="*/ 2147483646 w 251"/>
              <a:gd name="T37" fmla="*/ 2147483646 h 270"/>
              <a:gd name="T38" fmla="*/ 2147483646 w 251"/>
              <a:gd name="T39" fmla="*/ 2147483646 h 270"/>
              <a:gd name="T40" fmla="*/ 0 w 251"/>
              <a:gd name="T41" fmla="*/ 2147483646 h 270"/>
              <a:gd name="T42" fmla="*/ 2147483646 w 251"/>
              <a:gd name="T43" fmla="*/ 2147483646 h 270"/>
              <a:gd name="T44" fmla="*/ 2147483646 w 251"/>
              <a:gd name="T45" fmla="*/ 2147483646 h 270"/>
              <a:gd name="T46" fmla="*/ 2147483646 w 251"/>
              <a:gd name="T47" fmla="*/ 2147483646 h 270"/>
              <a:gd name="T48" fmla="*/ 2147483646 w 251"/>
              <a:gd name="T49" fmla="*/ 2147483646 h 270"/>
              <a:gd name="T50" fmla="*/ 2147483646 w 251"/>
              <a:gd name="T51" fmla="*/ 0 h 27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51"/>
              <a:gd name="T79" fmla="*/ 0 h 270"/>
              <a:gd name="T80" fmla="*/ 251 w 251"/>
              <a:gd name="T81" fmla="*/ 270 h 27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51" h="270">
                <a:moveTo>
                  <a:pt x="120" y="0"/>
                </a:moveTo>
                <a:cubicBezTo>
                  <a:pt x="127" y="7"/>
                  <a:pt x="150" y="0"/>
                  <a:pt x="154" y="4"/>
                </a:cubicBezTo>
                <a:cubicBezTo>
                  <a:pt x="154" y="4"/>
                  <a:pt x="160" y="21"/>
                  <a:pt x="165" y="27"/>
                </a:cubicBezTo>
                <a:cubicBezTo>
                  <a:pt x="171" y="32"/>
                  <a:pt x="181" y="52"/>
                  <a:pt x="187" y="55"/>
                </a:cubicBezTo>
                <a:cubicBezTo>
                  <a:pt x="192" y="57"/>
                  <a:pt x="196" y="59"/>
                  <a:pt x="199" y="67"/>
                </a:cubicBezTo>
                <a:cubicBezTo>
                  <a:pt x="203" y="74"/>
                  <a:pt x="195" y="91"/>
                  <a:pt x="188" y="99"/>
                </a:cubicBezTo>
                <a:cubicBezTo>
                  <a:pt x="181" y="108"/>
                  <a:pt x="179" y="115"/>
                  <a:pt x="179" y="115"/>
                </a:cubicBezTo>
                <a:cubicBezTo>
                  <a:pt x="179" y="115"/>
                  <a:pt x="197" y="123"/>
                  <a:pt x="203" y="132"/>
                </a:cubicBezTo>
                <a:cubicBezTo>
                  <a:pt x="209" y="142"/>
                  <a:pt x="203" y="143"/>
                  <a:pt x="217" y="156"/>
                </a:cubicBezTo>
                <a:cubicBezTo>
                  <a:pt x="231" y="169"/>
                  <a:pt x="241" y="172"/>
                  <a:pt x="244" y="183"/>
                </a:cubicBezTo>
                <a:cubicBezTo>
                  <a:pt x="248" y="193"/>
                  <a:pt x="249" y="213"/>
                  <a:pt x="251" y="219"/>
                </a:cubicBezTo>
                <a:cubicBezTo>
                  <a:pt x="251" y="219"/>
                  <a:pt x="246" y="233"/>
                  <a:pt x="239" y="237"/>
                </a:cubicBezTo>
                <a:cubicBezTo>
                  <a:pt x="232" y="240"/>
                  <a:pt x="228" y="245"/>
                  <a:pt x="226" y="254"/>
                </a:cubicBezTo>
                <a:cubicBezTo>
                  <a:pt x="225" y="264"/>
                  <a:pt x="214" y="270"/>
                  <a:pt x="205" y="268"/>
                </a:cubicBezTo>
                <a:cubicBezTo>
                  <a:pt x="197" y="267"/>
                  <a:pt x="185" y="263"/>
                  <a:pt x="172" y="263"/>
                </a:cubicBezTo>
                <a:cubicBezTo>
                  <a:pt x="160" y="263"/>
                  <a:pt x="148" y="260"/>
                  <a:pt x="141" y="253"/>
                </a:cubicBezTo>
                <a:cubicBezTo>
                  <a:pt x="134" y="246"/>
                  <a:pt x="117" y="218"/>
                  <a:pt x="111" y="210"/>
                </a:cubicBezTo>
                <a:cubicBezTo>
                  <a:pt x="106" y="202"/>
                  <a:pt x="95" y="189"/>
                  <a:pt x="90" y="189"/>
                </a:cubicBezTo>
                <a:cubicBezTo>
                  <a:pt x="86" y="189"/>
                  <a:pt x="48" y="167"/>
                  <a:pt x="39" y="167"/>
                </a:cubicBezTo>
                <a:cubicBezTo>
                  <a:pt x="29" y="167"/>
                  <a:pt x="15" y="163"/>
                  <a:pt x="12" y="162"/>
                </a:cubicBezTo>
                <a:cubicBezTo>
                  <a:pt x="8" y="160"/>
                  <a:pt x="0" y="126"/>
                  <a:pt x="0" y="126"/>
                </a:cubicBezTo>
                <a:cubicBezTo>
                  <a:pt x="0" y="126"/>
                  <a:pt x="12" y="118"/>
                  <a:pt x="27" y="110"/>
                </a:cubicBezTo>
                <a:cubicBezTo>
                  <a:pt x="42" y="102"/>
                  <a:pt x="57" y="88"/>
                  <a:pt x="63" y="79"/>
                </a:cubicBezTo>
                <a:cubicBezTo>
                  <a:pt x="69" y="71"/>
                  <a:pt x="76" y="59"/>
                  <a:pt x="77" y="42"/>
                </a:cubicBezTo>
                <a:cubicBezTo>
                  <a:pt x="79" y="24"/>
                  <a:pt x="95" y="9"/>
                  <a:pt x="102" y="11"/>
                </a:cubicBezTo>
                <a:cubicBezTo>
                  <a:pt x="109" y="14"/>
                  <a:pt x="120" y="0"/>
                  <a:pt x="12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78" name="Freeform 614"/>
          <p:cNvSpPr>
            <a:spLocks/>
          </p:cNvSpPr>
          <p:nvPr userDrawn="1"/>
        </p:nvSpPr>
        <p:spPr bwMode="auto">
          <a:xfrm>
            <a:off x="6373431" y="4031418"/>
            <a:ext cx="185935" cy="159135"/>
          </a:xfrm>
          <a:custGeom>
            <a:avLst/>
            <a:gdLst>
              <a:gd name="T0" fmla="*/ 2147483646 w 201"/>
              <a:gd name="T1" fmla="*/ 2147483646 h 170"/>
              <a:gd name="T2" fmla="*/ 2147483646 w 201"/>
              <a:gd name="T3" fmla="*/ 2147483646 h 170"/>
              <a:gd name="T4" fmla="*/ 2147483646 w 201"/>
              <a:gd name="T5" fmla="*/ 2147483646 h 170"/>
              <a:gd name="T6" fmla="*/ 2147483646 w 201"/>
              <a:gd name="T7" fmla="*/ 2147483646 h 170"/>
              <a:gd name="T8" fmla="*/ 2147483646 w 201"/>
              <a:gd name="T9" fmla="*/ 2147483646 h 170"/>
              <a:gd name="T10" fmla="*/ 2147483646 w 201"/>
              <a:gd name="T11" fmla="*/ 2147483646 h 170"/>
              <a:gd name="T12" fmla="*/ 2147483646 w 201"/>
              <a:gd name="T13" fmla="*/ 2147483646 h 170"/>
              <a:gd name="T14" fmla="*/ 2147483646 w 201"/>
              <a:gd name="T15" fmla="*/ 2147483646 h 170"/>
              <a:gd name="T16" fmla="*/ 2147483646 w 201"/>
              <a:gd name="T17" fmla="*/ 2147483646 h 170"/>
              <a:gd name="T18" fmla="*/ 2147483646 w 201"/>
              <a:gd name="T19" fmla="*/ 2147483646 h 170"/>
              <a:gd name="T20" fmla="*/ 2147483646 w 201"/>
              <a:gd name="T21" fmla="*/ 2147483646 h 170"/>
              <a:gd name="T22" fmla="*/ 2147483646 w 201"/>
              <a:gd name="T23" fmla="*/ 2147483646 h 170"/>
              <a:gd name="T24" fmla="*/ 2147483646 w 201"/>
              <a:gd name="T25" fmla="*/ 2147483646 h 170"/>
              <a:gd name="T26" fmla="*/ 2147483646 w 201"/>
              <a:gd name="T27" fmla="*/ 2147483646 h 170"/>
              <a:gd name="T28" fmla="*/ 2147483646 w 201"/>
              <a:gd name="T29" fmla="*/ 2147483646 h 170"/>
              <a:gd name="T30" fmla="*/ 2147483646 w 201"/>
              <a:gd name="T31" fmla="*/ 2147483646 h 170"/>
              <a:gd name="T32" fmla="*/ 2147483646 w 201"/>
              <a:gd name="T33" fmla="*/ 2147483646 h 170"/>
              <a:gd name="T34" fmla="*/ 2147483646 w 201"/>
              <a:gd name="T35" fmla="*/ 2147483646 h 170"/>
              <a:gd name="T36" fmla="*/ 2147483646 w 201"/>
              <a:gd name="T37" fmla="*/ 2147483646 h 170"/>
              <a:gd name="T38" fmla="*/ 2147483646 w 201"/>
              <a:gd name="T39" fmla="*/ 2147483646 h 17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1"/>
              <a:gd name="T61" fmla="*/ 0 h 170"/>
              <a:gd name="T62" fmla="*/ 201 w 201"/>
              <a:gd name="T63" fmla="*/ 170 h 17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1" h="170">
                <a:moveTo>
                  <a:pt x="25" y="44"/>
                </a:moveTo>
                <a:cubicBezTo>
                  <a:pt x="32" y="41"/>
                  <a:pt x="39" y="32"/>
                  <a:pt x="47" y="28"/>
                </a:cubicBezTo>
                <a:cubicBezTo>
                  <a:pt x="55" y="24"/>
                  <a:pt x="51" y="11"/>
                  <a:pt x="64" y="20"/>
                </a:cubicBezTo>
                <a:cubicBezTo>
                  <a:pt x="76" y="29"/>
                  <a:pt x="75" y="17"/>
                  <a:pt x="92" y="17"/>
                </a:cubicBezTo>
                <a:cubicBezTo>
                  <a:pt x="109" y="17"/>
                  <a:pt x="138" y="11"/>
                  <a:pt x="147" y="14"/>
                </a:cubicBezTo>
                <a:cubicBezTo>
                  <a:pt x="155" y="16"/>
                  <a:pt x="165" y="10"/>
                  <a:pt x="177" y="8"/>
                </a:cubicBezTo>
                <a:cubicBezTo>
                  <a:pt x="189" y="7"/>
                  <a:pt x="194" y="0"/>
                  <a:pt x="201" y="7"/>
                </a:cubicBezTo>
                <a:cubicBezTo>
                  <a:pt x="201" y="7"/>
                  <a:pt x="190" y="21"/>
                  <a:pt x="183" y="18"/>
                </a:cubicBezTo>
                <a:cubicBezTo>
                  <a:pt x="176" y="16"/>
                  <a:pt x="160" y="31"/>
                  <a:pt x="158" y="49"/>
                </a:cubicBezTo>
                <a:cubicBezTo>
                  <a:pt x="157" y="66"/>
                  <a:pt x="150" y="78"/>
                  <a:pt x="144" y="86"/>
                </a:cubicBezTo>
                <a:cubicBezTo>
                  <a:pt x="138" y="95"/>
                  <a:pt x="123" y="109"/>
                  <a:pt x="108" y="117"/>
                </a:cubicBezTo>
                <a:cubicBezTo>
                  <a:pt x="93" y="125"/>
                  <a:pt x="81" y="133"/>
                  <a:pt x="81" y="133"/>
                </a:cubicBezTo>
                <a:cubicBezTo>
                  <a:pt x="81" y="133"/>
                  <a:pt x="67" y="140"/>
                  <a:pt x="63" y="145"/>
                </a:cubicBezTo>
                <a:cubicBezTo>
                  <a:pt x="60" y="150"/>
                  <a:pt x="50" y="165"/>
                  <a:pt x="43" y="167"/>
                </a:cubicBezTo>
                <a:cubicBezTo>
                  <a:pt x="36" y="170"/>
                  <a:pt x="25" y="170"/>
                  <a:pt x="21" y="162"/>
                </a:cubicBezTo>
                <a:cubicBezTo>
                  <a:pt x="18" y="153"/>
                  <a:pt x="14" y="136"/>
                  <a:pt x="7" y="137"/>
                </a:cubicBezTo>
                <a:cubicBezTo>
                  <a:pt x="0" y="138"/>
                  <a:pt x="11" y="130"/>
                  <a:pt x="15" y="124"/>
                </a:cubicBezTo>
                <a:cubicBezTo>
                  <a:pt x="20" y="118"/>
                  <a:pt x="30" y="106"/>
                  <a:pt x="25" y="99"/>
                </a:cubicBezTo>
                <a:cubicBezTo>
                  <a:pt x="19" y="92"/>
                  <a:pt x="11" y="90"/>
                  <a:pt x="11" y="90"/>
                </a:cubicBezTo>
                <a:cubicBezTo>
                  <a:pt x="11" y="90"/>
                  <a:pt x="12" y="51"/>
                  <a:pt x="25" y="4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79" name="Freeform 615"/>
          <p:cNvSpPr>
            <a:spLocks/>
          </p:cNvSpPr>
          <p:nvPr userDrawn="1"/>
        </p:nvSpPr>
        <p:spPr bwMode="auto">
          <a:xfrm>
            <a:off x="6371755" y="4115172"/>
            <a:ext cx="28477" cy="43552"/>
          </a:xfrm>
          <a:custGeom>
            <a:avLst/>
            <a:gdLst>
              <a:gd name="T0" fmla="*/ 2147483646 w 31"/>
              <a:gd name="T1" fmla="*/ 0 h 47"/>
              <a:gd name="T2" fmla="*/ 2147483646 w 31"/>
              <a:gd name="T3" fmla="*/ 2147483646 h 47"/>
              <a:gd name="T4" fmla="*/ 2147483646 w 31"/>
              <a:gd name="T5" fmla="*/ 2147483646 h 47"/>
              <a:gd name="T6" fmla="*/ 2147483646 w 31"/>
              <a:gd name="T7" fmla="*/ 0 h 47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47"/>
              <a:gd name="T14" fmla="*/ 31 w 31"/>
              <a:gd name="T15" fmla="*/ 47 h 4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47">
                <a:moveTo>
                  <a:pt x="12" y="0"/>
                </a:moveTo>
                <a:cubicBezTo>
                  <a:pt x="12" y="0"/>
                  <a:pt x="31" y="10"/>
                  <a:pt x="28" y="18"/>
                </a:cubicBezTo>
                <a:cubicBezTo>
                  <a:pt x="25" y="26"/>
                  <a:pt x="5" y="47"/>
                  <a:pt x="5" y="47"/>
                </a:cubicBezTo>
                <a:cubicBezTo>
                  <a:pt x="5" y="47"/>
                  <a:pt x="0" y="16"/>
                  <a:pt x="12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80" name="Freeform 616"/>
          <p:cNvSpPr>
            <a:spLocks/>
          </p:cNvSpPr>
          <p:nvPr userDrawn="1"/>
        </p:nvSpPr>
        <p:spPr bwMode="auto">
          <a:xfrm>
            <a:off x="6334903" y="4150350"/>
            <a:ext cx="41877" cy="110556"/>
          </a:xfrm>
          <a:custGeom>
            <a:avLst/>
            <a:gdLst>
              <a:gd name="T0" fmla="*/ 2147483646 w 44"/>
              <a:gd name="T1" fmla="*/ 2147483646 h 118"/>
              <a:gd name="T2" fmla="*/ 2147483646 w 44"/>
              <a:gd name="T3" fmla="*/ 2147483646 h 118"/>
              <a:gd name="T4" fmla="*/ 2147483646 w 44"/>
              <a:gd name="T5" fmla="*/ 2147483646 h 118"/>
              <a:gd name="T6" fmla="*/ 2147483646 w 44"/>
              <a:gd name="T7" fmla="*/ 2147483646 h 118"/>
              <a:gd name="T8" fmla="*/ 2147483646 w 44"/>
              <a:gd name="T9" fmla="*/ 2147483646 h 118"/>
              <a:gd name="T10" fmla="*/ 2147483646 w 44"/>
              <a:gd name="T11" fmla="*/ 2147483646 h 118"/>
              <a:gd name="T12" fmla="*/ 2147483646 w 44"/>
              <a:gd name="T13" fmla="*/ 2147483646 h 1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4"/>
              <a:gd name="T22" fmla="*/ 0 h 118"/>
              <a:gd name="T23" fmla="*/ 44 w 44"/>
              <a:gd name="T24" fmla="*/ 118 h 1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4" h="118">
                <a:moveTo>
                  <a:pt x="44" y="8"/>
                </a:moveTo>
                <a:cubicBezTo>
                  <a:pt x="44" y="8"/>
                  <a:pt x="21" y="42"/>
                  <a:pt x="27" y="51"/>
                </a:cubicBezTo>
                <a:cubicBezTo>
                  <a:pt x="32" y="61"/>
                  <a:pt x="31" y="107"/>
                  <a:pt x="24" y="118"/>
                </a:cubicBezTo>
                <a:cubicBezTo>
                  <a:pt x="24" y="118"/>
                  <a:pt x="5" y="94"/>
                  <a:pt x="4" y="73"/>
                </a:cubicBezTo>
                <a:cubicBezTo>
                  <a:pt x="2" y="53"/>
                  <a:pt x="0" y="45"/>
                  <a:pt x="8" y="39"/>
                </a:cubicBezTo>
                <a:cubicBezTo>
                  <a:pt x="17" y="32"/>
                  <a:pt x="17" y="29"/>
                  <a:pt x="21" y="20"/>
                </a:cubicBezTo>
                <a:cubicBezTo>
                  <a:pt x="25" y="11"/>
                  <a:pt x="34" y="0"/>
                  <a:pt x="44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81" name="Freeform 617"/>
          <p:cNvSpPr>
            <a:spLocks/>
          </p:cNvSpPr>
          <p:nvPr userDrawn="1"/>
        </p:nvSpPr>
        <p:spPr bwMode="auto">
          <a:xfrm>
            <a:off x="6355004" y="4155375"/>
            <a:ext cx="103856" cy="123957"/>
          </a:xfrm>
          <a:custGeom>
            <a:avLst/>
            <a:gdLst>
              <a:gd name="T0" fmla="*/ 2147483646 w 112"/>
              <a:gd name="T1" fmla="*/ 2147483646 h 133"/>
              <a:gd name="T2" fmla="*/ 2147483646 w 112"/>
              <a:gd name="T3" fmla="*/ 0 h 133"/>
              <a:gd name="T4" fmla="*/ 2147483646 w 112"/>
              <a:gd name="T5" fmla="*/ 2147483646 h 133"/>
              <a:gd name="T6" fmla="*/ 2147483646 w 112"/>
              <a:gd name="T7" fmla="*/ 2147483646 h 133"/>
              <a:gd name="T8" fmla="*/ 2147483646 w 112"/>
              <a:gd name="T9" fmla="*/ 2147483646 h 133"/>
              <a:gd name="T10" fmla="*/ 2147483646 w 112"/>
              <a:gd name="T11" fmla="*/ 2147483646 h 133"/>
              <a:gd name="T12" fmla="*/ 2147483646 w 112"/>
              <a:gd name="T13" fmla="*/ 2147483646 h 133"/>
              <a:gd name="T14" fmla="*/ 2147483646 w 112"/>
              <a:gd name="T15" fmla="*/ 2147483646 h 133"/>
              <a:gd name="T16" fmla="*/ 2147483646 w 112"/>
              <a:gd name="T17" fmla="*/ 2147483646 h 133"/>
              <a:gd name="T18" fmla="*/ 2147483646 w 112"/>
              <a:gd name="T19" fmla="*/ 2147483646 h 133"/>
              <a:gd name="T20" fmla="*/ 2147483646 w 112"/>
              <a:gd name="T21" fmla="*/ 2147483646 h 133"/>
              <a:gd name="T22" fmla="*/ 2147483646 w 112"/>
              <a:gd name="T23" fmla="*/ 2147483646 h 133"/>
              <a:gd name="T24" fmla="*/ 2147483646 w 112"/>
              <a:gd name="T25" fmla="*/ 2147483646 h 133"/>
              <a:gd name="T26" fmla="*/ 2147483646 w 112"/>
              <a:gd name="T27" fmla="*/ 2147483646 h 133"/>
              <a:gd name="T28" fmla="*/ 2147483646 w 112"/>
              <a:gd name="T29" fmla="*/ 2147483646 h 13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12"/>
              <a:gd name="T46" fmla="*/ 0 h 133"/>
              <a:gd name="T47" fmla="*/ 112 w 112"/>
              <a:gd name="T48" fmla="*/ 133 h 13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12" h="133">
                <a:moveTo>
                  <a:pt x="112" y="36"/>
                </a:moveTo>
                <a:cubicBezTo>
                  <a:pt x="108" y="34"/>
                  <a:pt x="100" y="0"/>
                  <a:pt x="100" y="0"/>
                </a:cubicBezTo>
                <a:cubicBezTo>
                  <a:pt x="100" y="0"/>
                  <a:pt x="86" y="7"/>
                  <a:pt x="82" y="12"/>
                </a:cubicBezTo>
                <a:cubicBezTo>
                  <a:pt x="79" y="17"/>
                  <a:pt x="69" y="32"/>
                  <a:pt x="62" y="34"/>
                </a:cubicBezTo>
                <a:cubicBezTo>
                  <a:pt x="55" y="37"/>
                  <a:pt x="44" y="37"/>
                  <a:pt x="40" y="29"/>
                </a:cubicBezTo>
                <a:cubicBezTo>
                  <a:pt x="37" y="20"/>
                  <a:pt x="33" y="3"/>
                  <a:pt x="26" y="4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3"/>
                  <a:pt x="0" y="37"/>
                  <a:pt x="6" y="46"/>
                </a:cubicBezTo>
                <a:cubicBezTo>
                  <a:pt x="11" y="56"/>
                  <a:pt x="10" y="102"/>
                  <a:pt x="3" y="113"/>
                </a:cubicBezTo>
                <a:cubicBezTo>
                  <a:pt x="19" y="130"/>
                  <a:pt x="19" y="130"/>
                  <a:pt x="19" y="130"/>
                </a:cubicBezTo>
                <a:cubicBezTo>
                  <a:pt x="19" y="130"/>
                  <a:pt x="43" y="133"/>
                  <a:pt x="48" y="128"/>
                </a:cubicBezTo>
                <a:cubicBezTo>
                  <a:pt x="53" y="122"/>
                  <a:pt x="68" y="103"/>
                  <a:pt x="72" y="95"/>
                </a:cubicBezTo>
                <a:cubicBezTo>
                  <a:pt x="77" y="87"/>
                  <a:pt x="79" y="85"/>
                  <a:pt x="86" y="83"/>
                </a:cubicBezTo>
                <a:cubicBezTo>
                  <a:pt x="93" y="80"/>
                  <a:pt x="95" y="74"/>
                  <a:pt x="95" y="69"/>
                </a:cubicBezTo>
                <a:cubicBezTo>
                  <a:pt x="95" y="63"/>
                  <a:pt x="106" y="39"/>
                  <a:pt x="112" y="3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82" name="Freeform 618"/>
          <p:cNvSpPr>
            <a:spLocks/>
          </p:cNvSpPr>
          <p:nvPr userDrawn="1"/>
        </p:nvSpPr>
        <p:spPr bwMode="auto">
          <a:xfrm>
            <a:off x="6349979" y="4188876"/>
            <a:ext cx="495828" cy="428824"/>
          </a:xfrm>
          <a:custGeom>
            <a:avLst/>
            <a:gdLst>
              <a:gd name="T0" fmla="*/ 2147483646 w 532"/>
              <a:gd name="T1" fmla="*/ 2147483646 h 459"/>
              <a:gd name="T2" fmla="*/ 2147483646 w 532"/>
              <a:gd name="T3" fmla="*/ 2147483646 h 459"/>
              <a:gd name="T4" fmla="*/ 2147483646 w 532"/>
              <a:gd name="T5" fmla="*/ 2147483646 h 459"/>
              <a:gd name="T6" fmla="*/ 2147483646 w 532"/>
              <a:gd name="T7" fmla="*/ 2147483646 h 459"/>
              <a:gd name="T8" fmla="*/ 2147483646 w 532"/>
              <a:gd name="T9" fmla="*/ 2147483646 h 459"/>
              <a:gd name="T10" fmla="*/ 2147483646 w 532"/>
              <a:gd name="T11" fmla="*/ 2147483646 h 459"/>
              <a:gd name="T12" fmla="*/ 2147483646 w 532"/>
              <a:gd name="T13" fmla="*/ 2147483646 h 459"/>
              <a:gd name="T14" fmla="*/ 2147483646 w 532"/>
              <a:gd name="T15" fmla="*/ 0 h 459"/>
              <a:gd name="T16" fmla="*/ 2147483646 w 532"/>
              <a:gd name="T17" fmla="*/ 2147483646 h 459"/>
              <a:gd name="T18" fmla="*/ 2147483646 w 532"/>
              <a:gd name="T19" fmla="*/ 2147483646 h 459"/>
              <a:gd name="T20" fmla="*/ 2147483646 w 532"/>
              <a:gd name="T21" fmla="*/ 2147483646 h 459"/>
              <a:gd name="T22" fmla="*/ 2147483646 w 532"/>
              <a:gd name="T23" fmla="*/ 2147483646 h 459"/>
              <a:gd name="T24" fmla="*/ 2147483646 w 532"/>
              <a:gd name="T25" fmla="*/ 2147483646 h 459"/>
              <a:gd name="T26" fmla="*/ 2147483646 w 532"/>
              <a:gd name="T27" fmla="*/ 2147483646 h 459"/>
              <a:gd name="T28" fmla="*/ 2147483646 w 532"/>
              <a:gd name="T29" fmla="*/ 2147483646 h 459"/>
              <a:gd name="T30" fmla="*/ 2147483646 w 532"/>
              <a:gd name="T31" fmla="*/ 2147483646 h 459"/>
              <a:gd name="T32" fmla="*/ 2147483646 w 532"/>
              <a:gd name="T33" fmla="*/ 2147483646 h 459"/>
              <a:gd name="T34" fmla="*/ 2147483646 w 532"/>
              <a:gd name="T35" fmla="*/ 2147483646 h 459"/>
              <a:gd name="T36" fmla="*/ 2147483646 w 532"/>
              <a:gd name="T37" fmla="*/ 2147483646 h 459"/>
              <a:gd name="T38" fmla="*/ 2147483646 w 532"/>
              <a:gd name="T39" fmla="*/ 2147483646 h 459"/>
              <a:gd name="T40" fmla="*/ 2147483646 w 532"/>
              <a:gd name="T41" fmla="*/ 2147483646 h 459"/>
              <a:gd name="T42" fmla="*/ 2147483646 w 532"/>
              <a:gd name="T43" fmla="*/ 2147483646 h 459"/>
              <a:gd name="T44" fmla="*/ 2147483646 w 532"/>
              <a:gd name="T45" fmla="*/ 2147483646 h 459"/>
              <a:gd name="T46" fmla="*/ 2147483646 w 532"/>
              <a:gd name="T47" fmla="*/ 2147483646 h 459"/>
              <a:gd name="T48" fmla="*/ 2147483646 w 532"/>
              <a:gd name="T49" fmla="*/ 2147483646 h 459"/>
              <a:gd name="T50" fmla="*/ 2147483646 w 532"/>
              <a:gd name="T51" fmla="*/ 2147483646 h 459"/>
              <a:gd name="T52" fmla="*/ 2147483646 w 532"/>
              <a:gd name="T53" fmla="*/ 2147483646 h 459"/>
              <a:gd name="T54" fmla="*/ 2147483646 w 532"/>
              <a:gd name="T55" fmla="*/ 2147483646 h 459"/>
              <a:gd name="T56" fmla="*/ 2147483646 w 532"/>
              <a:gd name="T57" fmla="*/ 2147483646 h 459"/>
              <a:gd name="T58" fmla="*/ 2147483646 w 532"/>
              <a:gd name="T59" fmla="*/ 2147483646 h 459"/>
              <a:gd name="T60" fmla="*/ 2147483646 w 532"/>
              <a:gd name="T61" fmla="*/ 2147483646 h 459"/>
              <a:gd name="T62" fmla="*/ 2147483646 w 532"/>
              <a:gd name="T63" fmla="*/ 2147483646 h 459"/>
              <a:gd name="T64" fmla="*/ 2147483646 w 532"/>
              <a:gd name="T65" fmla="*/ 2147483646 h 459"/>
              <a:gd name="T66" fmla="*/ 2147483646 w 532"/>
              <a:gd name="T67" fmla="*/ 2147483646 h 459"/>
              <a:gd name="T68" fmla="*/ 2147483646 w 532"/>
              <a:gd name="T69" fmla="*/ 2147483646 h 459"/>
              <a:gd name="T70" fmla="*/ 2147483646 w 532"/>
              <a:gd name="T71" fmla="*/ 2147483646 h 459"/>
              <a:gd name="T72" fmla="*/ 2147483646 w 532"/>
              <a:gd name="T73" fmla="*/ 2147483646 h 459"/>
              <a:gd name="T74" fmla="*/ 2147483646 w 532"/>
              <a:gd name="T75" fmla="*/ 2147483646 h 459"/>
              <a:gd name="T76" fmla="*/ 2147483646 w 532"/>
              <a:gd name="T77" fmla="*/ 2147483646 h 459"/>
              <a:gd name="T78" fmla="*/ 2147483646 w 532"/>
              <a:gd name="T79" fmla="*/ 2147483646 h 459"/>
              <a:gd name="T80" fmla="*/ 2147483646 w 532"/>
              <a:gd name="T81" fmla="*/ 2147483646 h 459"/>
              <a:gd name="T82" fmla="*/ 2147483646 w 532"/>
              <a:gd name="T83" fmla="*/ 2147483646 h 459"/>
              <a:gd name="T84" fmla="*/ 2147483646 w 532"/>
              <a:gd name="T85" fmla="*/ 2147483646 h 459"/>
              <a:gd name="T86" fmla="*/ 2147483646 w 532"/>
              <a:gd name="T87" fmla="*/ 2147483646 h 459"/>
              <a:gd name="T88" fmla="*/ 2147483646 w 532"/>
              <a:gd name="T89" fmla="*/ 2147483646 h 459"/>
              <a:gd name="T90" fmla="*/ 2147483646 w 532"/>
              <a:gd name="T91" fmla="*/ 2147483646 h 459"/>
              <a:gd name="T92" fmla="*/ 2147483646 w 532"/>
              <a:gd name="T93" fmla="*/ 2147483646 h 459"/>
              <a:gd name="T94" fmla="*/ 2147483646 w 532"/>
              <a:gd name="T95" fmla="*/ 2147483646 h 459"/>
              <a:gd name="T96" fmla="*/ 2147483646 w 532"/>
              <a:gd name="T97" fmla="*/ 2147483646 h 459"/>
              <a:gd name="T98" fmla="*/ 2147483646 w 532"/>
              <a:gd name="T99" fmla="*/ 2147483646 h 459"/>
              <a:gd name="T100" fmla="*/ 2147483646 w 532"/>
              <a:gd name="T101" fmla="*/ 2147483646 h 459"/>
              <a:gd name="T102" fmla="*/ 2147483646 w 532"/>
              <a:gd name="T103" fmla="*/ 2147483646 h 459"/>
              <a:gd name="T104" fmla="*/ 2147483646 w 532"/>
              <a:gd name="T105" fmla="*/ 2147483646 h 459"/>
              <a:gd name="T106" fmla="*/ 2147483646 w 532"/>
              <a:gd name="T107" fmla="*/ 2147483646 h 459"/>
              <a:gd name="T108" fmla="*/ 2147483646 w 532"/>
              <a:gd name="T109" fmla="*/ 2147483646 h 459"/>
              <a:gd name="T110" fmla="*/ 2147483646 w 532"/>
              <a:gd name="T111" fmla="*/ 2147483646 h 459"/>
              <a:gd name="T112" fmla="*/ 2147483646 w 532"/>
              <a:gd name="T113" fmla="*/ 2147483646 h 459"/>
              <a:gd name="T114" fmla="*/ 2147483646 w 532"/>
              <a:gd name="T115" fmla="*/ 2147483646 h 459"/>
              <a:gd name="T116" fmla="*/ 2147483646 w 532"/>
              <a:gd name="T117" fmla="*/ 2147483646 h 459"/>
              <a:gd name="T118" fmla="*/ 2147483646 w 532"/>
              <a:gd name="T119" fmla="*/ 2147483646 h 459"/>
              <a:gd name="T120" fmla="*/ 2147483646 w 532"/>
              <a:gd name="T121" fmla="*/ 2147483646 h 459"/>
              <a:gd name="T122" fmla="*/ 2147483646 w 532"/>
              <a:gd name="T123" fmla="*/ 2147483646 h 45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32"/>
              <a:gd name="T187" fmla="*/ 0 h 459"/>
              <a:gd name="T188" fmla="*/ 532 w 532"/>
              <a:gd name="T189" fmla="*/ 459 h 45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32" h="459">
                <a:moveTo>
                  <a:pt x="332" y="92"/>
                </a:moveTo>
                <a:cubicBezTo>
                  <a:pt x="331" y="102"/>
                  <a:pt x="320" y="108"/>
                  <a:pt x="311" y="106"/>
                </a:cubicBezTo>
                <a:cubicBezTo>
                  <a:pt x="303" y="105"/>
                  <a:pt x="291" y="101"/>
                  <a:pt x="278" y="101"/>
                </a:cubicBezTo>
                <a:cubicBezTo>
                  <a:pt x="266" y="101"/>
                  <a:pt x="254" y="98"/>
                  <a:pt x="247" y="91"/>
                </a:cubicBezTo>
                <a:cubicBezTo>
                  <a:pt x="240" y="84"/>
                  <a:pt x="223" y="56"/>
                  <a:pt x="217" y="48"/>
                </a:cubicBezTo>
                <a:cubicBezTo>
                  <a:pt x="212" y="40"/>
                  <a:pt x="201" y="27"/>
                  <a:pt x="196" y="27"/>
                </a:cubicBezTo>
                <a:cubicBezTo>
                  <a:pt x="192" y="27"/>
                  <a:pt x="154" y="5"/>
                  <a:pt x="145" y="5"/>
                </a:cubicBezTo>
                <a:cubicBezTo>
                  <a:pt x="135" y="5"/>
                  <a:pt x="121" y="1"/>
                  <a:pt x="118" y="0"/>
                </a:cubicBezTo>
                <a:cubicBezTo>
                  <a:pt x="112" y="3"/>
                  <a:pt x="101" y="27"/>
                  <a:pt x="101" y="33"/>
                </a:cubicBezTo>
                <a:cubicBezTo>
                  <a:pt x="101" y="38"/>
                  <a:pt x="99" y="44"/>
                  <a:pt x="92" y="47"/>
                </a:cubicBezTo>
                <a:cubicBezTo>
                  <a:pt x="85" y="49"/>
                  <a:pt x="83" y="51"/>
                  <a:pt x="78" y="59"/>
                </a:cubicBezTo>
                <a:cubicBezTo>
                  <a:pt x="74" y="67"/>
                  <a:pt x="59" y="86"/>
                  <a:pt x="54" y="92"/>
                </a:cubicBezTo>
                <a:cubicBezTo>
                  <a:pt x="49" y="97"/>
                  <a:pt x="25" y="94"/>
                  <a:pt x="25" y="94"/>
                </a:cubicBezTo>
                <a:cubicBezTo>
                  <a:pt x="9" y="77"/>
                  <a:pt x="9" y="77"/>
                  <a:pt x="9" y="77"/>
                </a:cubicBezTo>
                <a:cubicBezTo>
                  <a:pt x="9" y="77"/>
                  <a:pt x="0" y="110"/>
                  <a:pt x="7" y="115"/>
                </a:cubicBezTo>
                <a:cubicBezTo>
                  <a:pt x="14" y="121"/>
                  <a:pt x="25" y="126"/>
                  <a:pt x="28" y="131"/>
                </a:cubicBezTo>
                <a:cubicBezTo>
                  <a:pt x="30" y="136"/>
                  <a:pt x="27" y="142"/>
                  <a:pt x="32" y="148"/>
                </a:cubicBezTo>
                <a:cubicBezTo>
                  <a:pt x="38" y="155"/>
                  <a:pt x="50" y="161"/>
                  <a:pt x="53" y="163"/>
                </a:cubicBezTo>
                <a:cubicBezTo>
                  <a:pt x="55" y="165"/>
                  <a:pt x="57" y="172"/>
                  <a:pt x="61" y="180"/>
                </a:cubicBezTo>
                <a:cubicBezTo>
                  <a:pt x="66" y="189"/>
                  <a:pt x="72" y="212"/>
                  <a:pt x="70" y="216"/>
                </a:cubicBezTo>
                <a:cubicBezTo>
                  <a:pt x="68" y="220"/>
                  <a:pt x="67" y="228"/>
                  <a:pt x="72" y="228"/>
                </a:cubicBezTo>
                <a:cubicBezTo>
                  <a:pt x="78" y="228"/>
                  <a:pt x="79" y="223"/>
                  <a:pt x="85" y="222"/>
                </a:cubicBezTo>
                <a:cubicBezTo>
                  <a:pt x="91" y="221"/>
                  <a:pt x="88" y="221"/>
                  <a:pt x="93" y="224"/>
                </a:cubicBezTo>
                <a:cubicBezTo>
                  <a:pt x="99" y="227"/>
                  <a:pt x="102" y="238"/>
                  <a:pt x="102" y="238"/>
                </a:cubicBezTo>
                <a:cubicBezTo>
                  <a:pt x="102" y="238"/>
                  <a:pt x="87" y="243"/>
                  <a:pt x="99" y="244"/>
                </a:cubicBezTo>
                <a:cubicBezTo>
                  <a:pt x="111" y="245"/>
                  <a:pt x="111" y="237"/>
                  <a:pt x="114" y="245"/>
                </a:cubicBezTo>
                <a:cubicBezTo>
                  <a:pt x="116" y="252"/>
                  <a:pt x="104" y="260"/>
                  <a:pt x="104" y="263"/>
                </a:cubicBezTo>
                <a:cubicBezTo>
                  <a:pt x="104" y="266"/>
                  <a:pt x="100" y="267"/>
                  <a:pt x="104" y="271"/>
                </a:cubicBezTo>
                <a:cubicBezTo>
                  <a:pt x="109" y="275"/>
                  <a:pt x="118" y="266"/>
                  <a:pt x="118" y="277"/>
                </a:cubicBezTo>
                <a:cubicBezTo>
                  <a:pt x="118" y="287"/>
                  <a:pt x="110" y="280"/>
                  <a:pt x="116" y="294"/>
                </a:cubicBezTo>
                <a:cubicBezTo>
                  <a:pt x="122" y="307"/>
                  <a:pt x="133" y="320"/>
                  <a:pt x="140" y="327"/>
                </a:cubicBezTo>
                <a:cubicBezTo>
                  <a:pt x="148" y="333"/>
                  <a:pt x="153" y="352"/>
                  <a:pt x="153" y="352"/>
                </a:cubicBezTo>
                <a:cubicBezTo>
                  <a:pt x="153" y="352"/>
                  <a:pt x="150" y="351"/>
                  <a:pt x="161" y="357"/>
                </a:cubicBezTo>
                <a:cubicBezTo>
                  <a:pt x="173" y="363"/>
                  <a:pt x="176" y="360"/>
                  <a:pt x="181" y="370"/>
                </a:cubicBezTo>
                <a:cubicBezTo>
                  <a:pt x="186" y="381"/>
                  <a:pt x="187" y="381"/>
                  <a:pt x="194" y="395"/>
                </a:cubicBezTo>
                <a:cubicBezTo>
                  <a:pt x="200" y="408"/>
                  <a:pt x="215" y="434"/>
                  <a:pt x="219" y="436"/>
                </a:cubicBezTo>
                <a:cubicBezTo>
                  <a:pt x="224" y="439"/>
                  <a:pt x="227" y="416"/>
                  <a:pt x="240" y="421"/>
                </a:cubicBezTo>
                <a:cubicBezTo>
                  <a:pt x="252" y="427"/>
                  <a:pt x="281" y="434"/>
                  <a:pt x="284" y="437"/>
                </a:cubicBezTo>
                <a:cubicBezTo>
                  <a:pt x="286" y="440"/>
                  <a:pt x="296" y="459"/>
                  <a:pt x="303" y="453"/>
                </a:cubicBezTo>
                <a:cubicBezTo>
                  <a:pt x="310" y="448"/>
                  <a:pt x="311" y="439"/>
                  <a:pt x="317" y="435"/>
                </a:cubicBezTo>
                <a:cubicBezTo>
                  <a:pt x="323" y="432"/>
                  <a:pt x="332" y="424"/>
                  <a:pt x="334" y="421"/>
                </a:cubicBezTo>
                <a:cubicBezTo>
                  <a:pt x="337" y="417"/>
                  <a:pt x="330" y="406"/>
                  <a:pt x="343" y="402"/>
                </a:cubicBezTo>
                <a:cubicBezTo>
                  <a:pt x="356" y="397"/>
                  <a:pt x="351" y="384"/>
                  <a:pt x="367" y="389"/>
                </a:cubicBezTo>
                <a:cubicBezTo>
                  <a:pt x="384" y="395"/>
                  <a:pt x="381" y="383"/>
                  <a:pt x="395" y="382"/>
                </a:cubicBezTo>
                <a:cubicBezTo>
                  <a:pt x="409" y="381"/>
                  <a:pt x="419" y="376"/>
                  <a:pt x="419" y="376"/>
                </a:cubicBezTo>
                <a:cubicBezTo>
                  <a:pt x="442" y="369"/>
                  <a:pt x="442" y="369"/>
                  <a:pt x="442" y="369"/>
                </a:cubicBezTo>
                <a:cubicBezTo>
                  <a:pt x="442" y="369"/>
                  <a:pt x="460" y="366"/>
                  <a:pt x="473" y="362"/>
                </a:cubicBezTo>
                <a:cubicBezTo>
                  <a:pt x="486" y="358"/>
                  <a:pt x="496" y="341"/>
                  <a:pt x="507" y="342"/>
                </a:cubicBezTo>
                <a:cubicBezTo>
                  <a:pt x="519" y="344"/>
                  <a:pt x="526" y="326"/>
                  <a:pt x="526" y="326"/>
                </a:cubicBezTo>
                <a:cubicBezTo>
                  <a:pt x="526" y="326"/>
                  <a:pt x="532" y="300"/>
                  <a:pt x="529" y="291"/>
                </a:cubicBezTo>
                <a:cubicBezTo>
                  <a:pt x="526" y="281"/>
                  <a:pt x="512" y="275"/>
                  <a:pt x="508" y="276"/>
                </a:cubicBezTo>
                <a:cubicBezTo>
                  <a:pt x="504" y="277"/>
                  <a:pt x="488" y="259"/>
                  <a:pt x="476" y="262"/>
                </a:cubicBezTo>
                <a:cubicBezTo>
                  <a:pt x="464" y="264"/>
                  <a:pt x="450" y="276"/>
                  <a:pt x="442" y="259"/>
                </a:cubicBezTo>
                <a:cubicBezTo>
                  <a:pt x="435" y="243"/>
                  <a:pt x="428" y="209"/>
                  <a:pt x="428" y="209"/>
                </a:cubicBezTo>
                <a:cubicBezTo>
                  <a:pt x="428" y="209"/>
                  <a:pt x="424" y="193"/>
                  <a:pt x="413" y="188"/>
                </a:cubicBezTo>
                <a:cubicBezTo>
                  <a:pt x="403" y="183"/>
                  <a:pt x="394" y="179"/>
                  <a:pt x="396" y="171"/>
                </a:cubicBezTo>
                <a:cubicBezTo>
                  <a:pt x="399" y="163"/>
                  <a:pt x="404" y="150"/>
                  <a:pt x="401" y="149"/>
                </a:cubicBezTo>
                <a:cubicBezTo>
                  <a:pt x="398" y="148"/>
                  <a:pt x="393" y="140"/>
                  <a:pt x="393" y="140"/>
                </a:cubicBezTo>
                <a:cubicBezTo>
                  <a:pt x="393" y="140"/>
                  <a:pt x="390" y="127"/>
                  <a:pt x="385" y="129"/>
                </a:cubicBezTo>
                <a:cubicBezTo>
                  <a:pt x="381" y="130"/>
                  <a:pt x="374" y="126"/>
                  <a:pt x="374" y="126"/>
                </a:cubicBezTo>
                <a:cubicBezTo>
                  <a:pt x="370" y="110"/>
                  <a:pt x="370" y="110"/>
                  <a:pt x="370" y="110"/>
                </a:cubicBezTo>
                <a:cubicBezTo>
                  <a:pt x="370" y="110"/>
                  <a:pt x="335" y="113"/>
                  <a:pt x="332" y="9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83" name="Freeform 619"/>
          <p:cNvSpPr>
            <a:spLocks/>
          </p:cNvSpPr>
          <p:nvPr userDrawn="1"/>
        </p:nvSpPr>
        <p:spPr bwMode="auto">
          <a:xfrm>
            <a:off x="6547641" y="4527246"/>
            <a:ext cx="257964" cy="169185"/>
          </a:xfrm>
          <a:custGeom>
            <a:avLst/>
            <a:gdLst>
              <a:gd name="T0" fmla="*/ 2147483646 w 277"/>
              <a:gd name="T1" fmla="*/ 2147483646 h 182"/>
              <a:gd name="T2" fmla="*/ 2147483646 w 277"/>
              <a:gd name="T3" fmla="*/ 2147483646 h 182"/>
              <a:gd name="T4" fmla="*/ 2147483646 w 277"/>
              <a:gd name="T5" fmla="*/ 2147483646 h 182"/>
              <a:gd name="T6" fmla="*/ 2147483646 w 277"/>
              <a:gd name="T7" fmla="*/ 2147483646 h 182"/>
              <a:gd name="T8" fmla="*/ 2147483646 w 277"/>
              <a:gd name="T9" fmla="*/ 2147483646 h 182"/>
              <a:gd name="T10" fmla="*/ 2147483646 w 277"/>
              <a:gd name="T11" fmla="*/ 2147483646 h 182"/>
              <a:gd name="T12" fmla="*/ 2147483646 w 277"/>
              <a:gd name="T13" fmla="*/ 2147483646 h 182"/>
              <a:gd name="T14" fmla="*/ 2147483646 w 277"/>
              <a:gd name="T15" fmla="*/ 2147483646 h 182"/>
              <a:gd name="T16" fmla="*/ 2147483646 w 277"/>
              <a:gd name="T17" fmla="*/ 2147483646 h 182"/>
              <a:gd name="T18" fmla="*/ 2147483646 w 277"/>
              <a:gd name="T19" fmla="*/ 2147483646 h 182"/>
              <a:gd name="T20" fmla="*/ 2147483646 w 277"/>
              <a:gd name="T21" fmla="*/ 2147483646 h 182"/>
              <a:gd name="T22" fmla="*/ 2147483646 w 277"/>
              <a:gd name="T23" fmla="*/ 0 h 182"/>
              <a:gd name="T24" fmla="*/ 2147483646 w 277"/>
              <a:gd name="T25" fmla="*/ 2147483646 h 182"/>
              <a:gd name="T26" fmla="*/ 2147483646 w 277"/>
              <a:gd name="T27" fmla="*/ 2147483646 h 182"/>
              <a:gd name="T28" fmla="*/ 2147483646 w 277"/>
              <a:gd name="T29" fmla="*/ 2147483646 h 182"/>
              <a:gd name="T30" fmla="*/ 2147483646 w 277"/>
              <a:gd name="T31" fmla="*/ 2147483646 h 182"/>
              <a:gd name="T32" fmla="*/ 2147483646 w 277"/>
              <a:gd name="T33" fmla="*/ 2147483646 h 182"/>
              <a:gd name="T34" fmla="*/ 2147483646 w 277"/>
              <a:gd name="T35" fmla="*/ 2147483646 h 182"/>
              <a:gd name="T36" fmla="*/ 2147483646 w 277"/>
              <a:gd name="T37" fmla="*/ 2147483646 h 182"/>
              <a:gd name="T38" fmla="*/ 2147483646 w 277"/>
              <a:gd name="T39" fmla="*/ 2147483646 h 182"/>
              <a:gd name="T40" fmla="*/ 2147483646 w 277"/>
              <a:gd name="T41" fmla="*/ 2147483646 h 182"/>
              <a:gd name="T42" fmla="*/ 2147483646 w 277"/>
              <a:gd name="T43" fmla="*/ 2147483646 h 182"/>
              <a:gd name="T44" fmla="*/ 2147483646 w 277"/>
              <a:gd name="T45" fmla="*/ 2147483646 h 182"/>
              <a:gd name="T46" fmla="*/ 2147483646 w 277"/>
              <a:gd name="T47" fmla="*/ 2147483646 h 182"/>
              <a:gd name="T48" fmla="*/ 2147483646 w 277"/>
              <a:gd name="T49" fmla="*/ 2147483646 h 182"/>
              <a:gd name="T50" fmla="*/ 2147483646 w 277"/>
              <a:gd name="T51" fmla="*/ 2147483646 h 182"/>
              <a:gd name="T52" fmla="*/ 2147483646 w 277"/>
              <a:gd name="T53" fmla="*/ 2147483646 h 182"/>
              <a:gd name="T54" fmla="*/ 2147483646 w 277"/>
              <a:gd name="T55" fmla="*/ 2147483646 h 182"/>
              <a:gd name="T56" fmla="*/ 2147483646 w 277"/>
              <a:gd name="T57" fmla="*/ 2147483646 h 18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77"/>
              <a:gd name="T88" fmla="*/ 0 h 182"/>
              <a:gd name="T89" fmla="*/ 277 w 277"/>
              <a:gd name="T90" fmla="*/ 182 h 18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77" h="182">
                <a:moveTo>
                  <a:pt x="7" y="74"/>
                </a:moveTo>
                <a:cubicBezTo>
                  <a:pt x="12" y="77"/>
                  <a:pt x="15" y="54"/>
                  <a:pt x="28" y="59"/>
                </a:cubicBezTo>
                <a:cubicBezTo>
                  <a:pt x="40" y="65"/>
                  <a:pt x="69" y="72"/>
                  <a:pt x="72" y="75"/>
                </a:cubicBezTo>
                <a:cubicBezTo>
                  <a:pt x="74" y="78"/>
                  <a:pt x="84" y="97"/>
                  <a:pt x="91" y="91"/>
                </a:cubicBezTo>
                <a:cubicBezTo>
                  <a:pt x="98" y="86"/>
                  <a:pt x="99" y="77"/>
                  <a:pt x="105" y="73"/>
                </a:cubicBezTo>
                <a:cubicBezTo>
                  <a:pt x="111" y="70"/>
                  <a:pt x="120" y="62"/>
                  <a:pt x="122" y="59"/>
                </a:cubicBezTo>
                <a:cubicBezTo>
                  <a:pt x="125" y="55"/>
                  <a:pt x="118" y="44"/>
                  <a:pt x="131" y="40"/>
                </a:cubicBezTo>
                <a:cubicBezTo>
                  <a:pt x="144" y="35"/>
                  <a:pt x="139" y="22"/>
                  <a:pt x="155" y="27"/>
                </a:cubicBezTo>
                <a:cubicBezTo>
                  <a:pt x="172" y="33"/>
                  <a:pt x="169" y="21"/>
                  <a:pt x="183" y="20"/>
                </a:cubicBezTo>
                <a:cubicBezTo>
                  <a:pt x="197" y="19"/>
                  <a:pt x="207" y="14"/>
                  <a:pt x="207" y="14"/>
                </a:cubicBezTo>
                <a:cubicBezTo>
                  <a:pt x="230" y="7"/>
                  <a:pt x="230" y="7"/>
                  <a:pt x="230" y="7"/>
                </a:cubicBezTo>
                <a:cubicBezTo>
                  <a:pt x="230" y="7"/>
                  <a:pt x="248" y="4"/>
                  <a:pt x="261" y="0"/>
                </a:cubicBezTo>
                <a:cubicBezTo>
                  <a:pt x="261" y="0"/>
                  <a:pt x="258" y="19"/>
                  <a:pt x="265" y="28"/>
                </a:cubicBezTo>
                <a:cubicBezTo>
                  <a:pt x="272" y="38"/>
                  <a:pt x="272" y="54"/>
                  <a:pt x="274" y="60"/>
                </a:cubicBezTo>
                <a:cubicBezTo>
                  <a:pt x="277" y="66"/>
                  <a:pt x="274" y="77"/>
                  <a:pt x="266" y="86"/>
                </a:cubicBezTo>
                <a:cubicBezTo>
                  <a:pt x="258" y="95"/>
                  <a:pt x="246" y="84"/>
                  <a:pt x="245" y="95"/>
                </a:cubicBezTo>
                <a:cubicBezTo>
                  <a:pt x="244" y="107"/>
                  <a:pt x="233" y="87"/>
                  <a:pt x="228" y="106"/>
                </a:cubicBezTo>
                <a:cubicBezTo>
                  <a:pt x="224" y="125"/>
                  <a:pt x="205" y="126"/>
                  <a:pt x="198" y="128"/>
                </a:cubicBezTo>
                <a:cubicBezTo>
                  <a:pt x="191" y="131"/>
                  <a:pt x="184" y="122"/>
                  <a:pt x="178" y="131"/>
                </a:cubicBezTo>
                <a:cubicBezTo>
                  <a:pt x="172" y="139"/>
                  <a:pt x="149" y="146"/>
                  <a:pt x="144" y="145"/>
                </a:cubicBezTo>
                <a:cubicBezTo>
                  <a:pt x="139" y="143"/>
                  <a:pt x="129" y="128"/>
                  <a:pt x="127" y="136"/>
                </a:cubicBezTo>
                <a:cubicBezTo>
                  <a:pt x="126" y="145"/>
                  <a:pt x="125" y="146"/>
                  <a:pt x="124" y="152"/>
                </a:cubicBezTo>
                <a:cubicBezTo>
                  <a:pt x="123" y="158"/>
                  <a:pt x="106" y="158"/>
                  <a:pt x="102" y="160"/>
                </a:cubicBezTo>
                <a:cubicBezTo>
                  <a:pt x="97" y="162"/>
                  <a:pt x="90" y="149"/>
                  <a:pt x="88" y="158"/>
                </a:cubicBezTo>
                <a:cubicBezTo>
                  <a:pt x="85" y="166"/>
                  <a:pt x="99" y="182"/>
                  <a:pt x="66" y="181"/>
                </a:cubicBezTo>
                <a:cubicBezTo>
                  <a:pt x="34" y="180"/>
                  <a:pt x="27" y="159"/>
                  <a:pt x="25" y="152"/>
                </a:cubicBezTo>
                <a:cubicBezTo>
                  <a:pt x="24" y="145"/>
                  <a:pt x="15" y="129"/>
                  <a:pt x="11" y="128"/>
                </a:cubicBezTo>
                <a:cubicBezTo>
                  <a:pt x="8" y="127"/>
                  <a:pt x="0" y="113"/>
                  <a:pt x="2" y="109"/>
                </a:cubicBezTo>
                <a:cubicBezTo>
                  <a:pt x="4" y="106"/>
                  <a:pt x="7" y="74"/>
                  <a:pt x="7" y="7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84" name="Freeform 620"/>
          <p:cNvSpPr>
            <a:spLocks/>
          </p:cNvSpPr>
          <p:nvPr userDrawn="1"/>
        </p:nvSpPr>
        <p:spPr bwMode="auto">
          <a:xfrm>
            <a:off x="6787178" y="4379836"/>
            <a:ext cx="170860" cy="217763"/>
          </a:xfrm>
          <a:custGeom>
            <a:avLst/>
            <a:gdLst>
              <a:gd name="T0" fmla="*/ 2147483646 w 183"/>
              <a:gd name="T1" fmla="*/ 2147483646 h 233"/>
              <a:gd name="T2" fmla="*/ 2147483646 w 183"/>
              <a:gd name="T3" fmla="*/ 2147483646 h 233"/>
              <a:gd name="T4" fmla="*/ 2147483646 w 183"/>
              <a:gd name="T5" fmla="*/ 2147483646 h 233"/>
              <a:gd name="T6" fmla="*/ 2147483646 w 183"/>
              <a:gd name="T7" fmla="*/ 2147483646 h 233"/>
              <a:gd name="T8" fmla="*/ 2147483646 w 183"/>
              <a:gd name="T9" fmla="*/ 2147483646 h 233"/>
              <a:gd name="T10" fmla="*/ 2147483646 w 183"/>
              <a:gd name="T11" fmla="*/ 2147483646 h 233"/>
              <a:gd name="T12" fmla="*/ 2147483646 w 183"/>
              <a:gd name="T13" fmla="*/ 2147483646 h 233"/>
              <a:gd name="T14" fmla="*/ 2147483646 w 183"/>
              <a:gd name="T15" fmla="*/ 2147483646 h 233"/>
              <a:gd name="T16" fmla="*/ 2147483646 w 183"/>
              <a:gd name="T17" fmla="*/ 2147483646 h 233"/>
              <a:gd name="T18" fmla="*/ 2147483646 w 183"/>
              <a:gd name="T19" fmla="*/ 2147483646 h 233"/>
              <a:gd name="T20" fmla="*/ 2147483646 w 183"/>
              <a:gd name="T21" fmla="*/ 2147483646 h 233"/>
              <a:gd name="T22" fmla="*/ 2147483646 w 183"/>
              <a:gd name="T23" fmla="*/ 2147483646 h 233"/>
              <a:gd name="T24" fmla="*/ 2147483646 w 183"/>
              <a:gd name="T25" fmla="*/ 2147483646 h 233"/>
              <a:gd name="T26" fmla="*/ 2147483646 w 183"/>
              <a:gd name="T27" fmla="*/ 2147483646 h 233"/>
              <a:gd name="T28" fmla="*/ 2147483646 w 183"/>
              <a:gd name="T29" fmla="*/ 2147483646 h 233"/>
              <a:gd name="T30" fmla="*/ 2147483646 w 183"/>
              <a:gd name="T31" fmla="*/ 2147483646 h 233"/>
              <a:gd name="T32" fmla="*/ 2147483646 w 183"/>
              <a:gd name="T33" fmla="*/ 2147483646 h 233"/>
              <a:gd name="T34" fmla="*/ 2147483646 w 183"/>
              <a:gd name="T35" fmla="*/ 2147483646 h 233"/>
              <a:gd name="T36" fmla="*/ 2147483646 w 183"/>
              <a:gd name="T37" fmla="*/ 2147483646 h 233"/>
              <a:gd name="T38" fmla="*/ 2147483646 w 183"/>
              <a:gd name="T39" fmla="*/ 2147483646 h 233"/>
              <a:gd name="T40" fmla="*/ 2147483646 w 183"/>
              <a:gd name="T41" fmla="*/ 2147483646 h 233"/>
              <a:gd name="T42" fmla="*/ 2147483646 w 183"/>
              <a:gd name="T43" fmla="*/ 2147483646 h 233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83"/>
              <a:gd name="T67" fmla="*/ 0 h 233"/>
              <a:gd name="T68" fmla="*/ 183 w 183"/>
              <a:gd name="T69" fmla="*/ 233 h 233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83" h="233">
                <a:moveTo>
                  <a:pt x="59" y="87"/>
                </a:moveTo>
                <a:cubicBezTo>
                  <a:pt x="62" y="96"/>
                  <a:pt x="56" y="122"/>
                  <a:pt x="56" y="122"/>
                </a:cubicBezTo>
                <a:cubicBezTo>
                  <a:pt x="56" y="122"/>
                  <a:pt x="49" y="140"/>
                  <a:pt x="37" y="138"/>
                </a:cubicBezTo>
                <a:cubicBezTo>
                  <a:pt x="26" y="137"/>
                  <a:pt x="16" y="154"/>
                  <a:pt x="3" y="158"/>
                </a:cubicBezTo>
                <a:cubicBezTo>
                  <a:pt x="3" y="158"/>
                  <a:pt x="0" y="177"/>
                  <a:pt x="7" y="186"/>
                </a:cubicBezTo>
                <a:cubicBezTo>
                  <a:pt x="14" y="196"/>
                  <a:pt x="14" y="212"/>
                  <a:pt x="16" y="218"/>
                </a:cubicBezTo>
                <a:cubicBezTo>
                  <a:pt x="16" y="218"/>
                  <a:pt x="22" y="233"/>
                  <a:pt x="34" y="230"/>
                </a:cubicBezTo>
                <a:cubicBezTo>
                  <a:pt x="46" y="226"/>
                  <a:pt x="62" y="222"/>
                  <a:pt x="71" y="220"/>
                </a:cubicBezTo>
                <a:cubicBezTo>
                  <a:pt x="81" y="219"/>
                  <a:pt x="97" y="215"/>
                  <a:pt x="98" y="210"/>
                </a:cubicBezTo>
                <a:cubicBezTo>
                  <a:pt x="100" y="205"/>
                  <a:pt x="90" y="196"/>
                  <a:pt x="105" y="185"/>
                </a:cubicBezTo>
                <a:cubicBezTo>
                  <a:pt x="121" y="175"/>
                  <a:pt x="124" y="157"/>
                  <a:pt x="134" y="157"/>
                </a:cubicBezTo>
                <a:cubicBezTo>
                  <a:pt x="143" y="157"/>
                  <a:pt x="143" y="166"/>
                  <a:pt x="143" y="157"/>
                </a:cubicBezTo>
                <a:cubicBezTo>
                  <a:pt x="143" y="148"/>
                  <a:pt x="155" y="129"/>
                  <a:pt x="159" y="124"/>
                </a:cubicBezTo>
                <a:cubicBezTo>
                  <a:pt x="164" y="120"/>
                  <a:pt x="173" y="103"/>
                  <a:pt x="178" y="97"/>
                </a:cubicBezTo>
                <a:cubicBezTo>
                  <a:pt x="183" y="91"/>
                  <a:pt x="166" y="63"/>
                  <a:pt x="161" y="62"/>
                </a:cubicBezTo>
                <a:cubicBezTo>
                  <a:pt x="155" y="61"/>
                  <a:pt x="144" y="36"/>
                  <a:pt x="137" y="36"/>
                </a:cubicBezTo>
                <a:cubicBezTo>
                  <a:pt x="130" y="36"/>
                  <a:pt x="116" y="34"/>
                  <a:pt x="111" y="26"/>
                </a:cubicBezTo>
                <a:cubicBezTo>
                  <a:pt x="107" y="17"/>
                  <a:pt x="98" y="14"/>
                  <a:pt x="94" y="12"/>
                </a:cubicBezTo>
                <a:cubicBezTo>
                  <a:pt x="89" y="9"/>
                  <a:pt x="84" y="0"/>
                  <a:pt x="83" y="6"/>
                </a:cubicBezTo>
                <a:cubicBezTo>
                  <a:pt x="82" y="12"/>
                  <a:pt x="81" y="33"/>
                  <a:pt x="81" y="33"/>
                </a:cubicBezTo>
                <a:cubicBezTo>
                  <a:pt x="81" y="33"/>
                  <a:pt x="71" y="46"/>
                  <a:pt x="69" y="49"/>
                </a:cubicBezTo>
                <a:cubicBezTo>
                  <a:pt x="67" y="53"/>
                  <a:pt x="59" y="87"/>
                  <a:pt x="59" y="8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85" name="Freeform 621"/>
          <p:cNvSpPr>
            <a:spLocks/>
          </p:cNvSpPr>
          <p:nvPr userDrawn="1"/>
        </p:nvSpPr>
        <p:spPr bwMode="auto">
          <a:xfrm>
            <a:off x="6735251" y="4348011"/>
            <a:ext cx="139032" cy="112231"/>
          </a:xfrm>
          <a:custGeom>
            <a:avLst/>
            <a:gdLst>
              <a:gd name="T0" fmla="*/ 0 w 150"/>
              <a:gd name="T1" fmla="*/ 2147483646 h 121"/>
              <a:gd name="T2" fmla="*/ 2147483646 w 150"/>
              <a:gd name="T3" fmla="*/ 2147483646 h 121"/>
              <a:gd name="T4" fmla="*/ 2147483646 w 150"/>
              <a:gd name="T5" fmla="*/ 2147483646 h 121"/>
              <a:gd name="T6" fmla="*/ 2147483646 w 150"/>
              <a:gd name="T7" fmla="*/ 2147483646 h 121"/>
              <a:gd name="T8" fmla="*/ 2147483646 w 150"/>
              <a:gd name="T9" fmla="*/ 2147483646 h 121"/>
              <a:gd name="T10" fmla="*/ 2147483646 w 150"/>
              <a:gd name="T11" fmla="*/ 2147483646 h 121"/>
              <a:gd name="T12" fmla="*/ 2147483646 w 150"/>
              <a:gd name="T13" fmla="*/ 2147483646 h 121"/>
              <a:gd name="T14" fmla="*/ 2147483646 w 150"/>
              <a:gd name="T15" fmla="*/ 2147483646 h 121"/>
              <a:gd name="T16" fmla="*/ 2147483646 w 150"/>
              <a:gd name="T17" fmla="*/ 2147483646 h 121"/>
              <a:gd name="T18" fmla="*/ 2147483646 w 150"/>
              <a:gd name="T19" fmla="*/ 2147483646 h 121"/>
              <a:gd name="T20" fmla="*/ 2147483646 w 150"/>
              <a:gd name="T21" fmla="*/ 2147483646 h 121"/>
              <a:gd name="T22" fmla="*/ 2147483646 w 150"/>
              <a:gd name="T23" fmla="*/ 0 h 121"/>
              <a:gd name="T24" fmla="*/ 2147483646 w 150"/>
              <a:gd name="T25" fmla="*/ 2147483646 h 121"/>
              <a:gd name="T26" fmla="*/ 2147483646 w 150"/>
              <a:gd name="T27" fmla="*/ 2147483646 h 121"/>
              <a:gd name="T28" fmla="*/ 2147483646 w 150"/>
              <a:gd name="T29" fmla="*/ 2147483646 h 121"/>
              <a:gd name="T30" fmla="*/ 2147483646 w 150"/>
              <a:gd name="T31" fmla="*/ 2147483646 h 121"/>
              <a:gd name="T32" fmla="*/ 2147483646 w 150"/>
              <a:gd name="T33" fmla="*/ 2147483646 h 121"/>
              <a:gd name="T34" fmla="*/ 2147483646 w 150"/>
              <a:gd name="T35" fmla="*/ 2147483646 h 121"/>
              <a:gd name="T36" fmla="*/ 0 w 150"/>
              <a:gd name="T37" fmla="*/ 2147483646 h 12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50"/>
              <a:gd name="T58" fmla="*/ 0 h 121"/>
              <a:gd name="T59" fmla="*/ 150 w 150"/>
              <a:gd name="T60" fmla="*/ 121 h 121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50" h="121">
                <a:moveTo>
                  <a:pt x="0" y="18"/>
                </a:moveTo>
                <a:cubicBezTo>
                  <a:pt x="11" y="23"/>
                  <a:pt x="15" y="39"/>
                  <a:pt x="15" y="39"/>
                </a:cubicBezTo>
                <a:cubicBezTo>
                  <a:pt x="15" y="39"/>
                  <a:pt x="22" y="73"/>
                  <a:pt x="29" y="89"/>
                </a:cubicBezTo>
                <a:cubicBezTo>
                  <a:pt x="37" y="106"/>
                  <a:pt x="51" y="94"/>
                  <a:pt x="63" y="92"/>
                </a:cubicBezTo>
                <a:cubicBezTo>
                  <a:pt x="75" y="89"/>
                  <a:pt x="91" y="107"/>
                  <a:pt x="95" y="106"/>
                </a:cubicBezTo>
                <a:cubicBezTo>
                  <a:pt x="99" y="105"/>
                  <a:pt x="113" y="111"/>
                  <a:pt x="116" y="121"/>
                </a:cubicBezTo>
                <a:cubicBezTo>
                  <a:pt x="116" y="121"/>
                  <a:pt x="124" y="87"/>
                  <a:pt x="126" y="83"/>
                </a:cubicBezTo>
                <a:cubicBezTo>
                  <a:pt x="128" y="80"/>
                  <a:pt x="138" y="67"/>
                  <a:pt x="138" y="67"/>
                </a:cubicBezTo>
                <a:cubicBezTo>
                  <a:pt x="138" y="67"/>
                  <a:pt x="139" y="46"/>
                  <a:pt x="140" y="40"/>
                </a:cubicBezTo>
                <a:cubicBezTo>
                  <a:pt x="140" y="40"/>
                  <a:pt x="145" y="30"/>
                  <a:pt x="148" y="27"/>
                </a:cubicBezTo>
                <a:cubicBezTo>
                  <a:pt x="150" y="24"/>
                  <a:pt x="149" y="11"/>
                  <a:pt x="149" y="9"/>
                </a:cubicBezTo>
                <a:cubicBezTo>
                  <a:pt x="149" y="7"/>
                  <a:pt x="148" y="0"/>
                  <a:pt x="148" y="0"/>
                </a:cubicBezTo>
                <a:cubicBezTo>
                  <a:pt x="148" y="0"/>
                  <a:pt x="134" y="11"/>
                  <a:pt x="132" y="16"/>
                </a:cubicBezTo>
                <a:cubicBezTo>
                  <a:pt x="130" y="20"/>
                  <a:pt x="123" y="24"/>
                  <a:pt x="118" y="30"/>
                </a:cubicBezTo>
                <a:cubicBezTo>
                  <a:pt x="113" y="36"/>
                  <a:pt x="112" y="37"/>
                  <a:pt x="109" y="42"/>
                </a:cubicBezTo>
                <a:cubicBezTo>
                  <a:pt x="106" y="46"/>
                  <a:pt x="71" y="55"/>
                  <a:pt x="66" y="55"/>
                </a:cubicBezTo>
                <a:cubicBezTo>
                  <a:pt x="62" y="54"/>
                  <a:pt x="48" y="53"/>
                  <a:pt x="45" y="52"/>
                </a:cubicBezTo>
                <a:cubicBezTo>
                  <a:pt x="42" y="51"/>
                  <a:pt x="32" y="47"/>
                  <a:pt x="30" y="44"/>
                </a:cubicBezTo>
                <a:cubicBezTo>
                  <a:pt x="29" y="40"/>
                  <a:pt x="13" y="20"/>
                  <a:pt x="0" y="1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86" name="Freeform 622"/>
          <p:cNvSpPr>
            <a:spLocks/>
          </p:cNvSpPr>
          <p:nvPr userDrawn="1"/>
        </p:nvSpPr>
        <p:spPr bwMode="auto">
          <a:xfrm>
            <a:off x="6983165" y="4038117"/>
            <a:ext cx="405372" cy="386947"/>
          </a:xfrm>
          <a:custGeom>
            <a:avLst/>
            <a:gdLst>
              <a:gd name="T0" fmla="*/ 0 w 435"/>
              <a:gd name="T1" fmla="*/ 2147483646 h 415"/>
              <a:gd name="T2" fmla="*/ 2147483646 w 435"/>
              <a:gd name="T3" fmla="*/ 2147483646 h 415"/>
              <a:gd name="T4" fmla="*/ 2147483646 w 435"/>
              <a:gd name="T5" fmla="*/ 2147483646 h 415"/>
              <a:gd name="T6" fmla="*/ 2147483646 w 435"/>
              <a:gd name="T7" fmla="*/ 2147483646 h 415"/>
              <a:gd name="T8" fmla="*/ 2147483646 w 435"/>
              <a:gd name="T9" fmla="*/ 2147483646 h 415"/>
              <a:gd name="T10" fmla="*/ 2147483646 w 435"/>
              <a:gd name="T11" fmla="*/ 2147483646 h 415"/>
              <a:gd name="T12" fmla="*/ 2147483646 w 435"/>
              <a:gd name="T13" fmla="*/ 2147483646 h 415"/>
              <a:gd name="T14" fmla="*/ 2147483646 w 435"/>
              <a:gd name="T15" fmla="*/ 2147483646 h 415"/>
              <a:gd name="T16" fmla="*/ 2147483646 w 435"/>
              <a:gd name="T17" fmla="*/ 2147483646 h 415"/>
              <a:gd name="T18" fmla="*/ 2147483646 w 435"/>
              <a:gd name="T19" fmla="*/ 2147483646 h 415"/>
              <a:gd name="T20" fmla="*/ 2147483646 w 435"/>
              <a:gd name="T21" fmla="*/ 2147483646 h 415"/>
              <a:gd name="T22" fmla="*/ 2147483646 w 435"/>
              <a:gd name="T23" fmla="*/ 2147483646 h 415"/>
              <a:gd name="T24" fmla="*/ 2147483646 w 435"/>
              <a:gd name="T25" fmla="*/ 2147483646 h 415"/>
              <a:gd name="T26" fmla="*/ 2147483646 w 435"/>
              <a:gd name="T27" fmla="*/ 2147483646 h 415"/>
              <a:gd name="T28" fmla="*/ 2147483646 w 435"/>
              <a:gd name="T29" fmla="*/ 2147483646 h 415"/>
              <a:gd name="T30" fmla="*/ 2147483646 w 435"/>
              <a:gd name="T31" fmla="*/ 2147483646 h 415"/>
              <a:gd name="T32" fmla="*/ 2147483646 w 435"/>
              <a:gd name="T33" fmla="*/ 2147483646 h 415"/>
              <a:gd name="T34" fmla="*/ 2147483646 w 435"/>
              <a:gd name="T35" fmla="*/ 2147483646 h 415"/>
              <a:gd name="T36" fmla="*/ 2147483646 w 435"/>
              <a:gd name="T37" fmla="*/ 2147483646 h 415"/>
              <a:gd name="T38" fmla="*/ 2147483646 w 435"/>
              <a:gd name="T39" fmla="*/ 2147483646 h 415"/>
              <a:gd name="T40" fmla="*/ 2147483646 w 435"/>
              <a:gd name="T41" fmla="*/ 0 h 415"/>
              <a:gd name="T42" fmla="*/ 2147483646 w 435"/>
              <a:gd name="T43" fmla="*/ 2147483646 h 415"/>
              <a:gd name="T44" fmla="*/ 2147483646 w 435"/>
              <a:gd name="T45" fmla="*/ 2147483646 h 415"/>
              <a:gd name="T46" fmla="*/ 2147483646 w 435"/>
              <a:gd name="T47" fmla="*/ 2147483646 h 415"/>
              <a:gd name="T48" fmla="*/ 2147483646 w 435"/>
              <a:gd name="T49" fmla="*/ 2147483646 h 415"/>
              <a:gd name="T50" fmla="*/ 2147483646 w 435"/>
              <a:gd name="T51" fmla="*/ 2147483646 h 415"/>
              <a:gd name="T52" fmla="*/ 2147483646 w 435"/>
              <a:gd name="T53" fmla="*/ 2147483646 h 415"/>
              <a:gd name="T54" fmla="*/ 2147483646 w 435"/>
              <a:gd name="T55" fmla="*/ 2147483646 h 415"/>
              <a:gd name="T56" fmla="*/ 2147483646 w 435"/>
              <a:gd name="T57" fmla="*/ 2147483646 h 415"/>
              <a:gd name="T58" fmla="*/ 2147483646 w 435"/>
              <a:gd name="T59" fmla="*/ 2147483646 h 415"/>
              <a:gd name="T60" fmla="*/ 2147483646 w 435"/>
              <a:gd name="T61" fmla="*/ 2147483646 h 415"/>
              <a:gd name="T62" fmla="*/ 2147483646 w 435"/>
              <a:gd name="T63" fmla="*/ 2147483646 h 415"/>
              <a:gd name="T64" fmla="*/ 2147483646 w 435"/>
              <a:gd name="T65" fmla="*/ 2147483646 h 415"/>
              <a:gd name="T66" fmla="*/ 2147483646 w 435"/>
              <a:gd name="T67" fmla="*/ 2147483646 h 415"/>
              <a:gd name="T68" fmla="*/ 2147483646 w 435"/>
              <a:gd name="T69" fmla="*/ 2147483646 h 415"/>
              <a:gd name="T70" fmla="*/ 2147483646 w 435"/>
              <a:gd name="T71" fmla="*/ 2147483646 h 415"/>
              <a:gd name="T72" fmla="*/ 2147483646 w 435"/>
              <a:gd name="T73" fmla="*/ 2147483646 h 415"/>
              <a:gd name="T74" fmla="*/ 2147483646 w 435"/>
              <a:gd name="T75" fmla="*/ 2147483646 h 415"/>
              <a:gd name="T76" fmla="*/ 2147483646 w 435"/>
              <a:gd name="T77" fmla="*/ 2147483646 h 415"/>
              <a:gd name="T78" fmla="*/ 2147483646 w 435"/>
              <a:gd name="T79" fmla="*/ 2147483646 h 415"/>
              <a:gd name="T80" fmla="*/ 2147483646 w 435"/>
              <a:gd name="T81" fmla="*/ 2147483646 h 415"/>
              <a:gd name="T82" fmla="*/ 2147483646 w 435"/>
              <a:gd name="T83" fmla="*/ 2147483646 h 415"/>
              <a:gd name="T84" fmla="*/ 2147483646 w 435"/>
              <a:gd name="T85" fmla="*/ 2147483646 h 415"/>
              <a:gd name="T86" fmla="*/ 2147483646 w 435"/>
              <a:gd name="T87" fmla="*/ 2147483646 h 415"/>
              <a:gd name="T88" fmla="*/ 2147483646 w 435"/>
              <a:gd name="T89" fmla="*/ 2147483646 h 415"/>
              <a:gd name="T90" fmla="*/ 2147483646 w 435"/>
              <a:gd name="T91" fmla="*/ 2147483646 h 415"/>
              <a:gd name="T92" fmla="*/ 2147483646 w 435"/>
              <a:gd name="T93" fmla="*/ 2147483646 h 415"/>
              <a:gd name="T94" fmla="*/ 2147483646 w 435"/>
              <a:gd name="T95" fmla="*/ 2147483646 h 415"/>
              <a:gd name="T96" fmla="*/ 0 w 435"/>
              <a:gd name="T97" fmla="*/ 2147483646 h 41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35"/>
              <a:gd name="T148" fmla="*/ 0 h 415"/>
              <a:gd name="T149" fmla="*/ 435 w 435"/>
              <a:gd name="T150" fmla="*/ 415 h 41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35" h="415">
                <a:moveTo>
                  <a:pt x="0" y="360"/>
                </a:moveTo>
                <a:cubicBezTo>
                  <a:pt x="0" y="360"/>
                  <a:pt x="20" y="346"/>
                  <a:pt x="28" y="339"/>
                </a:cubicBezTo>
                <a:cubicBezTo>
                  <a:pt x="36" y="332"/>
                  <a:pt x="14" y="336"/>
                  <a:pt x="36" y="317"/>
                </a:cubicBezTo>
                <a:cubicBezTo>
                  <a:pt x="58" y="297"/>
                  <a:pt x="51" y="282"/>
                  <a:pt x="47" y="281"/>
                </a:cubicBezTo>
                <a:cubicBezTo>
                  <a:pt x="18" y="255"/>
                  <a:pt x="18" y="255"/>
                  <a:pt x="18" y="255"/>
                </a:cubicBezTo>
                <a:cubicBezTo>
                  <a:pt x="33" y="259"/>
                  <a:pt x="82" y="251"/>
                  <a:pt x="99" y="248"/>
                </a:cubicBezTo>
                <a:cubicBezTo>
                  <a:pt x="117" y="246"/>
                  <a:pt x="137" y="245"/>
                  <a:pt x="142" y="236"/>
                </a:cubicBezTo>
                <a:cubicBezTo>
                  <a:pt x="146" y="226"/>
                  <a:pt x="145" y="221"/>
                  <a:pt x="149" y="205"/>
                </a:cubicBezTo>
                <a:cubicBezTo>
                  <a:pt x="152" y="189"/>
                  <a:pt x="155" y="176"/>
                  <a:pt x="164" y="178"/>
                </a:cubicBezTo>
                <a:cubicBezTo>
                  <a:pt x="173" y="180"/>
                  <a:pt x="166" y="178"/>
                  <a:pt x="187" y="173"/>
                </a:cubicBezTo>
                <a:cubicBezTo>
                  <a:pt x="209" y="169"/>
                  <a:pt x="218" y="150"/>
                  <a:pt x="225" y="146"/>
                </a:cubicBezTo>
                <a:cubicBezTo>
                  <a:pt x="232" y="143"/>
                  <a:pt x="241" y="116"/>
                  <a:pt x="244" y="108"/>
                </a:cubicBezTo>
                <a:cubicBezTo>
                  <a:pt x="246" y="99"/>
                  <a:pt x="256" y="92"/>
                  <a:pt x="265" y="90"/>
                </a:cubicBezTo>
                <a:cubicBezTo>
                  <a:pt x="274" y="88"/>
                  <a:pt x="279" y="77"/>
                  <a:pt x="283" y="68"/>
                </a:cubicBezTo>
                <a:cubicBezTo>
                  <a:pt x="286" y="58"/>
                  <a:pt x="288" y="50"/>
                  <a:pt x="283" y="45"/>
                </a:cubicBezTo>
                <a:cubicBezTo>
                  <a:pt x="277" y="41"/>
                  <a:pt x="275" y="32"/>
                  <a:pt x="283" y="31"/>
                </a:cubicBezTo>
                <a:cubicBezTo>
                  <a:pt x="290" y="30"/>
                  <a:pt x="291" y="18"/>
                  <a:pt x="297" y="21"/>
                </a:cubicBezTo>
                <a:cubicBezTo>
                  <a:pt x="302" y="23"/>
                  <a:pt x="307" y="21"/>
                  <a:pt x="315" y="17"/>
                </a:cubicBezTo>
                <a:cubicBezTo>
                  <a:pt x="324" y="14"/>
                  <a:pt x="321" y="11"/>
                  <a:pt x="334" y="16"/>
                </a:cubicBezTo>
                <a:cubicBezTo>
                  <a:pt x="347" y="21"/>
                  <a:pt x="375" y="17"/>
                  <a:pt x="375" y="1"/>
                </a:cubicBezTo>
                <a:cubicBezTo>
                  <a:pt x="374" y="0"/>
                  <a:pt x="374" y="0"/>
                  <a:pt x="374" y="0"/>
                </a:cubicBezTo>
                <a:cubicBezTo>
                  <a:pt x="378" y="10"/>
                  <a:pt x="398" y="24"/>
                  <a:pt x="398" y="24"/>
                </a:cubicBezTo>
                <a:cubicBezTo>
                  <a:pt x="398" y="24"/>
                  <a:pt x="431" y="43"/>
                  <a:pt x="435" y="43"/>
                </a:cubicBezTo>
                <a:cubicBezTo>
                  <a:pt x="435" y="43"/>
                  <a:pt x="429" y="59"/>
                  <a:pt x="426" y="63"/>
                </a:cubicBezTo>
                <a:cubicBezTo>
                  <a:pt x="422" y="67"/>
                  <a:pt x="427" y="82"/>
                  <a:pt x="421" y="85"/>
                </a:cubicBezTo>
                <a:cubicBezTo>
                  <a:pt x="415" y="89"/>
                  <a:pt x="390" y="85"/>
                  <a:pt x="382" y="83"/>
                </a:cubicBezTo>
                <a:cubicBezTo>
                  <a:pt x="374" y="81"/>
                  <a:pt x="374" y="78"/>
                  <a:pt x="360" y="79"/>
                </a:cubicBezTo>
                <a:cubicBezTo>
                  <a:pt x="346" y="81"/>
                  <a:pt x="328" y="84"/>
                  <a:pt x="333" y="97"/>
                </a:cubicBezTo>
                <a:cubicBezTo>
                  <a:pt x="338" y="110"/>
                  <a:pt x="351" y="136"/>
                  <a:pt x="356" y="139"/>
                </a:cubicBezTo>
                <a:cubicBezTo>
                  <a:pt x="362" y="143"/>
                  <a:pt x="373" y="148"/>
                  <a:pt x="378" y="153"/>
                </a:cubicBezTo>
                <a:cubicBezTo>
                  <a:pt x="382" y="159"/>
                  <a:pt x="375" y="179"/>
                  <a:pt x="371" y="185"/>
                </a:cubicBezTo>
                <a:cubicBezTo>
                  <a:pt x="366" y="191"/>
                  <a:pt x="360" y="194"/>
                  <a:pt x="353" y="207"/>
                </a:cubicBezTo>
                <a:cubicBezTo>
                  <a:pt x="346" y="220"/>
                  <a:pt x="325" y="237"/>
                  <a:pt x="321" y="247"/>
                </a:cubicBezTo>
                <a:cubicBezTo>
                  <a:pt x="318" y="258"/>
                  <a:pt x="295" y="284"/>
                  <a:pt x="287" y="286"/>
                </a:cubicBezTo>
                <a:cubicBezTo>
                  <a:pt x="279" y="288"/>
                  <a:pt x="265" y="301"/>
                  <a:pt x="253" y="301"/>
                </a:cubicBezTo>
                <a:cubicBezTo>
                  <a:pt x="241" y="301"/>
                  <a:pt x="223" y="291"/>
                  <a:pt x="226" y="308"/>
                </a:cubicBezTo>
                <a:cubicBezTo>
                  <a:pt x="230" y="326"/>
                  <a:pt x="241" y="347"/>
                  <a:pt x="251" y="351"/>
                </a:cubicBezTo>
                <a:cubicBezTo>
                  <a:pt x="260" y="354"/>
                  <a:pt x="252" y="361"/>
                  <a:pt x="260" y="362"/>
                </a:cubicBezTo>
                <a:cubicBezTo>
                  <a:pt x="268" y="363"/>
                  <a:pt x="279" y="367"/>
                  <a:pt x="277" y="379"/>
                </a:cubicBezTo>
                <a:cubicBezTo>
                  <a:pt x="274" y="390"/>
                  <a:pt x="263" y="392"/>
                  <a:pt x="253" y="389"/>
                </a:cubicBezTo>
                <a:cubicBezTo>
                  <a:pt x="244" y="387"/>
                  <a:pt x="233" y="375"/>
                  <a:pt x="227" y="383"/>
                </a:cubicBezTo>
                <a:cubicBezTo>
                  <a:pt x="221" y="392"/>
                  <a:pt x="214" y="393"/>
                  <a:pt x="210" y="401"/>
                </a:cubicBezTo>
                <a:cubicBezTo>
                  <a:pt x="205" y="409"/>
                  <a:pt x="197" y="415"/>
                  <a:pt x="197" y="415"/>
                </a:cubicBezTo>
                <a:cubicBezTo>
                  <a:pt x="197" y="415"/>
                  <a:pt x="177" y="398"/>
                  <a:pt x="171" y="390"/>
                </a:cubicBezTo>
                <a:cubicBezTo>
                  <a:pt x="165" y="383"/>
                  <a:pt x="160" y="375"/>
                  <a:pt x="158" y="367"/>
                </a:cubicBezTo>
                <a:cubicBezTo>
                  <a:pt x="156" y="359"/>
                  <a:pt x="135" y="348"/>
                  <a:pt x="125" y="355"/>
                </a:cubicBezTo>
                <a:cubicBezTo>
                  <a:pt x="116" y="362"/>
                  <a:pt x="101" y="363"/>
                  <a:pt x="94" y="365"/>
                </a:cubicBezTo>
                <a:cubicBezTo>
                  <a:pt x="87" y="366"/>
                  <a:pt x="78" y="358"/>
                  <a:pt x="69" y="363"/>
                </a:cubicBezTo>
                <a:cubicBezTo>
                  <a:pt x="60" y="369"/>
                  <a:pt x="0" y="360"/>
                  <a:pt x="0" y="36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87" name="Freeform 623"/>
          <p:cNvSpPr>
            <a:spLocks/>
          </p:cNvSpPr>
          <p:nvPr userDrawn="1"/>
        </p:nvSpPr>
        <p:spPr bwMode="auto">
          <a:xfrm>
            <a:off x="7452189" y="4234105"/>
            <a:ext cx="192635" cy="120607"/>
          </a:xfrm>
          <a:custGeom>
            <a:avLst/>
            <a:gdLst>
              <a:gd name="T0" fmla="*/ 2147483646 w 206"/>
              <a:gd name="T1" fmla="*/ 0 h 129"/>
              <a:gd name="T2" fmla="*/ 2147483646 w 206"/>
              <a:gd name="T3" fmla="*/ 2147483646 h 129"/>
              <a:gd name="T4" fmla="*/ 2147483646 w 206"/>
              <a:gd name="T5" fmla="*/ 2147483646 h 129"/>
              <a:gd name="T6" fmla="*/ 2147483646 w 206"/>
              <a:gd name="T7" fmla="*/ 2147483646 h 129"/>
              <a:gd name="T8" fmla="*/ 2147483646 w 206"/>
              <a:gd name="T9" fmla="*/ 2147483646 h 129"/>
              <a:gd name="T10" fmla="*/ 2147483646 w 206"/>
              <a:gd name="T11" fmla="*/ 2147483646 h 129"/>
              <a:gd name="T12" fmla="*/ 2147483646 w 206"/>
              <a:gd name="T13" fmla="*/ 2147483646 h 129"/>
              <a:gd name="T14" fmla="*/ 2147483646 w 206"/>
              <a:gd name="T15" fmla="*/ 2147483646 h 129"/>
              <a:gd name="T16" fmla="*/ 2147483646 w 206"/>
              <a:gd name="T17" fmla="*/ 2147483646 h 129"/>
              <a:gd name="T18" fmla="*/ 2147483646 w 206"/>
              <a:gd name="T19" fmla="*/ 2147483646 h 129"/>
              <a:gd name="T20" fmla="*/ 2147483646 w 206"/>
              <a:gd name="T21" fmla="*/ 2147483646 h 129"/>
              <a:gd name="T22" fmla="*/ 2147483646 w 206"/>
              <a:gd name="T23" fmla="*/ 2147483646 h 129"/>
              <a:gd name="T24" fmla="*/ 2147483646 w 206"/>
              <a:gd name="T25" fmla="*/ 2147483646 h 129"/>
              <a:gd name="T26" fmla="*/ 2147483646 w 206"/>
              <a:gd name="T27" fmla="*/ 2147483646 h 129"/>
              <a:gd name="T28" fmla="*/ 2147483646 w 206"/>
              <a:gd name="T29" fmla="*/ 0 h 12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6"/>
              <a:gd name="T46" fmla="*/ 0 h 129"/>
              <a:gd name="T47" fmla="*/ 206 w 206"/>
              <a:gd name="T48" fmla="*/ 129 h 12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6" h="129">
                <a:moveTo>
                  <a:pt x="27" y="0"/>
                </a:moveTo>
                <a:cubicBezTo>
                  <a:pt x="33" y="17"/>
                  <a:pt x="27" y="6"/>
                  <a:pt x="46" y="21"/>
                </a:cubicBezTo>
                <a:cubicBezTo>
                  <a:pt x="65" y="36"/>
                  <a:pt x="85" y="45"/>
                  <a:pt x="85" y="45"/>
                </a:cubicBezTo>
                <a:cubicBezTo>
                  <a:pt x="115" y="63"/>
                  <a:pt x="115" y="63"/>
                  <a:pt x="115" y="63"/>
                </a:cubicBezTo>
                <a:cubicBezTo>
                  <a:pt x="115" y="63"/>
                  <a:pt x="136" y="61"/>
                  <a:pt x="150" y="68"/>
                </a:cubicBezTo>
                <a:cubicBezTo>
                  <a:pt x="164" y="75"/>
                  <a:pt x="167" y="53"/>
                  <a:pt x="177" y="71"/>
                </a:cubicBezTo>
                <a:cubicBezTo>
                  <a:pt x="188" y="90"/>
                  <a:pt x="180" y="92"/>
                  <a:pt x="194" y="94"/>
                </a:cubicBezTo>
                <a:cubicBezTo>
                  <a:pt x="194" y="94"/>
                  <a:pt x="206" y="109"/>
                  <a:pt x="206" y="112"/>
                </a:cubicBezTo>
                <a:cubicBezTo>
                  <a:pt x="206" y="115"/>
                  <a:pt x="197" y="125"/>
                  <a:pt x="197" y="125"/>
                </a:cubicBezTo>
                <a:cubicBezTo>
                  <a:pt x="197" y="125"/>
                  <a:pt x="165" y="129"/>
                  <a:pt x="155" y="118"/>
                </a:cubicBezTo>
                <a:cubicBezTo>
                  <a:pt x="145" y="107"/>
                  <a:pt x="137" y="107"/>
                  <a:pt x="112" y="97"/>
                </a:cubicBezTo>
                <a:cubicBezTo>
                  <a:pt x="86" y="87"/>
                  <a:pt x="57" y="78"/>
                  <a:pt x="45" y="71"/>
                </a:cubicBezTo>
                <a:cubicBezTo>
                  <a:pt x="33" y="64"/>
                  <a:pt x="16" y="57"/>
                  <a:pt x="8" y="44"/>
                </a:cubicBezTo>
                <a:cubicBezTo>
                  <a:pt x="0" y="31"/>
                  <a:pt x="3" y="21"/>
                  <a:pt x="11" y="18"/>
                </a:cubicBezTo>
                <a:cubicBezTo>
                  <a:pt x="19" y="15"/>
                  <a:pt x="27" y="0"/>
                  <a:pt x="27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88" name="Freeform 624"/>
          <p:cNvSpPr>
            <a:spLocks/>
          </p:cNvSpPr>
          <p:nvPr userDrawn="1"/>
        </p:nvSpPr>
        <p:spPr bwMode="auto">
          <a:xfrm>
            <a:off x="7626400" y="4267606"/>
            <a:ext cx="221112" cy="204361"/>
          </a:xfrm>
          <a:custGeom>
            <a:avLst/>
            <a:gdLst>
              <a:gd name="T0" fmla="*/ 2147483646 w 237"/>
              <a:gd name="T1" fmla="*/ 2147483646 h 219"/>
              <a:gd name="T2" fmla="*/ 2147483646 w 237"/>
              <a:gd name="T3" fmla="*/ 2147483646 h 219"/>
              <a:gd name="T4" fmla="*/ 2147483646 w 237"/>
              <a:gd name="T5" fmla="*/ 2147483646 h 219"/>
              <a:gd name="T6" fmla="*/ 2147483646 w 237"/>
              <a:gd name="T7" fmla="*/ 2147483646 h 219"/>
              <a:gd name="T8" fmla="*/ 2147483646 w 237"/>
              <a:gd name="T9" fmla="*/ 2147483646 h 219"/>
              <a:gd name="T10" fmla="*/ 2147483646 w 237"/>
              <a:gd name="T11" fmla="*/ 2147483646 h 219"/>
              <a:gd name="T12" fmla="*/ 2147483646 w 237"/>
              <a:gd name="T13" fmla="*/ 2147483646 h 219"/>
              <a:gd name="T14" fmla="*/ 2147483646 w 237"/>
              <a:gd name="T15" fmla="*/ 2147483646 h 219"/>
              <a:gd name="T16" fmla="*/ 2147483646 w 237"/>
              <a:gd name="T17" fmla="*/ 2147483646 h 219"/>
              <a:gd name="T18" fmla="*/ 2147483646 w 237"/>
              <a:gd name="T19" fmla="*/ 2147483646 h 219"/>
              <a:gd name="T20" fmla="*/ 2147483646 w 237"/>
              <a:gd name="T21" fmla="*/ 2147483646 h 219"/>
              <a:gd name="T22" fmla="*/ 2147483646 w 237"/>
              <a:gd name="T23" fmla="*/ 2147483646 h 219"/>
              <a:gd name="T24" fmla="*/ 2147483646 w 237"/>
              <a:gd name="T25" fmla="*/ 2147483646 h 219"/>
              <a:gd name="T26" fmla="*/ 2147483646 w 237"/>
              <a:gd name="T27" fmla="*/ 2147483646 h 219"/>
              <a:gd name="T28" fmla="*/ 2147483646 w 237"/>
              <a:gd name="T29" fmla="*/ 2147483646 h 219"/>
              <a:gd name="T30" fmla="*/ 2147483646 w 237"/>
              <a:gd name="T31" fmla="*/ 2147483646 h 219"/>
              <a:gd name="T32" fmla="*/ 2147483646 w 237"/>
              <a:gd name="T33" fmla="*/ 2147483646 h 219"/>
              <a:gd name="T34" fmla="*/ 2147483646 w 237"/>
              <a:gd name="T35" fmla="*/ 2147483646 h 219"/>
              <a:gd name="T36" fmla="*/ 2147483646 w 237"/>
              <a:gd name="T37" fmla="*/ 2147483646 h 219"/>
              <a:gd name="T38" fmla="*/ 2147483646 w 237"/>
              <a:gd name="T39" fmla="*/ 2147483646 h 219"/>
              <a:gd name="T40" fmla="*/ 2147483646 w 237"/>
              <a:gd name="T41" fmla="*/ 2147483646 h 219"/>
              <a:gd name="T42" fmla="*/ 2147483646 w 237"/>
              <a:gd name="T43" fmla="*/ 2147483646 h 219"/>
              <a:gd name="T44" fmla="*/ 2147483646 w 237"/>
              <a:gd name="T45" fmla="*/ 2147483646 h 219"/>
              <a:gd name="T46" fmla="*/ 2147483646 w 237"/>
              <a:gd name="T47" fmla="*/ 2147483646 h 219"/>
              <a:gd name="T48" fmla="*/ 2147483646 w 237"/>
              <a:gd name="T49" fmla="*/ 2147483646 h 219"/>
              <a:gd name="T50" fmla="*/ 2147483646 w 237"/>
              <a:gd name="T51" fmla="*/ 2147483646 h 219"/>
              <a:gd name="T52" fmla="*/ 2147483646 w 237"/>
              <a:gd name="T53" fmla="*/ 2147483646 h 219"/>
              <a:gd name="T54" fmla="*/ 2147483646 w 237"/>
              <a:gd name="T55" fmla="*/ 2147483646 h 219"/>
              <a:gd name="T56" fmla="*/ 2147483646 w 237"/>
              <a:gd name="T57" fmla="*/ 2147483646 h 219"/>
              <a:gd name="T58" fmla="*/ 2147483646 w 237"/>
              <a:gd name="T59" fmla="*/ 2147483646 h 219"/>
              <a:gd name="T60" fmla="*/ 2147483646 w 237"/>
              <a:gd name="T61" fmla="*/ 2147483646 h 219"/>
              <a:gd name="T62" fmla="*/ 2147483646 w 237"/>
              <a:gd name="T63" fmla="*/ 2147483646 h 219"/>
              <a:gd name="T64" fmla="*/ 2147483646 w 237"/>
              <a:gd name="T65" fmla="*/ 2147483646 h 21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37"/>
              <a:gd name="T100" fmla="*/ 0 h 219"/>
              <a:gd name="T101" fmla="*/ 237 w 237"/>
              <a:gd name="T102" fmla="*/ 219 h 21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37" h="219">
                <a:moveTo>
                  <a:pt x="237" y="41"/>
                </a:moveTo>
                <a:cubicBezTo>
                  <a:pt x="233" y="42"/>
                  <a:pt x="225" y="38"/>
                  <a:pt x="225" y="29"/>
                </a:cubicBezTo>
                <a:cubicBezTo>
                  <a:pt x="225" y="21"/>
                  <a:pt x="223" y="15"/>
                  <a:pt x="210" y="8"/>
                </a:cubicBezTo>
                <a:cubicBezTo>
                  <a:pt x="197" y="1"/>
                  <a:pt x="202" y="15"/>
                  <a:pt x="192" y="22"/>
                </a:cubicBezTo>
                <a:cubicBezTo>
                  <a:pt x="183" y="29"/>
                  <a:pt x="191" y="27"/>
                  <a:pt x="175" y="21"/>
                </a:cubicBezTo>
                <a:cubicBezTo>
                  <a:pt x="158" y="15"/>
                  <a:pt x="172" y="17"/>
                  <a:pt x="162" y="8"/>
                </a:cubicBezTo>
                <a:cubicBezTo>
                  <a:pt x="151" y="0"/>
                  <a:pt x="155" y="19"/>
                  <a:pt x="148" y="21"/>
                </a:cubicBezTo>
                <a:cubicBezTo>
                  <a:pt x="141" y="24"/>
                  <a:pt x="137" y="29"/>
                  <a:pt x="125" y="32"/>
                </a:cubicBezTo>
                <a:cubicBezTo>
                  <a:pt x="114" y="34"/>
                  <a:pt x="97" y="42"/>
                  <a:pt x="97" y="42"/>
                </a:cubicBezTo>
                <a:cubicBezTo>
                  <a:pt x="97" y="42"/>
                  <a:pt x="90" y="51"/>
                  <a:pt x="87" y="47"/>
                </a:cubicBezTo>
                <a:cubicBezTo>
                  <a:pt x="83" y="44"/>
                  <a:pt x="82" y="42"/>
                  <a:pt x="68" y="32"/>
                </a:cubicBezTo>
                <a:cubicBezTo>
                  <a:pt x="54" y="21"/>
                  <a:pt x="55" y="45"/>
                  <a:pt x="55" y="45"/>
                </a:cubicBezTo>
                <a:cubicBezTo>
                  <a:pt x="55" y="45"/>
                  <a:pt x="49" y="55"/>
                  <a:pt x="24" y="49"/>
                </a:cubicBezTo>
                <a:cubicBezTo>
                  <a:pt x="0" y="44"/>
                  <a:pt x="21" y="59"/>
                  <a:pt x="7" y="58"/>
                </a:cubicBezTo>
                <a:cubicBezTo>
                  <a:pt x="7" y="58"/>
                  <a:pt x="19" y="73"/>
                  <a:pt x="19" y="76"/>
                </a:cubicBezTo>
                <a:cubicBezTo>
                  <a:pt x="19" y="76"/>
                  <a:pt x="36" y="85"/>
                  <a:pt x="44" y="88"/>
                </a:cubicBezTo>
                <a:cubicBezTo>
                  <a:pt x="53" y="90"/>
                  <a:pt x="68" y="90"/>
                  <a:pt x="72" y="96"/>
                </a:cubicBezTo>
                <a:cubicBezTo>
                  <a:pt x="76" y="101"/>
                  <a:pt x="63" y="110"/>
                  <a:pt x="73" y="110"/>
                </a:cubicBezTo>
                <a:cubicBezTo>
                  <a:pt x="84" y="109"/>
                  <a:pt x="91" y="110"/>
                  <a:pt x="105" y="110"/>
                </a:cubicBezTo>
                <a:cubicBezTo>
                  <a:pt x="118" y="110"/>
                  <a:pt x="123" y="112"/>
                  <a:pt x="126" y="115"/>
                </a:cubicBezTo>
                <a:cubicBezTo>
                  <a:pt x="129" y="118"/>
                  <a:pt x="115" y="141"/>
                  <a:pt x="112" y="146"/>
                </a:cubicBezTo>
                <a:cubicBezTo>
                  <a:pt x="109" y="150"/>
                  <a:pt x="93" y="147"/>
                  <a:pt x="103" y="159"/>
                </a:cubicBezTo>
                <a:cubicBezTo>
                  <a:pt x="113" y="171"/>
                  <a:pt x="116" y="160"/>
                  <a:pt x="120" y="165"/>
                </a:cubicBezTo>
                <a:cubicBezTo>
                  <a:pt x="124" y="171"/>
                  <a:pt x="126" y="188"/>
                  <a:pt x="127" y="191"/>
                </a:cubicBezTo>
                <a:cubicBezTo>
                  <a:pt x="129" y="194"/>
                  <a:pt x="136" y="214"/>
                  <a:pt x="137" y="217"/>
                </a:cubicBezTo>
                <a:cubicBezTo>
                  <a:pt x="137" y="219"/>
                  <a:pt x="149" y="200"/>
                  <a:pt x="148" y="193"/>
                </a:cubicBezTo>
                <a:cubicBezTo>
                  <a:pt x="148" y="186"/>
                  <a:pt x="141" y="172"/>
                  <a:pt x="148" y="164"/>
                </a:cubicBezTo>
                <a:cubicBezTo>
                  <a:pt x="156" y="155"/>
                  <a:pt x="162" y="151"/>
                  <a:pt x="168" y="152"/>
                </a:cubicBezTo>
                <a:cubicBezTo>
                  <a:pt x="174" y="153"/>
                  <a:pt x="179" y="145"/>
                  <a:pt x="181" y="139"/>
                </a:cubicBezTo>
                <a:cubicBezTo>
                  <a:pt x="182" y="134"/>
                  <a:pt x="177" y="120"/>
                  <a:pt x="178" y="110"/>
                </a:cubicBezTo>
                <a:cubicBezTo>
                  <a:pt x="179" y="101"/>
                  <a:pt x="189" y="82"/>
                  <a:pt x="194" y="79"/>
                </a:cubicBezTo>
                <a:cubicBezTo>
                  <a:pt x="199" y="76"/>
                  <a:pt x="220" y="59"/>
                  <a:pt x="223" y="57"/>
                </a:cubicBezTo>
                <a:cubicBezTo>
                  <a:pt x="226" y="56"/>
                  <a:pt x="237" y="41"/>
                  <a:pt x="237" y="4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89" name="Freeform 625"/>
          <p:cNvSpPr>
            <a:spLocks/>
          </p:cNvSpPr>
          <p:nvPr userDrawn="1"/>
        </p:nvSpPr>
        <p:spPr bwMode="auto">
          <a:xfrm>
            <a:off x="7636451" y="4337961"/>
            <a:ext cx="117256" cy="155783"/>
          </a:xfrm>
          <a:custGeom>
            <a:avLst/>
            <a:gdLst>
              <a:gd name="T0" fmla="*/ 0 w 127"/>
              <a:gd name="T1" fmla="*/ 2147483646 h 167"/>
              <a:gd name="T2" fmla="*/ 2147483646 w 127"/>
              <a:gd name="T3" fmla="*/ 0 h 167"/>
              <a:gd name="T4" fmla="*/ 2147483646 w 127"/>
              <a:gd name="T5" fmla="*/ 2147483646 h 167"/>
              <a:gd name="T6" fmla="*/ 2147483646 w 127"/>
              <a:gd name="T7" fmla="*/ 2147483646 h 167"/>
              <a:gd name="T8" fmla="*/ 2147483646 w 127"/>
              <a:gd name="T9" fmla="*/ 2147483646 h 167"/>
              <a:gd name="T10" fmla="*/ 2147483646 w 127"/>
              <a:gd name="T11" fmla="*/ 2147483646 h 167"/>
              <a:gd name="T12" fmla="*/ 2147483646 w 127"/>
              <a:gd name="T13" fmla="*/ 2147483646 h 167"/>
              <a:gd name="T14" fmla="*/ 2147483646 w 127"/>
              <a:gd name="T15" fmla="*/ 2147483646 h 167"/>
              <a:gd name="T16" fmla="*/ 2147483646 w 127"/>
              <a:gd name="T17" fmla="*/ 2147483646 h 167"/>
              <a:gd name="T18" fmla="*/ 2147483646 w 127"/>
              <a:gd name="T19" fmla="*/ 2147483646 h 167"/>
              <a:gd name="T20" fmla="*/ 2147483646 w 127"/>
              <a:gd name="T21" fmla="*/ 2147483646 h 167"/>
              <a:gd name="T22" fmla="*/ 2147483646 w 127"/>
              <a:gd name="T23" fmla="*/ 2147483646 h 167"/>
              <a:gd name="T24" fmla="*/ 2147483646 w 127"/>
              <a:gd name="T25" fmla="*/ 2147483646 h 167"/>
              <a:gd name="T26" fmla="*/ 2147483646 w 127"/>
              <a:gd name="T27" fmla="*/ 2147483646 h 167"/>
              <a:gd name="T28" fmla="*/ 2147483646 w 127"/>
              <a:gd name="T29" fmla="*/ 2147483646 h 167"/>
              <a:gd name="T30" fmla="*/ 2147483646 w 127"/>
              <a:gd name="T31" fmla="*/ 2147483646 h 167"/>
              <a:gd name="T32" fmla="*/ 2147483646 w 127"/>
              <a:gd name="T33" fmla="*/ 2147483646 h 167"/>
              <a:gd name="T34" fmla="*/ 2147483646 w 127"/>
              <a:gd name="T35" fmla="*/ 2147483646 h 167"/>
              <a:gd name="T36" fmla="*/ 2147483646 w 127"/>
              <a:gd name="T37" fmla="*/ 2147483646 h 167"/>
              <a:gd name="T38" fmla="*/ 2147483646 w 127"/>
              <a:gd name="T39" fmla="*/ 2147483646 h 167"/>
              <a:gd name="T40" fmla="*/ 2147483646 w 127"/>
              <a:gd name="T41" fmla="*/ 2147483646 h 167"/>
              <a:gd name="T42" fmla="*/ 2147483646 w 127"/>
              <a:gd name="T43" fmla="*/ 2147483646 h 167"/>
              <a:gd name="T44" fmla="*/ 2147483646 w 127"/>
              <a:gd name="T45" fmla="*/ 2147483646 h 167"/>
              <a:gd name="T46" fmla="*/ 2147483646 w 127"/>
              <a:gd name="T47" fmla="*/ 2147483646 h 167"/>
              <a:gd name="T48" fmla="*/ 2147483646 w 127"/>
              <a:gd name="T49" fmla="*/ 2147483646 h 167"/>
              <a:gd name="T50" fmla="*/ 0 w 127"/>
              <a:gd name="T51" fmla="*/ 2147483646 h 16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27"/>
              <a:gd name="T79" fmla="*/ 0 h 167"/>
              <a:gd name="T80" fmla="*/ 127 w 127"/>
              <a:gd name="T81" fmla="*/ 167 h 16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27" h="167">
                <a:moveTo>
                  <a:pt x="0" y="13"/>
                </a:moveTo>
                <a:cubicBezTo>
                  <a:pt x="0" y="13"/>
                  <a:pt x="9" y="3"/>
                  <a:pt x="9" y="0"/>
                </a:cubicBezTo>
                <a:cubicBezTo>
                  <a:pt x="9" y="0"/>
                  <a:pt x="26" y="9"/>
                  <a:pt x="34" y="12"/>
                </a:cubicBezTo>
                <a:cubicBezTo>
                  <a:pt x="43" y="14"/>
                  <a:pt x="58" y="14"/>
                  <a:pt x="62" y="20"/>
                </a:cubicBezTo>
                <a:cubicBezTo>
                  <a:pt x="66" y="25"/>
                  <a:pt x="53" y="34"/>
                  <a:pt x="63" y="34"/>
                </a:cubicBezTo>
                <a:cubicBezTo>
                  <a:pt x="74" y="33"/>
                  <a:pt x="81" y="34"/>
                  <a:pt x="95" y="34"/>
                </a:cubicBezTo>
                <a:cubicBezTo>
                  <a:pt x="108" y="34"/>
                  <a:pt x="113" y="36"/>
                  <a:pt x="116" y="39"/>
                </a:cubicBezTo>
                <a:cubicBezTo>
                  <a:pt x="119" y="42"/>
                  <a:pt x="105" y="65"/>
                  <a:pt x="102" y="70"/>
                </a:cubicBezTo>
                <a:cubicBezTo>
                  <a:pt x="99" y="74"/>
                  <a:pt x="83" y="71"/>
                  <a:pt x="93" y="83"/>
                </a:cubicBezTo>
                <a:cubicBezTo>
                  <a:pt x="103" y="95"/>
                  <a:pt x="106" y="84"/>
                  <a:pt x="110" y="89"/>
                </a:cubicBezTo>
                <a:cubicBezTo>
                  <a:pt x="114" y="95"/>
                  <a:pt x="116" y="112"/>
                  <a:pt x="117" y="115"/>
                </a:cubicBezTo>
                <a:cubicBezTo>
                  <a:pt x="119" y="118"/>
                  <a:pt x="126" y="138"/>
                  <a:pt x="127" y="141"/>
                </a:cubicBezTo>
                <a:cubicBezTo>
                  <a:pt x="127" y="141"/>
                  <a:pt x="118" y="155"/>
                  <a:pt x="119" y="157"/>
                </a:cubicBezTo>
                <a:cubicBezTo>
                  <a:pt x="120" y="160"/>
                  <a:pt x="104" y="167"/>
                  <a:pt x="104" y="160"/>
                </a:cubicBezTo>
                <a:cubicBezTo>
                  <a:pt x="103" y="153"/>
                  <a:pt x="99" y="137"/>
                  <a:pt x="99" y="133"/>
                </a:cubicBezTo>
                <a:cubicBezTo>
                  <a:pt x="98" y="128"/>
                  <a:pt x="98" y="117"/>
                  <a:pt x="92" y="116"/>
                </a:cubicBezTo>
                <a:cubicBezTo>
                  <a:pt x="86" y="115"/>
                  <a:pt x="67" y="119"/>
                  <a:pt x="67" y="125"/>
                </a:cubicBezTo>
                <a:cubicBezTo>
                  <a:pt x="66" y="131"/>
                  <a:pt x="48" y="144"/>
                  <a:pt x="45" y="144"/>
                </a:cubicBezTo>
                <a:cubicBezTo>
                  <a:pt x="41" y="144"/>
                  <a:pt x="33" y="133"/>
                  <a:pt x="34" y="128"/>
                </a:cubicBezTo>
                <a:cubicBezTo>
                  <a:pt x="36" y="123"/>
                  <a:pt x="29" y="93"/>
                  <a:pt x="27" y="90"/>
                </a:cubicBezTo>
                <a:cubicBezTo>
                  <a:pt x="25" y="88"/>
                  <a:pt x="19" y="83"/>
                  <a:pt x="19" y="77"/>
                </a:cubicBezTo>
                <a:cubicBezTo>
                  <a:pt x="19" y="70"/>
                  <a:pt x="21" y="56"/>
                  <a:pt x="22" y="53"/>
                </a:cubicBezTo>
                <a:cubicBezTo>
                  <a:pt x="23" y="50"/>
                  <a:pt x="26" y="40"/>
                  <a:pt x="23" y="38"/>
                </a:cubicBezTo>
                <a:cubicBezTo>
                  <a:pt x="19" y="35"/>
                  <a:pt x="18" y="32"/>
                  <a:pt x="15" y="33"/>
                </a:cubicBezTo>
                <a:cubicBezTo>
                  <a:pt x="12" y="34"/>
                  <a:pt x="7" y="41"/>
                  <a:pt x="4" y="35"/>
                </a:cubicBezTo>
                <a:lnTo>
                  <a:pt x="0" y="13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90" name="Freeform 626"/>
          <p:cNvSpPr>
            <a:spLocks/>
          </p:cNvSpPr>
          <p:nvPr userDrawn="1"/>
        </p:nvSpPr>
        <p:spPr bwMode="auto">
          <a:xfrm>
            <a:off x="7745331" y="4291058"/>
            <a:ext cx="216088" cy="467351"/>
          </a:xfrm>
          <a:custGeom>
            <a:avLst/>
            <a:gdLst>
              <a:gd name="T0" fmla="*/ 2147483646 w 231"/>
              <a:gd name="T1" fmla="*/ 2147483646 h 501"/>
              <a:gd name="T2" fmla="*/ 2147483646 w 231"/>
              <a:gd name="T3" fmla="*/ 2147483646 h 501"/>
              <a:gd name="T4" fmla="*/ 2147483646 w 231"/>
              <a:gd name="T5" fmla="*/ 2147483646 h 501"/>
              <a:gd name="T6" fmla="*/ 2147483646 w 231"/>
              <a:gd name="T7" fmla="*/ 2147483646 h 501"/>
              <a:gd name="T8" fmla="*/ 2147483646 w 231"/>
              <a:gd name="T9" fmla="*/ 2147483646 h 501"/>
              <a:gd name="T10" fmla="*/ 2147483646 w 231"/>
              <a:gd name="T11" fmla="*/ 2147483646 h 501"/>
              <a:gd name="T12" fmla="*/ 2147483646 w 231"/>
              <a:gd name="T13" fmla="*/ 2147483646 h 501"/>
              <a:gd name="T14" fmla="*/ 2147483646 w 231"/>
              <a:gd name="T15" fmla="*/ 2147483646 h 501"/>
              <a:gd name="T16" fmla="*/ 2147483646 w 231"/>
              <a:gd name="T17" fmla="*/ 2147483646 h 501"/>
              <a:gd name="T18" fmla="*/ 2147483646 w 231"/>
              <a:gd name="T19" fmla="*/ 2147483646 h 501"/>
              <a:gd name="T20" fmla="*/ 2147483646 w 231"/>
              <a:gd name="T21" fmla="*/ 2147483646 h 501"/>
              <a:gd name="T22" fmla="*/ 2147483646 w 231"/>
              <a:gd name="T23" fmla="*/ 2147483646 h 501"/>
              <a:gd name="T24" fmla="*/ 2147483646 w 231"/>
              <a:gd name="T25" fmla="*/ 2147483646 h 501"/>
              <a:gd name="T26" fmla="*/ 2147483646 w 231"/>
              <a:gd name="T27" fmla="*/ 2147483646 h 501"/>
              <a:gd name="T28" fmla="*/ 2147483646 w 231"/>
              <a:gd name="T29" fmla="*/ 2147483646 h 501"/>
              <a:gd name="T30" fmla="*/ 2147483646 w 231"/>
              <a:gd name="T31" fmla="*/ 2147483646 h 501"/>
              <a:gd name="T32" fmla="*/ 2147483646 w 231"/>
              <a:gd name="T33" fmla="*/ 2147483646 h 501"/>
              <a:gd name="T34" fmla="*/ 2147483646 w 231"/>
              <a:gd name="T35" fmla="*/ 2147483646 h 501"/>
              <a:gd name="T36" fmla="*/ 2147483646 w 231"/>
              <a:gd name="T37" fmla="*/ 2147483646 h 501"/>
              <a:gd name="T38" fmla="*/ 2147483646 w 231"/>
              <a:gd name="T39" fmla="*/ 2147483646 h 501"/>
              <a:gd name="T40" fmla="*/ 2147483646 w 231"/>
              <a:gd name="T41" fmla="*/ 2147483646 h 501"/>
              <a:gd name="T42" fmla="*/ 2147483646 w 231"/>
              <a:gd name="T43" fmla="*/ 2147483646 h 501"/>
              <a:gd name="T44" fmla="*/ 2147483646 w 231"/>
              <a:gd name="T45" fmla="*/ 2147483646 h 501"/>
              <a:gd name="T46" fmla="*/ 2147483646 w 231"/>
              <a:gd name="T47" fmla="*/ 2147483646 h 501"/>
              <a:gd name="T48" fmla="*/ 2147483646 w 231"/>
              <a:gd name="T49" fmla="*/ 2147483646 h 501"/>
              <a:gd name="T50" fmla="*/ 2147483646 w 231"/>
              <a:gd name="T51" fmla="*/ 2147483646 h 501"/>
              <a:gd name="T52" fmla="*/ 2147483646 w 231"/>
              <a:gd name="T53" fmla="*/ 2147483646 h 501"/>
              <a:gd name="T54" fmla="*/ 2147483646 w 231"/>
              <a:gd name="T55" fmla="*/ 2147483646 h 501"/>
              <a:gd name="T56" fmla="*/ 2147483646 w 231"/>
              <a:gd name="T57" fmla="*/ 2147483646 h 501"/>
              <a:gd name="T58" fmla="*/ 2147483646 w 231"/>
              <a:gd name="T59" fmla="*/ 2147483646 h 501"/>
              <a:gd name="T60" fmla="*/ 2147483646 w 231"/>
              <a:gd name="T61" fmla="*/ 2147483646 h 501"/>
              <a:gd name="T62" fmla="*/ 2147483646 w 231"/>
              <a:gd name="T63" fmla="*/ 2147483646 h 501"/>
              <a:gd name="T64" fmla="*/ 2147483646 w 231"/>
              <a:gd name="T65" fmla="*/ 2147483646 h 501"/>
              <a:gd name="T66" fmla="*/ 2147483646 w 231"/>
              <a:gd name="T67" fmla="*/ 2147483646 h 501"/>
              <a:gd name="T68" fmla="*/ 2147483646 w 231"/>
              <a:gd name="T69" fmla="*/ 2147483646 h 501"/>
              <a:gd name="T70" fmla="*/ 2147483646 w 231"/>
              <a:gd name="T71" fmla="*/ 2147483646 h 501"/>
              <a:gd name="T72" fmla="*/ 2147483646 w 231"/>
              <a:gd name="T73" fmla="*/ 2147483646 h 501"/>
              <a:gd name="T74" fmla="*/ 2147483646 w 231"/>
              <a:gd name="T75" fmla="*/ 2147483646 h 501"/>
              <a:gd name="T76" fmla="*/ 2147483646 w 231"/>
              <a:gd name="T77" fmla="*/ 2147483646 h 501"/>
              <a:gd name="T78" fmla="*/ 2147483646 w 231"/>
              <a:gd name="T79" fmla="*/ 2147483646 h 501"/>
              <a:gd name="T80" fmla="*/ 2147483646 w 231"/>
              <a:gd name="T81" fmla="*/ 2147483646 h 501"/>
              <a:gd name="T82" fmla="*/ 2147483646 w 231"/>
              <a:gd name="T83" fmla="*/ 2147483646 h 501"/>
              <a:gd name="T84" fmla="*/ 2147483646 w 231"/>
              <a:gd name="T85" fmla="*/ 2147483646 h 501"/>
              <a:gd name="T86" fmla="*/ 2147483646 w 231"/>
              <a:gd name="T87" fmla="*/ 2147483646 h 501"/>
              <a:gd name="T88" fmla="*/ 2147483646 w 231"/>
              <a:gd name="T89" fmla="*/ 2147483646 h 501"/>
              <a:gd name="T90" fmla="*/ 2147483646 w 231"/>
              <a:gd name="T91" fmla="*/ 2147483646 h 501"/>
              <a:gd name="T92" fmla="*/ 2147483646 w 231"/>
              <a:gd name="T93" fmla="*/ 2147483646 h 501"/>
              <a:gd name="T94" fmla="*/ 2147483646 w 231"/>
              <a:gd name="T95" fmla="*/ 2147483646 h 501"/>
              <a:gd name="T96" fmla="*/ 2147483646 w 231"/>
              <a:gd name="T97" fmla="*/ 2147483646 h 501"/>
              <a:gd name="T98" fmla="*/ 2147483646 w 231"/>
              <a:gd name="T99" fmla="*/ 2147483646 h 501"/>
              <a:gd name="T100" fmla="*/ 2147483646 w 231"/>
              <a:gd name="T101" fmla="*/ 2147483646 h 501"/>
              <a:gd name="T102" fmla="*/ 2147483646 w 231"/>
              <a:gd name="T103" fmla="*/ 2147483646 h 501"/>
              <a:gd name="T104" fmla="*/ 2147483646 w 231"/>
              <a:gd name="T105" fmla="*/ 2147483646 h 501"/>
              <a:gd name="T106" fmla="*/ 2147483646 w 231"/>
              <a:gd name="T107" fmla="*/ 2147483646 h 501"/>
              <a:gd name="T108" fmla="*/ 2147483646 w 231"/>
              <a:gd name="T109" fmla="*/ 2147483646 h 501"/>
              <a:gd name="T110" fmla="*/ 2147483646 w 231"/>
              <a:gd name="T111" fmla="*/ 2147483646 h 501"/>
              <a:gd name="T112" fmla="*/ 2147483646 w 231"/>
              <a:gd name="T113" fmla="*/ 2147483646 h 501"/>
              <a:gd name="T114" fmla="*/ 2147483646 w 231"/>
              <a:gd name="T115" fmla="*/ 2147483646 h 501"/>
              <a:gd name="T116" fmla="*/ 2147483646 w 231"/>
              <a:gd name="T117" fmla="*/ 2147483646 h 50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31"/>
              <a:gd name="T178" fmla="*/ 0 h 501"/>
              <a:gd name="T179" fmla="*/ 231 w 231"/>
              <a:gd name="T180" fmla="*/ 501 h 50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31" h="501">
                <a:moveTo>
                  <a:pt x="1" y="208"/>
                </a:moveTo>
                <a:cubicBezTo>
                  <a:pt x="0" y="206"/>
                  <a:pt x="9" y="192"/>
                  <a:pt x="9" y="192"/>
                </a:cubicBezTo>
                <a:cubicBezTo>
                  <a:pt x="9" y="194"/>
                  <a:pt x="21" y="175"/>
                  <a:pt x="20" y="168"/>
                </a:cubicBezTo>
                <a:cubicBezTo>
                  <a:pt x="20" y="161"/>
                  <a:pt x="13" y="147"/>
                  <a:pt x="20" y="139"/>
                </a:cubicBezTo>
                <a:cubicBezTo>
                  <a:pt x="28" y="130"/>
                  <a:pt x="34" y="126"/>
                  <a:pt x="40" y="127"/>
                </a:cubicBezTo>
                <a:cubicBezTo>
                  <a:pt x="46" y="128"/>
                  <a:pt x="51" y="120"/>
                  <a:pt x="53" y="114"/>
                </a:cubicBezTo>
                <a:cubicBezTo>
                  <a:pt x="54" y="109"/>
                  <a:pt x="49" y="95"/>
                  <a:pt x="50" y="85"/>
                </a:cubicBezTo>
                <a:cubicBezTo>
                  <a:pt x="51" y="76"/>
                  <a:pt x="61" y="57"/>
                  <a:pt x="66" y="54"/>
                </a:cubicBezTo>
                <a:cubicBezTo>
                  <a:pt x="71" y="51"/>
                  <a:pt x="92" y="34"/>
                  <a:pt x="95" y="32"/>
                </a:cubicBezTo>
                <a:cubicBezTo>
                  <a:pt x="98" y="31"/>
                  <a:pt x="109" y="16"/>
                  <a:pt x="109" y="16"/>
                </a:cubicBezTo>
                <a:cubicBezTo>
                  <a:pt x="112" y="15"/>
                  <a:pt x="123" y="8"/>
                  <a:pt x="123" y="8"/>
                </a:cubicBezTo>
                <a:cubicBezTo>
                  <a:pt x="123" y="8"/>
                  <a:pt x="128" y="0"/>
                  <a:pt x="137" y="7"/>
                </a:cubicBezTo>
                <a:cubicBezTo>
                  <a:pt x="146" y="14"/>
                  <a:pt x="151" y="6"/>
                  <a:pt x="152" y="26"/>
                </a:cubicBezTo>
                <a:cubicBezTo>
                  <a:pt x="153" y="46"/>
                  <a:pt x="150" y="62"/>
                  <a:pt x="150" y="62"/>
                </a:cubicBezTo>
                <a:cubicBezTo>
                  <a:pt x="133" y="85"/>
                  <a:pt x="133" y="85"/>
                  <a:pt x="133" y="85"/>
                </a:cubicBezTo>
                <a:cubicBezTo>
                  <a:pt x="133" y="85"/>
                  <a:pt x="123" y="90"/>
                  <a:pt x="126" y="105"/>
                </a:cubicBezTo>
                <a:cubicBezTo>
                  <a:pt x="130" y="121"/>
                  <a:pt x="123" y="127"/>
                  <a:pt x="135" y="129"/>
                </a:cubicBezTo>
                <a:cubicBezTo>
                  <a:pt x="146" y="131"/>
                  <a:pt x="144" y="115"/>
                  <a:pt x="159" y="124"/>
                </a:cubicBezTo>
                <a:cubicBezTo>
                  <a:pt x="175" y="134"/>
                  <a:pt x="168" y="137"/>
                  <a:pt x="171" y="146"/>
                </a:cubicBezTo>
                <a:cubicBezTo>
                  <a:pt x="175" y="156"/>
                  <a:pt x="187" y="145"/>
                  <a:pt x="175" y="156"/>
                </a:cubicBezTo>
                <a:cubicBezTo>
                  <a:pt x="162" y="166"/>
                  <a:pt x="157" y="150"/>
                  <a:pt x="162" y="166"/>
                </a:cubicBezTo>
                <a:cubicBezTo>
                  <a:pt x="166" y="183"/>
                  <a:pt x="160" y="176"/>
                  <a:pt x="171" y="180"/>
                </a:cubicBezTo>
                <a:cubicBezTo>
                  <a:pt x="182" y="185"/>
                  <a:pt x="170" y="172"/>
                  <a:pt x="196" y="185"/>
                </a:cubicBezTo>
                <a:cubicBezTo>
                  <a:pt x="222" y="198"/>
                  <a:pt x="230" y="190"/>
                  <a:pt x="231" y="184"/>
                </a:cubicBezTo>
                <a:cubicBezTo>
                  <a:pt x="231" y="184"/>
                  <a:pt x="228" y="211"/>
                  <a:pt x="218" y="211"/>
                </a:cubicBezTo>
                <a:cubicBezTo>
                  <a:pt x="207" y="212"/>
                  <a:pt x="195" y="213"/>
                  <a:pt x="196" y="221"/>
                </a:cubicBezTo>
                <a:cubicBezTo>
                  <a:pt x="197" y="229"/>
                  <a:pt x="186" y="229"/>
                  <a:pt x="180" y="229"/>
                </a:cubicBezTo>
                <a:cubicBezTo>
                  <a:pt x="174" y="229"/>
                  <a:pt x="173" y="217"/>
                  <a:pt x="165" y="230"/>
                </a:cubicBezTo>
                <a:cubicBezTo>
                  <a:pt x="157" y="243"/>
                  <a:pt x="137" y="257"/>
                  <a:pt x="138" y="264"/>
                </a:cubicBezTo>
                <a:cubicBezTo>
                  <a:pt x="139" y="271"/>
                  <a:pt x="132" y="277"/>
                  <a:pt x="127" y="279"/>
                </a:cubicBezTo>
                <a:cubicBezTo>
                  <a:pt x="122" y="282"/>
                  <a:pt x="117" y="286"/>
                  <a:pt x="125" y="292"/>
                </a:cubicBezTo>
                <a:cubicBezTo>
                  <a:pt x="132" y="299"/>
                  <a:pt x="146" y="306"/>
                  <a:pt x="151" y="316"/>
                </a:cubicBezTo>
                <a:cubicBezTo>
                  <a:pt x="156" y="326"/>
                  <a:pt x="153" y="327"/>
                  <a:pt x="155" y="342"/>
                </a:cubicBezTo>
                <a:cubicBezTo>
                  <a:pt x="158" y="357"/>
                  <a:pt x="142" y="362"/>
                  <a:pt x="150" y="374"/>
                </a:cubicBezTo>
                <a:cubicBezTo>
                  <a:pt x="158" y="387"/>
                  <a:pt x="167" y="401"/>
                  <a:pt x="170" y="408"/>
                </a:cubicBezTo>
                <a:cubicBezTo>
                  <a:pt x="173" y="414"/>
                  <a:pt x="180" y="415"/>
                  <a:pt x="178" y="428"/>
                </a:cubicBezTo>
                <a:cubicBezTo>
                  <a:pt x="176" y="441"/>
                  <a:pt x="171" y="445"/>
                  <a:pt x="173" y="452"/>
                </a:cubicBezTo>
                <a:cubicBezTo>
                  <a:pt x="176" y="459"/>
                  <a:pt x="176" y="479"/>
                  <a:pt x="173" y="485"/>
                </a:cubicBezTo>
                <a:cubicBezTo>
                  <a:pt x="171" y="491"/>
                  <a:pt x="170" y="496"/>
                  <a:pt x="165" y="498"/>
                </a:cubicBezTo>
                <a:cubicBezTo>
                  <a:pt x="159" y="501"/>
                  <a:pt x="153" y="501"/>
                  <a:pt x="153" y="501"/>
                </a:cubicBezTo>
                <a:cubicBezTo>
                  <a:pt x="153" y="501"/>
                  <a:pt x="160" y="481"/>
                  <a:pt x="158" y="466"/>
                </a:cubicBezTo>
                <a:cubicBezTo>
                  <a:pt x="155" y="451"/>
                  <a:pt x="147" y="441"/>
                  <a:pt x="148" y="435"/>
                </a:cubicBezTo>
                <a:cubicBezTo>
                  <a:pt x="149" y="428"/>
                  <a:pt x="156" y="420"/>
                  <a:pt x="151" y="416"/>
                </a:cubicBezTo>
                <a:cubicBezTo>
                  <a:pt x="146" y="413"/>
                  <a:pt x="138" y="411"/>
                  <a:pt x="132" y="400"/>
                </a:cubicBezTo>
                <a:cubicBezTo>
                  <a:pt x="127" y="388"/>
                  <a:pt x="124" y="380"/>
                  <a:pt x="124" y="371"/>
                </a:cubicBezTo>
                <a:cubicBezTo>
                  <a:pt x="124" y="362"/>
                  <a:pt x="126" y="364"/>
                  <a:pt x="123" y="353"/>
                </a:cubicBezTo>
                <a:cubicBezTo>
                  <a:pt x="120" y="341"/>
                  <a:pt x="120" y="333"/>
                  <a:pt x="114" y="333"/>
                </a:cubicBezTo>
                <a:cubicBezTo>
                  <a:pt x="108" y="332"/>
                  <a:pt x="108" y="317"/>
                  <a:pt x="100" y="325"/>
                </a:cubicBezTo>
                <a:cubicBezTo>
                  <a:pt x="92" y="333"/>
                  <a:pt x="79" y="355"/>
                  <a:pt x="72" y="357"/>
                </a:cubicBezTo>
                <a:cubicBezTo>
                  <a:pt x="65" y="359"/>
                  <a:pt x="37" y="354"/>
                  <a:pt x="36" y="346"/>
                </a:cubicBezTo>
                <a:cubicBezTo>
                  <a:pt x="34" y="337"/>
                  <a:pt x="25" y="325"/>
                  <a:pt x="30" y="318"/>
                </a:cubicBezTo>
                <a:cubicBezTo>
                  <a:pt x="34" y="311"/>
                  <a:pt x="44" y="309"/>
                  <a:pt x="48" y="303"/>
                </a:cubicBezTo>
                <a:cubicBezTo>
                  <a:pt x="52" y="297"/>
                  <a:pt x="53" y="281"/>
                  <a:pt x="46" y="281"/>
                </a:cubicBezTo>
                <a:cubicBezTo>
                  <a:pt x="39" y="281"/>
                  <a:pt x="22" y="273"/>
                  <a:pt x="22" y="273"/>
                </a:cubicBezTo>
                <a:cubicBezTo>
                  <a:pt x="22" y="273"/>
                  <a:pt x="25" y="258"/>
                  <a:pt x="31" y="258"/>
                </a:cubicBezTo>
                <a:cubicBezTo>
                  <a:pt x="37" y="259"/>
                  <a:pt x="43" y="243"/>
                  <a:pt x="37" y="243"/>
                </a:cubicBezTo>
                <a:cubicBezTo>
                  <a:pt x="31" y="243"/>
                  <a:pt x="29" y="244"/>
                  <a:pt x="25" y="238"/>
                </a:cubicBezTo>
                <a:cubicBezTo>
                  <a:pt x="22" y="231"/>
                  <a:pt x="17" y="220"/>
                  <a:pt x="11" y="223"/>
                </a:cubicBezTo>
                <a:cubicBezTo>
                  <a:pt x="5" y="225"/>
                  <a:pt x="1" y="208"/>
                  <a:pt x="1" y="20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91" name="Freeform 627"/>
          <p:cNvSpPr>
            <a:spLocks/>
          </p:cNvSpPr>
          <p:nvPr userDrawn="1"/>
        </p:nvSpPr>
        <p:spPr bwMode="auto">
          <a:xfrm>
            <a:off x="7961419" y="4423390"/>
            <a:ext cx="190960" cy="380247"/>
          </a:xfrm>
          <a:custGeom>
            <a:avLst/>
            <a:gdLst>
              <a:gd name="T0" fmla="*/ 2147483646 w 205"/>
              <a:gd name="T1" fmla="*/ 2147483646 h 408"/>
              <a:gd name="T2" fmla="*/ 2147483646 w 205"/>
              <a:gd name="T3" fmla="*/ 2147483646 h 408"/>
              <a:gd name="T4" fmla="*/ 2147483646 w 205"/>
              <a:gd name="T5" fmla="*/ 2147483646 h 408"/>
              <a:gd name="T6" fmla="*/ 2147483646 w 205"/>
              <a:gd name="T7" fmla="*/ 2147483646 h 408"/>
              <a:gd name="T8" fmla="*/ 2147483646 w 205"/>
              <a:gd name="T9" fmla="*/ 2147483646 h 408"/>
              <a:gd name="T10" fmla="*/ 2147483646 w 205"/>
              <a:gd name="T11" fmla="*/ 2147483646 h 408"/>
              <a:gd name="T12" fmla="*/ 2147483646 w 205"/>
              <a:gd name="T13" fmla="*/ 2147483646 h 408"/>
              <a:gd name="T14" fmla="*/ 2147483646 w 205"/>
              <a:gd name="T15" fmla="*/ 2147483646 h 408"/>
              <a:gd name="T16" fmla="*/ 2147483646 w 205"/>
              <a:gd name="T17" fmla="*/ 2147483646 h 408"/>
              <a:gd name="T18" fmla="*/ 2147483646 w 205"/>
              <a:gd name="T19" fmla="*/ 2147483646 h 408"/>
              <a:gd name="T20" fmla="*/ 2147483646 w 205"/>
              <a:gd name="T21" fmla="*/ 2147483646 h 408"/>
              <a:gd name="T22" fmla="*/ 2147483646 w 205"/>
              <a:gd name="T23" fmla="*/ 2147483646 h 408"/>
              <a:gd name="T24" fmla="*/ 2147483646 w 205"/>
              <a:gd name="T25" fmla="*/ 2147483646 h 408"/>
              <a:gd name="T26" fmla="*/ 2147483646 w 205"/>
              <a:gd name="T27" fmla="*/ 2147483646 h 408"/>
              <a:gd name="T28" fmla="*/ 2147483646 w 205"/>
              <a:gd name="T29" fmla="*/ 2147483646 h 408"/>
              <a:gd name="T30" fmla="*/ 2147483646 w 205"/>
              <a:gd name="T31" fmla="*/ 2147483646 h 408"/>
              <a:gd name="T32" fmla="*/ 2147483646 w 205"/>
              <a:gd name="T33" fmla="*/ 2147483646 h 408"/>
              <a:gd name="T34" fmla="*/ 2147483646 w 205"/>
              <a:gd name="T35" fmla="*/ 2147483646 h 408"/>
              <a:gd name="T36" fmla="*/ 2147483646 w 205"/>
              <a:gd name="T37" fmla="*/ 2147483646 h 408"/>
              <a:gd name="T38" fmla="*/ 2147483646 w 205"/>
              <a:gd name="T39" fmla="*/ 2147483646 h 408"/>
              <a:gd name="T40" fmla="*/ 2147483646 w 205"/>
              <a:gd name="T41" fmla="*/ 2147483646 h 408"/>
              <a:gd name="T42" fmla="*/ 2147483646 w 205"/>
              <a:gd name="T43" fmla="*/ 2147483646 h 408"/>
              <a:gd name="T44" fmla="*/ 2147483646 w 205"/>
              <a:gd name="T45" fmla="*/ 2147483646 h 408"/>
              <a:gd name="T46" fmla="*/ 2147483646 w 205"/>
              <a:gd name="T47" fmla="*/ 2147483646 h 408"/>
              <a:gd name="T48" fmla="*/ 2147483646 w 205"/>
              <a:gd name="T49" fmla="*/ 2147483646 h 408"/>
              <a:gd name="T50" fmla="*/ 2147483646 w 205"/>
              <a:gd name="T51" fmla="*/ 2147483646 h 408"/>
              <a:gd name="T52" fmla="*/ 2147483646 w 205"/>
              <a:gd name="T53" fmla="*/ 2147483646 h 408"/>
              <a:gd name="T54" fmla="*/ 2147483646 w 205"/>
              <a:gd name="T55" fmla="*/ 2147483646 h 408"/>
              <a:gd name="T56" fmla="*/ 2147483646 w 205"/>
              <a:gd name="T57" fmla="*/ 2147483646 h 408"/>
              <a:gd name="T58" fmla="*/ 2147483646 w 205"/>
              <a:gd name="T59" fmla="*/ 2147483646 h 408"/>
              <a:gd name="T60" fmla="*/ 2147483646 w 205"/>
              <a:gd name="T61" fmla="*/ 2147483646 h 408"/>
              <a:gd name="T62" fmla="*/ 2147483646 w 205"/>
              <a:gd name="T63" fmla="*/ 2147483646 h 408"/>
              <a:gd name="T64" fmla="*/ 2147483646 w 205"/>
              <a:gd name="T65" fmla="*/ 2147483646 h 408"/>
              <a:gd name="T66" fmla="*/ 0 w 205"/>
              <a:gd name="T67" fmla="*/ 2147483646 h 40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05"/>
              <a:gd name="T103" fmla="*/ 0 h 408"/>
              <a:gd name="T104" fmla="*/ 205 w 205"/>
              <a:gd name="T105" fmla="*/ 408 h 40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05" h="408">
                <a:moveTo>
                  <a:pt x="0" y="43"/>
                </a:moveTo>
                <a:cubicBezTo>
                  <a:pt x="1" y="37"/>
                  <a:pt x="0" y="27"/>
                  <a:pt x="7" y="24"/>
                </a:cubicBezTo>
                <a:cubicBezTo>
                  <a:pt x="14" y="22"/>
                  <a:pt x="34" y="28"/>
                  <a:pt x="34" y="28"/>
                </a:cubicBezTo>
                <a:cubicBezTo>
                  <a:pt x="34" y="28"/>
                  <a:pt x="41" y="27"/>
                  <a:pt x="52" y="31"/>
                </a:cubicBezTo>
                <a:cubicBezTo>
                  <a:pt x="62" y="36"/>
                  <a:pt x="70" y="31"/>
                  <a:pt x="70" y="31"/>
                </a:cubicBezTo>
                <a:cubicBezTo>
                  <a:pt x="70" y="31"/>
                  <a:pt x="80" y="25"/>
                  <a:pt x="83" y="16"/>
                </a:cubicBezTo>
                <a:cubicBezTo>
                  <a:pt x="87" y="7"/>
                  <a:pt x="84" y="0"/>
                  <a:pt x="98" y="5"/>
                </a:cubicBezTo>
                <a:cubicBezTo>
                  <a:pt x="113" y="11"/>
                  <a:pt x="117" y="16"/>
                  <a:pt x="117" y="16"/>
                </a:cubicBezTo>
                <a:cubicBezTo>
                  <a:pt x="117" y="16"/>
                  <a:pt x="121" y="13"/>
                  <a:pt x="131" y="21"/>
                </a:cubicBezTo>
                <a:cubicBezTo>
                  <a:pt x="142" y="29"/>
                  <a:pt x="136" y="30"/>
                  <a:pt x="135" y="38"/>
                </a:cubicBezTo>
                <a:cubicBezTo>
                  <a:pt x="134" y="47"/>
                  <a:pt x="137" y="44"/>
                  <a:pt x="145" y="49"/>
                </a:cubicBezTo>
                <a:cubicBezTo>
                  <a:pt x="154" y="54"/>
                  <a:pt x="164" y="51"/>
                  <a:pt x="164" y="51"/>
                </a:cubicBezTo>
                <a:cubicBezTo>
                  <a:pt x="164" y="51"/>
                  <a:pt x="153" y="60"/>
                  <a:pt x="148" y="63"/>
                </a:cubicBezTo>
                <a:cubicBezTo>
                  <a:pt x="143" y="67"/>
                  <a:pt x="132" y="70"/>
                  <a:pt x="131" y="77"/>
                </a:cubicBezTo>
                <a:cubicBezTo>
                  <a:pt x="129" y="84"/>
                  <a:pt x="117" y="95"/>
                  <a:pt x="114" y="102"/>
                </a:cubicBezTo>
                <a:cubicBezTo>
                  <a:pt x="112" y="109"/>
                  <a:pt x="110" y="128"/>
                  <a:pt x="117" y="133"/>
                </a:cubicBezTo>
                <a:cubicBezTo>
                  <a:pt x="124" y="139"/>
                  <a:pt x="129" y="150"/>
                  <a:pt x="127" y="159"/>
                </a:cubicBezTo>
                <a:cubicBezTo>
                  <a:pt x="125" y="168"/>
                  <a:pt x="120" y="173"/>
                  <a:pt x="129" y="178"/>
                </a:cubicBezTo>
                <a:cubicBezTo>
                  <a:pt x="139" y="182"/>
                  <a:pt x="142" y="182"/>
                  <a:pt x="150" y="186"/>
                </a:cubicBezTo>
                <a:cubicBezTo>
                  <a:pt x="159" y="189"/>
                  <a:pt x="160" y="202"/>
                  <a:pt x="166" y="206"/>
                </a:cubicBezTo>
                <a:cubicBezTo>
                  <a:pt x="171" y="209"/>
                  <a:pt x="175" y="215"/>
                  <a:pt x="182" y="218"/>
                </a:cubicBezTo>
                <a:cubicBezTo>
                  <a:pt x="189" y="222"/>
                  <a:pt x="194" y="227"/>
                  <a:pt x="194" y="231"/>
                </a:cubicBezTo>
                <a:cubicBezTo>
                  <a:pt x="194" y="236"/>
                  <a:pt x="188" y="243"/>
                  <a:pt x="191" y="252"/>
                </a:cubicBezTo>
                <a:cubicBezTo>
                  <a:pt x="195" y="261"/>
                  <a:pt x="203" y="272"/>
                  <a:pt x="200" y="277"/>
                </a:cubicBezTo>
                <a:cubicBezTo>
                  <a:pt x="198" y="281"/>
                  <a:pt x="192" y="285"/>
                  <a:pt x="196" y="289"/>
                </a:cubicBezTo>
                <a:cubicBezTo>
                  <a:pt x="199" y="294"/>
                  <a:pt x="205" y="305"/>
                  <a:pt x="204" y="312"/>
                </a:cubicBezTo>
                <a:cubicBezTo>
                  <a:pt x="203" y="319"/>
                  <a:pt x="203" y="329"/>
                  <a:pt x="199" y="328"/>
                </a:cubicBezTo>
                <a:cubicBezTo>
                  <a:pt x="196" y="327"/>
                  <a:pt x="199" y="330"/>
                  <a:pt x="196" y="336"/>
                </a:cubicBezTo>
                <a:cubicBezTo>
                  <a:pt x="192" y="342"/>
                  <a:pt x="184" y="346"/>
                  <a:pt x="182" y="343"/>
                </a:cubicBezTo>
                <a:cubicBezTo>
                  <a:pt x="167" y="349"/>
                  <a:pt x="167" y="349"/>
                  <a:pt x="167" y="349"/>
                </a:cubicBezTo>
                <a:cubicBezTo>
                  <a:pt x="167" y="349"/>
                  <a:pt x="159" y="337"/>
                  <a:pt x="157" y="345"/>
                </a:cubicBezTo>
                <a:cubicBezTo>
                  <a:pt x="156" y="353"/>
                  <a:pt x="150" y="358"/>
                  <a:pt x="150" y="358"/>
                </a:cubicBezTo>
                <a:cubicBezTo>
                  <a:pt x="150" y="358"/>
                  <a:pt x="138" y="349"/>
                  <a:pt x="139" y="353"/>
                </a:cubicBezTo>
                <a:cubicBezTo>
                  <a:pt x="140" y="358"/>
                  <a:pt x="136" y="365"/>
                  <a:pt x="136" y="365"/>
                </a:cubicBezTo>
                <a:cubicBezTo>
                  <a:pt x="136" y="365"/>
                  <a:pt x="132" y="373"/>
                  <a:pt x="128" y="373"/>
                </a:cubicBezTo>
                <a:cubicBezTo>
                  <a:pt x="125" y="373"/>
                  <a:pt x="121" y="367"/>
                  <a:pt x="119" y="371"/>
                </a:cubicBezTo>
                <a:cubicBezTo>
                  <a:pt x="117" y="374"/>
                  <a:pt x="119" y="390"/>
                  <a:pt x="119" y="390"/>
                </a:cubicBezTo>
                <a:cubicBezTo>
                  <a:pt x="119" y="390"/>
                  <a:pt x="110" y="395"/>
                  <a:pt x="106" y="397"/>
                </a:cubicBezTo>
                <a:cubicBezTo>
                  <a:pt x="103" y="398"/>
                  <a:pt x="97" y="390"/>
                  <a:pt x="97" y="395"/>
                </a:cubicBezTo>
                <a:cubicBezTo>
                  <a:pt x="97" y="401"/>
                  <a:pt x="96" y="404"/>
                  <a:pt x="92" y="406"/>
                </a:cubicBezTo>
                <a:cubicBezTo>
                  <a:pt x="89" y="408"/>
                  <a:pt x="81" y="404"/>
                  <a:pt x="81" y="404"/>
                </a:cubicBezTo>
                <a:cubicBezTo>
                  <a:pt x="79" y="393"/>
                  <a:pt x="82" y="390"/>
                  <a:pt x="86" y="384"/>
                </a:cubicBezTo>
                <a:cubicBezTo>
                  <a:pt x="91" y="378"/>
                  <a:pt x="97" y="373"/>
                  <a:pt x="90" y="372"/>
                </a:cubicBezTo>
                <a:cubicBezTo>
                  <a:pt x="83" y="371"/>
                  <a:pt x="79" y="366"/>
                  <a:pt x="79" y="366"/>
                </a:cubicBezTo>
                <a:cubicBezTo>
                  <a:pt x="79" y="366"/>
                  <a:pt x="77" y="359"/>
                  <a:pt x="84" y="353"/>
                </a:cubicBezTo>
                <a:cubicBezTo>
                  <a:pt x="91" y="348"/>
                  <a:pt x="85" y="342"/>
                  <a:pt x="94" y="346"/>
                </a:cubicBezTo>
                <a:cubicBezTo>
                  <a:pt x="104" y="351"/>
                  <a:pt x="104" y="344"/>
                  <a:pt x="108" y="343"/>
                </a:cubicBezTo>
                <a:cubicBezTo>
                  <a:pt x="113" y="342"/>
                  <a:pt x="112" y="319"/>
                  <a:pt x="119" y="316"/>
                </a:cubicBezTo>
                <a:cubicBezTo>
                  <a:pt x="126" y="314"/>
                  <a:pt x="129" y="314"/>
                  <a:pt x="138" y="310"/>
                </a:cubicBezTo>
                <a:cubicBezTo>
                  <a:pt x="146" y="307"/>
                  <a:pt x="159" y="307"/>
                  <a:pt x="157" y="295"/>
                </a:cubicBezTo>
                <a:cubicBezTo>
                  <a:pt x="156" y="284"/>
                  <a:pt x="154" y="281"/>
                  <a:pt x="154" y="271"/>
                </a:cubicBezTo>
                <a:cubicBezTo>
                  <a:pt x="154" y="260"/>
                  <a:pt x="153" y="251"/>
                  <a:pt x="147" y="250"/>
                </a:cubicBezTo>
                <a:cubicBezTo>
                  <a:pt x="141" y="249"/>
                  <a:pt x="134" y="250"/>
                  <a:pt x="139" y="237"/>
                </a:cubicBezTo>
                <a:cubicBezTo>
                  <a:pt x="143" y="224"/>
                  <a:pt x="143" y="216"/>
                  <a:pt x="143" y="216"/>
                </a:cubicBezTo>
                <a:cubicBezTo>
                  <a:pt x="142" y="208"/>
                  <a:pt x="146" y="200"/>
                  <a:pt x="140" y="203"/>
                </a:cubicBezTo>
                <a:cubicBezTo>
                  <a:pt x="134" y="207"/>
                  <a:pt x="129" y="203"/>
                  <a:pt x="128" y="196"/>
                </a:cubicBezTo>
                <a:cubicBezTo>
                  <a:pt x="127" y="189"/>
                  <a:pt x="129" y="182"/>
                  <a:pt x="124" y="186"/>
                </a:cubicBezTo>
                <a:cubicBezTo>
                  <a:pt x="118" y="189"/>
                  <a:pt x="113" y="185"/>
                  <a:pt x="108" y="180"/>
                </a:cubicBezTo>
                <a:cubicBezTo>
                  <a:pt x="104" y="175"/>
                  <a:pt x="99" y="173"/>
                  <a:pt x="93" y="155"/>
                </a:cubicBezTo>
                <a:cubicBezTo>
                  <a:pt x="88" y="138"/>
                  <a:pt x="89" y="130"/>
                  <a:pt x="76" y="124"/>
                </a:cubicBezTo>
                <a:cubicBezTo>
                  <a:pt x="63" y="118"/>
                  <a:pt x="54" y="102"/>
                  <a:pt x="60" y="102"/>
                </a:cubicBezTo>
                <a:cubicBezTo>
                  <a:pt x="65" y="102"/>
                  <a:pt x="65" y="95"/>
                  <a:pt x="70" y="94"/>
                </a:cubicBezTo>
                <a:cubicBezTo>
                  <a:pt x="75" y="93"/>
                  <a:pt x="71" y="76"/>
                  <a:pt x="64" y="74"/>
                </a:cubicBezTo>
                <a:cubicBezTo>
                  <a:pt x="57" y="72"/>
                  <a:pt x="56" y="62"/>
                  <a:pt x="50" y="66"/>
                </a:cubicBezTo>
                <a:cubicBezTo>
                  <a:pt x="44" y="69"/>
                  <a:pt x="41" y="74"/>
                  <a:pt x="36" y="72"/>
                </a:cubicBezTo>
                <a:cubicBezTo>
                  <a:pt x="32" y="69"/>
                  <a:pt x="23" y="63"/>
                  <a:pt x="25" y="58"/>
                </a:cubicBezTo>
                <a:cubicBezTo>
                  <a:pt x="26" y="52"/>
                  <a:pt x="26" y="42"/>
                  <a:pt x="21" y="40"/>
                </a:cubicBezTo>
                <a:cubicBezTo>
                  <a:pt x="16" y="38"/>
                  <a:pt x="0" y="43"/>
                  <a:pt x="0" y="4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92" name="Freeform 628"/>
          <p:cNvSpPr>
            <a:spLocks/>
          </p:cNvSpPr>
          <p:nvPr userDrawn="1"/>
        </p:nvSpPr>
        <p:spPr bwMode="auto">
          <a:xfrm>
            <a:off x="7914516" y="4458567"/>
            <a:ext cx="182584" cy="194311"/>
          </a:xfrm>
          <a:custGeom>
            <a:avLst/>
            <a:gdLst>
              <a:gd name="T0" fmla="*/ 0 w 196"/>
              <a:gd name="T1" fmla="*/ 2147483646 h 208"/>
              <a:gd name="T2" fmla="*/ 2147483646 w 196"/>
              <a:gd name="T3" fmla="*/ 2147483646 h 208"/>
              <a:gd name="T4" fmla="*/ 2147483646 w 196"/>
              <a:gd name="T5" fmla="*/ 2147483646 h 208"/>
              <a:gd name="T6" fmla="*/ 2147483646 w 196"/>
              <a:gd name="T7" fmla="*/ 2147483646 h 208"/>
              <a:gd name="T8" fmla="*/ 2147483646 w 196"/>
              <a:gd name="T9" fmla="*/ 2147483646 h 208"/>
              <a:gd name="T10" fmla="*/ 2147483646 w 196"/>
              <a:gd name="T11" fmla="*/ 2147483646 h 208"/>
              <a:gd name="T12" fmla="*/ 2147483646 w 196"/>
              <a:gd name="T13" fmla="*/ 2147483646 h 208"/>
              <a:gd name="T14" fmla="*/ 2147483646 w 196"/>
              <a:gd name="T15" fmla="*/ 2147483646 h 208"/>
              <a:gd name="T16" fmla="*/ 2147483646 w 196"/>
              <a:gd name="T17" fmla="*/ 2147483646 h 208"/>
              <a:gd name="T18" fmla="*/ 2147483646 w 196"/>
              <a:gd name="T19" fmla="*/ 2147483646 h 208"/>
              <a:gd name="T20" fmla="*/ 2147483646 w 196"/>
              <a:gd name="T21" fmla="*/ 2147483646 h 208"/>
              <a:gd name="T22" fmla="*/ 2147483646 w 196"/>
              <a:gd name="T23" fmla="*/ 2147483646 h 208"/>
              <a:gd name="T24" fmla="*/ 2147483646 w 196"/>
              <a:gd name="T25" fmla="*/ 2147483646 h 208"/>
              <a:gd name="T26" fmla="*/ 2147483646 w 196"/>
              <a:gd name="T27" fmla="*/ 2147483646 h 208"/>
              <a:gd name="T28" fmla="*/ 2147483646 w 196"/>
              <a:gd name="T29" fmla="*/ 2147483646 h 208"/>
              <a:gd name="T30" fmla="*/ 2147483646 w 196"/>
              <a:gd name="T31" fmla="*/ 2147483646 h 208"/>
              <a:gd name="T32" fmla="*/ 2147483646 w 196"/>
              <a:gd name="T33" fmla="*/ 2147483646 h 208"/>
              <a:gd name="T34" fmla="*/ 2147483646 w 196"/>
              <a:gd name="T35" fmla="*/ 2147483646 h 208"/>
              <a:gd name="T36" fmla="*/ 2147483646 w 196"/>
              <a:gd name="T37" fmla="*/ 2147483646 h 208"/>
              <a:gd name="T38" fmla="*/ 2147483646 w 196"/>
              <a:gd name="T39" fmla="*/ 2147483646 h 208"/>
              <a:gd name="T40" fmla="*/ 2147483646 w 196"/>
              <a:gd name="T41" fmla="*/ 2147483646 h 208"/>
              <a:gd name="T42" fmla="*/ 2147483646 w 196"/>
              <a:gd name="T43" fmla="*/ 2147483646 h 208"/>
              <a:gd name="T44" fmla="*/ 2147483646 w 196"/>
              <a:gd name="T45" fmla="*/ 2147483646 h 208"/>
              <a:gd name="T46" fmla="*/ 2147483646 w 196"/>
              <a:gd name="T47" fmla="*/ 2147483646 h 208"/>
              <a:gd name="T48" fmla="*/ 2147483646 w 196"/>
              <a:gd name="T49" fmla="*/ 2147483646 h 208"/>
              <a:gd name="T50" fmla="*/ 2147483646 w 196"/>
              <a:gd name="T51" fmla="*/ 2147483646 h 208"/>
              <a:gd name="T52" fmla="*/ 2147483646 w 196"/>
              <a:gd name="T53" fmla="*/ 2147483646 h 208"/>
              <a:gd name="T54" fmla="*/ 2147483646 w 196"/>
              <a:gd name="T55" fmla="*/ 2147483646 h 208"/>
              <a:gd name="T56" fmla="*/ 2147483646 w 196"/>
              <a:gd name="T57" fmla="*/ 2147483646 h 208"/>
              <a:gd name="T58" fmla="*/ 2147483646 w 196"/>
              <a:gd name="T59" fmla="*/ 2147483646 h 208"/>
              <a:gd name="T60" fmla="*/ 2147483646 w 196"/>
              <a:gd name="T61" fmla="*/ 2147483646 h 208"/>
              <a:gd name="T62" fmla="*/ 2147483646 w 196"/>
              <a:gd name="T63" fmla="*/ 2147483646 h 208"/>
              <a:gd name="T64" fmla="*/ 2147483646 w 196"/>
              <a:gd name="T65" fmla="*/ 2147483646 h 208"/>
              <a:gd name="T66" fmla="*/ 2147483646 w 196"/>
              <a:gd name="T67" fmla="*/ 2147483646 h 208"/>
              <a:gd name="T68" fmla="*/ 2147483646 w 196"/>
              <a:gd name="T69" fmla="*/ 2147483646 h 208"/>
              <a:gd name="T70" fmla="*/ 2147483646 w 196"/>
              <a:gd name="T71" fmla="*/ 2147483646 h 208"/>
              <a:gd name="T72" fmla="*/ 2147483646 w 196"/>
              <a:gd name="T73" fmla="*/ 2147483646 h 208"/>
              <a:gd name="T74" fmla="*/ 2147483646 w 196"/>
              <a:gd name="T75" fmla="*/ 2147483646 h 208"/>
              <a:gd name="T76" fmla="*/ 2147483646 w 196"/>
              <a:gd name="T77" fmla="*/ 2147483646 h 208"/>
              <a:gd name="T78" fmla="*/ 2147483646 w 196"/>
              <a:gd name="T79" fmla="*/ 2147483646 h 208"/>
              <a:gd name="T80" fmla="*/ 2147483646 w 196"/>
              <a:gd name="T81" fmla="*/ 2147483646 h 208"/>
              <a:gd name="T82" fmla="*/ 2147483646 w 196"/>
              <a:gd name="T83" fmla="*/ 2147483646 h 208"/>
              <a:gd name="T84" fmla="*/ 2147483646 w 196"/>
              <a:gd name="T85" fmla="*/ 2147483646 h 208"/>
              <a:gd name="T86" fmla="*/ 2147483646 w 196"/>
              <a:gd name="T87" fmla="*/ 2147483646 h 208"/>
              <a:gd name="T88" fmla="*/ 0 w 196"/>
              <a:gd name="T89" fmla="*/ 2147483646 h 20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96"/>
              <a:gd name="T136" fmla="*/ 0 h 208"/>
              <a:gd name="T137" fmla="*/ 196 w 196"/>
              <a:gd name="T138" fmla="*/ 208 h 20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96" h="208">
                <a:moveTo>
                  <a:pt x="0" y="50"/>
                </a:moveTo>
                <a:cubicBezTo>
                  <a:pt x="6" y="50"/>
                  <a:pt x="16" y="50"/>
                  <a:pt x="16" y="42"/>
                </a:cubicBezTo>
                <a:cubicBezTo>
                  <a:pt x="15" y="34"/>
                  <a:pt x="27" y="34"/>
                  <a:pt x="37" y="33"/>
                </a:cubicBezTo>
                <a:cubicBezTo>
                  <a:pt x="48" y="32"/>
                  <a:pt x="50" y="6"/>
                  <a:pt x="50" y="6"/>
                </a:cubicBezTo>
                <a:cubicBezTo>
                  <a:pt x="51" y="5"/>
                  <a:pt x="51" y="5"/>
                  <a:pt x="51" y="5"/>
                </a:cubicBezTo>
                <a:cubicBezTo>
                  <a:pt x="51" y="5"/>
                  <a:pt x="67" y="0"/>
                  <a:pt x="72" y="2"/>
                </a:cubicBezTo>
                <a:cubicBezTo>
                  <a:pt x="76" y="5"/>
                  <a:pt x="76" y="14"/>
                  <a:pt x="75" y="20"/>
                </a:cubicBezTo>
                <a:cubicBezTo>
                  <a:pt x="74" y="26"/>
                  <a:pt x="82" y="31"/>
                  <a:pt x="87" y="34"/>
                </a:cubicBezTo>
                <a:cubicBezTo>
                  <a:pt x="91" y="36"/>
                  <a:pt x="95" y="31"/>
                  <a:pt x="101" y="28"/>
                </a:cubicBezTo>
                <a:cubicBezTo>
                  <a:pt x="107" y="24"/>
                  <a:pt x="108" y="34"/>
                  <a:pt x="115" y="36"/>
                </a:cubicBezTo>
                <a:cubicBezTo>
                  <a:pt x="122" y="38"/>
                  <a:pt x="125" y="55"/>
                  <a:pt x="121" y="56"/>
                </a:cubicBezTo>
                <a:cubicBezTo>
                  <a:pt x="116" y="57"/>
                  <a:pt x="116" y="64"/>
                  <a:pt x="110" y="64"/>
                </a:cubicBezTo>
                <a:cubicBezTo>
                  <a:pt x="104" y="64"/>
                  <a:pt x="114" y="80"/>
                  <a:pt x="126" y="86"/>
                </a:cubicBezTo>
                <a:cubicBezTo>
                  <a:pt x="139" y="92"/>
                  <a:pt x="138" y="100"/>
                  <a:pt x="144" y="118"/>
                </a:cubicBezTo>
                <a:cubicBezTo>
                  <a:pt x="150" y="135"/>
                  <a:pt x="154" y="137"/>
                  <a:pt x="159" y="142"/>
                </a:cubicBezTo>
                <a:cubicBezTo>
                  <a:pt x="164" y="147"/>
                  <a:pt x="168" y="151"/>
                  <a:pt x="174" y="148"/>
                </a:cubicBezTo>
                <a:cubicBezTo>
                  <a:pt x="180" y="144"/>
                  <a:pt x="178" y="151"/>
                  <a:pt x="179" y="158"/>
                </a:cubicBezTo>
                <a:cubicBezTo>
                  <a:pt x="180" y="165"/>
                  <a:pt x="185" y="169"/>
                  <a:pt x="190" y="165"/>
                </a:cubicBezTo>
                <a:cubicBezTo>
                  <a:pt x="196" y="162"/>
                  <a:pt x="193" y="170"/>
                  <a:pt x="194" y="178"/>
                </a:cubicBezTo>
                <a:cubicBezTo>
                  <a:pt x="194" y="178"/>
                  <a:pt x="194" y="186"/>
                  <a:pt x="189" y="199"/>
                </a:cubicBezTo>
                <a:cubicBezTo>
                  <a:pt x="189" y="199"/>
                  <a:pt x="184" y="204"/>
                  <a:pt x="182" y="206"/>
                </a:cubicBezTo>
                <a:cubicBezTo>
                  <a:pt x="179" y="208"/>
                  <a:pt x="170" y="203"/>
                  <a:pt x="170" y="203"/>
                </a:cubicBezTo>
                <a:cubicBezTo>
                  <a:pt x="170" y="203"/>
                  <a:pt x="168" y="200"/>
                  <a:pt x="166" y="201"/>
                </a:cubicBezTo>
                <a:cubicBezTo>
                  <a:pt x="164" y="203"/>
                  <a:pt x="157" y="205"/>
                  <a:pt x="154" y="201"/>
                </a:cubicBezTo>
                <a:cubicBezTo>
                  <a:pt x="152" y="197"/>
                  <a:pt x="149" y="191"/>
                  <a:pt x="153" y="188"/>
                </a:cubicBezTo>
                <a:cubicBezTo>
                  <a:pt x="157" y="185"/>
                  <a:pt x="155" y="175"/>
                  <a:pt x="152" y="172"/>
                </a:cubicBezTo>
                <a:cubicBezTo>
                  <a:pt x="149" y="169"/>
                  <a:pt x="142" y="162"/>
                  <a:pt x="142" y="160"/>
                </a:cubicBezTo>
                <a:cubicBezTo>
                  <a:pt x="142" y="158"/>
                  <a:pt x="137" y="153"/>
                  <a:pt x="135" y="154"/>
                </a:cubicBezTo>
                <a:cubicBezTo>
                  <a:pt x="132" y="154"/>
                  <a:pt x="124" y="153"/>
                  <a:pt x="124" y="147"/>
                </a:cubicBezTo>
                <a:cubicBezTo>
                  <a:pt x="124" y="140"/>
                  <a:pt x="126" y="132"/>
                  <a:pt x="121" y="130"/>
                </a:cubicBezTo>
                <a:cubicBezTo>
                  <a:pt x="115" y="129"/>
                  <a:pt x="110" y="106"/>
                  <a:pt x="110" y="106"/>
                </a:cubicBezTo>
                <a:cubicBezTo>
                  <a:pt x="110" y="106"/>
                  <a:pt x="103" y="104"/>
                  <a:pt x="100" y="104"/>
                </a:cubicBezTo>
                <a:cubicBezTo>
                  <a:pt x="97" y="104"/>
                  <a:pt x="92" y="104"/>
                  <a:pt x="91" y="110"/>
                </a:cubicBezTo>
                <a:cubicBezTo>
                  <a:pt x="89" y="116"/>
                  <a:pt x="75" y="125"/>
                  <a:pt x="75" y="125"/>
                </a:cubicBezTo>
                <a:cubicBezTo>
                  <a:pt x="66" y="111"/>
                  <a:pt x="66" y="111"/>
                  <a:pt x="66" y="111"/>
                </a:cubicBezTo>
                <a:cubicBezTo>
                  <a:pt x="66" y="111"/>
                  <a:pt x="60" y="115"/>
                  <a:pt x="60" y="118"/>
                </a:cubicBezTo>
                <a:cubicBezTo>
                  <a:pt x="59" y="122"/>
                  <a:pt x="59" y="126"/>
                  <a:pt x="53" y="127"/>
                </a:cubicBezTo>
                <a:cubicBezTo>
                  <a:pt x="48" y="128"/>
                  <a:pt x="44" y="133"/>
                  <a:pt x="41" y="127"/>
                </a:cubicBezTo>
                <a:cubicBezTo>
                  <a:pt x="38" y="121"/>
                  <a:pt x="34" y="115"/>
                  <a:pt x="36" y="114"/>
                </a:cubicBezTo>
                <a:cubicBezTo>
                  <a:pt x="38" y="112"/>
                  <a:pt x="44" y="96"/>
                  <a:pt x="45" y="93"/>
                </a:cubicBezTo>
                <a:cubicBezTo>
                  <a:pt x="45" y="90"/>
                  <a:pt x="49" y="84"/>
                  <a:pt x="45" y="81"/>
                </a:cubicBezTo>
                <a:cubicBezTo>
                  <a:pt x="42" y="78"/>
                  <a:pt x="40" y="71"/>
                  <a:pt x="37" y="72"/>
                </a:cubicBezTo>
                <a:cubicBezTo>
                  <a:pt x="34" y="72"/>
                  <a:pt x="31" y="64"/>
                  <a:pt x="27" y="64"/>
                </a:cubicBezTo>
                <a:cubicBezTo>
                  <a:pt x="23" y="64"/>
                  <a:pt x="17" y="61"/>
                  <a:pt x="17" y="57"/>
                </a:cubicBezTo>
                <a:cubicBezTo>
                  <a:pt x="17" y="54"/>
                  <a:pt x="0" y="50"/>
                  <a:pt x="0" y="5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93" name="Freeform 629"/>
          <p:cNvSpPr>
            <a:spLocks/>
          </p:cNvSpPr>
          <p:nvPr userDrawn="1"/>
        </p:nvSpPr>
        <p:spPr bwMode="auto">
          <a:xfrm>
            <a:off x="7976494" y="4644501"/>
            <a:ext cx="132333" cy="125632"/>
          </a:xfrm>
          <a:custGeom>
            <a:avLst/>
            <a:gdLst>
              <a:gd name="T0" fmla="*/ 2147483646 w 141"/>
              <a:gd name="T1" fmla="*/ 2147483646 h 136"/>
              <a:gd name="T2" fmla="*/ 2147483646 w 141"/>
              <a:gd name="T3" fmla="*/ 2147483646 h 136"/>
              <a:gd name="T4" fmla="*/ 2147483646 w 141"/>
              <a:gd name="T5" fmla="*/ 2147483646 h 136"/>
              <a:gd name="T6" fmla="*/ 2147483646 w 141"/>
              <a:gd name="T7" fmla="*/ 2147483646 h 136"/>
              <a:gd name="T8" fmla="*/ 2147483646 w 141"/>
              <a:gd name="T9" fmla="*/ 2147483646 h 136"/>
              <a:gd name="T10" fmla="*/ 2147483646 w 141"/>
              <a:gd name="T11" fmla="*/ 2147483646 h 136"/>
              <a:gd name="T12" fmla="*/ 2147483646 w 141"/>
              <a:gd name="T13" fmla="*/ 2147483646 h 136"/>
              <a:gd name="T14" fmla="*/ 2147483646 w 141"/>
              <a:gd name="T15" fmla="*/ 2147483646 h 136"/>
              <a:gd name="T16" fmla="*/ 2147483646 w 141"/>
              <a:gd name="T17" fmla="*/ 2147483646 h 136"/>
              <a:gd name="T18" fmla="*/ 2147483646 w 141"/>
              <a:gd name="T19" fmla="*/ 0 h 136"/>
              <a:gd name="T20" fmla="*/ 2147483646 w 141"/>
              <a:gd name="T21" fmla="*/ 0 h 136"/>
              <a:gd name="T22" fmla="*/ 2147483646 w 141"/>
              <a:gd name="T23" fmla="*/ 2147483646 h 136"/>
              <a:gd name="T24" fmla="*/ 2147483646 w 141"/>
              <a:gd name="T25" fmla="*/ 2147483646 h 136"/>
              <a:gd name="T26" fmla="*/ 2147483646 w 141"/>
              <a:gd name="T27" fmla="*/ 2147483646 h 136"/>
              <a:gd name="T28" fmla="*/ 2147483646 w 141"/>
              <a:gd name="T29" fmla="*/ 2147483646 h 136"/>
              <a:gd name="T30" fmla="*/ 2147483646 w 141"/>
              <a:gd name="T31" fmla="*/ 2147483646 h 136"/>
              <a:gd name="T32" fmla="*/ 2147483646 w 141"/>
              <a:gd name="T33" fmla="*/ 2147483646 h 136"/>
              <a:gd name="T34" fmla="*/ 2147483646 w 141"/>
              <a:gd name="T35" fmla="*/ 2147483646 h 136"/>
              <a:gd name="T36" fmla="*/ 2147483646 w 141"/>
              <a:gd name="T37" fmla="*/ 2147483646 h 136"/>
              <a:gd name="T38" fmla="*/ 2147483646 w 141"/>
              <a:gd name="T39" fmla="*/ 2147483646 h 136"/>
              <a:gd name="T40" fmla="*/ 2147483646 w 141"/>
              <a:gd name="T41" fmla="*/ 2147483646 h 136"/>
              <a:gd name="T42" fmla="*/ 2147483646 w 141"/>
              <a:gd name="T43" fmla="*/ 2147483646 h 136"/>
              <a:gd name="T44" fmla="*/ 2147483646 w 141"/>
              <a:gd name="T45" fmla="*/ 2147483646 h 136"/>
              <a:gd name="T46" fmla="*/ 2147483646 w 141"/>
              <a:gd name="T47" fmla="*/ 2147483646 h 136"/>
              <a:gd name="T48" fmla="*/ 2147483646 w 141"/>
              <a:gd name="T49" fmla="*/ 2147483646 h 136"/>
              <a:gd name="T50" fmla="*/ 2147483646 w 141"/>
              <a:gd name="T51" fmla="*/ 2147483646 h 1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41"/>
              <a:gd name="T79" fmla="*/ 0 h 136"/>
              <a:gd name="T80" fmla="*/ 141 w 141"/>
              <a:gd name="T81" fmla="*/ 136 h 1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41" h="136">
                <a:moveTo>
                  <a:pt x="62" y="129"/>
                </a:moveTo>
                <a:cubicBezTo>
                  <a:pt x="62" y="129"/>
                  <a:pt x="59" y="123"/>
                  <a:pt x="66" y="117"/>
                </a:cubicBezTo>
                <a:cubicBezTo>
                  <a:pt x="73" y="111"/>
                  <a:pt x="68" y="105"/>
                  <a:pt x="77" y="110"/>
                </a:cubicBezTo>
                <a:cubicBezTo>
                  <a:pt x="86" y="114"/>
                  <a:pt x="86" y="107"/>
                  <a:pt x="91" y="106"/>
                </a:cubicBezTo>
                <a:cubicBezTo>
                  <a:pt x="96" y="105"/>
                  <a:pt x="94" y="82"/>
                  <a:pt x="101" y="79"/>
                </a:cubicBezTo>
                <a:cubicBezTo>
                  <a:pt x="108" y="77"/>
                  <a:pt x="112" y="77"/>
                  <a:pt x="120" y="74"/>
                </a:cubicBezTo>
                <a:cubicBezTo>
                  <a:pt x="128" y="70"/>
                  <a:pt x="141" y="70"/>
                  <a:pt x="140" y="58"/>
                </a:cubicBezTo>
                <a:cubicBezTo>
                  <a:pt x="139" y="47"/>
                  <a:pt x="136" y="44"/>
                  <a:pt x="136" y="34"/>
                </a:cubicBezTo>
                <a:cubicBezTo>
                  <a:pt x="136" y="24"/>
                  <a:pt x="135" y="14"/>
                  <a:pt x="129" y="13"/>
                </a:cubicBezTo>
                <a:cubicBezTo>
                  <a:pt x="124" y="12"/>
                  <a:pt x="117" y="13"/>
                  <a:pt x="121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0"/>
                  <a:pt x="115" y="5"/>
                  <a:pt x="113" y="7"/>
                </a:cubicBezTo>
                <a:cubicBezTo>
                  <a:pt x="111" y="10"/>
                  <a:pt x="101" y="4"/>
                  <a:pt x="101" y="4"/>
                </a:cubicBezTo>
                <a:cubicBezTo>
                  <a:pt x="101" y="4"/>
                  <a:pt x="100" y="1"/>
                  <a:pt x="97" y="3"/>
                </a:cubicBezTo>
                <a:cubicBezTo>
                  <a:pt x="95" y="4"/>
                  <a:pt x="88" y="7"/>
                  <a:pt x="86" y="3"/>
                </a:cubicBezTo>
                <a:cubicBezTo>
                  <a:pt x="86" y="3"/>
                  <a:pt x="72" y="7"/>
                  <a:pt x="69" y="8"/>
                </a:cubicBezTo>
                <a:cubicBezTo>
                  <a:pt x="65" y="10"/>
                  <a:pt x="50" y="12"/>
                  <a:pt x="50" y="12"/>
                </a:cubicBezTo>
                <a:cubicBezTo>
                  <a:pt x="50" y="12"/>
                  <a:pt x="34" y="10"/>
                  <a:pt x="30" y="11"/>
                </a:cubicBezTo>
                <a:cubicBezTo>
                  <a:pt x="26" y="12"/>
                  <a:pt x="18" y="13"/>
                  <a:pt x="15" y="17"/>
                </a:cubicBezTo>
                <a:cubicBezTo>
                  <a:pt x="13" y="21"/>
                  <a:pt x="0" y="24"/>
                  <a:pt x="7" y="34"/>
                </a:cubicBezTo>
                <a:cubicBezTo>
                  <a:pt x="14" y="44"/>
                  <a:pt x="19" y="55"/>
                  <a:pt x="20" y="60"/>
                </a:cubicBezTo>
                <a:cubicBezTo>
                  <a:pt x="20" y="65"/>
                  <a:pt x="20" y="77"/>
                  <a:pt x="21" y="81"/>
                </a:cubicBezTo>
                <a:cubicBezTo>
                  <a:pt x="22" y="85"/>
                  <a:pt x="21" y="93"/>
                  <a:pt x="23" y="96"/>
                </a:cubicBezTo>
                <a:cubicBezTo>
                  <a:pt x="25" y="100"/>
                  <a:pt x="22" y="118"/>
                  <a:pt x="28" y="122"/>
                </a:cubicBezTo>
                <a:cubicBezTo>
                  <a:pt x="33" y="126"/>
                  <a:pt x="45" y="121"/>
                  <a:pt x="45" y="121"/>
                </a:cubicBezTo>
                <a:cubicBezTo>
                  <a:pt x="45" y="121"/>
                  <a:pt x="55" y="136"/>
                  <a:pt x="62" y="1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94" name="Freeform 630"/>
          <p:cNvSpPr>
            <a:spLocks/>
          </p:cNvSpPr>
          <p:nvPr userDrawn="1"/>
        </p:nvSpPr>
        <p:spPr bwMode="auto">
          <a:xfrm>
            <a:off x="7854213" y="4493743"/>
            <a:ext cx="206036" cy="371871"/>
          </a:xfrm>
          <a:custGeom>
            <a:avLst/>
            <a:gdLst>
              <a:gd name="T0" fmla="*/ 2147483646 w 220"/>
              <a:gd name="T1" fmla="*/ 2147483646 h 397"/>
              <a:gd name="T2" fmla="*/ 2147483646 w 220"/>
              <a:gd name="T3" fmla="*/ 2147483646 h 397"/>
              <a:gd name="T4" fmla="*/ 2147483646 w 220"/>
              <a:gd name="T5" fmla="*/ 2147483646 h 397"/>
              <a:gd name="T6" fmla="*/ 2147483646 w 220"/>
              <a:gd name="T7" fmla="*/ 2147483646 h 397"/>
              <a:gd name="T8" fmla="*/ 2147483646 w 220"/>
              <a:gd name="T9" fmla="*/ 2147483646 h 397"/>
              <a:gd name="T10" fmla="*/ 2147483646 w 220"/>
              <a:gd name="T11" fmla="*/ 2147483646 h 397"/>
              <a:gd name="T12" fmla="*/ 2147483646 w 220"/>
              <a:gd name="T13" fmla="*/ 2147483646 h 397"/>
              <a:gd name="T14" fmla="*/ 2147483646 w 220"/>
              <a:gd name="T15" fmla="*/ 2147483646 h 397"/>
              <a:gd name="T16" fmla="*/ 2147483646 w 220"/>
              <a:gd name="T17" fmla="*/ 2147483646 h 397"/>
              <a:gd name="T18" fmla="*/ 2147483646 w 220"/>
              <a:gd name="T19" fmla="*/ 2147483646 h 397"/>
              <a:gd name="T20" fmla="*/ 2147483646 w 220"/>
              <a:gd name="T21" fmla="*/ 2147483646 h 397"/>
              <a:gd name="T22" fmla="*/ 2147483646 w 220"/>
              <a:gd name="T23" fmla="*/ 2147483646 h 397"/>
              <a:gd name="T24" fmla="*/ 2147483646 w 220"/>
              <a:gd name="T25" fmla="*/ 2147483646 h 397"/>
              <a:gd name="T26" fmla="*/ 2147483646 w 220"/>
              <a:gd name="T27" fmla="*/ 2147483646 h 397"/>
              <a:gd name="T28" fmla="*/ 2147483646 w 220"/>
              <a:gd name="T29" fmla="*/ 2147483646 h 397"/>
              <a:gd name="T30" fmla="*/ 2147483646 w 220"/>
              <a:gd name="T31" fmla="*/ 2147483646 h 397"/>
              <a:gd name="T32" fmla="*/ 2147483646 w 220"/>
              <a:gd name="T33" fmla="*/ 2147483646 h 397"/>
              <a:gd name="T34" fmla="*/ 2147483646 w 220"/>
              <a:gd name="T35" fmla="*/ 2147483646 h 397"/>
              <a:gd name="T36" fmla="*/ 2147483646 w 220"/>
              <a:gd name="T37" fmla="*/ 2147483646 h 397"/>
              <a:gd name="T38" fmla="*/ 2147483646 w 220"/>
              <a:gd name="T39" fmla="*/ 2147483646 h 397"/>
              <a:gd name="T40" fmla="*/ 2147483646 w 220"/>
              <a:gd name="T41" fmla="*/ 2147483646 h 397"/>
              <a:gd name="T42" fmla="*/ 2147483646 w 220"/>
              <a:gd name="T43" fmla="*/ 2147483646 h 397"/>
              <a:gd name="T44" fmla="*/ 2147483646 w 220"/>
              <a:gd name="T45" fmla="*/ 2147483646 h 397"/>
              <a:gd name="T46" fmla="*/ 2147483646 w 220"/>
              <a:gd name="T47" fmla="*/ 2147483646 h 397"/>
              <a:gd name="T48" fmla="*/ 2147483646 w 220"/>
              <a:gd name="T49" fmla="*/ 2147483646 h 397"/>
              <a:gd name="T50" fmla="*/ 2147483646 w 220"/>
              <a:gd name="T51" fmla="*/ 2147483646 h 397"/>
              <a:gd name="T52" fmla="*/ 2147483646 w 220"/>
              <a:gd name="T53" fmla="*/ 2147483646 h 397"/>
              <a:gd name="T54" fmla="*/ 2147483646 w 220"/>
              <a:gd name="T55" fmla="*/ 2147483646 h 397"/>
              <a:gd name="T56" fmla="*/ 2147483646 w 220"/>
              <a:gd name="T57" fmla="*/ 2147483646 h 397"/>
              <a:gd name="T58" fmla="*/ 2147483646 w 220"/>
              <a:gd name="T59" fmla="*/ 2147483646 h 397"/>
              <a:gd name="T60" fmla="*/ 2147483646 w 220"/>
              <a:gd name="T61" fmla="*/ 2147483646 h 397"/>
              <a:gd name="T62" fmla="*/ 2147483646 w 220"/>
              <a:gd name="T63" fmla="*/ 2147483646 h 397"/>
              <a:gd name="T64" fmla="*/ 2147483646 w 220"/>
              <a:gd name="T65" fmla="*/ 2147483646 h 397"/>
              <a:gd name="T66" fmla="*/ 2147483646 w 220"/>
              <a:gd name="T67" fmla="*/ 2147483646 h 39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20"/>
              <a:gd name="T103" fmla="*/ 0 h 397"/>
              <a:gd name="T104" fmla="*/ 220 w 220"/>
              <a:gd name="T105" fmla="*/ 397 h 397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20" h="397">
                <a:moveTo>
                  <a:pt x="159" y="282"/>
                </a:moveTo>
                <a:cubicBezTo>
                  <a:pt x="153" y="278"/>
                  <a:pt x="156" y="260"/>
                  <a:pt x="154" y="256"/>
                </a:cubicBezTo>
                <a:cubicBezTo>
                  <a:pt x="152" y="253"/>
                  <a:pt x="153" y="245"/>
                  <a:pt x="152" y="241"/>
                </a:cubicBezTo>
                <a:cubicBezTo>
                  <a:pt x="151" y="237"/>
                  <a:pt x="151" y="225"/>
                  <a:pt x="151" y="220"/>
                </a:cubicBezTo>
                <a:cubicBezTo>
                  <a:pt x="150" y="215"/>
                  <a:pt x="145" y="204"/>
                  <a:pt x="138" y="194"/>
                </a:cubicBezTo>
                <a:cubicBezTo>
                  <a:pt x="131" y="184"/>
                  <a:pt x="144" y="181"/>
                  <a:pt x="146" y="177"/>
                </a:cubicBezTo>
                <a:cubicBezTo>
                  <a:pt x="149" y="173"/>
                  <a:pt x="157" y="172"/>
                  <a:pt x="161" y="171"/>
                </a:cubicBezTo>
                <a:cubicBezTo>
                  <a:pt x="165" y="170"/>
                  <a:pt x="181" y="172"/>
                  <a:pt x="181" y="172"/>
                </a:cubicBezTo>
                <a:cubicBezTo>
                  <a:pt x="181" y="172"/>
                  <a:pt x="196" y="170"/>
                  <a:pt x="200" y="168"/>
                </a:cubicBezTo>
                <a:cubicBezTo>
                  <a:pt x="203" y="167"/>
                  <a:pt x="217" y="163"/>
                  <a:pt x="217" y="163"/>
                </a:cubicBezTo>
                <a:cubicBezTo>
                  <a:pt x="217" y="162"/>
                  <a:pt x="217" y="162"/>
                  <a:pt x="217" y="162"/>
                </a:cubicBezTo>
                <a:cubicBezTo>
                  <a:pt x="215" y="158"/>
                  <a:pt x="212" y="152"/>
                  <a:pt x="216" y="149"/>
                </a:cubicBezTo>
                <a:cubicBezTo>
                  <a:pt x="220" y="146"/>
                  <a:pt x="218" y="136"/>
                  <a:pt x="215" y="133"/>
                </a:cubicBezTo>
                <a:cubicBezTo>
                  <a:pt x="212" y="130"/>
                  <a:pt x="205" y="123"/>
                  <a:pt x="205" y="121"/>
                </a:cubicBezTo>
                <a:cubicBezTo>
                  <a:pt x="205" y="119"/>
                  <a:pt x="200" y="114"/>
                  <a:pt x="198" y="115"/>
                </a:cubicBezTo>
                <a:cubicBezTo>
                  <a:pt x="195" y="115"/>
                  <a:pt x="187" y="114"/>
                  <a:pt x="187" y="108"/>
                </a:cubicBezTo>
                <a:cubicBezTo>
                  <a:pt x="187" y="101"/>
                  <a:pt x="189" y="93"/>
                  <a:pt x="184" y="91"/>
                </a:cubicBezTo>
                <a:cubicBezTo>
                  <a:pt x="178" y="90"/>
                  <a:pt x="173" y="67"/>
                  <a:pt x="173" y="67"/>
                </a:cubicBezTo>
                <a:cubicBezTo>
                  <a:pt x="173" y="67"/>
                  <a:pt x="166" y="65"/>
                  <a:pt x="163" y="65"/>
                </a:cubicBezTo>
                <a:cubicBezTo>
                  <a:pt x="160" y="65"/>
                  <a:pt x="155" y="65"/>
                  <a:pt x="154" y="71"/>
                </a:cubicBezTo>
                <a:cubicBezTo>
                  <a:pt x="152" y="77"/>
                  <a:pt x="138" y="86"/>
                  <a:pt x="138" y="86"/>
                </a:cubicBezTo>
                <a:cubicBezTo>
                  <a:pt x="129" y="72"/>
                  <a:pt x="129" y="72"/>
                  <a:pt x="129" y="72"/>
                </a:cubicBezTo>
                <a:cubicBezTo>
                  <a:pt x="129" y="72"/>
                  <a:pt x="123" y="76"/>
                  <a:pt x="123" y="79"/>
                </a:cubicBezTo>
                <a:cubicBezTo>
                  <a:pt x="122" y="83"/>
                  <a:pt x="122" y="87"/>
                  <a:pt x="116" y="88"/>
                </a:cubicBezTo>
                <a:cubicBezTo>
                  <a:pt x="111" y="89"/>
                  <a:pt x="107" y="94"/>
                  <a:pt x="104" y="88"/>
                </a:cubicBezTo>
                <a:cubicBezTo>
                  <a:pt x="101" y="82"/>
                  <a:pt x="97" y="76"/>
                  <a:pt x="99" y="75"/>
                </a:cubicBezTo>
                <a:cubicBezTo>
                  <a:pt x="101" y="73"/>
                  <a:pt x="107" y="57"/>
                  <a:pt x="108" y="54"/>
                </a:cubicBezTo>
                <a:cubicBezTo>
                  <a:pt x="108" y="51"/>
                  <a:pt x="112" y="45"/>
                  <a:pt x="108" y="42"/>
                </a:cubicBezTo>
                <a:cubicBezTo>
                  <a:pt x="105" y="39"/>
                  <a:pt x="103" y="32"/>
                  <a:pt x="100" y="33"/>
                </a:cubicBezTo>
                <a:cubicBezTo>
                  <a:pt x="97" y="33"/>
                  <a:pt x="94" y="25"/>
                  <a:pt x="90" y="25"/>
                </a:cubicBezTo>
                <a:cubicBezTo>
                  <a:pt x="86" y="25"/>
                  <a:pt x="80" y="22"/>
                  <a:pt x="80" y="18"/>
                </a:cubicBezTo>
                <a:cubicBezTo>
                  <a:pt x="80" y="15"/>
                  <a:pt x="63" y="11"/>
                  <a:pt x="63" y="11"/>
                </a:cubicBezTo>
                <a:cubicBezTo>
                  <a:pt x="62" y="11"/>
                  <a:pt x="62" y="11"/>
                  <a:pt x="62" y="11"/>
                </a:cubicBezTo>
                <a:cubicBezTo>
                  <a:pt x="57" y="9"/>
                  <a:pt x="55" y="0"/>
                  <a:pt x="48" y="12"/>
                </a:cubicBezTo>
                <a:cubicBezTo>
                  <a:pt x="40" y="25"/>
                  <a:pt x="20" y="39"/>
                  <a:pt x="21" y="46"/>
                </a:cubicBezTo>
                <a:cubicBezTo>
                  <a:pt x="22" y="53"/>
                  <a:pt x="15" y="59"/>
                  <a:pt x="10" y="61"/>
                </a:cubicBezTo>
                <a:cubicBezTo>
                  <a:pt x="5" y="64"/>
                  <a:pt x="0" y="68"/>
                  <a:pt x="8" y="74"/>
                </a:cubicBezTo>
                <a:cubicBezTo>
                  <a:pt x="15" y="81"/>
                  <a:pt x="29" y="88"/>
                  <a:pt x="34" y="98"/>
                </a:cubicBezTo>
                <a:cubicBezTo>
                  <a:pt x="39" y="108"/>
                  <a:pt x="36" y="109"/>
                  <a:pt x="38" y="124"/>
                </a:cubicBezTo>
                <a:cubicBezTo>
                  <a:pt x="41" y="139"/>
                  <a:pt x="25" y="144"/>
                  <a:pt x="33" y="156"/>
                </a:cubicBezTo>
                <a:cubicBezTo>
                  <a:pt x="41" y="169"/>
                  <a:pt x="50" y="183"/>
                  <a:pt x="53" y="190"/>
                </a:cubicBezTo>
                <a:cubicBezTo>
                  <a:pt x="56" y="196"/>
                  <a:pt x="63" y="197"/>
                  <a:pt x="61" y="210"/>
                </a:cubicBezTo>
                <a:cubicBezTo>
                  <a:pt x="59" y="223"/>
                  <a:pt x="54" y="227"/>
                  <a:pt x="56" y="234"/>
                </a:cubicBezTo>
                <a:cubicBezTo>
                  <a:pt x="59" y="241"/>
                  <a:pt x="59" y="261"/>
                  <a:pt x="56" y="267"/>
                </a:cubicBezTo>
                <a:cubicBezTo>
                  <a:pt x="54" y="273"/>
                  <a:pt x="53" y="278"/>
                  <a:pt x="48" y="280"/>
                </a:cubicBezTo>
                <a:cubicBezTo>
                  <a:pt x="42" y="283"/>
                  <a:pt x="36" y="283"/>
                  <a:pt x="36" y="283"/>
                </a:cubicBezTo>
                <a:cubicBezTo>
                  <a:pt x="36" y="283"/>
                  <a:pt x="35" y="305"/>
                  <a:pt x="34" y="310"/>
                </a:cubicBezTo>
                <a:cubicBezTo>
                  <a:pt x="33" y="316"/>
                  <a:pt x="27" y="325"/>
                  <a:pt x="27" y="330"/>
                </a:cubicBezTo>
                <a:cubicBezTo>
                  <a:pt x="27" y="335"/>
                  <a:pt x="26" y="336"/>
                  <a:pt x="33" y="343"/>
                </a:cubicBezTo>
                <a:cubicBezTo>
                  <a:pt x="39" y="350"/>
                  <a:pt x="49" y="353"/>
                  <a:pt x="54" y="359"/>
                </a:cubicBezTo>
                <a:cubicBezTo>
                  <a:pt x="59" y="366"/>
                  <a:pt x="59" y="371"/>
                  <a:pt x="65" y="374"/>
                </a:cubicBezTo>
                <a:cubicBezTo>
                  <a:pt x="71" y="378"/>
                  <a:pt x="88" y="381"/>
                  <a:pt x="98" y="388"/>
                </a:cubicBezTo>
                <a:cubicBezTo>
                  <a:pt x="108" y="394"/>
                  <a:pt x="111" y="396"/>
                  <a:pt x="117" y="397"/>
                </a:cubicBezTo>
                <a:cubicBezTo>
                  <a:pt x="124" y="397"/>
                  <a:pt x="126" y="394"/>
                  <a:pt x="127" y="393"/>
                </a:cubicBezTo>
                <a:cubicBezTo>
                  <a:pt x="129" y="391"/>
                  <a:pt x="121" y="380"/>
                  <a:pt x="115" y="379"/>
                </a:cubicBezTo>
                <a:cubicBezTo>
                  <a:pt x="109" y="378"/>
                  <a:pt x="93" y="369"/>
                  <a:pt x="93" y="369"/>
                </a:cubicBezTo>
                <a:cubicBezTo>
                  <a:pt x="81" y="349"/>
                  <a:pt x="81" y="349"/>
                  <a:pt x="81" y="349"/>
                </a:cubicBezTo>
                <a:cubicBezTo>
                  <a:pt x="81" y="349"/>
                  <a:pt x="80" y="334"/>
                  <a:pt x="79" y="328"/>
                </a:cubicBezTo>
                <a:cubicBezTo>
                  <a:pt x="77" y="322"/>
                  <a:pt x="75" y="317"/>
                  <a:pt x="67" y="315"/>
                </a:cubicBezTo>
                <a:cubicBezTo>
                  <a:pt x="59" y="313"/>
                  <a:pt x="54" y="310"/>
                  <a:pt x="53" y="305"/>
                </a:cubicBezTo>
                <a:cubicBezTo>
                  <a:pt x="52" y="301"/>
                  <a:pt x="62" y="281"/>
                  <a:pt x="66" y="264"/>
                </a:cubicBezTo>
                <a:cubicBezTo>
                  <a:pt x="70" y="248"/>
                  <a:pt x="72" y="236"/>
                  <a:pt x="73" y="223"/>
                </a:cubicBezTo>
                <a:cubicBezTo>
                  <a:pt x="73" y="211"/>
                  <a:pt x="68" y="197"/>
                  <a:pt x="79" y="199"/>
                </a:cubicBezTo>
                <a:cubicBezTo>
                  <a:pt x="91" y="201"/>
                  <a:pt x="101" y="197"/>
                  <a:pt x="102" y="209"/>
                </a:cubicBezTo>
                <a:cubicBezTo>
                  <a:pt x="102" y="220"/>
                  <a:pt x="112" y="231"/>
                  <a:pt x="119" y="232"/>
                </a:cubicBezTo>
                <a:cubicBezTo>
                  <a:pt x="126" y="234"/>
                  <a:pt x="131" y="234"/>
                  <a:pt x="135" y="238"/>
                </a:cubicBezTo>
                <a:cubicBezTo>
                  <a:pt x="140" y="242"/>
                  <a:pt x="146" y="243"/>
                  <a:pt x="148" y="258"/>
                </a:cubicBezTo>
                <a:cubicBezTo>
                  <a:pt x="150" y="273"/>
                  <a:pt x="151" y="284"/>
                  <a:pt x="159" y="28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95" name="Freeform 631"/>
          <p:cNvSpPr>
            <a:spLocks/>
          </p:cNvSpPr>
          <p:nvPr userDrawn="1"/>
        </p:nvSpPr>
        <p:spPr bwMode="auto">
          <a:xfrm>
            <a:off x="7916191" y="4843837"/>
            <a:ext cx="113907" cy="139032"/>
          </a:xfrm>
          <a:custGeom>
            <a:avLst/>
            <a:gdLst>
              <a:gd name="T0" fmla="*/ 0 w 121"/>
              <a:gd name="T1" fmla="*/ 0 h 149"/>
              <a:gd name="T2" fmla="*/ 2147483646 w 121"/>
              <a:gd name="T3" fmla="*/ 2147483646 h 149"/>
              <a:gd name="T4" fmla="*/ 2147483646 w 121"/>
              <a:gd name="T5" fmla="*/ 2147483646 h 149"/>
              <a:gd name="T6" fmla="*/ 2147483646 w 121"/>
              <a:gd name="T7" fmla="*/ 2147483646 h 149"/>
              <a:gd name="T8" fmla="*/ 2147483646 w 121"/>
              <a:gd name="T9" fmla="*/ 2147483646 h 149"/>
              <a:gd name="T10" fmla="*/ 2147483646 w 121"/>
              <a:gd name="T11" fmla="*/ 2147483646 h 149"/>
              <a:gd name="T12" fmla="*/ 2147483646 w 121"/>
              <a:gd name="T13" fmla="*/ 2147483646 h 149"/>
              <a:gd name="T14" fmla="*/ 2147483646 w 121"/>
              <a:gd name="T15" fmla="*/ 2147483646 h 149"/>
              <a:gd name="T16" fmla="*/ 2147483646 w 121"/>
              <a:gd name="T17" fmla="*/ 2147483646 h 149"/>
              <a:gd name="T18" fmla="*/ 2147483646 w 121"/>
              <a:gd name="T19" fmla="*/ 2147483646 h 149"/>
              <a:gd name="T20" fmla="*/ 2147483646 w 121"/>
              <a:gd name="T21" fmla="*/ 2147483646 h 149"/>
              <a:gd name="T22" fmla="*/ 2147483646 w 121"/>
              <a:gd name="T23" fmla="*/ 2147483646 h 149"/>
              <a:gd name="T24" fmla="*/ 2147483646 w 121"/>
              <a:gd name="T25" fmla="*/ 2147483646 h 149"/>
              <a:gd name="T26" fmla="*/ 2147483646 w 121"/>
              <a:gd name="T27" fmla="*/ 2147483646 h 149"/>
              <a:gd name="T28" fmla="*/ 2147483646 w 121"/>
              <a:gd name="T29" fmla="*/ 2147483646 h 149"/>
              <a:gd name="T30" fmla="*/ 2147483646 w 121"/>
              <a:gd name="T31" fmla="*/ 2147483646 h 149"/>
              <a:gd name="T32" fmla="*/ 2147483646 w 121"/>
              <a:gd name="T33" fmla="*/ 2147483646 h 149"/>
              <a:gd name="T34" fmla="*/ 2147483646 w 121"/>
              <a:gd name="T35" fmla="*/ 2147483646 h 149"/>
              <a:gd name="T36" fmla="*/ 2147483646 w 121"/>
              <a:gd name="T37" fmla="*/ 2147483646 h 149"/>
              <a:gd name="T38" fmla="*/ 2147483646 w 121"/>
              <a:gd name="T39" fmla="*/ 2147483646 h 149"/>
              <a:gd name="T40" fmla="*/ 2147483646 w 121"/>
              <a:gd name="T41" fmla="*/ 2147483646 h 149"/>
              <a:gd name="T42" fmla="*/ 2147483646 w 121"/>
              <a:gd name="T43" fmla="*/ 2147483646 h 149"/>
              <a:gd name="T44" fmla="*/ 2147483646 w 121"/>
              <a:gd name="T45" fmla="*/ 2147483646 h 149"/>
              <a:gd name="T46" fmla="*/ 0 w 121"/>
              <a:gd name="T47" fmla="*/ 0 h 1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21"/>
              <a:gd name="T73" fmla="*/ 0 h 149"/>
              <a:gd name="T74" fmla="*/ 121 w 121"/>
              <a:gd name="T75" fmla="*/ 149 h 14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21" h="149">
                <a:moveTo>
                  <a:pt x="0" y="0"/>
                </a:moveTo>
                <a:cubicBezTo>
                  <a:pt x="6" y="4"/>
                  <a:pt x="23" y="7"/>
                  <a:pt x="33" y="14"/>
                </a:cubicBezTo>
                <a:cubicBezTo>
                  <a:pt x="43" y="20"/>
                  <a:pt x="46" y="22"/>
                  <a:pt x="52" y="23"/>
                </a:cubicBezTo>
                <a:cubicBezTo>
                  <a:pt x="59" y="23"/>
                  <a:pt x="61" y="20"/>
                  <a:pt x="62" y="19"/>
                </a:cubicBezTo>
                <a:cubicBezTo>
                  <a:pt x="62" y="19"/>
                  <a:pt x="67" y="27"/>
                  <a:pt x="72" y="31"/>
                </a:cubicBezTo>
                <a:cubicBezTo>
                  <a:pt x="77" y="36"/>
                  <a:pt x="84" y="40"/>
                  <a:pt x="87" y="46"/>
                </a:cubicBezTo>
                <a:cubicBezTo>
                  <a:pt x="91" y="52"/>
                  <a:pt x="95" y="53"/>
                  <a:pt x="96" y="62"/>
                </a:cubicBezTo>
                <a:cubicBezTo>
                  <a:pt x="96" y="72"/>
                  <a:pt x="91" y="72"/>
                  <a:pt x="93" y="82"/>
                </a:cubicBezTo>
                <a:cubicBezTo>
                  <a:pt x="95" y="92"/>
                  <a:pt x="90" y="102"/>
                  <a:pt x="96" y="109"/>
                </a:cubicBezTo>
                <a:cubicBezTo>
                  <a:pt x="103" y="116"/>
                  <a:pt x="106" y="117"/>
                  <a:pt x="109" y="120"/>
                </a:cubicBezTo>
                <a:cubicBezTo>
                  <a:pt x="113" y="123"/>
                  <a:pt x="109" y="125"/>
                  <a:pt x="113" y="126"/>
                </a:cubicBezTo>
                <a:cubicBezTo>
                  <a:pt x="117" y="126"/>
                  <a:pt x="121" y="131"/>
                  <a:pt x="120" y="133"/>
                </a:cubicBezTo>
                <a:cubicBezTo>
                  <a:pt x="119" y="135"/>
                  <a:pt x="112" y="132"/>
                  <a:pt x="112" y="137"/>
                </a:cubicBezTo>
                <a:cubicBezTo>
                  <a:pt x="112" y="141"/>
                  <a:pt x="110" y="139"/>
                  <a:pt x="108" y="143"/>
                </a:cubicBezTo>
                <a:cubicBezTo>
                  <a:pt x="106" y="147"/>
                  <a:pt x="103" y="149"/>
                  <a:pt x="99" y="146"/>
                </a:cubicBezTo>
                <a:cubicBezTo>
                  <a:pt x="94" y="142"/>
                  <a:pt x="93" y="138"/>
                  <a:pt x="91" y="135"/>
                </a:cubicBezTo>
                <a:cubicBezTo>
                  <a:pt x="89" y="131"/>
                  <a:pt x="88" y="127"/>
                  <a:pt x="81" y="124"/>
                </a:cubicBezTo>
                <a:cubicBezTo>
                  <a:pt x="73" y="120"/>
                  <a:pt x="58" y="112"/>
                  <a:pt x="52" y="108"/>
                </a:cubicBezTo>
                <a:cubicBezTo>
                  <a:pt x="46" y="105"/>
                  <a:pt x="38" y="96"/>
                  <a:pt x="35" y="92"/>
                </a:cubicBezTo>
                <a:cubicBezTo>
                  <a:pt x="33" y="88"/>
                  <a:pt x="29" y="81"/>
                  <a:pt x="28" y="77"/>
                </a:cubicBezTo>
                <a:cubicBezTo>
                  <a:pt x="28" y="73"/>
                  <a:pt x="25" y="64"/>
                  <a:pt x="22" y="61"/>
                </a:cubicBezTo>
                <a:cubicBezTo>
                  <a:pt x="20" y="58"/>
                  <a:pt x="17" y="54"/>
                  <a:pt x="14" y="49"/>
                </a:cubicBezTo>
                <a:cubicBezTo>
                  <a:pt x="11" y="44"/>
                  <a:pt x="13" y="33"/>
                  <a:pt x="13" y="30"/>
                </a:cubicBezTo>
                <a:cubicBezTo>
                  <a:pt x="14" y="26"/>
                  <a:pt x="11" y="8"/>
                  <a:pt x="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96" name="Freeform 632"/>
          <p:cNvSpPr>
            <a:spLocks/>
          </p:cNvSpPr>
          <p:nvPr userDrawn="1"/>
        </p:nvSpPr>
        <p:spPr bwMode="auto">
          <a:xfrm>
            <a:off x="7165749" y="4078320"/>
            <a:ext cx="504204" cy="745416"/>
          </a:xfrm>
          <a:custGeom>
            <a:avLst/>
            <a:gdLst>
              <a:gd name="T0" fmla="*/ 2147483646 w 539"/>
              <a:gd name="T1" fmla="*/ 2147483646 h 798"/>
              <a:gd name="T2" fmla="*/ 2147483646 w 539"/>
              <a:gd name="T3" fmla="*/ 2147483646 h 798"/>
              <a:gd name="T4" fmla="*/ 2147483646 w 539"/>
              <a:gd name="T5" fmla="*/ 2147483646 h 798"/>
              <a:gd name="T6" fmla="*/ 2147483646 w 539"/>
              <a:gd name="T7" fmla="*/ 2147483646 h 798"/>
              <a:gd name="T8" fmla="*/ 2147483646 w 539"/>
              <a:gd name="T9" fmla="*/ 2147483646 h 798"/>
              <a:gd name="T10" fmla="*/ 2147483646 w 539"/>
              <a:gd name="T11" fmla="*/ 2147483646 h 798"/>
              <a:gd name="T12" fmla="*/ 2147483646 w 539"/>
              <a:gd name="T13" fmla="*/ 0 h 798"/>
              <a:gd name="T14" fmla="*/ 2147483646 w 539"/>
              <a:gd name="T15" fmla="*/ 2147483646 h 798"/>
              <a:gd name="T16" fmla="*/ 2147483646 w 539"/>
              <a:gd name="T17" fmla="*/ 2147483646 h 798"/>
              <a:gd name="T18" fmla="*/ 2147483646 w 539"/>
              <a:gd name="T19" fmla="*/ 2147483646 h 798"/>
              <a:gd name="T20" fmla="*/ 2147483646 w 539"/>
              <a:gd name="T21" fmla="*/ 2147483646 h 798"/>
              <a:gd name="T22" fmla="*/ 2147483646 w 539"/>
              <a:gd name="T23" fmla="*/ 2147483646 h 798"/>
              <a:gd name="T24" fmla="*/ 2147483646 w 539"/>
              <a:gd name="T25" fmla="*/ 2147483646 h 798"/>
              <a:gd name="T26" fmla="*/ 2147483646 w 539"/>
              <a:gd name="T27" fmla="*/ 2147483646 h 798"/>
              <a:gd name="T28" fmla="*/ 2147483646 w 539"/>
              <a:gd name="T29" fmla="*/ 2147483646 h 798"/>
              <a:gd name="T30" fmla="*/ 2147483646 w 539"/>
              <a:gd name="T31" fmla="*/ 2147483646 h 798"/>
              <a:gd name="T32" fmla="*/ 2147483646 w 539"/>
              <a:gd name="T33" fmla="*/ 2147483646 h 798"/>
              <a:gd name="T34" fmla="*/ 2147483646 w 539"/>
              <a:gd name="T35" fmla="*/ 2147483646 h 798"/>
              <a:gd name="T36" fmla="*/ 2147483646 w 539"/>
              <a:gd name="T37" fmla="*/ 2147483646 h 798"/>
              <a:gd name="T38" fmla="*/ 2147483646 w 539"/>
              <a:gd name="T39" fmla="*/ 2147483646 h 798"/>
              <a:gd name="T40" fmla="*/ 2147483646 w 539"/>
              <a:gd name="T41" fmla="*/ 2147483646 h 798"/>
              <a:gd name="T42" fmla="*/ 2147483646 w 539"/>
              <a:gd name="T43" fmla="*/ 2147483646 h 798"/>
              <a:gd name="T44" fmla="*/ 2147483646 w 539"/>
              <a:gd name="T45" fmla="*/ 2147483646 h 798"/>
              <a:gd name="T46" fmla="*/ 2147483646 w 539"/>
              <a:gd name="T47" fmla="*/ 2147483646 h 798"/>
              <a:gd name="T48" fmla="*/ 2147483646 w 539"/>
              <a:gd name="T49" fmla="*/ 2147483646 h 798"/>
              <a:gd name="T50" fmla="*/ 2147483646 w 539"/>
              <a:gd name="T51" fmla="*/ 2147483646 h 798"/>
              <a:gd name="T52" fmla="*/ 2147483646 w 539"/>
              <a:gd name="T53" fmla="*/ 2147483646 h 798"/>
              <a:gd name="T54" fmla="*/ 2147483646 w 539"/>
              <a:gd name="T55" fmla="*/ 2147483646 h 798"/>
              <a:gd name="T56" fmla="*/ 2147483646 w 539"/>
              <a:gd name="T57" fmla="*/ 2147483646 h 798"/>
              <a:gd name="T58" fmla="*/ 2147483646 w 539"/>
              <a:gd name="T59" fmla="*/ 2147483646 h 798"/>
              <a:gd name="T60" fmla="*/ 2147483646 w 539"/>
              <a:gd name="T61" fmla="*/ 2147483646 h 798"/>
              <a:gd name="T62" fmla="*/ 2147483646 w 539"/>
              <a:gd name="T63" fmla="*/ 2147483646 h 798"/>
              <a:gd name="T64" fmla="*/ 2147483646 w 539"/>
              <a:gd name="T65" fmla="*/ 2147483646 h 798"/>
              <a:gd name="T66" fmla="*/ 2147483646 w 539"/>
              <a:gd name="T67" fmla="*/ 2147483646 h 798"/>
              <a:gd name="T68" fmla="*/ 2147483646 w 539"/>
              <a:gd name="T69" fmla="*/ 2147483646 h 798"/>
              <a:gd name="T70" fmla="*/ 2147483646 w 539"/>
              <a:gd name="T71" fmla="*/ 2147483646 h 798"/>
              <a:gd name="T72" fmla="*/ 2147483646 w 539"/>
              <a:gd name="T73" fmla="*/ 2147483646 h 798"/>
              <a:gd name="T74" fmla="*/ 2147483646 w 539"/>
              <a:gd name="T75" fmla="*/ 2147483646 h 798"/>
              <a:gd name="T76" fmla="*/ 2147483646 w 539"/>
              <a:gd name="T77" fmla="*/ 2147483646 h 798"/>
              <a:gd name="T78" fmla="*/ 2147483646 w 539"/>
              <a:gd name="T79" fmla="*/ 2147483646 h 798"/>
              <a:gd name="T80" fmla="*/ 2147483646 w 539"/>
              <a:gd name="T81" fmla="*/ 2147483646 h 798"/>
              <a:gd name="T82" fmla="*/ 2147483646 w 539"/>
              <a:gd name="T83" fmla="*/ 2147483646 h 798"/>
              <a:gd name="T84" fmla="*/ 2147483646 w 539"/>
              <a:gd name="T85" fmla="*/ 2147483646 h 79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39"/>
              <a:gd name="T130" fmla="*/ 0 h 798"/>
              <a:gd name="T131" fmla="*/ 539 w 539"/>
              <a:gd name="T132" fmla="*/ 798 h 798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39" h="798">
                <a:moveTo>
                  <a:pt x="0" y="372"/>
                </a:moveTo>
                <a:cubicBezTo>
                  <a:pt x="0" y="372"/>
                  <a:pt x="8" y="366"/>
                  <a:pt x="13" y="358"/>
                </a:cubicBezTo>
                <a:cubicBezTo>
                  <a:pt x="17" y="350"/>
                  <a:pt x="24" y="349"/>
                  <a:pt x="30" y="340"/>
                </a:cubicBezTo>
                <a:cubicBezTo>
                  <a:pt x="36" y="332"/>
                  <a:pt x="47" y="344"/>
                  <a:pt x="56" y="346"/>
                </a:cubicBezTo>
                <a:cubicBezTo>
                  <a:pt x="66" y="349"/>
                  <a:pt x="77" y="347"/>
                  <a:pt x="80" y="336"/>
                </a:cubicBezTo>
                <a:cubicBezTo>
                  <a:pt x="82" y="324"/>
                  <a:pt x="71" y="320"/>
                  <a:pt x="63" y="319"/>
                </a:cubicBezTo>
                <a:cubicBezTo>
                  <a:pt x="55" y="318"/>
                  <a:pt x="63" y="311"/>
                  <a:pt x="54" y="308"/>
                </a:cubicBezTo>
                <a:cubicBezTo>
                  <a:pt x="44" y="304"/>
                  <a:pt x="33" y="283"/>
                  <a:pt x="29" y="265"/>
                </a:cubicBezTo>
                <a:cubicBezTo>
                  <a:pt x="26" y="248"/>
                  <a:pt x="44" y="258"/>
                  <a:pt x="56" y="258"/>
                </a:cubicBezTo>
                <a:cubicBezTo>
                  <a:pt x="68" y="258"/>
                  <a:pt x="82" y="245"/>
                  <a:pt x="90" y="243"/>
                </a:cubicBezTo>
                <a:cubicBezTo>
                  <a:pt x="98" y="241"/>
                  <a:pt x="121" y="215"/>
                  <a:pt x="124" y="204"/>
                </a:cubicBezTo>
                <a:cubicBezTo>
                  <a:pt x="128" y="194"/>
                  <a:pt x="149" y="177"/>
                  <a:pt x="156" y="164"/>
                </a:cubicBezTo>
                <a:cubicBezTo>
                  <a:pt x="163" y="151"/>
                  <a:pt x="169" y="148"/>
                  <a:pt x="174" y="142"/>
                </a:cubicBezTo>
                <a:cubicBezTo>
                  <a:pt x="178" y="136"/>
                  <a:pt x="185" y="116"/>
                  <a:pt x="181" y="110"/>
                </a:cubicBezTo>
                <a:cubicBezTo>
                  <a:pt x="176" y="105"/>
                  <a:pt x="165" y="100"/>
                  <a:pt x="159" y="96"/>
                </a:cubicBezTo>
                <a:cubicBezTo>
                  <a:pt x="154" y="93"/>
                  <a:pt x="141" y="67"/>
                  <a:pt x="136" y="54"/>
                </a:cubicBezTo>
                <a:cubicBezTo>
                  <a:pt x="131" y="41"/>
                  <a:pt x="149" y="38"/>
                  <a:pt x="163" y="36"/>
                </a:cubicBezTo>
                <a:cubicBezTo>
                  <a:pt x="177" y="35"/>
                  <a:pt x="177" y="38"/>
                  <a:pt x="185" y="40"/>
                </a:cubicBezTo>
                <a:cubicBezTo>
                  <a:pt x="193" y="42"/>
                  <a:pt x="218" y="46"/>
                  <a:pt x="224" y="42"/>
                </a:cubicBezTo>
                <a:cubicBezTo>
                  <a:pt x="230" y="39"/>
                  <a:pt x="225" y="24"/>
                  <a:pt x="229" y="20"/>
                </a:cubicBezTo>
                <a:cubicBezTo>
                  <a:pt x="232" y="16"/>
                  <a:pt x="238" y="0"/>
                  <a:pt x="238" y="0"/>
                </a:cubicBezTo>
                <a:cubicBezTo>
                  <a:pt x="243" y="0"/>
                  <a:pt x="252" y="0"/>
                  <a:pt x="252" y="0"/>
                </a:cubicBezTo>
                <a:cubicBezTo>
                  <a:pt x="252" y="0"/>
                  <a:pt x="269" y="11"/>
                  <a:pt x="274" y="18"/>
                </a:cubicBezTo>
                <a:cubicBezTo>
                  <a:pt x="278" y="26"/>
                  <a:pt x="299" y="36"/>
                  <a:pt x="286" y="41"/>
                </a:cubicBezTo>
                <a:cubicBezTo>
                  <a:pt x="273" y="46"/>
                  <a:pt x="270" y="51"/>
                  <a:pt x="277" y="58"/>
                </a:cubicBezTo>
                <a:cubicBezTo>
                  <a:pt x="284" y="65"/>
                  <a:pt x="297" y="65"/>
                  <a:pt x="292" y="73"/>
                </a:cubicBezTo>
                <a:cubicBezTo>
                  <a:pt x="287" y="81"/>
                  <a:pt x="274" y="76"/>
                  <a:pt x="279" y="82"/>
                </a:cubicBezTo>
                <a:cubicBezTo>
                  <a:pt x="284" y="88"/>
                  <a:pt x="289" y="80"/>
                  <a:pt x="293" y="89"/>
                </a:cubicBezTo>
                <a:cubicBezTo>
                  <a:pt x="298" y="99"/>
                  <a:pt x="298" y="103"/>
                  <a:pt x="292" y="107"/>
                </a:cubicBezTo>
                <a:cubicBezTo>
                  <a:pt x="286" y="110"/>
                  <a:pt x="282" y="113"/>
                  <a:pt x="278" y="112"/>
                </a:cubicBezTo>
                <a:cubicBezTo>
                  <a:pt x="274" y="110"/>
                  <a:pt x="278" y="101"/>
                  <a:pt x="272" y="105"/>
                </a:cubicBezTo>
                <a:cubicBezTo>
                  <a:pt x="266" y="108"/>
                  <a:pt x="260" y="113"/>
                  <a:pt x="269" y="120"/>
                </a:cubicBezTo>
                <a:cubicBezTo>
                  <a:pt x="277" y="127"/>
                  <a:pt x="285" y="113"/>
                  <a:pt x="286" y="127"/>
                </a:cubicBezTo>
                <a:cubicBezTo>
                  <a:pt x="287" y="141"/>
                  <a:pt x="272" y="143"/>
                  <a:pt x="283" y="148"/>
                </a:cubicBezTo>
                <a:cubicBezTo>
                  <a:pt x="293" y="153"/>
                  <a:pt x="301" y="153"/>
                  <a:pt x="312" y="156"/>
                </a:cubicBezTo>
                <a:cubicBezTo>
                  <a:pt x="323" y="160"/>
                  <a:pt x="327" y="149"/>
                  <a:pt x="333" y="167"/>
                </a:cubicBezTo>
                <a:cubicBezTo>
                  <a:pt x="333" y="167"/>
                  <a:pt x="325" y="182"/>
                  <a:pt x="317" y="185"/>
                </a:cubicBezTo>
                <a:cubicBezTo>
                  <a:pt x="309" y="188"/>
                  <a:pt x="306" y="198"/>
                  <a:pt x="314" y="211"/>
                </a:cubicBezTo>
                <a:cubicBezTo>
                  <a:pt x="322" y="224"/>
                  <a:pt x="339" y="231"/>
                  <a:pt x="351" y="238"/>
                </a:cubicBezTo>
                <a:cubicBezTo>
                  <a:pt x="363" y="245"/>
                  <a:pt x="392" y="254"/>
                  <a:pt x="418" y="264"/>
                </a:cubicBezTo>
                <a:cubicBezTo>
                  <a:pt x="443" y="274"/>
                  <a:pt x="451" y="274"/>
                  <a:pt x="461" y="285"/>
                </a:cubicBezTo>
                <a:cubicBezTo>
                  <a:pt x="471" y="296"/>
                  <a:pt x="503" y="292"/>
                  <a:pt x="503" y="292"/>
                </a:cubicBezTo>
                <a:cubicBezTo>
                  <a:pt x="507" y="314"/>
                  <a:pt x="507" y="314"/>
                  <a:pt x="507" y="314"/>
                </a:cubicBezTo>
                <a:cubicBezTo>
                  <a:pt x="510" y="320"/>
                  <a:pt x="515" y="313"/>
                  <a:pt x="518" y="312"/>
                </a:cubicBezTo>
                <a:cubicBezTo>
                  <a:pt x="521" y="311"/>
                  <a:pt x="522" y="314"/>
                  <a:pt x="526" y="317"/>
                </a:cubicBezTo>
                <a:cubicBezTo>
                  <a:pt x="529" y="319"/>
                  <a:pt x="526" y="329"/>
                  <a:pt x="525" y="332"/>
                </a:cubicBezTo>
                <a:cubicBezTo>
                  <a:pt x="524" y="335"/>
                  <a:pt x="522" y="349"/>
                  <a:pt x="522" y="356"/>
                </a:cubicBezTo>
                <a:cubicBezTo>
                  <a:pt x="522" y="362"/>
                  <a:pt x="528" y="367"/>
                  <a:pt x="530" y="369"/>
                </a:cubicBezTo>
                <a:cubicBezTo>
                  <a:pt x="532" y="372"/>
                  <a:pt x="539" y="402"/>
                  <a:pt x="537" y="407"/>
                </a:cubicBezTo>
                <a:cubicBezTo>
                  <a:pt x="522" y="411"/>
                  <a:pt x="522" y="411"/>
                  <a:pt x="522" y="411"/>
                </a:cubicBezTo>
                <a:cubicBezTo>
                  <a:pt x="519" y="423"/>
                  <a:pt x="505" y="431"/>
                  <a:pt x="505" y="426"/>
                </a:cubicBezTo>
                <a:cubicBezTo>
                  <a:pt x="507" y="416"/>
                  <a:pt x="502" y="411"/>
                  <a:pt x="502" y="411"/>
                </a:cubicBezTo>
                <a:cubicBezTo>
                  <a:pt x="502" y="411"/>
                  <a:pt x="486" y="417"/>
                  <a:pt x="487" y="422"/>
                </a:cubicBezTo>
                <a:cubicBezTo>
                  <a:pt x="489" y="426"/>
                  <a:pt x="472" y="428"/>
                  <a:pt x="476" y="432"/>
                </a:cubicBezTo>
                <a:cubicBezTo>
                  <a:pt x="481" y="437"/>
                  <a:pt x="470" y="451"/>
                  <a:pt x="470" y="451"/>
                </a:cubicBezTo>
                <a:cubicBezTo>
                  <a:pt x="470" y="451"/>
                  <a:pt x="472" y="461"/>
                  <a:pt x="472" y="466"/>
                </a:cubicBezTo>
                <a:cubicBezTo>
                  <a:pt x="472" y="471"/>
                  <a:pt x="469" y="477"/>
                  <a:pt x="464" y="471"/>
                </a:cubicBezTo>
                <a:cubicBezTo>
                  <a:pt x="460" y="464"/>
                  <a:pt x="449" y="471"/>
                  <a:pt x="449" y="471"/>
                </a:cubicBezTo>
                <a:cubicBezTo>
                  <a:pt x="439" y="471"/>
                  <a:pt x="439" y="471"/>
                  <a:pt x="439" y="471"/>
                </a:cubicBezTo>
                <a:cubicBezTo>
                  <a:pt x="442" y="482"/>
                  <a:pt x="442" y="482"/>
                  <a:pt x="442" y="482"/>
                </a:cubicBezTo>
                <a:cubicBezTo>
                  <a:pt x="427" y="485"/>
                  <a:pt x="427" y="485"/>
                  <a:pt x="427" y="485"/>
                </a:cubicBezTo>
                <a:cubicBezTo>
                  <a:pt x="421" y="476"/>
                  <a:pt x="421" y="476"/>
                  <a:pt x="421" y="476"/>
                </a:cubicBezTo>
                <a:cubicBezTo>
                  <a:pt x="418" y="490"/>
                  <a:pt x="421" y="502"/>
                  <a:pt x="421" y="502"/>
                </a:cubicBezTo>
                <a:cubicBezTo>
                  <a:pt x="405" y="511"/>
                  <a:pt x="405" y="511"/>
                  <a:pt x="405" y="511"/>
                </a:cubicBezTo>
                <a:cubicBezTo>
                  <a:pt x="405" y="511"/>
                  <a:pt x="398" y="529"/>
                  <a:pt x="390" y="525"/>
                </a:cubicBezTo>
                <a:cubicBezTo>
                  <a:pt x="383" y="520"/>
                  <a:pt x="375" y="513"/>
                  <a:pt x="375" y="525"/>
                </a:cubicBezTo>
                <a:cubicBezTo>
                  <a:pt x="375" y="537"/>
                  <a:pt x="374" y="546"/>
                  <a:pt x="369" y="549"/>
                </a:cubicBezTo>
                <a:cubicBezTo>
                  <a:pt x="365" y="552"/>
                  <a:pt x="353" y="547"/>
                  <a:pt x="353" y="547"/>
                </a:cubicBezTo>
                <a:cubicBezTo>
                  <a:pt x="353" y="547"/>
                  <a:pt x="346" y="555"/>
                  <a:pt x="351" y="561"/>
                </a:cubicBezTo>
                <a:cubicBezTo>
                  <a:pt x="356" y="567"/>
                  <a:pt x="357" y="567"/>
                  <a:pt x="353" y="572"/>
                </a:cubicBezTo>
                <a:cubicBezTo>
                  <a:pt x="348" y="576"/>
                  <a:pt x="340" y="573"/>
                  <a:pt x="340" y="573"/>
                </a:cubicBezTo>
                <a:cubicBezTo>
                  <a:pt x="340" y="573"/>
                  <a:pt x="333" y="573"/>
                  <a:pt x="330" y="578"/>
                </a:cubicBezTo>
                <a:cubicBezTo>
                  <a:pt x="327" y="582"/>
                  <a:pt x="324" y="573"/>
                  <a:pt x="319" y="573"/>
                </a:cubicBezTo>
                <a:cubicBezTo>
                  <a:pt x="315" y="573"/>
                  <a:pt x="310" y="565"/>
                  <a:pt x="309" y="575"/>
                </a:cubicBezTo>
                <a:cubicBezTo>
                  <a:pt x="307" y="584"/>
                  <a:pt x="312" y="596"/>
                  <a:pt x="312" y="596"/>
                </a:cubicBezTo>
                <a:cubicBezTo>
                  <a:pt x="312" y="596"/>
                  <a:pt x="303" y="597"/>
                  <a:pt x="303" y="603"/>
                </a:cubicBezTo>
                <a:cubicBezTo>
                  <a:pt x="303" y="609"/>
                  <a:pt x="310" y="618"/>
                  <a:pt x="310" y="618"/>
                </a:cubicBezTo>
                <a:cubicBezTo>
                  <a:pt x="310" y="618"/>
                  <a:pt x="313" y="620"/>
                  <a:pt x="312" y="629"/>
                </a:cubicBezTo>
                <a:cubicBezTo>
                  <a:pt x="310" y="638"/>
                  <a:pt x="307" y="641"/>
                  <a:pt x="310" y="647"/>
                </a:cubicBezTo>
                <a:cubicBezTo>
                  <a:pt x="313" y="653"/>
                  <a:pt x="324" y="644"/>
                  <a:pt x="319" y="655"/>
                </a:cubicBezTo>
                <a:cubicBezTo>
                  <a:pt x="315" y="665"/>
                  <a:pt x="308" y="666"/>
                  <a:pt x="304" y="671"/>
                </a:cubicBezTo>
                <a:cubicBezTo>
                  <a:pt x="295" y="683"/>
                  <a:pt x="312" y="673"/>
                  <a:pt x="295" y="683"/>
                </a:cubicBezTo>
                <a:cubicBezTo>
                  <a:pt x="278" y="694"/>
                  <a:pt x="278" y="694"/>
                  <a:pt x="278" y="694"/>
                </a:cubicBezTo>
                <a:cubicBezTo>
                  <a:pt x="278" y="694"/>
                  <a:pt x="285" y="692"/>
                  <a:pt x="292" y="697"/>
                </a:cubicBezTo>
                <a:cubicBezTo>
                  <a:pt x="300" y="702"/>
                  <a:pt x="300" y="692"/>
                  <a:pt x="300" y="702"/>
                </a:cubicBezTo>
                <a:cubicBezTo>
                  <a:pt x="300" y="711"/>
                  <a:pt x="300" y="702"/>
                  <a:pt x="300" y="702"/>
                </a:cubicBezTo>
                <a:cubicBezTo>
                  <a:pt x="300" y="702"/>
                  <a:pt x="307" y="723"/>
                  <a:pt x="301" y="723"/>
                </a:cubicBezTo>
                <a:cubicBezTo>
                  <a:pt x="295" y="723"/>
                  <a:pt x="301" y="720"/>
                  <a:pt x="295" y="723"/>
                </a:cubicBezTo>
                <a:cubicBezTo>
                  <a:pt x="289" y="726"/>
                  <a:pt x="292" y="729"/>
                  <a:pt x="292" y="729"/>
                </a:cubicBezTo>
                <a:cubicBezTo>
                  <a:pt x="280" y="739"/>
                  <a:pt x="280" y="739"/>
                  <a:pt x="280" y="739"/>
                </a:cubicBezTo>
                <a:cubicBezTo>
                  <a:pt x="278" y="748"/>
                  <a:pt x="278" y="748"/>
                  <a:pt x="278" y="748"/>
                </a:cubicBezTo>
                <a:cubicBezTo>
                  <a:pt x="278" y="748"/>
                  <a:pt x="268" y="747"/>
                  <a:pt x="271" y="754"/>
                </a:cubicBezTo>
                <a:cubicBezTo>
                  <a:pt x="274" y="762"/>
                  <a:pt x="263" y="770"/>
                  <a:pt x="257" y="767"/>
                </a:cubicBezTo>
                <a:cubicBezTo>
                  <a:pt x="251" y="764"/>
                  <a:pt x="244" y="757"/>
                  <a:pt x="247" y="768"/>
                </a:cubicBezTo>
                <a:cubicBezTo>
                  <a:pt x="250" y="779"/>
                  <a:pt x="262" y="785"/>
                  <a:pt x="254" y="789"/>
                </a:cubicBezTo>
                <a:cubicBezTo>
                  <a:pt x="247" y="794"/>
                  <a:pt x="241" y="786"/>
                  <a:pt x="238" y="792"/>
                </a:cubicBezTo>
                <a:cubicBezTo>
                  <a:pt x="235" y="798"/>
                  <a:pt x="224" y="795"/>
                  <a:pt x="224" y="795"/>
                </a:cubicBezTo>
                <a:cubicBezTo>
                  <a:pt x="220" y="777"/>
                  <a:pt x="220" y="777"/>
                  <a:pt x="220" y="777"/>
                </a:cubicBezTo>
                <a:cubicBezTo>
                  <a:pt x="220" y="777"/>
                  <a:pt x="221" y="762"/>
                  <a:pt x="213" y="767"/>
                </a:cubicBezTo>
                <a:cubicBezTo>
                  <a:pt x="213" y="767"/>
                  <a:pt x="218" y="745"/>
                  <a:pt x="210" y="745"/>
                </a:cubicBezTo>
                <a:cubicBezTo>
                  <a:pt x="203" y="745"/>
                  <a:pt x="195" y="744"/>
                  <a:pt x="198" y="738"/>
                </a:cubicBezTo>
                <a:cubicBezTo>
                  <a:pt x="201" y="732"/>
                  <a:pt x="201" y="721"/>
                  <a:pt x="201" y="721"/>
                </a:cubicBezTo>
                <a:cubicBezTo>
                  <a:pt x="201" y="721"/>
                  <a:pt x="194" y="715"/>
                  <a:pt x="192" y="711"/>
                </a:cubicBezTo>
                <a:cubicBezTo>
                  <a:pt x="191" y="706"/>
                  <a:pt x="192" y="692"/>
                  <a:pt x="192" y="692"/>
                </a:cubicBezTo>
                <a:cubicBezTo>
                  <a:pt x="185" y="674"/>
                  <a:pt x="185" y="674"/>
                  <a:pt x="185" y="674"/>
                </a:cubicBezTo>
                <a:cubicBezTo>
                  <a:pt x="185" y="674"/>
                  <a:pt x="176" y="676"/>
                  <a:pt x="168" y="664"/>
                </a:cubicBezTo>
                <a:cubicBezTo>
                  <a:pt x="161" y="652"/>
                  <a:pt x="161" y="650"/>
                  <a:pt x="165" y="649"/>
                </a:cubicBezTo>
                <a:cubicBezTo>
                  <a:pt x="168" y="635"/>
                  <a:pt x="168" y="635"/>
                  <a:pt x="168" y="635"/>
                </a:cubicBezTo>
                <a:cubicBezTo>
                  <a:pt x="159" y="624"/>
                  <a:pt x="159" y="624"/>
                  <a:pt x="159" y="624"/>
                </a:cubicBezTo>
                <a:cubicBezTo>
                  <a:pt x="159" y="624"/>
                  <a:pt x="148" y="618"/>
                  <a:pt x="153" y="615"/>
                </a:cubicBezTo>
                <a:cubicBezTo>
                  <a:pt x="158" y="612"/>
                  <a:pt x="155" y="606"/>
                  <a:pt x="148" y="602"/>
                </a:cubicBezTo>
                <a:cubicBezTo>
                  <a:pt x="142" y="597"/>
                  <a:pt x="135" y="575"/>
                  <a:pt x="135" y="575"/>
                </a:cubicBezTo>
                <a:cubicBezTo>
                  <a:pt x="135" y="575"/>
                  <a:pt x="136" y="553"/>
                  <a:pt x="129" y="538"/>
                </a:cubicBezTo>
                <a:cubicBezTo>
                  <a:pt x="121" y="523"/>
                  <a:pt x="114" y="519"/>
                  <a:pt x="114" y="507"/>
                </a:cubicBezTo>
                <a:cubicBezTo>
                  <a:pt x="114" y="494"/>
                  <a:pt x="114" y="483"/>
                  <a:pt x="117" y="471"/>
                </a:cubicBezTo>
                <a:cubicBezTo>
                  <a:pt x="120" y="458"/>
                  <a:pt x="117" y="476"/>
                  <a:pt x="120" y="445"/>
                </a:cubicBezTo>
                <a:cubicBezTo>
                  <a:pt x="123" y="413"/>
                  <a:pt x="132" y="404"/>
                  <a:pt x="117" y="401"/>
                </a:cubicBezTo>
                <a:cubicBezTo>
                  <a:pt x="102" y="398"/>
                  <a:pt x="94" y="392"/>
                  <a:pt x="97" y="402"/>
                </a:cubicBezTo>
                <a:cubicBezTo>
                  <a:pt x="100" y="413"/>
                  <a:pt x="99" y="422"/>
                  <a:pt x="99" y="422"/>
                </a:cubicBezTo>
                <a:cubicBezTo>
                  <a:pt x="99" y="422"/>
                  <a:pt x="100" y="437"/>
                  <a:pt x="93" y="442"/>
                </a:cubicBezTo>
                <a:cubicBezTo>
                  <a:pt x="85" y="446"/>
                  <a:pt x="79" y="458"/>
                  <a:pt x="70" y="451"/>
                </a:cubicBezTo>
                <a:cubicBezTo>
                  <a:pt x="61" y="443"/>
                  <a:pt x="64" y="429"/>
                  <a:pt x="56" y="437"/>
                </a:cubicBezTo>
                <a:cubicBezTo>
                  <a:pt x="49" y="445"/>
                  <a:pt x="41" y="449"/>
                  <a:pt x="37" y="437"/>
                </a:cubicBezTo>
                <a:cubicBezTo>
                  <a:pt x="32" y="425"/>
                  <a:pt x="9" y="419"/>
                  <a:pt x="20" y="410"/>
                </a:cubicBezTo>
                <a:cubicBezTo>
                  <a:pt x="31" y="401"/>
                  <a:pt x="35" y="402"/>
                  <a:pt x="46" y="396"/>
                </a:cubicBezTo>
                <a:cubicBezTo>
                  <a:pt x="56" y="390"/>
                  <a:pt x="61" y="378"/>
                  <a:pt x="61" y="378"/>
                </a:cubicBezTo>
                <a:cubicBezTo>
                  <a:pt x="61" y="378"/>
                  <a:pt x="59" y="381"/>
                  <a:pt x="49" y="381"/>
                </a:cubicBezTo>
                <a:cubicBezTo>
                  <a:pt x="38" y="381"/>
                  <a:pt x="29" y="381"/>
                  <a:pt x="25" y="387"/>
                </a:cubicBezTo>
                <a:cubicBezTo>
                  <a:pt x="20" y="393"/>
                  <a:pt x="5" y="395"/>
                  <a:pt x="5" y="387"/>
                </a:cubicBezTo>
                <a:cubicBezTo>
                  <a:pt x="5" y="380"/>
                  <a:pt x="0" y="372"/>
                  <a:pt x="0" y="37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97" name="Freeform 633"/>
          <p:cNvSpPr>
            <a:spLocks/>
          </p:cNvSpPr>
          <p:nvPr userDrawn="1"/>
        </p:nvSpPr>
        <p:spPr bwMode="auto">
          <a:xfrm>
            <a:off x="8145679" y="4833787"/>
            <a:ext cx="244564" cy="164159"/>
          </a:xfrm>
          <a:custGeom>
            <a:avLst/>
            <a:gdLst>
              <a:gd name="T0" fmla="*/ 2147483646 w 262"/>
              <a:gd name="T1" fmla="*/ 2147483646 h 176"/>
              <a:gd name="T2" fmla="*/ 2147483646 w 262"/>
              <a:gd name="T3" fmla="*/ 2147483646 h 176"/>
              <a:gd name="T4" fmla="*/ 2147483646 w 262"/>
              <a:gd name="T5" fmla="*/ 2147483646 h 176"/>
              <a:gd name="T6" fmla="*/ 2147483646 w 262"/>
              <a:gd name="T7" fmla="*/ 2147483646 h 176"/>
              <a:gd name="T8" fmla="*/ 2147483646 w 262"/>
              <a:gd name="T9" fmla="*/ 2147483646 h 176"/>
              <a:gd name="T10" fmla="*/ 2147483646 w 262"/>
              <a:gd name="T11" fmla="*/ 2147483646 h 176"/>
              <a:gd name="T12" fmla="*/ 2147483646 w 262"/>
              <a:gd name="T13" fmla="*/ 2147483646 h 176"/>
              <a:gd name="T14" fmla="*/ 2147483646 w 262"/>
              <a:gd name="T15" fmla="*/ 2147483646 h 176"/>
              <a:gd name="T16" fmla="*/ 2147483646 w 262"/>
              <a:gd name="T17" fmla="*/ 2147483646 h 176"/>
              <a:gd name="T18" fmla="*/ 2147483646 w 262"/>
              <a:gd name="T19" fmla="*/ 2147483646 h 176"/>
              <a:gd name="T20" fmla="*/ 0 w 262"/>
              <a:gd name="T21" fmla="*/ 2147483646 h 176"/>
              <a:gd name="T22" fmla="*/ 2147483646 w 262"/>
              <a:gd name="T23" fmla="*/ 2147483646 h 176"/>
              <a:gd name="T24" fmla="*/ 2147483646 w 262"/>
              <a:gd name="T25" fmla="*/ 2147483646 h 176"/>
              <a:gd name="T26" fmla="*/ 2147483646 w 262"/>
              <a:gd name="T27" fmla="*/ 2147483646 h 176"/>
              <a:gd name="T28" fmla="*/ 2147483646 w 262"/>
              <a:gd name="T29" fmla="*/ 2147483646 h 176"/>
              <a:gd name="T30" fmla="*/ 2147483646 w 262"/>
              <a:gd name="T31" fmla="*/ 2147483646 h 176"/>
              <a:gd name="T32" fmla="*/ 2147483646 w 262"/>
              <a:gd name="T33" fmla="*/ 2147483646 h 176"/>
              <a:gd name="T34" fmla="*/ 2147483646 w 262"/>
              <a:gd name="T35" fmla="*/ 2147483646 h 176"/>
              <a:gd name="T36" fmla="*/ 2147483646 w 262"/>
              <a:gd name="T37" fmla="*/ 2147483646 h 176"/>
              <a:gd name="T38" fmla="*/ 2147483646 w 262"/>
              <a:gd name="T39" fmla="*/ 2147483646 h 176"/>
              <a:gd name="T40" fmla="*/ 2147483646 w 262"/>
              <a:gd name="T41" fmla="*/ 2147483646 h 176"/>
              <a:gd name="T42" fmla="*/ 2147483646 w 262"/>
              <a:gd name="T43" fmla="*/ 2147483646 h 176"/>
              <a:gd name="T44" fmla="*/ 2147483646 w 262"/>
              <a:gd name="T45" fmla="*/ 2147483646 h 176"/>
              <a:gd name="T46" fmla="*/ 2147483646 w 262"/>
              <a:gd name="T47" fmla="*/ 2147483646 h 176"/>
              <a:gd name="T48" fmla="*/ 2147483646 w 262"/>
              <a:gd name="T49" fmla="*/ 2147483646 h 176"/>
              <a:gd name="T50" fmla="*/ 2147483646 w 262"/>
              <a:gd name="T51" fmla="*/ 2147483646 h 176"/>
              <a:gd name="T52" fmla="*/ 2147483646 w 262"/>
              <a:gd name="T53" fmla="*/ 2147483646 h 176"/>
              <a:gd name="T54" fmla="*/ 2147483646 w 262"/>
              <a:gd name="T55" fmla="*/ 2147483646 h 176"/>
              <a:gd name="T56" fmla="*/ 2147483646 w 262"/>
              <a:gd name="T57" fmla="*/ 2147483646 h 176"/>
              <a:gd name="T58" fmla="*/ 2147483646 w 262"/>
              <a:gd name="T59" fmla="*/ 2147483646 h 176"/>
              <a:gd name="T60" fmla="*/ 2147483646 w 262"/>
              <a:gd name="T61" fmla="*/ 2147483646 h 176"/>
              <a:gd name="T62" fmla="*/ 2147483646 w 262"/>
              <a:gd name="T63" fmla="*/ 2147483646 h 176"/>
              <a:gd name="T64" fmla="*/ 2147483646 w 262"/>
              <a:gd name="T65" fmla="*/ 2147483646 h 176"/>
              <a:gd name="T66" fmla="*/ 2147483646 w 262"/>
              <a:gd name="T67" fmla="*/ 2147483646 h 17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62"/>
              <a:gd name="T103" fmla="*/ 0 h 176"/>
              <a:gd name="T104" fmla="*/ 262 w 262"/>
              <a:gd name="T105" fmla="*/ 176 h 17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62" h="176">
                <a:moveTo>
                  <a:pt x="212" y="10"/>
                </a:moveTo>
                <a:cubicBezTo>
                  <a:pt x="205" y="5"/>
                  <a:pt x="194" y="0"/>
                  <a:pt x="189" y="8"/>
                </a:cubicBezTo>
                <a:cubicBezTo>
                  <a:pt x="183" y="17"/>
                  <a:pt x="173" y="24"/>
                  <a:pt x="168" y="33"/>
                </a:cubicBezTo>
                <a:cubicBezTo>
                  <a:pt x="163" y="42"/>
                  <a:pt x="146" y="45"/>
                  <a:pt x="146" y="57"/>
                </a:cubicBezTo>
                <a:cubicBezTo>
                  <a:pt x="145" y="68"/>
                  <a:pt x="144" y="68"/>
                  <a:pt x="130" y="75"/>
                </a:cubicBezTo>
                <a:cubicBezTo>
                  <a:pt x="115" y="82"/>
                  <a:pt x="103" y="106"/>
                  <a:pt x="96" y="111"/>
                </a:cubicBezTo>
                <a:cubicBezTo>
                  <a:pt x="90" y="117"/>
                  <a:pt x="63" y="144"/>
                  <a:pt x="63" y="148"/>
                </a:cubicBezTo>
                <a:cubicBezTo>
                  <a:pt x="62" y="152"/>
                  <a:pt x="56" y="158"/>
                  <a:pt x="50" y="156"/>
                </a:cubicBezTo>
                <a:cubicBezTo>
                  <a:pt x="43" y="155"/>
                  <a:pt x="45" y="151"/>
                  <a:pt x="34" y="146"/>
                </a:cubicBezTo>
                <a:cubicBezTo>
                  <a:pt x="23" y="142"/>
                  <a:pt x="14" y="133"/>
                  <a:pt x="10" y="135"/>
                </a:cubicBezTo>
                <a:cubicBezTo>
                  <a:pt x="5" y="137"/>
                  <a:pt x="0" y="137"/>
                  <a:pt x="0" y="137"/>
                </a:cubicBezTo>
                <a:cubicBezTo>
                  <a:pt x="0" y="137"/>
                  <a:pt x="14" y="149"/>
                  <a:pt x="20" y="151"/>
                </a:cubicBezTo>
                <a:cubicBezTo>
                  <a:pt x="27" y="153"/>
                  <a:pt x="26" y="160"/>
                  <a:pt x="33" y="165"/>
                </a:cubicBezTo>
                <a:cubicBezTo>
                  <a:pt x="41" y="170"/>
                  <a:pt x="46" y="176"/>
                  <a:pt x="57" y="174"/>
                </a:cubicBezTo>
                <a:cubicBezTo>
                  <a:pt x="69" y="173"/>
                  <a:pt x="62" y="163"/>
                  <a:pt x="76" y="163"/>
                </a:cubicBezTo>
                <a:cubicBezTo>
                  <a:pt x="91" y="162"/>
                  <a:pt x="83" y="152"/>
                  <a:pt x="96" y="153"/>
                </a:cubicBezTo>
                <a:cubicBezTo>
                  <a:pt x="110" y="155"/>
                  <a:pt x="106" y="153"/>
                  <a:pt x="123" y="151"/>
                </a:cubicBezTo>
                <a:cubicBezTo>
                  <a:pt x="140" y="150"/>
                  <a:pt x="146" y="140"/>
                  <a:pt x="147" y="130"/>
                </a:cubicBezTo>
                <a:cubicBezTo>
                  <a:pt x="148" y="121"/>
                  <a:pt x="140" y="117"/>
                  <a:pt x="149" y="107"/>
                </a:cubicBezTo>
                <a:cubicBezTo>
                  <a:pt x="157" y="98"/>
                  <a:pt x="176" y="69"/>
                  <a:pt x="183" y="72"/>
                </a:cubicBezTo>
                <a:cubicBezTo>
                  <a:pt x="191" y="75"/>
                  <a:pt x="193" y="83"/>
                  <a:pt x="203" y="83"/>
                </a:cubicBezTo>
                <a:cubicBezTo>
                  <a:pt x="214" y="84"/>
                  <a:pt x="209" y="73"/>
                  <a:pt x="219" y="70"/>
                </a:cubicBezTo>
                <a:cubicBezTo>
                  <a:pt x="229" y="67"/>
                  <a:pt x="224" y="66"/>
                  <a:pt x="235" y="68"/>
                </a:cubicBezTo>
                <a:cubicBezTo>
                  <a:pt x="246" y="70"/>
                  <a:pt x="240" y="59"/>
                  <a:pt x="249" y="57"/>
                </a:cubicBezTo>
                <a:cubicBezTo>
                  <a:pt x="259" y="56"/>
                  <a:pt x="247" y="53"/>
                  <a:pt x="240" y="54"/>
                </a:cubicBezTo>
                <a:cubicBezTo>
                  <a:pt x="233" y="54"/>
                  <a:pt x="232" y="47"/>
                  <a:pt x="238" y="46"/>
                </a:cubicBezTo>
                <a:cubicBezTo>
                  <a:pt x="244" y="45"/>
                  <a:pt x="242" y="37"/>
                  <a:pt x="249" y="44"/>
                </a:cubicBezTo>
                <a:cubicBezTo>
                  <a:pt x="256" y="50"/>
                  <a:pt x="252" y="50"/>
                  <a:pt x="257" y="47"/>
                </a:cubicBezTo>
                <a:cubicBezTo>
                  <a:pt x="262" y="44"/>
                  <a:pt x="259" y="34"/>
                  <a:pt x="256" y="33"/>
                </a:cubicBezTo>
                <a:cubicBezTo>
                  <a:pt x="252" y="32"/>
                  <a:pt x="249" y="27"/>
                  <a:pt x="246" y="30"/>
                </a:cubicBezTo>
                <a:cubicBezTo>
                  <a:pt x="242" y="34"/>
                  <a:pt x="236" y="33"/>
                  <a:pt x="232" y="35"/>
                </a:cubicBezTo>
                <a:cubicBezTo>
                  <a:pt x="229" y="37"/>
                  <a:pt x="220" y="33"/>
                  <a:pt x="218" y="31"/>
                </a:cubicBezTo>
                <a:cubicBezTo>
                  <a:pt x="216" y="30"/>
                  <a:pt x="213" y="25"/>
                  <a:pt x="212" y="22"/>
                </a:cubicBezTo>
                <a:cubicBezTo>
                  <a:pt x="210" y="19"/>
                  <a:pt x="212" y="10"/>
                  <a:pt x="212" y="1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98" name="Freeform 634"/>
          <p:cNvSpPr>
            <a:spLocks/>
          </p:cNvSpPr>
          <p:nvPr userDrawn="1"/>
        </p:nvSpPr>
        <p:spPr bwMode="auto">
          <a:xfrm>
            <a:off x="8137303" y="4897442"/>
            <a:ext cx="252940" cy="219436"/>
          </a:xfrm>
          <a:custGeom>
            <a:avLst/>
            <a:gdLst>
              <a:gd name="T0" fmla="*/ 2147483646 w 270"/>
              <a:gd name="T1" fmla="*/ 2147483646 h 234"/>
              <a:gd name="T2" fmla="*/ 2147483646 w 270"/>
              <a:gd name="T3" fmla="*/ 2147483646 h 234"/>
              <a:gd name="T4" fmla="*/ 2147483646 w 270"/>
              <a:gd name="T5" fmla="*/ 2147483646 h 234"/>
              <a:gd name="T6" fmla="*/ 2147483646 w 270"/>
              <a:gd name="T7" fmla="*/ 2147483646 h 234"/>
              <a:gd name="T8" fmla="*/ 2147483646 w 270"/>
              <a:gd name="T9" fmla="*/ 2147483646 h 234"/>
              <a:gd name="T10" fmla="*/ 2147483646 w 270"/>
              <a:gd name="T11" fmla="*/ 2147483646 h 234"/>
              <a:gd name="T12" fmla="*/ 2147483646 w 270"/>
              <a:gd name="T13" fmla="*/ 2147483646 h 234"/>
              <a:gd name="T14" fmla="*/ 2147483646 w 270"/>
              <a:gd name="T15" fmla="*/ 2147483646 h 234"/>
              <a:gd name="T16" fmla="*/ 2147483646 w 270"/>
              <a:gd name="T17" fmla="*/ 2147483646 h 234"/>
              <a:gd name="T18" fmla="*/ 2147483646 w 270"/>
              <a:gd name="T19" fmla="*/ 2147483646 h 234"/>
              <a:gd name="T20" fmla="*/ 2147483646 w 270"/>
              <a:gd name="T21" fmla="*/ 2147483646 h 234"/>
              <a:gd name="T22" fmla="*/ 2147483646 w 270"/>
              <a:gd name="T23" fmla="*/ 2147483646 h 234"/>
              <a:gd name="T24" fmla="*/ 2147483646 w 270"/>
              <a:gd name="T25" fmla="*/ 2147483646 h 234"/>
              <a:gd name="T26" fmla="*/ 2147483646 w 270"/>
              <a:gd name="T27" fmla="*/ 2147483646 h 234"/>
              <a:gd name="T28" fmla="*/ 2147483646 w 270"/>
              <a:gd name="T29" fmla="*/ 2147483646 h 234"/>
              <a:gd name="T30" fmla="*/ 2147483646 w 270"/>
              <a:gd name="T31" fmla="*/ 2147483646 h 234"/>
              <a:gd name="T32" fmla="*/ 2147483646 w 270"/>
              <a:gd name="T33" fmla="*/ 2147483646 h 234"/>
              <a:gd name="T34" fmla="*/ 2147483646 w 270"/>
              <a:gd name="T35" fmla="*/ 2147483646 h 234"/>
              <a:gd name="T36" fmla="*/ 2147483646 w 270"/>
              <a:gd name="T37" fmla="*/ 2147483646 h 234"/>
              <a:gd name="T38" fmla="*/ 2147483646 w 270"/>
              <a:gd name="T39" fmla="*/ 2147483646 h 234"/>
              <a:gd name="T40" fmla="*/ 2147483646 w 270"/>
              <a:gd name="T41" fmla="*/ 2147483646 h 234"/>
              <a:gd name="T42" fmla="*/ 2147483646 w 270"/>
              <a:gd name="T43" fmla="*/ 2147483646 h 234"/>
              <a:gd name="T44" fmla="*/ 2147483646 w 270"/>
              <a:gd name="T45" fmla="*/ 2147483646 h 234"/>
              <a:gd name="T46" fmla="*/ 2147483646 w 270"/>
              <a:gd name="T47" fmla="*/ 2147483646 h 234"/>
              <a:gd name="T48" fmla="*/ 2147483646 w 270"/>
              <a:gd name="T49" fmla="*/ 2147483646 h 234"/>
              <a:gd name="T50" fmla="*/ 2147483646 w 270"/>
              <a:gd name="T51" fmla="*/ 2147483646 h 234"/>
              <a:gd name="T52" fmla="*/ 2147483646 w 270"/>
              <a:gd name="T53" fmla="*/ 2147483646 h 234"/>
              <a:gd name="T54" fmla="*/ 2147483646 w 270"/>
              <a:gd name="T55" fmla="*/ 2147483646 h 234"/>
              <a:gd name="T56" fmla="*/ 2147483646 w 270"/>
              <a:gd name="T57" fmla="*/ 2147483646 h 234"/>
              <a:gd name="T58" fmla="*/ 2147483646 w 270"/>
              <a:gd name="T59" fmla="*/ 2147483646 h 234"/>
              <a:gd name="T60" fmla="*/ 2147483646 w 270"/>
              <a:gd name="T61" fmla="*/ 2147483646 h 234"/>
              <a:gd name="T62" fmla="*/ 2147483646 w 270"/>
              <a:gd name="T63" fmla="*/ 2147483646 h 234"/>
              <a:gd name="T64" fmla="*/ 2147483646 w 270"/>
              <a:gd name="T65" fmla="*/ 2147483646 h 234"/>
              <a:gd name="T66" fmla="*/ 2147483646 w 270"/>
              <a:gd name="T67" fmla="*/ 2147483646 h 234"/>
              <a:gd name="T68" fmla="*/ 2147483646 w 270"/>
              <a:gd name="T69" fmla="*/ 2147483646 h 234"/>
              <a:gd name="T70" fmla="*/ 2147483646 w 270"/>
              <a:gd name="T71" fmla="*/ 2147483646 h 234"/>
              <a:gd name="T72" fmla="*/ 2147483646 w 270"/>
              <a:gd name="T73" fmla="*/ 2147483646 h 234"/>
              <a:gd name="T74" fmla="*/ 2147483646 w 270"/>
              <a:gd name="T75" fmla="*/ 2147483646 h 234"/>
              <a:gd name="T76" fmla="*/ 2147483646 w 270"/>
              <a:gd name="T77" fmla="*/ 2147483646 h 234"/>
              <a:gd name="T78" fmla="*/ 2147483646 w 270"/>
              <a:gd name="T79" fmla="*/ 2147483646 h 234"/>
              <a:gd name="T80" fmla="*/ 2147483646 w 270"/>
              <a:gd name="T81" fmla="*/ 2147483646 h 234"/>
              <a:gd name="T82" fmla="*/ 2147483646 w 270"/>
              <a:gd name="T83" fmla="*/ 2147483646 h 234"/>
              <a:gd name="T84" fmla="*/ 2147483646 w 270"/>
              <a:gd name="T85" fmla="*/ 2147483646 h 234"/>
              <a:gd name="T86" fmla="*/ 2147483646 w 270"/>
              <a:gd name="T87" fmla="*/ 2147483646 h 234"/>
              <a:gd name="T88" fmla="*/ 2147483646 w 270"/>
              <a:gd name="T89" fmla="*/ 2147483646 h 234"/>
              <a:gd name="T90" fmla="*/ 2147483646 w 270"/>
              <a:gd name="T91" fmla="*/ 2147483646 h 234"/>
              <a:gd name="T92" fmla="*/ 2147483646 w 270"/>
              <a:gd name="T93" fmla="*/ 2147483646 h 234"/>
              <a:gd name="T94" fmla="*/ 2147483646 w 270"/>
              <a:gd name="T95" fmla="*/ 2147483646 h 234"/>
              <a:gd name="T96" fmla="*/ 2147483646 w 270"/>
              <a:gd name="T97" fmla="*/ 2147483646 h 234"/>
              <a:gd name="T98" fmla="*/ 2147483646 w 270"/>
              <a:gd name="T99" fmla="*/ 2147483646 h 234"/>
              <a:gd name="T100" fmla="*/ 2147483646 w 270"/>
              <a:gd name="T101" fmla="*/ 2147483646 h 234"/>
              <a:gd name="T102" fmla="*/ 2147483646 w 270"/>
              <a:gd name="T103" fmla="*/ 2147483646 h 234"/>
              <a:gd name="T104" fmla="*/ 2147483646 w 270"/>
              <a:gd name="T105" fmla="*/ 2147483646 h 23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70"/>
              <a:gd name="T160" fmla="*/ 0 h 234"/>
              <a:gd name="T161" fmla="*/ 270 w 270"/>
              <a:gd name="T162" fmla="*/ 234 h 23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70" h="234">
                <a:moveTo>
                  <a:pt x="211" y="14"/>
                </a:moveTo>
                <a:cubicBezTo>
                  <a:pt x="201" y="14"/>
                  <a:pt x="199" y="6"/>
                  <a:pt x="191" y="3"/>
                </a:cubicBezTo>
                <a:cubicBezTo>
                  <a:pt x="184" y="0"/>
                  <a:pt x="165" y="29"/>
                  <a:pt x="157" y="38"/>
                </a:cubicBezTo>
                <a:cubicBezTo>
                  <a:pt x="148" y="48"/>
                  <a:pt x="156" y="52"/>
                  <a:pt x="155" y="61"/>
                </a:cubicBezTo>
                <a:cubicBezTo>
                  <a:pt x="154" y="71"/>
                  <a:pt x="148" y="81"/>
                  <a:pt x="131" y="82"/>
                </a:cubicBezTo>
                <a:cubicBezTo>
                  <a:pt x="114" y="84"/>
                  <a:pt x="118" y="86"/>
                  <a:pt x="104" y="84"/>
                </a:cubicBezTo>
                <a:cubicBezTo>
                  <a:pt x="91" y="83"/>
                  <a:pt x="99" y="93"/>
                  <a:pt x="84" y="94"/>
                </a:cubicBezTo>
                <a:cubicBezTo>
                  <a:pt x="70" y="94"/>
                  <a:pt x="77" y="104"/>
                  <a:pt x="65" y="105"/>
                </a:cubicBezTo>
                <a:cubicBezTo>
                  <a:pt x="54" y="107"/>
                  <a:pt x="49" y="101"/>
                  <a:pt x="41" y="96"/>
                </a:cubicBezTo>
                <a:cubicBezTo>
                  <a:pt x="34" y="91"/>
                  <a:pt x="35" y="84"/>
                  <a:pt x="28" y="82"/>
                </a:cubicBezTo>
                <a:cubicBezTo>
                  <a:pt x="22" y="80"/>
                  <a:pt x="8" y="68"/>
                  <a:pt x="8" y="68"/>
                </a:cubicBezTo>
                <a:cubicBezTo>
                  <a:pt x="8" y="68"/>
                  <a:pt x="11" y="83"/>
                  <a:pt x="8" y="86"/>
                </a:cubicBezTo>
                <a:cubicBezTo>
                  <a:pt x="5" y="89"/>
                  <a:pt x="0" y="98"/>
                  <a:pt x="5" y="107"/>
                </a:cubicBezTo>
                <a:cubicBezTo>
                  <a:pt x="11" y="115"/>
                  <a:pt x="15" y="128"/>
                  <a:pt x="16" y="131"/>
                </a:cubicBezTo>
                <a:cubicBezTo>
                  <a:pt x="18" y="134"/>
                  <a:pt x="15" y="141"/>
                  <a:pt x="18" y="145"/>
                </a:cubicBezTo>
                <a:cubicBezTo>
                  <a:pt x="20" y="150"/>
                  <a:pt x="28" y="154"/>
                  <a:pt x="31" y="155"/>
                </a:cubicBezTo>
                <a:cubicBezTo>
                  <a:pt x="34" y="156"/>
                  <a:pt x="38" y="158"/>
                  <a:pt x="38" y="162"/>
                </a:cubicBezTo>
                <a:cubicBezTo>
                  <a:pt x="38" y="166"/>
                  <a:pt x="39" y="177"/>
                  <a:pt x="39" y="184"/>
                </a:cubicBezTo>
                <a:cubicBezTo>
                  <a:pt x="39" y="190"/>
                  <a:pt x="38" y="188"/>
                  <a:pt x="39" y="194"/>
                </a:cubicBezTo>
                <a:cubicBezTo>
                  <a:pt x="40" y="200"/>
                  <a:pt x="45" y="202"/>
                  <a:pt x="49" y="200"/>
                </a:cubicBezTo>
                <a:cubicBezTo>
                  <a:pt x="54" y="197"/>
                  <a:pt x="57" y="191"/>
                  <a:pt x="58" y="197"/>
                </a:cubicBezTo>
                <a:cubicBezTo>
                  <a:pt x="60" y="204"/>
                  <a:pt x="55" y="213"/>
                  <a:pt x="61" y="210"/>
                </a:cubicBezTo>
                <a:cubicBezTo>
                  <a:pt x="67" y="208"/>
                  <a:pt x="62" y="201"/>
                  <a:pt x="70" y="203"/>
                </a:cubicBezTo>
                <a:cubicBezTo>
                  <a:pt x="78" y="204"/>
                  <a:pt x="75" y="203"/>
                  <a:pt x="78" y="204"/>
                </a:cubicBezTo>
                <a:cubicBezTo>
                  <a:pt x="81" y="206"/>
                  <a:pt x="84" y="198"/>
                  <a:pt x="84" y="205"/>
                </a:cubicBezTo>
                <a:cubicBezTo>
                  <a:pt x="84" y="212"/>
                  <a:pt x="74" y="209"/>
                  <a:pt x="78" y="215"/>
                </a:cubicBezTo>
                <a:cubicBezTo>
                  <a:pt x="83" y="221"/>
                  <a:pt x="88" y="215"/>
                  <a:pt x="91" y="214"/>
                </a:cubicBezTo>
                <a:cubicBezTo>
                  <a:pt x="94" y="212"/>
                  <a:pt x="89" y="200"/>
                  <a:pt x="98" y="206"/>
                </a:cubicBezTo>
                <a:cubicBezTo>
                  <a:pt x="108" y="211"/>
                  <a:pt x="106" y="196"/>
                  <a:pt x="112" y="197"/>
                </a:cubicBezTo>
                <a:cubicBezTo>
                  <a:pt x="118" y="199"/>
                  <a:pt x="118" y="197"/>
                  <a:pt x="122" y="204"/>
                </a:cubicBezTo>
                <a:cubicBezTo>
                  <a:pt x="126" y="212"/>
                  <a:pt x="125" y="202"/>
                  <a:pt x="134" y="207"/>
                </a:cubicBezTo>
                <a:cubicBezTo>
                  <a:pt x="142" y="211"/>
                  <a:pt x="138" y="213"/>
                  <a:pt x="139" y="218"/>
                </a:cubicBezTo>
                <a:cubicBezTo>
                  <a:pt x="140" y="223"/>
                  <a:pt x="136" y="220"/>
                  <a:pt x="143" y="227"/>
                </a:cubicBezTo>
                <a:cubicBezTo>
                  <a:pt x="150" y="234"/>
                  <a:pt x="156" y="229"/>
                  <a:pt x="156" y="229"/>
                </a:cubicBezTo>
                <a:cubicBezTo>
                  <a:pt x="156" y="229"/>
                  <a:pt x="153" y="214"/>
                  <a:pt x="160" y="216"/>
                </a:cubicBezTo>
                <a:cubicBezTo>
                  <a:pt x="167" y="218"/>
                  <a:pt x="169" y="219"/>
                  <a:pt x="169" y="219"/>
                </a:cubicBezTo>
                <a:cubicBezTo>
                  <a:pt x="169" y="219"/>
                  <a:pt x="187" y="228"/>
                  <a:pt x="191" y="221"/>
                </a:cubicBezTo>
                <a:cubicBezTo>
                  <a:pt x="194" y="214"/>
                  <a:pt x="195" y="204"/>
                  <a:pt x="191" y="200"/>
                </a:cubicBezTo>
                <a:cubicBezTo>
                  <a:pt x="186" y="197"/>
                  <a:pt x="180" y="189"/>
                  <a:pt x="186" y="184"/>
                </a:cubicBezTo>
                <a:cubicBezTo>
                  <a:pt x="192" y="180"/>
                  <a:pt x="191" y="167"/>
                  <a:pt x="192" y="163"/>
                </a:cubicBezTo>
                <a:cubicBezTo>
                  <a:pt x="194" y="158"/>
                  <a:pt x="187" y="143"/>
                  <a:pt x="197" y="147"/>
                </a:cubicBezTo>
                <a:cubicBezTo>
                  <a:pt x="206" y="151"/>
                  <a:pt x="204" y="146"/>
                  <a:pt x="214" y="150"/>
                </a:cubicBezTo>
                <a:cubicBezTo>
                  <a:pt x="224" y="154"/>
                  <a:pt x="217" y="154"/>
                  <a:pt x="224" y="131"/>
                </a:cubicBezTo>
                <a:cubicBezTo>
                  <a:pt x="231" y="108"/>
                  <a:pt x="226" y="94"/>
                  <a:pt x="234" y="94"/>
                </a:cubicBezTo>
                <a:cubicBezTo>
                  <a:pt x="243" y="94"/>
                  <a:pt x="238" y="87"/>
                  <a:pt x="248" y="93"/>
                </a:cubicBezTo>
                <a:cubicBezTo>
                  <a:pt x="258" y="98"/>
                  <a:pt x="267" y="101"/>
                  <a:pt x="269" y="97"/>
                </a:cubicBezTo>
                <a:cubicBezTo>
                  <a:pt x="270" y="94"/>
                  <a:pt x="257" y="83"/>
                  <a:pt x="254" y="83"/>
                </a:cubicBezTo>
                <a:cubicBezTo>
                  <a:pt x="250" y="83"/>
                  <a:pt x="240" y="79"/>
                  <a:pt x="236" y="76"/>
                </a:cubicBezTo>
                <a:cubicBezTo>
                  <a:pt x="232" y="73"/>
                  <a:pt x="227" y="69"/>
                  <a:pt x="225" y="68"/>
                </a:cubicBezTo>
                <a:cubicBezTo>
                  <a:pt x="223" y="66"/>
                  <a:pt x="218" y="61"/>
                  <a:pt x="224" y="54"/>
                </a:cubicBezTo>
                <a:cubicBezTo>
                  <a:pt x="229" y="47"/>
                  <a:pt x="227" y="38"/>
                  <a:pt x="225" y="33"/>
                </a:cubicBezTo>
                <a:cubicBezTo>
                  <a:pt x="223" y="28"/>
                  <a:pt x="221" y="23"/>
                  <a:pt x="224" y="21"/>
                </a:cubicBezTo>
                <a:cubicBezTo>
                  <a:pt x="227" y="18"/>
                  <a:pt x="211" y="14"/>
                  <a:pt x="211" y="1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299" name="Freeform 635"/>
          <p:cNvSpPr>
            <a:spLocks/>
          </p:cNvSpPr>
          <p:nvPr userDrawn="1"/>
        </p:nvSpPr>
        <p:spPr bwMode="auto">
          <a:xfrm>
            <a:off x="8376842" y="4956068"/>
            <a:ext cx="165833" cy="197661"/>
          </a:xfrm>
          <a:custGeom>
            <a:avLst/>
            <a:gdLst>
              <a:gd name="T0" fmla="*/ 2147483646 w 177"/>
              <a:gd name="T1" fmla="*/ 2147483646 h 213"/>
              <a:gd name="T2" fmla="*/ 2147483646 w 177"/>
              <a:gd name="T3" fmla="*/ 2147483646 h 213"/>
              <a:gd name="T4" fmla="*/ 2147483646 w 177"/>
              <a:gd name="T5" fmla="*/ 2147483646 h 213"/>
              <a:gd name="T6" fmla="*/ 2147483646 w 177"/>
              <a:gd name="T7" fmla="*/ 2147483646 h 213"/>
              <a:gd name="T8" fmla="*/ 2147483646 w 177"/>
              <a:gd name="T9" fmla="*/ 2147483646 h 213"/>
              <a:gd name="T10" fmla="*/ 2147483646 w 177"/>
              <a:gd name="T11" fmla="*/ 2147483646 h 213"/>
              <a:gd name="T12" fmla="*/ 2147483646 w 177"/>
              <a:gd name="T13" fmla="*/ 2147483646 h 213"/>
              <a:gd name="T14" fmla="*/ 2147483646 w 177"/>
              <a:gd name="T15" fmla="*/ 2147483646 h 213"/>
              <a:gd name="T16" fmla="*/ 2147483646 w 177"/>
              <a:gd name="T17" fmla="*/ 2147483646 h 213"/>
              <a:gd name="T18" fmla="*/ 2147483646 w 177"/>
              <a:gd name="T19" fmla="*/ 2147483646 h 213"/>
              <a:gd name="T20" fmla="*/ 2147483646 w 177"/>
              <a:gd name="T21" fmla="*/ 2147483646 h 213"/>
              <a:gd name="T22" fmla="*/ 2147483646 w 177"/>
              <a:gd name="T23" fmla="*/ 2147483646 h 213"/>
              <a:gd name="T24" fmla="*/ 2147483646 w 177"/>
              <a:gd name="T25" fmla="*/ 2147483646 h 213"/>
              <a:gd name="T26" fmla="*/ 2147483646 w 177"/>
              <a:gd name="T27" fmla="*/ 2147483646 h 213"/>
              <a:gd name="T28" fmla="*/ 2147483646 w 177"/>
              <a:gd name="T29" fmla="*/ 2147483646 h 213"/>
              <a:gd name="T30" fmla="*/ 2147483646 w 177"/>
              <a:gd name="T31" fmla="*/ 2147483646 h 213"/>
              <a:gd name="T32" fmla="*/ 2147483646 w 177"/>
              <a:gd name="T33" fmla="*/ 2147483646 h 213"/>
              <a:gd name="T34" fmla="*/ 2147483646 w 177"/>
              <a:gd name="T35" fmla="*/ 2147483646 h 213"/>
              <a:gd name="T36" fmla="*/ 2147483646 w 177"/>
              <a:gd name="T37" fmla="*/ 2147483646 h 213"/>
              <a:gd name="T38" fmla="*/ 2147483646 w 177"/>
              <a:gd name="T39" fmla="*/ 2147483646 h 213"/>
              <a:gd name="T40" fmla="*/ 2147483646 w 177"/>
              <a:gd name="T41" fmla="*/ 2147483646 h 213"/>
              <a:gd name="T42" fmla="*/ 2147483646 w 177"/>
              <a:gd name="T43" fmla="*/ 2147483646 h 213"/>
              <a:gd name="T44" fmla="*/ 2147483646 w 177"/>
              <a:gd name="T45" fmla="*/ 2147483646 h 213"/>
              <a:gd name="T46" fmla="*/ 2147483646 w 177"/>
              <a:gd name="T47" fmla="*/ 2147483646 h 213"/>
              <a:gd name="T48" fmla="*/ 2147483646 w 177"/>
              <a:gd name="T49" fmla="*/ 2147483646 h 213"/>
              <a:gd name="T50" fmla="*/ 2147483646 w 177"/>
              <a:gd name="T51" fmla="*/ 2147483646 h 213"/>
              <a:gd name="T52" fmla="*/ 2147483646 w 177"/>
              <a:gd name="T53" fmla="*/ 2147483646 h 213"/>
              <a:gd name="T54" fmla="*/ 2147483646 w 177"/>
              <a:gd name="T55" fmla="*/ 2147483646 h 213"/>
              <a:gd name="T56" fmla="*/ 2147483646 w 177"/>
              <a:gd name="T57" fmla="*/ 2147483646 h 213"/>
              <a:gd name="T58" fmla="*/ 2147483646 w 177"/>
              <a:gd name="T59" fmla="*/ 2147483646 h 213"/>
              <a:gd name="T60" fmla="*/ 2147483646 w 177"/>
              <a:gd name="T61" fmla="*/ 2147483646 h 213"/>
              <a:gd name="T62" fmla="*/ 2147483646 w 177"/>
              <a:gd name="T63" fmla="*/ 2147483646 h 213"/>
              <a:gd name="T64" fmla="*/ 2147483646 w 177"/>
              <a:gd name="T65" fmla="*/ 2147483646 h 213"/>
              <a:gd name="T66" fmla="*/ 2147483646 w 177"/>
              <a:gd name="T67" fmla="*/ 2147483646 h 213"/>
              <a:gd name="T68" fmla="*/ 2147483646 w 177"/>
              <a:gd name="T69" fmla="*/ 2147483646 h 213"/>
              <a:gd name="T70" fmla="*/ 2147483646 w 177"/>
              <a:gd name="T71" fmla="*/ 2147483646 h 213"/>
              <a:gd name="T72" fmla="*/ 2147483646 w 177"/>
              <a:gd name="T73" fmla="*/ 2147483646 h 213"/>
              <a:gd name="T74" fmla="*/ 2147483646 w 177"/>
              <a:gd name="T75" fmla="*/ 2147483646 h 213"/>
              <a:gd name="T76" fmla="*/ 2147483646 w 177"/>
              <a:gd name="T77" fmla="*/ 2147483646 h 213"/>
              <a:gd name="T78" fmla="*/ 2147483646 w 177"/>
              <a:gd name="T79" fmla="*/ 2147483646 h 213"/>
              <a:gd name="T80" fmla="*/ 2147483646 w 177"/>
              <a:gd name="T81" fmla="*/ 2147483646 h 213"/>
              <a:gd name="T82" fmla="*/ 2147483646 w 177"/>
              <a:gd name="T83" fmla="*/ 2147483646 h 213"/>
              <a:gd name="T84" fmla="*/ 2147483646 w 177"/>
              <a:gd name="T85" fmla="*/ 2147483646 h 213"/>
              <a:gd name="T86" fmla="*/ 2147483646 w 177"/>
              <a:gd name="T87" fmla="*/ 2147483646 h 213"/>
              <a:gd name="T88" fmla="*/ 2147483646 w 177"/>
              <a:gd name="T89" fmla="*/ 2147483646 h 213"/>
              <a:gd name="T90" fmla="*/ 2147483646 w 177"/>
              <a:gd name="T91" fmla="*/ 2147483646 h 213"/>
              <a:gd name="T92" fmla="*/ 2147483646 w 177"/>
              <a:gd name="T93" fmla="*/ 2147483646 h 213"/>
              <a:gd name="T94" fmla="*/ 2147483646 w 177"/>
              <a:gd name="T95" fmla="*/ 2147483646 h 213"/>
              <a:gd name="T96" fmla="*/ 2147483646 w 177"/>
              <a:gd name="T97" fmla="*/ 2147483646 h 213"/>
              <a:gd name="T98" fmla="*/ 2147483646 w 177"/>
              <a:gd name="T99" fmla="*/ 2147483646 h 213"/>
              <a:gd name="T100" fmla="*/ 2147483646 w 177"/>
              <a:gd name="T101" fmla="*/ 2147483646 h 213"/>
              <a:gd name="T102" fmla="*/ 2147483646 w 177"/>
              <a:gd name="T103" fmla="*/ 2147483646 h 213"/>
              <a:gd name="T104" fmla="*/ 2147483646 w 177"/>
              <a:gd name="T105" fmla="*/ 2147483646 h 213"/>
              <a:gd name="T106" fmla="*/ 2147483646 w 177"/>
              <a:gd name="T107" fmla="*/ 2147483646 h 21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77"/>
              <a:gd name="T163" fmla="*/ 0 h 213"/>
              <a:gd name="T164" fmla="*/ 177 w 177"/>
              <a:gd name="T165" fmla="*/ 213 h 21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77" h="213">
                <a:moveTo>
                  <a:pt x="164" y="5"/>
                </a:moveTo>
                <a:cubicBezTo>
                  <a:pt x="157" y="0"/>
                  <a:pt x="155" y="4"/>
                  <a:pt x="151" y="11"/>
                </a:cubicBezTo>
                <a:cubicBezTo>
                  <a:pt x="148" y="18"/>
                  <a:pt x="136" y="28"/>
                  <a:pt x="133" y="32"/>
                </a:cubicBezTo>
                <a:cubicBezTo>
                  <a:pt x="129" y="35"/>
                  <a:pt x="111" y="45"/>
                  <a:pt x="100" y="38"/>
                </a:cubicBezTo>
                <a:cubicBezTo>
                  <a:pt x="88" y="31"/>
                  <a:pt x="75" y="22"/>
                  <a:pt x="63" y="27"/>
                </a:cubicBezTo>
                <a:cubicBezTo>
                  <a:pt x="52" y="32"/>
                  <a:pt x="35" y="40"/>
                  <a:pt x="30" y="51"/>
                </a:cubicBezTo>
                <a:cubicBezTo>
                  <a:pt x="26" y="61"/>
                  <a:pt x="16" y="68"/>
                  <a:pt x="14" y="76"/>
                </a:cubicBezTo>
                <a:cubicBezTo>
                  <a:pt x="12" y="85"/>
                  <a:pt x="6" y="105"/>
                  <a:pt x="9" y="112"/>
                </a:cubicBezTo>
                <a:cubicBezTo>
                  <a:pt x="13" y="119"/>
                  <a:pt x="18" y="125"/>
                  <a:pt x="10" y="133"/>
                </a:cubicBezTo>
                <a:cubicBezTo>
                  <a:pt x="3" y="141"/>
                  <a:pt x="0" y="152"/>
                  <a:pt x="7" y="155"/>
                </a:cubicBezTo>
                <a:cubicBezTo>
                  <a:pt x="14" y="159"/>
                  <a:pt x="14" y="156"/>
                  <a:pt x="20" y="160"/>
                </a:cubicBezTo>
                <a:cubicBezTo>
                  <a:pt x="26" y="163"/>
                  <a:pt x="19" y="187"/>
                  <a:pt x="19" y="187"/>
                </a:cubicBezTo>
                <a:cubicBezTo>
                  <a:pt x="23" y="201"/>
                  <a:pt x="25" y="197"/>
                  <a:pt x="30" y="204"/>
                </a:cubicBezTo>
                <a:cubicBezTo>
                  <a:pt x="36" y="211"/>
                  <a:pt x="42" y="213"/>
                  <a:pt x="48" y="207"/>
                </a:cubicBezTo>
                <a:cubicBezTo>
                  <a:pt x="54" y="201"/>
                  <a:pt x="55" y="199"/>
                  <a:pt x="48" y="194"/>
                </a:cubicBezTo>
                <a:cubicBezTo>
                  <a:pt x="41" y="189"/>
                  <a:pt x="35" y="187"/>
                  <a:pt x="40" y="180"/>
                </a:cubicBezTo>
                <a:cubicBezTo>
                  <a:pt x="44" y="173"/>
                  <a:pt x="47" y="168"/>
                  <a:pt x="43" y="161"/>
                </a:cubicBezTo>
                <a:cubicBezTo>
                  <a:pt x="40" y="154"/>
                  <a:pt x="37" y="146"/>
                  <a:pt x="39" y="140"/>
                </a:cubicBezTo>
                <a:cubicBezTo>
                  <a:pt x="40" y="134"/>
                  <a:pt x="35" y="126"/>
                  <a:pt x="42" y="127"/>
                </a:cubicBezTo>
                <a:cubicBezTo>
                  <a:pt x="49" y="128"/>
                  <a:pt x="61" y="132"/>
                  <a:pt x="57" y="140"/>
                </a:cubicBezTo>
                <a:cubicBezTo>
                  <a:pt x="54" y="148"/>
                  <a:pt x="47" y="155"/>
                  <a:pt x="57" y="157"/>
                </a:cubicBezTo>
                <a:cubicBezTo>
                  <a:pt x="68" y="160"/>
                  <a:pt x="73" y="157"/>
                  <a:pt x="76" y="161"/>
                </a:cubicBezTo>
                <a:cubicBezTo>
                  <a:pt x="80" y="164"/>
                  <a:pt x="71" y="167"/>
                  <a:pt x="71" y="173"/>
                </a:cubicBezTo>
                <a:cubicBezTo>
                  <a:pt x="71" y="179"/>
                  <a:pt x="76" y="186"/>
                  <a:pt x="76" y="186"/>
                </a:cubicBezTo>
                <a:cubicBezTo>
                  <a:pt x="76" y="186"/>
                  <a:pt x="55" y="190"/>
                  <a:pt x="69" y="194"/>
                </a:cubicBezTo>
                <a:cubicBezTo>
                  <a:pt x="83" y="197"/>
                  <a:pt x="82" y="189"/>
                  <a:pt x="86" y="183"/>
                </a:cubicBezTo>
                <a:cubicBezTo>
                  <a:pt x="89" y="177"/>
                  <a:pt x="97" y="189"/>
                  <a:pt x="102" y="195"/>
                </a:cubicBezTo>
                <a:cubicBezTo>
                  <a:pt x="107" y="201"/>
                  <a:pt x="107" y="204"/>
                  <a:pt x="114" y="200"/>
                </a:cubicBezTo>
                <a:cubicBezTo>
                  <a:pt x="121" y="195"/>
                  <a:pt x="124" y="182"/>
                  <a:pt x="117" y="180"/>
                </a:cubicBezTo>
                <a:cubicBezTo>
                  <a:pt x="110" y="177"/>
                  <a:pt x="97" y="169"/>
                  <a:pt x="97" y="169"/>
                </a:cubicBezTo>
                <a:cubicBezTo>
                  <a:pt x="97" y="169"/>
                  <a:pt x="89" y="172"/>
                  <a:pt x="89" y="163"/>
                </a:cubicBezTo>
                <a:cubicBezTo>
                  <a:pt x="89" y="155"/>
                  <a:pt x="87" y="153"/>
                  <a:pt x="89" y="148"/>
                </a:cubicBezTo>
                <a:cubicBezTo>
                  <a:pt x="91" y="143"/>
                  <a:pt x="88" y="128"/>
                  <a:pt x="83" y="129"/>
                </a:cubicBezTo>
                <a:cubicBezTo>
                  <a:pt x="79" y="130"/>
                  <a:pt x="76" y="123"/>
                  <a:pt x="73" y="121"/>
                </a:cubicBezTo>
                <a:cubicBezTo>
                  <a:pt x="69" y="119"/>
                  <a:pt x="62" y="113"/>
                  <a:pt x="62" y="113"/>
                </a:cubicBezTo>
                <a:cubicBezTo>
                  <a:pt x="62" y="113"/>
                  <a:pt x="71" y="100"/>
                  <a:pt x="82" y="103"/>
                </a:cubicBezTo>
                <a:cubicBezTo>
                  <a:pt x="93" y="107"/>
                  <a:pt x="88" y="96"/>
                  <a:pt x="96" y="96"/>
                </a:cubicBezTo>
                <a:cubicBezTo>
                  <a:pt x="104" y="96"/>
                  <a:pt x="106" y="98"/>
                  <a:pt x="110" y="100"/>
                </a:cubicBezTo>
                <a:cubicBezTo>
                  <a:pt x="115" y="102"/>
                  <a:pt x="111" y="91"/>
                  <a:pt x="118" y="92"/>
                </a:cubicBezTo>
                <a:cubicBezTo>
                  <a:pt x="125" y="93"/>
                  <a:pt x="107" y="67"/>
                  <a:pt x="106" y="78"/>
                </a:cubicBezTo>
                <a:cubicBezTo>
                  <a:pt x="104" y="88"/>
                  <a:pt x="100" y="85"/>
                  <a:pt x="95" y="85"/>
                </a:cubicBezTo>
                <a:cubicBezTo>
                  <a:pt x="90" y="85"/>
                  <a:pt x="87" y="78"/>
                  <a:pt x="84" y="82"/>
                </a:cubicBezTo>
                <a:cubicBezTo>
                  <a:pt x="82" y="87"/>
                  <a:pt x="80" y="86"/>
                  <a:pt x="75" y="86"/>
                </a:cubicBezTo>
                <a:cubicBezTo>
                  <a:pt x="70" y="86"/>
                  <a:pt x="67" y="83"/>
                  <a:pt x="64" y="87"/>
                </a:cubicBezTo>
                <a:cubicBezTo>
                  <a:pt x="62" y="91"/>
                  <a:pt x="54" y="91"/>
                  <a:pt x="54" y="91"/>
                </a:cubicBezTo>
                <a:cubicBezTo>
                  <a:pt x="54" y="91"/>
                  <a:pt x="39" y="95"/>
                  <a:pt x="37" y="91"/>
                </a:cubicBezTo>
                <a:cubicBezTo>
                  <a:pt x="36" y="86"/>
                  <a:pt x="28" y="80"/>
                  <a:pt x="33" y="74"/>
                </a:cubicBezTo>
                <a:cubicBezTo>
                  <a:pt x="37" y="68"/>
                  <a:pt x="40" y="62"/>
                  <a:pt x="43" y="58"/>
                </a:cubicBezTo>
                <a:cubicBezTo>
                  <a:pt x="47" y="53"/>
                  <a:pt x="43" y="48"/>
                  <a:pt x="54" y="46"/>
                </a:cubicBezTo>
                <a:cubicBezTo>
                  <a:pt x="64" y="44"/>
                  <a:pt x="73" y="35"/>
                  <a:pt x="81" y="44"/>
                </a:cubicBezTo>
                <a:cubicBezTo>
                  <a:pt x="89" y="52"/>
                  <a:pt x="91" y="58"/>
                  <a:pt x="110" y="58"/>
                </a:cubicBezTo>
                <a:cubicBezTo>
                  <a:pt x="129" y="58"/>
                  <a:pt x="140" y="61"/>
                  <a:pt x="143" y="51"/>
                </a:cubicBezTo>
                <a:cubicBezTo>
                  <a:pt x="147" y="40"/>
                  <a:pt x="147" y="35"/>
                  <a:pt x="155" y="33"/>
                </a:cubicBezTo>
                <a:cubicBezTo>
                  <a:pt x="163" y="31"/>
                  <a:pt x="177" y="25"/>
                  <a:pt x="165" y="8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00" name="Freeform 636"/>
          <p:cNvSpPr>
            <a:spLocks/>
          </p:cNvSpPr>
          <p:nvPr userDrawn="1"/>
        </p:nvSpPr>
        <p:spPr bwMode="auto">
          <a:xfrm>
            <a:off x="8376842" y="4956068"/>
            <a:ext cx="165833" cy="197661"/>
          </a:xfrm>
          <a:custGeom>
            <a:avLst/>
            <a:gdLst>
              <a:gd name="T0" fmla="*/ 2147483646 w 177"/>
              <a:gd name="T1" fmla="*/ 2147483646 h 213"/>
              <a:gd name="T2" fmla="*/ 2147483646 w 177"/>
              <a:gd name="T3" fmla="*/ 2147483646 h 213"/>
              <a:gd name="T4" fmla="*/ 2147483646 w 177"/>
              <a:gd name="T5" fmla="*/ 2147483646 h 213"/>
              <a:gd name="T6" fmla="*/ 2147483646 w 177"/>
              <a:gd name="T7" fmla="*/ 2147483646 h 213"/>
              <a:gd name="T8" fmla="*/ 2147483646 w 177"/>
              <a:gd name="T9" fmla="*/ 2147483646 h 213"/>
              <a:gd name="T10" fmla="*/ 2147483646 w 177"/>
              <a:gd name="T11" fmla="*/ 2147483646 h 213"/>
              <a:gd name="T12" fmla="*/ 2147483646 w 177"/>
              <a:gd name="T13" fmla="*/ 2147483646 h 213"/>
              <a:gd name="T14" fmla="*/ 2147483646 w 177"/>
              <a:gd name="T15" fmla="*/ 2147483646 h 213"/>
              <a:gd name="T16" fmla="*/ 2147483646 w 177"/>
              <a:gd name="T17" fmla="*/ 2147483646 h 213"/>
              <a:gd name="T18" fmla="*/ 2147483646 w 177"/>
              <a:gd name="T19" fmla="*/ 2147483646 h 213"/>
              <a:gd name="T20" fmla="*/ 2147483646 w 177"/>
              <a:gd name="T21" fmla="*/ 2147483646 h 213"/>
              <a:gd name="T22" fmla="*/ 2147483646 w 177"/>
              <a:gd name="T23" fmla="*/ 2147483646 h 213"/>
              <a:gd name="T24" fmla="*/ 2147483646 w 177"/>
              <a:gd name="T25" fmla="*/ 2147483646 h 213"/>
              <a:gd name="T26" fmla="*/ 2147483646 w 177"/>
              <a:gd name="T27" fmla="*/ 2147483646 h 213"/>
              <a:gd name="T28" fmla="*/ 2147483646 w 177"/>
              <a:gd name="T29" fmla="*/ 2147483646 h 213"/>
              <a:gd name="T30" fmla="*/ 2147483646 w 177"/>
              <a:gd name="T31" fmla="*/ 2147483646 h 213"/>
              <a:gd name="T32" fmla="*/ 2147483646 w 177"/>
              <a:gd name="T33" fmla="*/ 2147483646 h 213"/>
              <a:gd name="T34" fmla="*/ 2147483646 w 177"/>
              <a:gd name="T35" fmla="*/ 2147483646 h 213"/>
              <a:gd name="T36" fmla="*/ 2147483646 w 177"/>
              <a:gd name="T37" fmla="*/ 2147483646 h 213"/>
              <a:gd name="T38" fmla="*/ 2147483646 w 177"/>
              <a:gd name="T39" fmla="*/ 2147483646 h 213"/>
              <a:gd name="T40" fmla="*/ 2147483646 w 177"/>
              <a:gd name="T41" fmla="*/ 2147483646 h 213"/>
              <a:gd name="T42" fmla="*/ 2147483646 w 177"/>
              <a:gd name="T43" fmla="*/ 2147483646 h 213"/>
              <a:gd name="T44" fmla="*/ 2147483646 w 177"/>
              <a:gd name="T45" fmla="*/ 2147483646 h 213"/>
              <a:gd name="T46" fmla="*/ 2147483646 w 177"/>
              <a:gd name="T47" fmla="*/ 2147483646 h 213"/>
              <a:gd name="T48" fmla="*/ 2147483646 w 177"/>
              <a:gd name="T49" fmla="*/ 2147483646 h 213"/>
              <a:gd name="T50" fmla="*/ 2147483646 w 177"/>
              <a:gd name="T51" fmla="*/ 2147483646 h 213"/>
              <a:gd name="T52" fmla="*/ 2147483646 w 177"/>
              <a:gd name="T53" fmla="*/ 2147483646 h 213"/>
              <a:gd name="T54" fmla="*/ 2147483646 w 177"/>
              <a:gd name="T55" fmla="*/ 2147483646 h 213"/>
              <a:gd name="T56" fmla="*/ 2147483646 w 177"/>
              <a:gd name="T57" fmla="*/ 2147483646 h 213"/>
              <a:gd name="T58" fmla="*/ 2147483646 w 177"/>
              <a:gd name="T59" fmla="*/ 2147483646 h 213"/>
              <a:gd name="T60" fmla="*/ 2147483646 w 177"/>
              <a:gd name="T61" fmla="*/ 2147483646 h 213"/>
              <a:gd name="T62" fmla="*/ 2147483646 w 177"/>
              <a:gd name="T63" fmla="*/ 2147483646 h 213"/>
              <a:gd name="T64" fmla="*/ 2147483646 w 177"/>
              <a:gd name="T65" fmla="*/ 2147483646 h 213"/>
              <a:gd name="T66" fmla="*/ 2147483646 w 177"/>
              <a:gd name="T67" fmla="*/ 2147483646 h 213"/>
              <a:gd name="T68" fmla="*/ 2147483646 w 177"/>
              <a:gd name="T69" fmla="*/ 2147483646 h 213"/>
              <a:gd name="T70" fmla="*/ 2147483646 w 177"/>
              <a:gd name="T71" fmla="*/ 2147483646 h 213"/>
              <a:gd name="T72" fmla="*/ 2147483646 w 177"/>
              <a:gd name="T73" fmla="*/ 2147483646 h 213"/>
              <a:gd name="T74" fmla="*/ 2147483646 w 177"/>
              <a:gd name="T75" fmla="*/ 2147483646 h 213"/>
              <a:gd name="T76" fmla="*/ 2147483646 w 177"/>
              <a:gd name="T77" fmla="*/ 2147483646 h 213"/>
              <a:gd name="T78" fmla="*/ 2147483646 w 177"/>
              <a:gd name="T79" fmla="*/ 2147483646 h 213"/>
              <a:gd name="T80" fmla="*/ 2147483646 w 177"/>
              <a:gd name="T81" fmla="*/ 2147483646 h 213"/>
              <a:gd name="T82" fmla="*/ 2147483646 w 177"/>
              <a:gd name="T83" fmla="*/ 2147483646 h 213"/>
              <a:gd name="T84" fmla="*/ 2147483646 w 177"/>
              <a:gd name="T85" fmla="*/ 2147483646 h 213"/>
              <a:gd name="T86" fmla="*/ 2147483646 w 177"/>
              <a:gd name="T87" fmla="*/ 2147483646 h 213"/>
              <a:gd name="T88" fmla="*/ 2147483646 w 177"/>
              <a:gd name="T89" fmla="*/ 2147483646 h 213"/>
              <a:gd name="T90" fmla="*/ 2147483646 w 177"/>
              <a:gd name="T91" fmla="*/ 2147483646 h 213"/>
              <a:gd name="T92" fmla="*/ 2147483646 w 177"/>
              <a:gd name="T93" fmla="*/ 2147483646 h 213"/>
              <a:gd name="T94" fmla="*/ 2147483646 w 177"/>
              <a:gd name="T95" fmla="*/ 2147483646 h 213"/>
              <a:gd name="T96" fmla="*/ 2147483646 w 177"/>
              <a:gd name="T97" fmla="*/ 2147483646 h 213"/>
              <a:gd name="T98" fmla="*/ 2147483646 w 177"/>
              <a:gd name="T99" fmla="*/ 2147483646 h 213"/>
              <a:gd name="T100" fmla="*/ 2147483646 w 177"/>
              <a:gd name="T101" fmla="*/ 2147483646 h 213"/>
              <a:gd name="T102" fmla="*/ 2147483646 w 177"/>
              <a:gd name="T103" fmla="*/ 2147483646 h 213"/>
              <a:gd name="T104" fmla="*/ 2147483646 w 177"/>
              <a:gd name="T105" fmla="*/ 2147483646 h 213"/>
              <a:gd name="T106" fmla="*/ 2147483646 w 177"/>
              <a:gd name="T107" fmla="*/ 2147483646 h 21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77"/>
              <a:gd name="T163" fmla="*/ 0 h 213"/>
              <a:gd name="T164" fmla="*/ 177 w 177"/>
              <a:gd name="T165" fmla="*/ 213 h 21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77" h="213">
                <a:moveTo>
                  <a:pt x="164" y="5"/>
                </a:moveTo>
                <a:cubicBezTo>
                  <a:pt x="157" y="0"/>
                  <a:pt x="155" y="4"/>
                  <a:pt x="151" y="11"/>
                </a:cubicBezTo>
                <a:cubicBezTo>
                  <a:pt x="148" y="18"/>
                  <a:pt x="136" y="28"/>
                  <a:pt x="133" y="32"/>
                </a:cubicBezTo>
                <a:cubicBezTo>
                  <a:pt x="129" y="35"/>
                  <a:pt x="111" y="45"/>
                  <a:pt x="100" y="38"/>
                </a:cubicBezTo>
                <a:cubicBezTo>
                  <a:pt x="88" y="31"/>
                  <a:pt x="75" y="22"/>
                  <a:pt x="63" y="27"/>
                </a:cubicBezTo>
                <a:cubicBezTo>
                  <a:pt x="52" y="32"/>
                  <a:pt x="35" y="40"/>
                  <a:pt x="30" y="51"/>
                </a:cubicBezTo>
                <a:cubicBezTo>
                  <a:pt x="26" y="61"/>
                  <a:pt x="16" y="68"/>
                  <a:pt x="14" y="76"/>
                </a:cubicBezTo>
                <a:cubicBezTo>
                  <a:pt x="12" y="85"/>
                  <a:pt x="6" y="105"/>
                  <a:pt x="9" y="112"/>
                </a:cubicBezTo>
                <a:cubicBezTo>
                  <a:pt x="13" y="119"/>
                  <a:pt x="18" y="125"/>
                  <a:pt x="10" y="133"/>
                </a:cubicBezTo>
                <a:cubicBezTo>
                  <a:pt x="3" y="141"/>
                  <a:pt x="0" y="152"/>
                  <a:pt x="7" y="155"/>
                </a:cubicBezTo>
                <a:cubicBezTo>
                  <a:pt x="14" y="159"/>
                  <a:pt x="14" y="156"/>
                  <a:pt x="20" y="160"/>
                </a:cubicBezTo>
                <a:cubicBezTo>
                  <a:pt x="26" y="163"/>
                  <a:pt x="19" y="187"/>
                  <a:pt x="19" y="187"/>
                </a:cubicBezTo>
                <a:cubicBezTo>
                  <a:pt x="23" y="201"/>
                  <a:pt x="25" y="197"/>
                  <a:pt x="30" y="204"/>
                </a:cubicBezTo>
                <a:cubicBezTo>
                  <a:pt x="36" y="211"/>
                  <a:pt x="42" y="213"/>
                  <a:pt x="48" y="207"/>
                </a:cubicBezTo>
                <a:cubicBezTo>
                  <a:pt x="54" y="201"/>
                  <a:pt x="55" y="199"/>
                  <a:pt x="48" y="194"/>
                </a:cubicBezTo>
                <a:cubicBezTo>
                  <a:pt x="41" y="189"/>
                  <a:pt x="35" y="187"/>
                  <a:pt x="40" y="180"/>
                </a:cubicBezTo>
                <a:cubicBezTo>
                  <a:pt x="44" y="173"/>
                  <a:pt x="47" y="168"/>
                  <a:pt x="43" y="161"/>
                </a:cubicBezTo>
                <a:cubicBezTo>
                  <a:pt x="40" y="154"/>
                  <a:pt x="37" y="146"/>
                  <a:pt x="39" y="140"/>
                </a:cubicBezTo>
                <a:cubicBezTo>
                  <a:pt x="40" y="134"/>
                  <a:pt x="35" y="126"/>
                  <a:pt x="42" y="127"/>
                </a:cubicBezTo>
                <a:cubicBezTo>
                  <a:pt x="49" y="128"/>
                  <a:pt x="61" y="132"/>
                  <a:pt x="57" y="140"/>
                </a:cubicBezTo>
                <a:cubicBezTo>
                  <a:pt x="54" y="148"/>
                  <a:pt x="47" y="155"/>
                  <a:pt x="57" y="157"/>
                </a:cubicBezTo>
                <a:cubicBezTo>
                  <a:pt x="68" y="160"/>
                  <a:pt x="73" y="157"/>
                  <a:pt x="76" y="161"/>
                </a:cubicBezTo>
                <a:cubicBezTo>
                  <a:pt x="80" y="164"/>
                  <a:pt x="71" y="167"/>
                  <a:pt x="71" y="173"/>
                </a:cubicBezTo>
                <a:cubicBezTo>
                  <a:pt x="71" y="179"/>
                  <a:pt x="76" y="186"/>
                  <a:pt x="76" y="186"/>
                </a:cubicBezTo>
                <a:cubicBezTo>
                  <a:pt x="76" y="186"/>
                  <a:pt x="55" y="190"/>
                  <a:pt x="69" y="194"/>
                </a:cubicBezTo>
                <a:cubicBezTo>
                  <a:pt x="83" y="197"/>
                  <a:pt x="82" y="189"/>
                  <a:pt x="86" y="183"/>
                </a:cubicBezTo>
                <a:cubicBezTo>
                  <a:pt x="89" y="177"/>
                  <a:pt x="97" y="189"/>
                  <a:pt x="102" y="195"/>
                </a:cubicBezTo>
                <a:cubicBezTo>
                  <a:pt x="107" y="201"/>
                  <a:pt x="107" y="204"/>
                  <a:pt x="114" y="200"/>
                </a:cubicBezTo>
                <a:cubicBezTo>
                  <a:pt x="121" y="195"/>
                  <a:pt x="124" y="182"/>
                  <a:pt x="117" y="180"/>
                </a:cubicBezTo>
                <a:cubicBezTo>
                  <a:pt x="110" y="177"/>
                  <a:pt x="97" y="169"/>
                  <a:pt x="97" y="169"/>
                </a:cubicBezTo>
                <a:cubicBezTo>
                  <a:pt x="97" y="169"/>
                  <a:pt x="89" y="172"/>
                  <a:pt x="89" y="163"/>
                </a:cubicBezTo>
                <a:cubicBezTo>
                  <a:pt x="89" y="155"/>
                  <a:pt x="87" y="153"/>
                  <a:pt x="89" y="148"/>
                </a:cubicBezTo>
                <a:cubicBezTo>
                  <a:pt x="91" y="143"/>
                  <a:pt x="88" y="128"/>
                  <a:pt x="83" y="129"/>
                </a:cubicBezTo>
                <a:cubicBezTo>
                  <a:pt x="79" y="130"/>
                  <a:pt x="76" y="123"/>
                  <a:pt x="73" y="121"/>
                </a:cubicBezTo>
                <a:cubicBezTo>
                  <a:pt x="69" y="119"/>
                  <a:pt x="62" y="113"/>
                  <a:pt x="62" y="113"/>
                </a:cubicBezTo>
                <a:cubicBezTo>
                  <a:pt x="62" y="113"/>
                  <a:pt x="71" y="100"/>
                  <a:pt x="82" y="103"/>
                </a:cubicBezTo>
                <a:cubicBezTo>
                  <a:pt x="93" y="107"/>
                  <a:pt x="88" y="96"/>
                  <a:pt x="96" y="96"/>
                </a:cubicBezTo>
                <a:cubicBezTo>
                  <a:pt x="104" y="96"/>
                  <a:pt x="106" y="98"/>
                  <a:pt x="110" y="100"/>
                </a:cubicBezTo>
                <a:cubicBezTo>
                  <a:pt x="115" y="102"/>
                  <a:pt x="111" y="91"/>
                  <a:pt x="118" y="92"/>
                </a:cubicBezTo>
                <a:cubicBezTo>
                  <a:pt x="125" y="93"/>
                  <a:pt x="107" y="67"/>
                  <a:pt x="106" y="78"/>
                </a:cubicBezTo>
                <a:cubicBezTo>
                  <a:pt x="104" y="88"/>
                  <a:pt x="100" y="85"/>
                  <a:pt x="95" y="85"/>
                </a:cubicBezTo>
                <a:cubicBezTo>
                  <a:pt x="90" y="85"/>
                  <a:pt x="87" y="78"/>
                  <a:pt x="84" y="82"/>
                </a:cubicBezTo>
                <a:cubicBezTo>
                  <a:pt x="82" y="87"/>
                  <a:pt x="80" y="86"/>
                  <a:pt x="75" y="86"/>
                </a:cubicBezTo>
                <a:cubicBezTo>
                  <a:pt x="70" y="86"/>
                  <a:pt x="67" y="83"/>
                  <a:pt x="64" y="87"/>
                </a:cubicBezTo>
                <a:cubicBezTo>
                  <a:pt x="62" y="91"/>
                  <a:pt x="54" y="91"/>
                  <a:pt x="54" y="91"/>
                </a:cubicBezTo>
                <a:cubicBezTo>
                  <a:pt x="54" y="91"/>
                  <a:pt x="39" y="95"/>
                  <a:pt x="37" y="91"/>
                </a:cubicBezTo>
                <a:cubicBezTo>
                  <a:pt x="36" y="86"/>
                  <a:pt x="28" y="80"/>
                  <a:pt x="33" y="74"/>
                </a:cubicBezTo>
                <a:cubicBezTo>
                  <a:pt x="37" y="68"/>
                  <a:pt x="40" y="62"/>
                  <a:pt x="43" y="58"/>
                </a:cubicBezTo>
                <a:cubicBezTo>
                  <a:pt x="47" y="53"/>
                  <a:pt x="43" y="48"/>
                  <a:pt x="54" y="46"/>
                </a:cubicBezTo>
                <a:cubicBezTo>
                  <a:pt x="64" y="44"/>
                  <a:pt x="73" y="35"/>
                  <a:pt x="81" y="44"/>
                </a:cubicBezTo>
                <a:cubicBezTo>
                  <a:pt x="89" y="52"/>
                  <a:pt x="91" y="58"/>
                  <a:pt x="110" y="58"/>
                </a:cubicBezTo>
                <a:cubicBezTo>
                  <a:pt x="129" y="58"/>
                  <a:pt x="140" y="61"/>
                  <a:pt x="143" y="51"/>
                </a:cubicBezTo>
                <a:cubicBezTo>
                  <a:pt x="147" y="40"/>
                  <a:pt x="147" y="35"/>
                  <a:pt x="155" y="33"/>
                </a:cubicBezTo>
                <a:cubicBezTo>
                  <a:pt x="163" y="31"/>
                  <a:pt x="177" y="25"/>
                  <a:pt x="165" y="8"/>
                </a:cubicBezTo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01" name="Freeform 637"/>
          <p:cNvSpPr>
            <a:spLocks/>
          </p:cNvSpPr>
          <p:nvPr userDrawn="1"/>
        </p:nvSpPr>
        <p:spPr bwMode="auto">
          <a:xfrm>
            <a:off x="8579527" y="4946018"/>
            <a:ext cx="43552" cy="87105"/>
          </a:xfrm>
          <a:custGeom>
            <a:avLst/>
            <a:gdLst>
              <a:gd name="T0" fmla="*/ 2147483646 w 47"/>
              <a:gd name="T1" fmla="*/ 0 h 93"/>
              <a:gd name="T2" fmla="*/ 2147483646 w 47"/>
              <a:gd name="T3" fmla="*/ 2147483646 h 93"/>
              <a:gd name="T4" fmla="*/ 2147483646 w 47"/>
              <a:gd name="T5" fmla="*/ 2147483646 h 93"/>
              <a:gd name="T6" fmla="*/ 2147483646 w 47"/>
              <a:gd name="T7" fmla="*/ 2147483646 h 93"/>
              <a:gd name="T8" fmla="*/ 2147483646 w 47"/>
              <a:gd name="T9" fmla="*/ 2147483646 h 93"/>
              <a:gd name="T10" fmla="*/ 2147483646 w 47"/>
              <a:gd name="T11" fmla="*/ 2147483646 h 93"/>
              <a:gd name="T12" fmla="*/ 2147483646 w 47"/>
              <a:gd name="T13" fmla="*/ 2147483646 h 93"/>
              <a:gd name="T14" fmla="*/ 2147483646 w 47"/>
              <a:gd name="T15" fmla="*/ 2147483646 h 93"/>
              <a:gd name="T16" fmla="*/ 2147483646 w 47"/>
              <a:gd name="T17" fmla="*/ 2147483646 h 93"/>
              <a:gd name="T18" fmla="*/ 2147483646 w 47"/>
              <a:gd name="T19" fmla="*/ 2147483646 h 93"/>
              <a:gd name="T20" fmla="*/ 2147483646 w 47"/>
              <a:gd name="T21" fmla="*/ 2147483646 h 93"/>
              <a:gd name="T22" fmla="*/ 2147483646 w 47"/>
              <a:gd name="T23" fmla="*/ 2147483646 h 93"/>
              <a:gd name="T24" fmla="*/ 2147483646 w 47"/>
              <a:gd name="T25" fmla="*/ 2147483646 h 93"/>
              <a:gd name="T26" fmla="*/ 2147483646 w 47"/>
              <a:gd name="T27" fmla="*/ 2147483646 h 93"/>
              <a:gd name="T28" fmla="*/ 2147483646 w 47"/>
              <a:gd name="T29" fmla="*/ 2147483646 h 93"/>
              <a:gd name="T30" fmla="*/ 2147483646 w 47"/>
              <a:gd name="T31" fmla="*/ 0 h 9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7"/>
              <a:gd name="T49" fmla="*/ 0 h 93"/>
              <a:gd name="T50" fmla="*/ 47 w 47"/>
              <a:gd name="T51" fmla="*/ 93 h 9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7" h="93">
                <a:moveTo>
                  <a:pt x="26" y="0"/>
                </a:moveTo>
                <a:cubicBezTo>
                  <a:pt x="21" y="0"/>
                  <a:pt x="15" y="4"/>
                  <a:pt x="9" y="16"/>
                </a:cubicBezTo>
                <a:cubicBezTo>
                  <a:pt x="3" y="28"/>
                  <a:pt x="0" y="29"/>
                  <a:pt x="7" y="32"/>
                </a:cubicBezTo>
                <a:cubicBezTo>
                  <a:pt x="14" y="36"/>
                  <a:pt x="14" y="43"/>
                  <a:pt x="12" y="48"/>
                </a:cubicBezTo>
                <a:cubicBezTo>
                  <a:pt x="9" y="52"/>
                  <a:pt x="8" y="52"/>
                  <a:pt x="9" y="57"/>
                </a:cubicBezTo>
                <a:cubicBezTo>
                  <a:pt x="10" y="62"/>
                  <a:pt x="1" y="65"/>
                  <a:pt x="5" y="72"/>
                </a:cubicBezTo>
                <a:cubicBezTo>
                  <a:pt x="8" y="79"/>
                  <a:pt x="13" y="82"/>
                  <a:pt x="21" y="88"/>
                </a:cubicBezTo>
                <a:cubicBezTo>
                  <a:pt x="29" y="93"/>
                  <a:pt x="5" y="65"/>
                  <a:pt x="20" y="66"/>
                </a:cubicBezTo>
                <a:cubicBezTo>
                  <a:pt x="35" y="68"/>
                  <a:pt x="35" y="65"/>
                  <a:pt x="40" y="64"/>
                </a:cubicBezTo>
                <a:cubicBezTo>
                  <a:pt x="44" y="63"/>
                  <a:pt x="47" y="44"/>
                  <a:pt x="40" y="48"/>
                </a:cubicBezTo>
                <a:cubicBezTo>
                  <a:pt x="33" y="51"/>
                  <a:pt x="26" y="54"/>
                  <a:pt x="23" y="50"/>
                </a:cubicBezTo>
                <a:cubicBezTo>
                  <a:pt x="21" y="47"/>
                  <a:pt x="20" y="36"/>
                  <a:pt x="26" y="36"/>
                </a:cubicBezTo>
                <a:cubicBezTo>
                  <a:pt x="32" y="36"/>
                  <a:pt x="34" y="35"/>
                  <a:pt x="35" y="30"/>
                </a:cubicBezTo>
                <a:cubicBezTo>
                  <a:pt x="36" y="25"/>
                  <a:pt x="29" y="5"/>
                  <a:pt x="26" y="17"/>
                </a:cubicBezTo>
                <a:cubicBezTo>
                  <a:pt x="22" y="29"/>
                  <a:pt x="13" y="29"/>
                  <a:pt x="16" y="22"/>
                </a:cubicBezTo>
                <a:cubicBezTo>
                  <a:pt x="20" y="15"/>
                  <a:pt x="26" y="0"/>
                  <a:pt x="2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02" name="Freeform 638"/>
          <p:cNvSpPr>
            <a:spLocks/>
          </p:cNvSpPr>
          <p:nvPr userDrawn="1"/>
        </p:nvSpPr>
        <p:spPr bwMode="auto">
          <a:xfrm>
            <a:off x="8537649" y="5038148"/>
            <a:ext cx="21776" cy="35176"/>
          </a:xfrm>
          <a:custGeom>
            <a:avLst/>
            <a:gdLst>
              <a:gd name="T0" fmla="*/ 2147483646 w 24"/>
              <a:gd name="T1" fmla="*/ 2147483646 h 38"/>
              <a:gd name="T2" fmla="*/ 0 w 24"/>
              <a:gd name="T3" fmla="*/ 2147483646 h 38"/>
              <a:gd name="T4" fmla="*/ 2147483646 w 24"/>
              <a:gd name="T5" fmla="*/ 2147483646 h 38"/>
              <a:gd name="T6" fmla="*/ 2147483646 w 24"/>
              <a:gd name="T7" fmla="*/ 2147483646 h 38"/>
              <a:gd name="T8" fmla="*/ 2147483646 w 24"/>
              <a:gd name="T9" fmla="*/ 2147483646 h 38"/>
              <a:gd name="T10" fmla="*/ 2147483646 w 24"/>
              <a:gd name="T11" fmla="*/ 2147483646 h 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4"/>
              <a:gd name="T19" fmla="*/ 0 h 38"/>
              <a:gd name="T20" fmla="*/ 24 w 24"/>
              <a:gd name="T21" fmla="*/ 38 h 3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4" h="38">
                <a:moveTo>
                  <a:pt x="20" y="15"/>
                </a:moveTo>
                <a:cubicBezTo>
                  <a:pt x="16" y="17"/>
                  <a:pt x="0" y="0"/>
                  <a:pt x="0" y="15"/>
                </a:cubicBezTo>
                <a:cubicBezTo>
                  <a:pt x="0" y="31"/>
                  <a:pt x="6" y="38"/>
                  <a:pt x="11" y="34"/>
                </a:cubicBezTo>
                <a:cubicBezTo>
                  <a:pt x="16" y="31"/>
                  <a:pt x="7" y="30"/>
                  <a:pt x="16" y="31"/>
                </a:cubicBezTo>
                <a:cubicBezTo>
                  <a:pt x="24" y="32"/>
                  <a:pt x="22" y="27"/>
                  <a:pt x="22" y="24"/>
                </a:cubicBezTo>
                <a:cubicBezTo>
                  <a:pt x="22" y="20"/>
                  <a:pt x="20" y="15"/>
                  <a:pt x="20" y="1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03" name="Freeform 639"/>
          <p:cNvSpPr>
            <a:spLocks/>
          </p:cNvSpPr>
          <p:nvPr userDrawn="1"/>
        </p:nvSpPr>
        <p:spPr bwMode="auto">
          <a:xfrm>
            <a:off x="8656582" y="5007998"/>
            <a:ext cx="87105" cy="48577"/>
          </a:xfrm>
          <a:custGeom>
            <a:avLst/>
            <a:gdLst>
              <a:gd name="T0" fmla="*/ 2147483646 w 93"/>
              <a:gd name="T1" fmla="*/ 2147483646 h 52"/>
              <a:gd name="T2" fmla="*/ 2147483646 w 93"/>
              <a:gd name="T3" fmla="*/ 2147483646 h 52"/>
              <a:gd name="T4" fmla="*/ 2147483646 w 93"/>
              <a:gd name="T5" fmla="*/ 2147483646 h 52"/>
              <a:gd name="T6" fmla="*/ 2147483646 w 93"/>
              <a:gd name="T7" fmla="*/ 2147483646 h 52"/>
              <a:gd name="T8" fmla="*/ 2147483646 w 93"/>
              <a:gd name="T9" fmla="*/ 2147483646 h 52"/>
              <a:gd name="T10" fmla="*/ 2147483646 w 93"/>
              <a:gd name="T11" fmla="*/ 2147483646 h 52"/>
              <a:gd name="T12" fmla="*/ 2147483646 w 93"/>
              <a:gd name="T13" fmla="*/ 2147483646 h 52"/>
              <a:gd name="T14" fmla="*/ 2147483646 w 93"/>
              <a:gd name="T15" fmla="*/ 2147483646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93"/>
              <a:gd name="T25" fmla="*/ 0 h 52"/>
              <a:gd name="T26" fmla="*/ 93 w 93"/>
              <a:gd name="T27" fmla="*/ 52 h 5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93" h="52">
                <a:moveTo>
                  <a:pt x="55" y="16"/>
                </a:moveTo>
                <a:cubicBezTo>
                  <a:pt x="44" y="18"/>
                  <a:pt x="42" y="0"/>
                  <a:pt x="31" y="12"/>
                </a:cubicBezTo>
                <a:cubicBezTo>
                  <a:pt x="19" y="24"/>
                  <a:pt x="0" y="40"/>
                  <a:pt x="18" y="44"/>
                </a:cubicBezTo>
                <a:cubicBezTo>
                  <a:pt x="35" y="47"/>
                  <a:pt x="33" y="45"/>
                  <a:pt x="47" y="49"/>
                </a:cubicBezTo>
                <a:cubicBezTo>
                  <a:pt x="61" y="52"/>
                  <a:pt x="61" y="43"/>
                  <a:pt x="75" y="44"/>
                </a:cubicBezTo>
                <a:cubicBezTo>
                  <a:pt x="89" y="45"/>
                  <a:pt x="91" y="37"/>
                  <a:pt x="92" y="33"/>
                </a:cubicBezTo>
                <a:cubicBezTo>
                  <a:pt x="93" y="30"/>
                  <a:pt x="85" y="16"/>
                  <a:pt x="85" y="16"/>
                </a:cubicBezTo>
                <a:lnTo>
                  <a:pt x="55" y="1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04" name="Freeform 640"/>
          <p:cNvSpPr>
            <a:spLocks/>
          </p:cNvSpPr>
          <p:nvPr userDrawn="1"/>
        </p:nvSpPr>
        <p:spPr bwMode="auto">
          <a:xfrm>
            <a:off x="8705159" y="5056574"/>
            <a:ext cx="41877" cy="56953"/>
          </a:xfrm>
          <a:custGeom>
            <a:avLst/>
            <a:gdLst>
              <a:gd name="T0" fmla="*/ 2147483646 w 44"/>
              <a:gd name="T1" fmla="*/ 2147483646 h 62"/>
              <a:gd name="T2" fmla="*/ 2147483646 w 44"/>
              <a:gd name="T3" fmla="*/ 2147483646 h 62"/>
              <a:gd name="T4" fmla="*/ 2147483646 w 44"/>
              <a:gd name="T5" fmla="*/ 2147483646 h 62"/>
              <a:gd name="T6" fmla="*/ 2147483646 w 44"/>
              <a:gd name="T7" fmla="*/ 2147483646 h 62"/>
              <a:gd name="T8" fmla="*/ 2147483646 w 44"/>
              <a:gd name="T9" fmla="*/ 2147483646 h 62"/>
              <a:gd name="T10" fmla="*/ 2147483646 w 44"/>
              <a:gd name="T11" fmla="*/ 2147483646 h 62"/>
              <a:gd name="T12" fmla="*/ 2147483646 w 44"/>
              <a:gd name="T13" fmla="*/ 2147483646 h 6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4"/>
              <a:gd name="T22" fmla="*/ 0 h 62"/>
              <a:gd name="T23" fmla="*/ 44 w 44"/>
              <a:gd name="T24" fmla="*/ 62 h 6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4" h="62">
                <a:moveTo>
                  <a:pt x="25" y="13"/>
                </a:moveTo>
                <a:cubicBezTo>
                  <a:pt x="17" y="15"/>
                  <a:pt x="0" y="0"/>
                  <a:pt x="5" y="22"/>
                </a:cubicBezTo>
                <a:cubicBezTo>
                  <a:pt x="10" y="44"/>
                  <a:pt x="18" y="35"/>
                  <a:pt x="18" y="45"/>
                </a:cubicBezTo>
                <a:cubicBezTo>
                  <a:pt x="18" y="55"/>
                  <a:pt x="12" y="62"/>
                  <a:pt x="21" y="60"/>
                </a:cubicBezTo>
                <a:cubicBezTo>
                  <a:pt x="29" y="58"/>
                  <a:pt x="36" y="47"/>
                  <a:pt x="39" y="44"/>
                </a:cubicBezTo>
                <a:cubicBezTo>
                  <a:pt x="42" y="40"/>
                  <a:pt x="44" y="32"/>
                  <a:pt x="42" y="28"/>
                </a:cubicBezTo>
                <a:cubicBezTo>
                  <a:pt x="39" y="25"/>
                  <a:pt x="25" y="13"/>
                  <a:pt x="25" y="1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05" name="Freeform 641"/>
          <p:cNvSpPr>
            <a:spLocks/>
          </p:cNvSpPr>
          <p:nvPr userDrawn="1"/>
        </p:nvSpPr>
        <p:spPr bwMode="auto">
          <a:xfrm>
            <a:off x="8475671" y="5219059"/>
            <a:ext cx="83755" cy="45227"/>
          </a:xfrm>
          <a:custGeom>
            <a:avLst/>
            <a:gdLst>
              <a:gd name="T0" fmla="*/ 2147483646 w 89"/>
              <a:gd name="T1" fmla="*/ 0 h 47"/>
              <a:gd name="T2" fmla="*/ 2147483646 w 89"/>
              <a:gd name="T3" fmla="*/ 2147483646 h 47"/>
              <a:gd name="T4" fmla="*/ 2147483646 w 89"/>
              <a:gd name="T5" fmla="*/ 2147483646 h 47"/>
              <a:gd name="T6" fmla="*/ 2147483646 w 89"/>
              <a:gd name="T7" fmla="*/ 2147483646 h 47"/>
              <a:gd name="T8" fmla="*/ 2147483646 w 89"/>
              <a:gd name="T9" fmla="*/ 2147483646 h 47"/>
              <a:gd name="T10" fmla="*/ 2147483646 w 89"/>
              <a:gd name="T11" fmla="*/ 2147483646 h 47"/>
              <a:gd name="T12" fmla="*/ 2147483646 w 89"/>
              <a:gd name="T13" fmla="*/ 0 h 4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9"/>
              <a:gd name="T22" fmla="*/ 0 h 47"/>
              <a:gd name="T23" fmla="*/ 89 w 89"/>
              <a:gd name="T24" fmla="*/ 47 h 4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9" h="47">
                <a:moveTo>
                  <a:pt x="89" y="0"/>
                </a:moveTo>
                <a:cubicBezTo>
                  <a:pt x="73" y="2"/>
                  <a:pt x="51" y="0"/>
                  <a:pt x="48" y="7"/>
                </a:cubicBezTo>
                <a:cubicBezTo>
                  <a:pt x="45" y="13"/>
                  <a:pt x="34" y="19"/>
                  <a:pt x="28" y="22"/>
                </a:cubicBezTo>
                <a:cubicBezTo>
                  <a:pt x="21" y="25"/>
                  <a:pt x="0" y="16"/>
                  <a:pt x="14" y="32"/>
                </a:cubicBezTo>
                <a:cubicBezTo>
                  <a:pt x="28" y="47"/>
                  <a:pt x="34" y="33"/>
                  <a:pt x="42" y="29"/>
                </a:cubicBezTo>
                <a:cubicBezTo>
                  <a:pt x="50" y="24"/>
                  <a:pt x="67" y="16"/>
                  <a:pt x="67" y="16"/>
                </a:cubicBezTo>
                <a:lnTo>
                  <a:pt x="89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06" name="Freeform 642"/>
          <p:cNvSpPr>
            <a:spLocks/>
          </p:cNvSpPr>
          <p:nvPr userDrawn="1"/>
        </p:nvSpPr>
        <p:spPr bwMode="auto">
          <a:xfrm>
            <a:off x="8390242" y="5209008"/>
            <a:ext cx="77055" cy="21776"/>
          </a:xfrm>
          <a:custGeom>
            <a:avLst/>
            <a:gdLst>
              <a:gd name="T0" fmla="*/ 2147483646 w 83"/>
              <a:gd name="T1" fmla="*/ 2147483646 h 23"/>
              <a:gd name="T2" fmla="*/ 2147483646 w 83"/>
              <a:gd name="T3" fmla="*/ 2147483646 h 23"/>
              <a:gd name="T4" fmla="*/ 2147483646 w 83"/>
              <a:gd name="T5" fmla="*/ 2147483646 h 23"/>
              <a:gd name="T6" fmla="*/ 2147483646 w 83"/>
              <a:gd name="T7" fmla="*/ 2147483646 h 23"/>
              <a:gd name="T8" fmla="*/ 2147483646 w 83"/>
              <a:gd name="T9" fmla="*/ 2147483646 h 23"/>
              <a:gd name="T10" fmla="*/ 2147483646 w 83"/>
              <a:gd name="T11" fmla="*/ 2147483646 h 23"/>
              <a:gd name="T12" fmla="*/ 2147483646 w 83"/>
              <a:gd name="T13" fmla="*/ 2147483646 h 2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3"/>
              <a:gd name="T22" fmla="*/ 0 h 23"/>
              <a:gd name="T23" fmla="*/ 83 w 83"/>
              <a:gd name="T24" fmla="*/ 23 h 2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3" h="23">
                <a:moveTo>
                  <a:pt x="82" y="1"/>
                </a:moveTo>
                <a:cubicBezTo>
                  <a:pt x="71" y="8"/>
                  <a:pt x="52" y="11"/>
                  <a:pt x="46" y="11"/>
                </a:cubicBezTo>
                <a:cubicBezTo>
                  <a:pt x="39" y="11"/>
                  <a:pt x="30" y="8"/>
                  <a:pt x="25" y="8"/>
                </a:cubicBezTo>
                <a:cubicBezTo>
                  <a:pt x="21" y="8"/>
                  <a:pt x="0" y="0"/>
                  <a:pt x="10" y="11"/>
                </a:cubicBezTo>
                <a:cubicBezTo>
                  <a:pt x="19" y="22"/>
                  <a:pt x="49" y="23"/>
                  <a:pt x="55" y="23"/>
                </a:cubicBezTo>
                <a:cubicBezTo>
                  <a:pt x="61" y="23"/>
                  <a:pt x="74" y="23"/>
                  <a:pt x="78" y="19"/>
                </a:cubicBezTo>
                <a:cubicBezTo>
                  <a:pt x="83" y="14"/>
                  <a:pt x="82" y="1"/>
                  <a:pt x="82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07" name="Freeform 643"/>
          <p:cNvSpPr>
            <a:spLocks/>
          </p:cNvSpPr>
          <p:nvPr userDrawn="1"/>
        </p:nvSpPr>
        <p:spPr bwMode="auto">
          <a:xfrm>
            <a:off x="8388567" y="5229109"/>
            <a:ext cx="40203" cy="43552"/>
          </a:xfrm>
          <a:custGeom>
            <a:avLst/>
            <a:gdLst>
              <a:gd name="T0" fmla="*/ 2147483646 w 43"/>
              <a:gd name="T1" fmla="*/ 2147483646 h 47"/>
              <a:gd name="T2" fmla="*/ 2147483646 w 43"/>
              <a:gd name="T3" fmla="*/ 2147483646 h 47"/>
              <a:gd name="T4" fmla="*/ 2147483646 w 43"/>
              <a:gd name="T5" fmla="*/ 2147483646 h 47"/>
              <a:gd name="T6" fmla="*/ 2147483646 w 43"/>
              <a:gd name="T7" fmla="*/ 2147483646 h 47"/>
              <a:gd name="T8" fmla="*/ 2147483646 w 43"/>
              <a:gd name="T9" fmla="*/ 2147483646 h 47"/>
              <a:gd name="T10" fmla="*/ 2147483646 w 43"/>
              <a:gd name="T11" fmla="*/ 2147483646 h 4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3"/>
              <a:gd name="T19" fmla="*/ 0 h 47"/>
              <a:gd name="T20" fmla="*/ 43 w 43"/>
              <a:gd name="T21" fmla="*/ 47 h 4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3" h="47">
                <a:moveTo>
                  <a:pt x="18" y="8"/>
                </a:moveTo>
                <a:cubicBezTo>
                  <a:pt x="14" y="8"/>
                  <a:pt x="11" y="0"/>
                  <a:pt x="6" y="8"/>
                </a:cubicBezTo>
                <a:cubicBezTo>
                  <a:pt x="1" y="15"/>
                  <a:pt x="0" y="20"/>
                  <a:pt x="9" y="26"/>
                </a:cubicBezTo>
                <a:cubicBezTo>
                  <a:pt x="18" y="33"/>
                  <a:pt x="18" y="28"/>
                  <a:pt x="29" y="37"/>
                </a:cubicBezTo>
                <a:cubicBezTo>
                  <a:pt x="40" y="47"/>
                  <a:pt x="40" y="42"/>
                  <a:pt x="42" y="37"/>
                </a:cubicBezTo>
                <a:cubicBezTo>
                  <a:pt x="43" y="33"/>
                  <a:pt x="18" y="8"/>
                  <a:pt x="18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08" name="Freeform 644"/>
          <p:cNvSpPr>
            <a:spLocks/>
          </p:cNvSpPr>
          <p:nvPr userDrawn="1"/>
        </p:nvSpPr>
        <p:spPr bwMode="auto">
          <a:xfrm>
            <a:off x="8351715" y="5207332"/>
            <a:ext cx="30152" cy="20101"/>
          </a:xfrm>
          <a:custGeom>
            <a:avLst/>
            <a:gdLst>
              <a:gd name="T0" fmla="*/ 2147483646 w 32"/>
              <a:gd name="T1" fmla="*/ 0 h 22"/>
              <a:gd name="T2" fmla="*/ 2147483646 w 32"/>
              <a:gd name="T3" fmla="*/ 2147483646 h 22"/>
              <a:gd name="T4" fmla="*/ 2147483646 w 32"/>
              <a:gd name="T5" fmla="*/ 2147483646 h 22"/>
              <a:gd name="T6" fmla="*/ 2147483646 w 32"/>
              <a:gd name="T7" fmla="*/ 2147483646 h 22"/>
              <a:gd name="T8" fmla="*/ 2147483646 w 32"/>
              <a:gd name="T9" fmla="*/ 0 h 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"/>
              <a:gd name="T16" fmla="*/ 0 h 22"/>
              <a:gd name="T17" fmla="*/ 32 w 32"/>
              <a:gd name="T18" fmla="*/ 22 h 2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" h="22">
                <a:moveTo>
                  <a:pt x="17" y="0"/>
                </a:moveTo>
                <a:cubicBezTo>
                  <a:pt x="9" y="7"/>
                  <a:pt x="0" y="8"/>
                  <a:pt x="3" y="14"/>
                </a:cubicBezTo>
                <a:cubicBezTo>
                  <a:pt x="6" y="21"/>
                  <a:pt x="10" y="22"/>
                  <a:pt x="18" y="21"/>
                </a:cubicBezTo>
                <a:cubicBezTo>
                  <a:pt x="26" y="19"/>
                  <a:pt x="32" y="14"/>
                  <a:pt x="32" y="14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09" name="Freeform 645"/>
          <p:cNvSpPr>
            <a:spLocks/>
          </p:cNvSpPr>
          <p:nvPr userDrawn="1"/>
        </p:nvSpPr>
        <p:spPr bwMode="auto">
          <a:xfrm>
            <a:off x="8304812" y="5209009"/>
            <a:ext cx="23451" cy="18425"/>
          </a:xfrm>
          <a:custGeom>
            <a:avLst/>
            <a:gdLst>
              <a:gd name="T0" fmla="*/ 2147483646 w 25"/>
              <a:gd name="T1" fmla="*/ 0 h 19"/>
              <a:gd name="T2" fmla="*/ 2147483646 w 25"/>
              <a:gd name="T3" fmla="*/ 2147483646 h 19"/>
              <a:gd name="T4" fmla="*/ 2147483646 w 25"/>
              <a:gd name="T5" fmla="*/ 2147483646 h 19"/>
              <a:gd name="T6" fmla="*/ 2147483646 w 25"/>
              <a:gd name="T7" fmla="*/ 0 h 19"/>
              <a:gd name="T8" fmla="*/ 0 60000 65536"/>
              <a:gd name="T9" fmla="*/ 0 60000 65536"/>
              <a:gd name="T10" fmla="*/ 0 60000 65536"/>
              <a:gd name="T11" fmla="*/ 0 60000 65536"/>
              <a:gd name="T12" fmla="*/ 0 w 25"/>
              <a:gd name="T13" fmla="*/ 0 h 19"/>
              <a:gd name="T14" fmla="*/ 25 w 25"/>
              <a:gd name="T15" fmla="*/ 19 h 1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5" h="19">
                <a:moveTo>
                  <a:pt x="15" y="0"/>
                </a:moveTo>
                <a:cubicBezTo>
                  <a:pt x="10" y="0"/>
                  <a:pt x="0" y="7"/>
                  <a:pt x="8" y="13"/>
                </a:cubicBezTo>
                <a:cubicBezTo>
                  <a:pt x="16" y="19"/>
                  <a:pt x="25" y="16"/>
                  <a:pt x="25" y="16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10" name="Freeform 646"/>
          <p:cNvSpPr>
            <a:spLocks/>
          </p:cNvSpPr>
          <p:nvPr userDrawn="1"/>
        </p:nvSpPr>
        <p:spPr bwMode="auto">
          <a:xfrm>
            <a:off x="8050197" y="5147030"/>
            <a:ext cx="239539" cy="75380"/>
          </a:xfrm>
          <a:custGeom>
            <a:avLst/>
            <a:gdLst>
              <a:gd name="T0" fmla="*/ 2147483646 w 257"/>
              <a:gd name="T1" fmla="*/ 2147483646 h 80"/>
              <a:gd name="T2" fmla="*/ 2147483646 w 257"/>
              <a:gd name="T3" fmla="*/ 2147483646 h 80"/>
              <a:gd name="T4" fmla="*/ 2147483646 w 257"/>
              <a:gd name="T5" fmla="*/ 2147483646 h 80"/>
              <a:gd name="T6" fmla="*/ 2147483646 w 257"/>
              <a:gd name="T7" fmla="*/ 2147483646 h 80"/>
              <a:gd name="T8" fmla="*/ 2147483646 w 257"/>
              <a:gd name="T9" fmla="*/ 2147483646 h 80"/>
              <a:gd name="T10" fmla="*/ 2147483646 w 257"/>
              <a:gd name="T11" fmla="*/ 2147483646 h 80"/>
              <a:gd name="T12" fmla="*/ 2147483646 w 257"/>
              <a:gd name="T13" fmla="*/ 2147483646 h 80"/>
              <a:gd name="T14" fmla="*/ 2147483646 w 257"/>
              <a:gd name="T15" fmla="*/ 2147483646 h 80"/>
              <a:gd name="T16" fmla="*/ 2147483646 w 257"/>
              <a:gd name="T17" fmla="*/ 2147483646 h 80"/>
              <a:gd name="T18" fmla="*/ 2147483646 w 257"/>
              <a:gd name="T19" fmla="*/ 2147483646 h 80"/>
              <a:gd name="T20" fmla="*/ 2147483646 w 257"/>
              <a:gd name="T21" fmla="*/ 2147483646 h 80"/>
              <a:gd name="T22" fmla="*/ 2147483646 w 257"/>
              <a:gd name="T23" fmla="*/ 2147483646 h 80"/>
              <a:gd name="T24" fmla="*/ 2147483646 w 257"/>
              <a:gd name="T25" fmla="*/ 2147483646 h 80"/>
              <a:gd name="T26" fmla="*/ 2147483646 w 257"/>
              <a:gd name="T27" fmla="*/ 2147483646 h 80"/>
              <a:gd name="T28" fmla="*/ 0 w 257"/>
              <a:gd name="T29" fmla="*/ 2147483646 h 80"/>
              <a:gd name="T30" fmla="*/ 2147483646 w 257"/>
              <a:gd name="T31" fmla="*/ 2147483646 h 80"/>
              <a:gd name="T32" fmla="*/ 2147483646 w 257"/>
              <a:gd name="T33" fmla="*/ 2147483646 h 80"/>
              <a:gd name="T34" fmla="*/ 2147483646 w 257"/>
              <a:gd name="T35" fmla="*/ 2147483646 h 80"/>
              <a:gd name="T36" fmla="*/ 2147483646 w 257"/>
              <a:gd name="T37" fmla="*/ 2147483646 h 80"/>
              <a:gd name="T38" fmla="*/ 2147483646 w 257"/>
              <a:gd name="T39" fmla="*/ 2147483646 h 80"/>
              <a:gd name="T40" fmla="*/ 2147483646 w 257"/>
              <a:gd name="T41" fmla="*/ 2147483646 h 80"/>
              <a:gd name="T42" fmla="*/ 2147483646 w 257"/>
              <a:gd name="T43" fmla="*/ 2147483646 h 80"/>
              <a:gd name="T44" fmla="*/ 2147483646 w 257"/>
              <a:gd name="T45" fmla="*/ 2147483646 h 80"/>
              <a:gd name="T46" fmla="*/ 2147483646 w 257"/>
              <a:gd name="T47" fmla="*/ 2147483646 h 80"/>
              <a:gd name="T48" fmla="*/ 2147483646 w 257"/>
              <a:gd name="T49" fmla="*/ 2147483646 h 8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57"/>
              <a:gd name="T76" fmla="*/ 0 h 80"/>
              <a:gd name="T77" fmla="*/ 257 w 257"/>
              <a:gd name="T78" fmla="*/ 80 h 8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57" h="80">
                <a:moveTo>
                  <a:pt x="257" y="69"/>
                </a:moveTo>
                <a:cubicBezTo>
                  <a:pt x="254" y="63"/>
                  <a:pt x="235" y="60"/>
                  <a:pt x="235" y="60"/>
                </a:cubicBezTo>
                <a:cubicBezTo>
                  <a:pt x="235" y="60"/>
                  <a:pt x="225" y="58"/>
                  <a:pt x="222" y="53"/>
                </a:cubicBezTo>
                <a:cubicBezTo>
                  <a:pt x="219" y="49"/>
                  <a:pt x="205" y="50"/>
                  <a:pt x="205" y="50"/>
                </a:cubicBezTo>
                <a:cubicBezTo>
                  <a:pt x="190" y="35"/>
                  <a:pt x="190" y="35"/>
                  <a:pt x="190" y="35"/>
                </a:cubicBezTo>
                <a:cubicBezTo>
                  <a:pt x="190" y="35"/>
                  <a:pt x="177" y="17"/>
                  <a:pt x="172" y="19"/>
                </a:cubicBezTo>
                <a:cubicBezTo>
                  <a:pt x="168" y="20"/>
                  <a:pt x="158" y="20"/>
                  <a:pt x="158" y="20"/>
                </a:cubicBezTo>
                <a:cubicBezTo>
                  <a:pt x="158" y="20"/>
                  <a:pt x="147" y="10"/>
                  <a:pt x="144" y="14"/>
                </a:cubicBezTo>
                <a:cubicBezTo>
                  <a:pt x="135" y="28"/>
                  <a:pt x="128" y="44"/>
                  <a:pt x="122" y="42"/>
                </a:cubicBezTo>
                <a:cubicBezTo>
                  <a:pt x="116" y="41"/>
                  <a:pt x="107" y="27"/>
                  <a:pt x="99" y="28"/>
                </a:cubicBezTo>
                <a:cubicBezTo>
                  <a:pt x="91" y="30"/>
                  <a:pt x="83" y="35"/>
                  <a:pt x="80" y="25"/>
                </a:cubicBezTo>
                <a:cubicBezTo>
                  <a:pt x="77" y="16"/>
                  <a:pt x="86" y="0"/>
                  <a:pt x="66" y="6"/>
                </a:cubicBezTo>
                <a:cubicBezTo>
                  <a:pt x="46" y="13"/>
                  <a:pt x="36" y="2"/>
                  <a:pt x="28" y="10"/>
                </a:cubicBezTo>
                <a:cubicBezTo>
                  <a:pt x="20" y="17"/>
                  <a:pt x="14" y="6"/>
                  <a:pt x="10" y="14"/>
                </a:cubicBezTo>
                <a:cubicBezTo>
                  <a:pt x="5" y="22"/>
                  <a:pt x="0" y="33"/>
                  <a:pt x="0" y="33"/>
                </a:cubicBezTo>
                <a:cubicBezTo>
                  <a:pt x="0" y="33"/>
                  <a:pt x="19" y="27"/>
                  <a:pt x="31" y="30"/>
                </a:cubicBezTo>
                <a:cubicBezTo>
                  <a:pt x="44" y="33"/>
                  <a:pt x="47" y="27"/>
                  <a:pt x="55" y="41"/>
                </a:cubicBezTo>
                <a:cubicBezTo>
                  <a:pt x="63" y="55"/>
                  <a:pt x="74" y="58"/>
                  <a:pt x="78" y="55"/>
                </a:cubicBezTo>
                <a:cubicBezTo>
                  <a:pt x="83" y="52"/>
                  <a:pt x="86" y="24"/>
                  <a:pt x="96" y="46"/>
                </a:cubicBezTo>
                <a:cubicBezTo>
                  <a:pt x="105" y="67"/>
                  <a:pt x="108" y="64"/>
                  <a:pt x="121" y="67"/>
                </a:cubicBezTo>
                <a:cubicBezTo>
                  <a:pt x="133" y="71"/>
                  <a:pt x="130" y="55"/>
                  <a:pt x="146" y="63"/>
                </a:cubicBezTo>
                <a:cubicBezTo>
                  <a:pt x="161" y="71"/>
                  <a:pt x="168" y="58"/>
                  <a:pt x="174" y="63"/>
                </a:cubicBezTo>
                <a:cubicBezTo>
                  <a:pt x="180" y="67"/>
                  <a:pt x="191" y="56"/>
                  <a:pt x="196" y="63"/>
                </a:cubicBezTo>
                <a:cubicBezTo>
                  <a:pt x="200" y="69"/>
                  <a:pt x="205" y="64"/>
                  <a:pt x="213" y="72"/>
                </a:cubicBezTo>
                <a:cubicBezTo>
                  <a:pt x="221" y="80"/>
                  <a:pt x="257" y="69"/>
                  <a:pt x="257" y="6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11" name="Freeform 647"/>
          <p:cNvSpPr>
            <a:spLocks/>
          </p:cNvSpPr>
          <p:nvPr userDrawn="1"/>
        </p:nvSpPr>
        <p:spPr bwMode="auto">
          <a:xfrm>
            <a:off x="7787208" y="4860590"/>
            <a:ext cx="283091" cy="301516"/>
          </a:xfrm>
          <a:custGeom>
            <a:avLst/>
            <a:gdLst>
              <a:gd name="T0" fmla="*/ 2147483646 w 302"/>
              <a:gd name="T1" fmla="*/ 2147483646 h 324"/>
              <a:gd name="T2" fmla="*/ 2147483646 w 302"/>
              <a:gd name="T3" fmla="*/ 2147483646 h 324"/>
              <a:gd name="T4" fmla="*/ 2147483646 w 302"/>
              <a:gd name="T5" fmla="*/ 2147483646 h 324"/>
              <a:gd name="T6" fmla="*/ 2147483646 w 302"/>
              <a:gd name="T7" fmla="*/ 2147483646 h 324"/>
              <a:gd name="T8" fmla="*/ 2147483646 w 302"/>
              <a:gd name="T9" fmla="*/ 2147483646 h 324"/>
              <a:gd name="T10" fmla="*/ 2147483646 w 302"/>
              <a:gd name="T11" fmla="*/ 2147483646 h 324"/>
              <a:gd name="T12" fmla="*/ 2147483646 w 302"/>
              <a:gd name="T13" fmla="*/ 2147483646 h 324"/>
              <a:gd name="T14" fmla="*/ 2147483646 w 302"/>
              <a:gd name="T15" fmla="*/ 2147483646 h 324"/>
              <a:gd name="T16" fmla="*/ 2147483646 w 302"/>
              <a:gd name="T17" fmla="*/ 2147483646 h 324"/>
              <a:gd name="T18" fmla="*/ 2147483646 w 302"/>
              <a:gd name="T19" fmla="*/ 2147483646 h 324"/>
              <a:gd name="T20" fmla="*/ 2147483646 w 302"/>
              <a:gd name="T21" fmla="*/ 2147483646 h 324"/>
              <a:gd name="T22" fmla="*/ 2147483646 w 302"/>
              <a:gd name="T23" fmla="*/ 2147483646 h 324"/>
              <a:gd name="T24" fmla="*/ 2147483646 w 302"/>
              <a:gd name="T25" fmla="*/ 2147483646 h 324"/>
              <a:gd name="T26" fmla="*/ 2147483646 w 302"/>
              <a:gd name="T27" fmla="*/ 2147483646 h 324"/>
              <a:gd name="T28" fmla="*/ 2147483646 w 302"/>
              <a:gd name="T29" fmla="*/ 2147483646 h 324"/>
              <a:gd name="T30" fmla="*/ 2147483646 w 302"/>
              <a:gd name="T31" fmla="*/ 2147483646 h 324"/>
              <a:gd name="T32" fmla="*/ 2147483646 w 302"/>
              <a:gd name="T33" fmla="*/ 2147483646 h 324"/>
              <a:gd name="T34" fmla="*/ 2147483646 w 302"/>
              <a:gd name="T35" fmla="*/ 2147483646 h 324"/>
              <a:gd name="T36" fmla="*/ 2147483646 w 302"/>
              <a:gd name="T37" fmla="*/ 2147483646 h 324"/>
              <a:gd name="T38" fmla="*/ 2147483646 w 302"/>
              <a:gd name="T39" fmla="*/ 2147483646 h 324"/>
              <a:gd name="T40" fmla="*/ 2147483646 w 302"/>
              <a:gd name="T41" fmla="*/ 2147483646 h 324"/>
              <a:gd name="T42" fmla="*/ 2147483646 w 302"/>
              <a:gd name="T43" fmla="*/ 2147483646 h 324"/>
              <a:gd name="T44" fmla="*/ 2147483646 w 302"/>
              <a:gd name="T45" fmla="*/ 2147483646 h 324"/>
              <a:gd name="T46" fmla="*/ 2147483646 w 302"/>
              <a:gd name="T47" fmla="*/ 2147483646 h 324"/>
              <a:gd name="T48" fmla="*/ 2147483646 w 302"/>
              <a:gd name="T49" fmla="*/ 2147483646 h 324"/>
              <a:gd name="T50" fmla="*/ 2147483646 w 302"/>
              <a:gd name="T51" fmla="*/ 2147483646 h 324"/>
              <a:gd name="T52" fmla="*/ 2147483646 w 302"/>
              <a:gd name="T53" fmla="*/ 2147483646 h 324"/>
              <a:gd name="T54" fmla="*/ 2147483646 w 302"/>
              <a:gd name="T55" fmla="*/ 2147483646 h 324"/>
              <a:gd name="T56" fmla="*/ 2147483646 w 302"/>
              <a:gd name="T57" fmla="*/ 2147483646 h 324"/>
              <a:gd name="T58" fmla="*/ 2147483646 w 302"/>
              <a:gd name="T59" fmla="*/ 2147483646 h 324"/>
              <a:gd name="T60" fmla="*/ 2147483646 w 302"/>
              <a:gd name="T61" fmla="*/ 2147483646 h 324"/>
              <a:gd name="T62" fmla="*/ 2147483646 w 302"/>
              <a:gd name="T63" fmla="*/ 2147483646 h 324"/>
              <a:gd name="T64" fmla="*/ 2147483646 w 302"/>
              <a:gd name="T65" fmla="*/ 2147483646 h 324"/>
              <a:gd name="T66" fmla="*/ 2147483646 w 302"/>
              <a:gd name="T67" fmla="*/ 2147483646 h 324"/>
              <a:gd name="T68" fmla="*/ 2147483646 w 302"/>
              <a:gd name="T69" fmla="*/ 2147483646 h 32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02"/>
              <a:gd name="T106" fmla="*/ 0 h 324"/>
              <a:gd name="T107" fmla="*/ 302 w 302"/>
              <a:gd name="T108" fmla="*/ 324 h 32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02" h="324">
                <a:moveTo>
                  <a:pt x="65" y="21"/>
                </a:moveTo>
                <a:cubicBezTo>
                  <a:pt x="54" y="19"/>
                  <a:pt x="40" y="22"/>
                  <a:pt x="30" y="18"/>
                </a:cubicBezTo>
                <a:cubicBezTo>
                  <a:pt x="21" y="13"/>
                  <a:pt x="24" y="0"/>
                  <a:pt x="16" y="13"/>
                </a:cubicBezTo>
                <a:cubicBezTo>
                  <a:pt x="8" y="25"/>
                  <a:pt x="0" y="35"/>
                  <a:pt x="15" y="40"/>
                </a:cubicBezTo>
                <a:cubicBezTo>
                  <a:pt x="29" y="44"/>
                  <a:pt x="41" y="44"/>
                  <a:pt x="46" y="60"/>
                </a:cubicBezTo>
                <a:cubicBezTo>
                  <a:pt x="51" y="76"/>
                  <a:pt x="57" y="77"/>
                  <a:pt x="61" y="79"/>
                </a:cubicBezTo>
                <a:cubicBezTo>
                  <a:pt x="66" y="80"/>
                  <a:pt x="71" y="77"/>
                  <a:pt x="77" y="85"/>
                </a:cubicBezTo>
                <a:cubicBezTo>
                  <a:pt x="83" y="93"/>
                  <a:pt x="82" y="91"/>
                  <a:pt x="87" y="99"/>
                </a:cubicBezTo>
                <a:cubicBezTo>
                  <a:pt x="91" y="107"/>
                  <a:pt x="101" y="107"/>
                  <a:pt x="105" y="108"/>
                </a:cubicBezTo>
                <a:cubicBezTo>
                  <a:pt x="110" y="110"/>
                  <a:pt x="110" y="99"/>
                  <a:pt x="116" y="110"/>
                </a:cubicBezTo>
                <a:cubicBezTo>
                  <a:pt x="123" y="121"/>
                  <a:pt x="121" y="126"/>
                  <a:pt x="123" y="138"/>
                </a:cubicBezTo>
                <a:cubicBezTo>
                  <a:pt x="124" y="151"/>
                  <a:pt x="123" y="158"/>
                  <a:pt x="132" y="163"/>
                </a:cubicBezTo>
                <a:cubicBezTo>
                  <a:pt x="141" y="168"/>
                  <a:pt x="154" y="176"/>
                  <a:pt x="157" y="180"/>
                </a:cubicBezTo>
                <a:cubicBezTo>
                  <a:pt x="160" y="185"/>
                  <a:pt x="165" y="194"/>
                  <a:pt x="169" y="207"/>
                </a:cubicBezTo>
                <a:cubicBezTo>
                  <a:pt x="174" y="220"/>
                  <a:pt x="177" y="232"/>
                  <a:pt x="180" y="238"/>
                </a:cubicBezTo>
                <a:cubicBezTo>
                  <a:pt x="184" y="245"/>
                  <a:pt x="185" y="249"/>
                  <a:pt x="191" y="257"/>
                </a:cubicBezTo>
                <a:cubicBezTo>
                  <a:pt x="198" y="265"/>
                  <a:pt x="202" y="263"/>
                  <a:pt x="215" y="274"/>
                </a:cubicBezTo>
                <a:cubicBezTo>
                  <a:pt x="227" y="285"/>
                  <a:pt x="259" y="324"/>
                  <a:pt x="270" y="317"/>
                </a:cubicBezTo>
                <a:cubicBezTo>
                  <a:pt x="281" y="309"/>
                  <a:pt x="274" y="299"/>
                  <a:pt x="284" y="296"/>
                </a:cubicBezTo>
                <a:cubicBezTo>
                  <a:pt x="293" y="293"/>
                  <a:pt x="302" y="292"/>
                  <a:pt x="302" y="282"/>
                </a:cubicBezTo>
                <a:cubicBezTo>
                  <a:pt x="302" y="273"/>
                  <a:pt x="288" y="268"/>
                  <a:pt x="292" y="260"/>
                </a:cubicBezTo>
                <a:cubicBezTo>
                  <a:pt x="295" y="252"/>
                  <a:pt x="301" y="248"/>
                  <a:pt x="301" y="248"/>
                </a:cubicBezTo>
                <a:cubicBezTo>
                  <a:pt x="301" y="248"/>
                  <a:pt x="292" y="229"/>
                  <a:pt x="288" y="234"/>
                </a:cubicBezTo>
                <a:cubicBezTo>
                  <a:pt x="285" y="238"/>
                  <a:pt x="271" y="229"/>
                  <a:pt x="270" y="224"/>
                </a:cubicBezTo>
                <a:cubicBezTo>
                  <a:pt x="268" y="220"/>
                  <a:pt x="273" y="204"/>
                  <a:pt x="259" y="204"/>
                </a:cubicBezTo>
                <a:cubicBezTo>
                  <a:pt x="245" y="204"/>
                  <a:pt x="237" y="184"/>
                  <a:pt x="237" y="184"/>
                </a:cubicBezTo>
                <a:cubicBezTo>
                  <a:pt x="237" y="184"/>
                  <a:pt x="216" y="179"/>
                  <a:pt x="224" y="173"/>
                </a:cubicBezTo>
                <a:cubicBezTo>
                  <a:pt x="232" y="166"/>
                  <a:pt x="234" y="151"/>
                  <a:pt x="234" y="151"/>
                </a:cubicBezTo>
                <a:cubicBezTo>
                  <a:pt x="234" y="151"/>
                  <a:pt x="229" y="137"/>
                  <a:pt x="224" y="144"/>
                </a:cubicBezTo>
                <a:cubicBezTo>
                  <a:pt x="220" y="152"/>
                  <a:pt x="207" y="143"/>
                  <a:pt x="207" y="143"/>
                </a:cubicBezTo>
                <a:cubicBezTo>
                  <a:pt x="207" y="143"/>
                  <a:pt x="199" y="137"/>
                  <a:pt x="198" y="129"/>
                </a:cubicBezTo>
                <a:cubicBezTo>
                  <a:pt x="196" y="121"/>
                  <a:pt x="190" y="105"/>
                  <a:pt x="182" y="104"/>
                </a:cubicBezTo>
                <a:cubicBezTo>
                  <a:pt x="174" y="102"/>
                  <a:pt x="166" y="102"/>
                  <a:pt x="154" y="91"/>
                </a:cubicBezTo>
                <a:cubicBezTo>
                  <a:pt x="141" y="80"/>
                  <a:pt x="104" y="35"/>
                  <a:pt x="104" y="35"/>
                </a:cubicBezTo>
                <a:cubicBezTo>
                  <a:pt x="104" y="35"/>
                  <a:pt x="80" y="24"/>
                  <a:pt x="65" y="2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12" name="Freeform 648"/>
          <p:cNvSpPr>
            <a:spLocks/>
          </p:cNvSpPr>
          <p:nvPr userDrawn="1"/>
        </p:nvSpPr>
        <p:spPr bwMode="auto">
          <a:xfrm>
            <a:off x="7438790" y="4778508"/>
            <a:ext cx="58628" cy="93805"/>
          </a:xfrm>
          <a:custGeom>
            <a:avLst/>
            <a:gdLst>
              <a:gd name="T0" fmla="*/ 2147483646 w 62"/>
              <a:gd name="T1" fmla="*/ 0 h 100"/>
              <a:gd name="T2" fmla="*/ 2147483646 w 62"/>
              <a:gd name="T3" fmla="*/ 2147483646 h 100"/>
              <a:gd name="T4" fmla="*/ 2147483646 w 62"/>
              <a:gd name="T5" fmla="*/ 2147483646 h 100"/>
              <a:gd name="T6" fmla="*/ 2147483646 w 62"/>
              <a:gd name="T7" fmla="*/ 2147483646 h 100"/>
              <a:gd name="T8" fmla="*/ 2147483646 w 62"/>
              <a:gd name="T9" fmla="*/ 2147483646 h 100"/>
              <a:gd name="T10" fmla="*/ 2147483646 w 62"/>
              <a:gd name="T11" fmla="*/ 2147483646 h 100"/>
              <a:gd name="T12" fmla="*/ 2147483646 w 62"/>
              <a:gd name="T13" fmla="*/ 2147483646 h 100"/>
              <a:gd name="T14" fmla="*/ 2147483646 w 62"/>
              <a:gd name="T15" fmla="*/ 2147483646 h 100"/>
              <a:gd name="T16" fmla="*/ 2147483646 w 62"/>
              <a:gd name="T17" fmla="*/ 2147483646 h 100"/>
              <a:gd name="T18" fmla="*/ 2147483646 w 62"/>
              <a:gd name="T19" fmla="*/ 0 h 1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2"/>
              <a:gd name="T31" fmla="*/ 0 h 100"/>
              <a:gd name="T32" fmla="*/ 62 w 62"/>
              <a:gd name="T33" fmla="*/ 100 h 10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2" h="100">
                <a:moveTo>
                  <a:pt x="20" y="0"/>
                </a:moveTo>
                <a:cubicBezTo>
                  <a:pt x="12" y="3"/>
                  <a:pt x="13" y="0"/>
                  <a:pt x="13" y="9"/>
                </a:cubicBezTo>
                <a:cubicBezTo>
                  <a:pt x="14" y="18"/>
                  <a:pt x="6" y="11"/>
                  <a:pt x="3" y="22"/>
                </a:cubicBezTo>
                <a:cubicBezTo>
                  <a:pt x="0" y="33"/>
                  <a:pt x="12" y="52"/>
                  <a:pt x="9" y="58"/>
                </a:cubicBezTo>
                <a:cubicBezTo>
                  <a:pt x="7" y="65"/>
                  <a:pt x="7" y="91"/>
                  <a:pt x="14" y="96"/>
                </a:cubicBezTo>
                <a:cubicBezTo>
                  <a:pt x="21" y="100"/>
                  <a:pt x="26" y="98"/>
                  <a:pt x="35" y="95"/>
                </a:cubicBezTo>
                <a:cubicBezTo>
                  <a:pt x="44" y="92"/>
                  <a:pt x="39" y="80"/>
                  <a:pt x="51" y="80"/>
                </a:cubicBezTo>
                <a:cubicBezTo>
                  <a:pt x="62" y="80"/>
                  <a:pt x="56" y="47"/>
                  <a:pt x="53" y="47"/>
                </a:cubicBezTo>
                <a:cubicBezTo>
                  <a:pt x="49" y="46"/>
                  <a:pt x="40" y="29"/>
                  <a:pt x="40" y="26"/>
                </a:cubicBezTo>
                <a:cubicBezTo>
                  <a:pt x="39" y="23"/>
                  <a:pt x="20" y="0"/>
                  <a:pt x="2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13" name="Freeform 649"/>
          <p:cNvSpPr>
            <a:spLocks/>
          </p:cNvSpPr>
          <p:nvPr userDrawn="1"/>
        </p:nvSpPr>
        <p:spPr bwMode="auto">
          <a:xfrm>
            <a:off x="8028421" y="5007998"/>
            <a:ext cx="15075" cy="18425"/>
          </a:xfrm>
          <a:custGeom>
            <a:avLst/>
            <a:gdLst>
              <a:gd name="T0" fmla="*/ 2147483646 w 16"/>
              <a:gd name="T1" fmla="*/ 2147483646 h 20"/>
              <a:gd name="T2" fmla="*/ 2147483646 w 16"/>
              <a:gd name="T3" fmla="*/ 2147483646 h 20"/>
              <a:gd name="T4" fmla="*/ 2147483646 w 16"/>
              <a:gd name="T5" fmla="*/ 2147483646 h 20"/>
              <a:gd name="T6" fmla="*/ 2147483646 w 16"/>
              <a:gd name="T7" fmla="*/ 2147483646 h 20"/>
              <a:gd name="T8" fmla="*/ 0 60000 65536"/>
              <a:gd name="T9" fmla="*/ 0 60000 65536"/>
              <a:gd name="T10" fmla="*/ 0 60000 65536"/>
              <a:gd name="T11" fmla="*/ 0 60000 65536"/>
              <a:gd name="T12" fmla="*/ 0 w 16"/>
              <a:gd name="T13" fmla="*/ 0 h 20"/>
              <a:gd name="T14" fmla="*/ 16 w 16"/>
              <a:gd name="T15" fmla="*/ 20 h 2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" h="20">
                <a:moveTo>
                  <a:pt x="14" y="4"/>
                </a:moveTo>
                <a:cubicBezTo>
                  <a:pt x="8" y="5"/>
                  <a:pt x="0" y="0"/>
                  <a:pt x="3" y="10"/>
                </a:cubicBezTo>
                <a:cubicBezTo>
                  <a:pt x="5" y="20"/>
                  <a:pt x="11" y="17"/>
                  <a:pt x="13" y="14"/>
                </a:cubicBezTo>
                <a:cubicBezTo>
                  <a:pt x="16" y="11"/>
                  <a:pt x="14" y="4"/>
                  <a:pt x="14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14" name="Freeform 650"/>
          <p:cNvSpPr>
            <a:spLocks/>
          </p:cNvSpPr>
          <p:nvPr userDrawn="1"/>
        </p:nvSpPr>
        <p:spPr bwMode="auto">
          <a:xfrm>
            <a:off x="8058574" y="5059924"/>
            <a:ext cx="25125" cy="18427"/>
          </a:xfrm>
          <a:custGeom>
            <a:avLst/>
            <a:gdLst>
              <a:gd name="T0" fmla="*/ 2147483646 w 28"/>
              <a:gd name="T1" fmla="*/ 0 h 20"/>
              <a:gd name="T2" fmla="*/ 2147483646 w 28"/>
              <a:gd name="T3" fmla="*/ 2147483646 h 20"/>
              <a:gd name="T4" fmla="*/ 2147483646 w 28"/>
              <a:gd name="T5" fmla="*/ 2147483646 h 20"/>
              <a:gd name="T6" fmla="*/ 2147483646 w 28"/>
              <a:gd name="T7" fmla="*/ 2147483646 h 20"/>
              <a:gd name="T8" fmla="*/ 2147483646 w 28"/>
              <a:gd name="T9" fmla="*/ 0 h 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"/>
              <a:gd name="T16" fmla="*/ 0 h 20"/>
              <a:gd name="T17" fmla="*/ 28 w 28"/>
              <a:gd name="T18" fmla="*/ 20 h 2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" h="20">
                <a:moveTo>
                  <a:pt x="12" y="0"/>
                </a:moveTo>
                <a:cubicBezTo>
                  <a:pt x="8" y="0"/>
                  <a:pt x="0" y="5"/>
                  <a:pt x="9" y="12"/>
                </a:cubicBezTo>
                <a:cubicBezTo>
                  <a:pt x="18" y="20"/>
                  <a:pt x="21" y="19"/>
                  <a:pt x="23" y="17"/>
                </a:cubicBezTo>
                <a:cubicBezTo>
                  <a:pt x="26" y="16"/>
                  <a:pt x="28" y="11"/>
                  <a:pt x="26" y="6"/>
                </a:cubicBezTo>
                <a:cubicBezTo>
                  <a:pt x="24" y="2"/>
                  <a:pt x="12" y="0"/>
                  <a:pt x="12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15" name="Freeform 651"/>
          <p:cNvSpPr>
            <a:spLocks/>
          </p:cNvSpPr>
          <p:nvPr userDrawn="1"/>
        </p:nvSpPr>
        <p:spPr bwMode="auto">
          <a:xfrm>
            <a:off x="8095426" y="5076675"/>
            <a:ext cx="33501" cy="23451"/>
          </a:xfrm>
          <a:custGeom>
            <a:avLst/>
            <a:gdLst>
              <a:gd name="T0" fmla="*/ 2147483646 w 35"/>
              <a:gd name="T1" fmla="*/ 0 h 25"/>
              <a:gd name="T2" fmla="*/ 2147483646 w 35"/>
              <a:gd name="T3" fmla="*/ 2147483646 h 25"/>
              <a:gd name="T4" fmla="*/ 2147483646 w 35"/>
              <a:gd name="T5" fmla="*/ 2147483646 h 25"/>
              <a:gd name="T6" fmla="*/ 2147483646 w 35"/>
              <a:gd name="T7" fmla="*/ 2147483646 h 25"/>
              <a:gd name="T8" fmla="*/ 2147483646 w 35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5"/>
              <a:gd name="T16" fmla="*/ 0 h 25"/>
              <a:gd name="T17" fmla="*/ 35 w 35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5" h="25">
                <a:moveTo>
                  <a:pt x="19" y="0"/>
                </a:moveTo>
                <a:cubicBezTo>
                  <a:pt x="14" y="3"/>
                  <a:pt x="0" y="8"/>
                  <a:pt x="10" y="16"/>
                </a:cubicBezTo>
                <a:cubicBezTo>
                  <a:pt x="21" y="25"/>
                  <a:pt x="22" y="22"/>
                  <a:pt x="27" y="19"/>
                </a:cubicBezTo>
                <a:cubicBezTo>
                  <a:pt x="31" y="15"/>
                  <a:pt x="35" y="14"/>
                  <a:pt x="33" y="9"/>
                </a:cubicBezTo>
                <a:cubicBezTo>
                  <a:pt x="32" y="4"/>
                  <a:pt x="19" y="0"/>
                  <a:pt x="19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16" name="Freeform 652"/>
          <p:cNvSpPr>
            <a:spLocks/>
          </p:cNvSpPr>
          <p:nvPr userDrawn="1"/>
        </p:nvSpPr>
        <p:spPr bwMode="auto">
          <a:xfrm>
            <a:off x="8752061" y="5046524"/>
            <a:ext cx="400347" cy="303192"/>
          </a:xfrm>
          <a:custGeom>
            <a:avLst/>
            <a:gdLst>
              <a:gd name="T0" fmla="*/ 2147483646 w 428"/>
              <a:gd name="T1" fmla="*/ 0 h 325"/>
              <a:gd name="T2" fmla="*/ 2147483646 w 428"/>
              <a:gd name="T3" fmla="*/ 2147483646 h 325"/>
              <a:gd name="T4" fmla="*/ 2147483646 w 428"/>
              <a:gd name="T5" fmla="*/ 2147483646 h 325"/>
              <a:gd name="T6" fmla="*/ 2147483646 w 428"/>
              <a:gd name="T7" fmla="*/ 2147483646 h 325"/>
              <a:gd name="T8" fmla="*/ 2147483646 w 428"/>
              <a:gd name="T9" fmla="*/ 2147483646 h 325"/>
              <a:gd name="T10" fmla="*/ 2147483646 w 428"/>
              <a:gd name="T11" fmla="*/ 2147483646 h 325"/>
              <a:gd name="T12" fmla="*/ 2147483646 w 428"/>
              <a:gd name="T13" fmla="*/ 2147483646 h 325"/>
              <a:gd name="T14" fmla="*/ 2147483646 w 428"/>
              <a:gd name="T15" fmla="*/ 2147483646 h 325"/>
              <a:gd name="T16" fmla="*/ 2147483646 w 428"/>
              <a:gd name="T17" fmla="*/ 2147483646 h 325"/>
              <a:gd name="T18" fmla="*/ 2147483646 w 428"/>
              <a:gd name="T19" fmla="*/ 2147483646 h 325"/>
              <a:gd name="T20" fmla="*/ 2147483646 w 428"/>
              <a:gd name="T21" fmla="*/ 2147483646 h 325"/>
              <a:gd name="T22" fmla="*/ 2147483646 w 428"/>
              <a:gd name="T23" fmla="*/ 2147483646 h 325"/>
              <a:gd name="T24" fmla="*/ 2147483646 w 428"/>
              <a:gd name="T25" fmla="*/ 2147483646 h 325"/>
              <a:gd name="T26" fmla="*/ 2147483646 w 428"/>
              <a:gd name="T27" fmla="*/ 2147483646 h 325"/>
              <a:gd name="T28" fmla="*/ 2147483646 w 428"/>
              <a:gd name="T29" fmla="*/ 2147483646 h 325"/>
              <a:gd name="T30" fmla="*/ 2147483646 w 428"/>
              <a:gd name="T31" fmla="*/ 2147483646 h 325"/>
              <a:gd name="T32" fmla="*/ 2147483646 w 428"/>
              <a:gd name="T33" fmla="*/ 2147483646 h 325"/>
              <a:gd name="T34" fmla="*/ 2147483646 w 428"/>
              <a:gd name="T35" fmla="*/ 2147483646 h 325"/>
              <a:gd name="T36" fmla="*/ 2147483646 w 428"/>
              <a:gd name="T37" fmla="*/ 2147483646 h 325"/>
              <a:gd name="T38" fmla="*/ 2147483646 w 428"/>
              <a:gd name="T39" fmla="*/ 2147483646 h 325"/>
              <a:gd name="T40" fmla="*/ 2147483646 w 428"/>
              <a:gd name="T41" fmla="*/ 2147483646 h 325"/>
              <a:gd name="T42" fmla="*/ 2147483646 w 428"/>
              <a:gd name="T43" fmla="*/ 2147483646 h 325"/>
              <a:gd name="T44" fmla="*/ 2147483646 w 428"/>
              <a:gd name="T45" fmla="*/ 2147483646 h 325"/>
              <a:gd name="T46" fmla="*/ 2147483646 w 428"/>
              <a:gd name="T47" fmla="*/ 2147483646 h 325"/>
              <a:gd name="T48" fmla="*/ 2147483646 w 428"/>
              <a:gd name="T49" fmla="*/ 2147483646 h 325"/>
              <a:gd name="T50" fmla="*/ 2147483646 w 428"/>
              <a:gd name="T51" fmla="*/ 2147483646 h 325"/>
              <a:gd name="T52" fmla="*/ 2147483646 w 428"/>
              <a:gd name="T53" fmla="*/ 2147483646 h 325"/>
              <a:gd name="T54" fmla="*/ 2147483646 w 428"/>
              <a:gd name="T55" fmla="*/ 2147483646 h 325"/>
              <a:gd name="T56" fmla="*/ 2147483646 w 428"/>
              <a:gd name="T57" fmla="*/ 0 h 32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428"/>
              <a:gd name="T88" fmla="*/ 0 h 325"/>
              <a:gd name="T89" fmla="*/ 428 w 428"/>
              <a:gd name="T90" fmla="*/ 325 h 32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428" h="325">
                <a:moveTo>
                  <a:pt x="86" y="0"/>
                </a:moveTo>
                <a:cubicBezTo>
                  <a:pt x="62" y="16"/>
                  <a:pt x="60" y="31"/>
                  <a:pt x="44" y="38"/>
                </a:cubicBezTo>
                <a:cubicBezTo>
                  <a:pt x="29" y="45"/>
                  <a:pt x="32" y="52"/>
                  <a:pt x="24" y="43"/>
                </a:cubicBezTo>
                <a:cubicBezTo>
                  <a:pt x="15" y="35"/>
                  <a:pt x="10" y="14"/>
                  <a:pt x="8" y="22"/>
                </a:cubicBezTo>
                <a:cubicBezTo>
                  <a:pt x="7" y="31"/>
                  <a:pt x="0" y="50"/>
                  <a:pt x="10" y="60"/>
                </a:cubicBezTo>
                <a:cubicBezTo>
                  <a:pt x="20" y="71"/>
                  <a:pt x="22" y="71"/>
                  <a:pt x="39" y="71"/>
                </a:cubicBezTo>
                <a:cubicBezTo>
                  <a:pt x="57" y="71"/>
                  <a:pt x="65" y="103"/>
                  <a:pt x="74" y="107"/>
                </a:cubicBezTo>
                <a:cubicBezTo>
                  <a:pt x="82" y="110"/>
                  <a:pt x="100" y="107"/>
                  <a:pt x="108" y="121"/>
                </a:cubicBezTo>
                <a:cubicBezTo>
                  <a:pt x="117" y="134"/>
                  <a:pt x="103" y="136"/>
                  <a:pt x="112" y="157"/>
                </a:cubicBezTo>
                <a:cubicBezTo>
                  <a:pt x="120" y="177"/>
                  <a:pt x="122" y="157"/>
                  <a:pt x="148" y="172"/>
                </a:cubicBezTo>
                <a:cubicBezTo>
                  <a:pt x="174" y="188"/>
                  <a:pt x="182" y="182"/>
                  <a:pt x="191" y="201"/>
                </a:cubicBezTo>
                <a:cubicBezTo>
                  <a:pt x="199" y="220"/>
                  <a:pt x="179" y="203"/>
                  <a:pt x="196" y="239"/>
                </a:cubicBezTo>
                <a:cubicBezTo>
                  <a:pt x="213" y="275"/>
                  <a:pt x="222" y="265"/>
                  <a:pt x="242" y="275"/>
                </a:cubicBezTo>
                <a:cubicBezTo>
                  <a:pt x="263" y="286"/>
                  <a:pt x="261" y="267"/>
                  <a:pt x="284" y="296"/>
                </a:cubicBezTo>
                <a:cubicBezTo>
                  <a:pt x="306" y="325"/>
                  <a:pt x="340" y="299"/>
                  <a:pt x="356" y="293"/>
                </a:cubicBezTo>
                <a:cubicBezTo>
                  <a:pt x="371" y="286"/>
                  <a:pt x="371" y="269"/>
                  <a:pt x="389" y="272"/>
                </a:cubicBezTo>
                <a:cubicBezTo>
                  <a:pt x="406" y="275"/>
                  <a:pt x="428" y="220"/>
                  <a:pt x="409" y="212"/>
                </a:cubicBezTo>
                <a:cubicBezTo>
                  <a:pt x="390" y="203"/>
                  <a:pt x="356" y="181"/>
                  <a:pt x="356" y="181"/>
                </a:cubicBezTo>
                <a:cubicBezTo>
                  <a:pt x="356" y="181"/>
                  <a:pt x="339" y="146"/>
                  <a:pt x="347" y="133"/>
                </a:cubicBezTo>
                <a:cubicBezTo>
                  <a:pt x="356" y="119"/>
                  <a:pt x="351" y="96"/>
                  <a:pt x="356" y="88"/>
                </a:cubicBezTo>
                <a:cubicBezTo>
                  <a:pt x="361" y="79"/>
                  <a:pt x="366" y="67"/>
                  <a:pt x="358" y="64"/>
                </a:cubicBezTo>
                <a:cubicBezTo>
                  <a:pt x="349" y="60"/>
                  <a:pt x="330" y="48"/>
                  <a:pt x="330" y="48"/>
                </a:cubicBezTo>
                <a:cubicBezTo>
                  <a:pt x="330" y="48"/>
                  <a:pt x="299" y="45"/>
                  <a:pt x="282" y="47"/>
                </a:cubicBezTo>
                <a:cubicBezTo>
                  <a:pt x="265" y="48"/>
                  <a:pt x="232" y="47"/>
                  <a:pt x="223" y="47"/>
                </a:cubicBezTo>
                <a:cubicBezTo>
                  <a:pt x="215" y="47"/>
                  <a:pt x="201" y="33"/>
                  <a:pt x="191" y="40"/>
                </a:cubicBezTo>
                <a:cubicBezTo>
                  <a:pt x="180" y="47"/>
                  <a:pt x="167" y="59"/>
                  <a:pt x="163" y="43"/>
                </a:cubicBezTo>
                <a:cubicBezTo>
                  <a:pt x="160" y="28"/>
                  <a:pt x="161" y="17"/>
                  <a:pt x="151" y="19"/>
                </a:cubicBezTo>
                <a:cubicBezTo>
                  <a:pt x="141" y="21"/>
                  <a:pt x="125" y="17"/>
                  <a:pt x="125" y="17"/>
                </a:cubicBezTo>
                <a:lnTo>
                  <a:pt x="86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17" name="Freeform 653"/>
          <p:cNvSpPr>
            <a:spLocks/>
          </p:cNvSpPr>
          <p:nvPr userDrawn="1"/>
        </p:nvSpPr>
        <p:spPr bwMode="auto">
          <a:xfrm>
            <a:off x="5195841" y="4066595"/>
            <a:ext cx="296492" cy="219436"/>
          </a:xfrm>
          <a:custGeom>
            <a:avLst/>
            <a:gdLst>
              <a:gd name="T0" fmla="*/ 2147483646 w 318"/>
              <a:gd name="T1" fmla="*/ 2147483646 h 234"/>
              <a:gd name="T2" fmla="*/ 2147483646 w 318"/>
              <a:gd name="T3" fmla="*/ 2147483646 h 234"/>
              <a:gd name="T4" fmla="*/ 2147483646 w 318"/>
              <a:gd name="T5" fmla="*/ 2147483646 h 234"/>
              <a:gd name="T6" fmla="*/ 2147483646 w 318"/>
              <a:gd name="T7" fmla="*/ 2147483646 h 234"/>
              <a:gd name="T8" fmla="*/ 2147483646 w 318"/>
              <a:gd name="T9" fmla="*/ 2147483646 h 234"/>
              <a:gd name="T10" fmla="*/ 2147483646 w 318"/>
              <a:gd name="T11" fmla="*/ 2147483646 h 234"/>
              <a:gd name="T12" fmla="*/ 2147483646 w 318"/>
              <a:gd name="T13" fmla="*/ 2147483646 h 234"/>
              <a:gd name="T14" fmla="*/ 2147483646 w 318"/>
              <a:gd name="T15" fmla="*/ 2147483646 h 234"/>
              <a:gd name="T16" fmla="*/ 2147483646 w 318"/>
              <a:gd name="T17" fmla="*/ 2147483646 h 234"/>
              <a:gd name="T18" fmla="*/ 2147483646 w 318"/>
              <a:gd name="T19" fmla="*/ 2147483646 h 234"/>
              <a:gd name="T20" fmla="*/ 2147483646 w 318"/>
              <a:gd name="T21" fmla="*/ 2147483646 h 234"/>
              <a:gd name="T22" fmla="*/ 2147483646 w 318"/>
              <a:gd name="T23" fmla="*/ 2147483646 h 234"/>
              <a:gd name="T24" fmla="*/ 2147483646 w 318"/>
              <a:gd name="T25" fmla="*/ 2147483646 h 234"/>
              <a:gd name="T26" fmla="*/ 2147483646 w 318"/>
              <a:gd name="T27" fmla="*/ 2147483646 h 234"/>
              <a:gd name="T28" fmla="*/ 2147483646 w 318"/>
              <a:gd name="T29" fmla="*/ 2147483646 h 234"/>
              <a:gd name="T30" fmla="*/ 2147483646 w 318"/>
              <a:gd name="T31" fmla="*/ 2147483646 h 234"/>
              <a:gd name="T32" fmla="*/ 2147483646 w 318"/>
              <a:gd name="T33" fmla="*/ 2147483646 h 234"/>
              <a:gd name="T34" fmla="*/ 2147483646 w 318"/>
              <a:gd name="T35" fmla="*/ 2147483646 h 234"/>
              <a:gd name="T36" fmla="*/ 2147483646 w 318"/>
              <a:gd name="T37" fmla="*/ 2147483646 h 234"/>
              <a:gd name="T38" fmla="*/ 2147483646 w 318"/>
              <a:gd name="T39" fmla="*/ 2147483646 h 234"/>
              <a:gd name="T40" fmla="*/ 2147483646 w 318"/>
              <a:gd name="T41" fmla="*/ 2147483646 h 234"/>
              <a:gd name="T42" fmla="*/ 0 w 318"/>
              <a:gd name="T43" fmla="*/ 2147483646 h 234"/>
              <a:gd name="T44" fmla="*/ 2147483646 w 318"/>
              <a:gd name="T45" fmla="*/ 2147483646 h 234"/>
              <a:gd name="T46" fmla="*/ 2147483646 w 318"/>
              <a:gd name="T47" fmla="*/ 2147483646 h 234"/>
              <a:gd name="T48" fmla="*/ 2147483646 w 318"/>
              <a:gd name="T49" fmla="*/ 2147483646 h 234"/>
              <a:gd name="T50" fmla="*/ 2147483646 w 318"/>
              <a:gd name="T51" fmla="*/ 2147483646 h 234"/>
              <a:gd name="T52" fmla="*/ 2147483646 w 318"/>
              <a:gd name="T53" fmla="*/ 2147483646 h 234"/>
              <a:gd name="T54" fmla="*/ 2147483646 w 318"/>
              <a:gd name="T55" fmla="*/ 2147483646 h 234"/>
              <a:gd name="T56" fmla="*/ 2147483646 w 318"/>
              <a:gd name="T57" fmla="*/ 2147483646 h 234"/>
              <a:gd name="T58" fmla="*/ 2147483646 w 318"/>
              <a:gd name="T59" fmla="*/ 2147483646 h 234"/>
              <a:gd name="T60" fmla="*/ 2147483646 w 318"/>
              <a:gd name="T61" fmla="*/ 2147483646 h 234"/>
              <a:gd name="T62" fmla="*/ 2147483646 w 318"/>
              <a:gd name="T63" fmla="*/ 2147483646 h 234"/>
              <a:gd name="T64" fmla="*/ 2147483646 w 318"/>
              <a:gd name="T65" fmla="*/ 2147483646 h 234"/>
              <a:gd name="T66" fmla="*/ 2147483646 w 318"/>
              <a:gd name="T67" fmla="*/ 2147483646 h 234"/>
              <a:gd name="T68" fmla="*/ 2147483646 w 318"/>
              <a:gd name="T69" fmla="*/ 2147483646 h 234"/>
              <a:gd name="T70" fmla="*/ 2147483646 w 318"/>
              <a:gd name="T71" fmla="*/ 2147483646 h 234"/>
              <a:gd name="T72" fmla="*/ 2147483646 w 318"/>
              <a:gd name="T73" fmla="*/ 2147483646 h 234"/>
              <a:gd name="T74" fmla="*/ 2147483646 w 318"/>
              <a:gd name="T75" fmla="*/ 2147483646 h 234"/>
              <a:gd name="T76" fmla="*/ 2147483646 w 318"/>
              <a:gd name="T77" fmla="*/ 2147483646 h 234"/>
              <a:gd name="T78" fmla="*/ 2147483646 w 318"/>
              <a:gd name="T79" fmla="*/ 2147483646 h 234"/>
              <a:gd name="T80" fmla="*/ 2147483646 w 318"/>
              <a:gd name="T81" fmla="*/ 2147483646 h 23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18"/>
              <a:gd name="T124" fmla="*/ 0 h 234"/>
              <a:gd name="T125" fmla="*/ 318 w 318"/>
              <a:gd name="T126" fmla="*/ 234 h 234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18" h="234">
                <a:moveTo>
                  <a:pt x="309" y="46"/>
                </a:moveTo>
                <a:cubicBezTo>
                  <a:pt x="309" y="46"/>
                  <a:pt x="301" y="43"/>
                  <a:pt x="299" y="44"/>
                </a:cubicBezTo>
                <a:cubicBezTo>
                  <a:pt x="296" y="45"/>
                  <a:pt x="287" y="40"/>
                  <a:pt x="287" y="40"/>
                </a:cubicBezTo>
                <a:cubicBezTo>
                  <a:pt x="275" y="38"/>
                  <a:pt x="275" y="38"/>
                  <a:pt x="275" y="38"/>
                </a:cubicBezTo>
                <a:cubicBezTo>
                  <a:pt x="275" y="38"/>
                  <a:pt x="220" y="43"/>
                  <a:pt x="211" y="25"/>
                </a:cubicBezTo>
                <a:cubicBezTo>
                  <a:pt x="205" y="12"/>
                  <a:pt x="204" y="8"/>
                  <a:pt x="201" y="3"/>
                </a:cubicBezTo>
                <a:cubicBezTo>
                  <a:pt x="201" y="3"/>
                  <a:pt x="191" y="0"/>
                  <a:pt x="190" y="3"/>
                </a:cubicBezTo>
                <a:cubicBezTo>
                  <a:pt x="189" y="6"/>
                  <a:pt x="181" y="16"/>
                  <a:pt x="179" y="21"/>
                </a:cubicBezTo>
                <a:cubicBezTo>
                  <a:pt x="177" y="25"/>
                  <a:pt x="172" y="38"/>
                  <a:pt x="164" y="44"/>
                </a:cubicBezTo>
                <a:cubicBezTo>
                  <a:pt x="157" y="49"/>
                  <a:pt x="165" y="65"/>
                  <a:pt x="162" y="72"/>
                </a:cubicBezTo>
                <a:cubicBezTo>
                  <a:pt x="159" y="79"/>
                  <a:pt x="154" y="82"/>
                  <a:pt x="150" y="82"/>
                </a:cubicBezTo>
                <a:cubicBezTo>
                  <a:pt x="147" y="82"/>
                  <a:pt x="141" y="75"/>
                  <a:pt x="139" y="81"/>
                </a:cubicBezTo>
                <a:cubicBezTo>
                  <a:pt x="137" y="86"/>
                  <a:pt x="133" y="87"/>
                  <a:pt x="130" y="90"/>
                </a:cubicBezTo>
                <a:cubicBezTo>
                  <a:pt x="128" y="93"/>
                  <a:pt x="119" y="94"/>
                  <a:pt x="120" y="100"/>
                </a:cubicBezTo>
                <a:cubicBezTo>
                  <a:pt x="121" y="106"/>
                  <a:pt x="125" y="107"/>
                  <a:pt x="117" y="112"/>
                </a:cubicBezTo>
                <a:cubicBezTo>
                  <a:pt x="109" y="116"/>
                  <a:pt x="118" y="107"/>
                  <a:pt x="109" y="126"/>
                </a:cubicBezTo>
                <a:cubicBezTo>
                  <a:pt x="100" y="145"/>
                  <a:pt x="93" y="151"/>
                  <a:pt x="99" y="156"/>
                </a:cubicBezTo>
                <a:cubicBezTo>
                  <a:pt x="106" y="161"/>
                  <a:pt x="104" y="164"/>
                  <a:pt x="97" y="171"/>
                </a:cubicBezTo>
                <a:cubicBezTo>
                  <a:pt x="90" y="179"/>
                  <a:pt x="80" y="184"/>
                  <a:pt x="75" y="191"/>
                </a:cubicBezTo>
                <a:cubicBezTo>
                  <a:pt x="71" y="199"/>
                  <a:pt x="62" y="190"/>
                  <a:pt x="53" y="203"/>
                </a:cubicBezTo>
                <a:cubicBezTo>
                  <a:pt x="44" y="216"/>
                  <a:pt x="32" y="219"/>
                  <a:pt x="22" y="218"/>
                </a:cubicBezTo>
                <a:cubicBezTo>
                  <a:pt x="12" y="218"/>
                  <a:pt x="0" y="228"/>
                  <a:pt x="0" y="228"/>
                </a:cubicBezTo>
                <a:cubicBezTo>
                  <a:pt x="111" y="234"/>
                  <a:pt x="111" y="234"/>
                  <a:pt x="111" y="234"/>
                </a:cubicBezTo>
                <a:cubicBezTo>
                  <a:pt x="115" y="207"/>
                  <a:pt x="115" y="207"/>
                  <a:pt x="115" y="207"/>
                </a:cubicBezTo>
                <a:cubicBezTo>
                  <a:pt x="115" y="207"/>
                  <a:pt x="125" y="203"/>
                  <a:pt x="131" y="200"/>
                </a:cubicBezTo>
                <a:cubicBezTo>
                  <a:pt x="137" y="198"/>
                  <a:pt x="149" y="191"/>
                  <a:pt x="153" y="189"/>
                </a:cubicBezTo>
                <a:cubicBezTo>
                  <a:pt x="156" y="186"/>
                  <a:pt x="175" y="180"/>
                  <a:pt x="180" y="183"/>
                </a:cubicBezTo>
                <a:cubicBezTo>
                  <a:pt x="185" y="187"/>
                  <a:pt x="193" y="178"/>
                  <a:pt x="193" y="178"/>
                </a:cubicBezTo>
                <a:cubicBezTo>
                  <a:pt x="193" y="178"/>
                  <a:pt x="195" y="172"/>
                  <a:pt x="204" y="176"/>
                </a:cubicBezTo>
                <a:cubicBezTo>
                  <a:pt x="213" y="180"/>
                  <a:pt x="215" y="173"/>
                  <a:pt x="218" y="169"/>
                </a:cubicBezTo>
                <a:cubicBezTo>
                  <a:pt x="221" y="164"/>
                  <a:pt x="218" y="167"/>
                  <a:pt x="221" y="164"/>
                </a:cubicBezTo>
                <a:cubicBezTo>
                  <a:pt x="223" y="161"/>
                  <a:pt x="235" y="156"/>
                  <a:pt x="241" y="155"/>
                </a:cubicBezTo>
                <a:cubicBezTo>
                  <a:pt x="246" y="154"/>
                  <a:pt x="252" y="154"/>
                  <a:pt x="252" y="151"/>
                </a:cubicBezTo>
                <a:cubicBezTo>
                  <a:pt x="251" y="147"/>
                  <a:pt x="246" y="145"/>
                  <a:pt x="245" y="142"/>
                </a:cubicBezTo>
                <a:cubicBezTo>
                  <a:pt x="244" y="138"/>
                  <a:pt x="233" y="129"/>
                  <a:pt x="246" y="128"/>
                </a:cubicBezTo>
                <a:cubicBezTo>
                  <a:pt x="259" y="127"/>
                  <a:pt x="266" y="126"/>
                  <a:pt x="271" y="127"/>
                </a:cubicBezTo>
                <a:cubicBezTo>
                  <a:pt x="277" y="128"/>
                  <a:pt x="304" y="128"/>
                  <a:pt x="310" y="126"/>
                </a:cubicBezTo>
                <a:cubicBezTo>
                  <a:pt x="317" y="124"/>
                  <a:pt x="318" y="115"/>
                  <a:pt x="316" y="112"/>
                </a:cubicBezTo>
                <a:cubicBezTo>
                  <a:pt x="313" y="108"/>
                  <a:pt x="306" y="97"/>
                  <a:pt x="308" y="91"/>
                </a:cubicBezTo>
                <a:cubicBezTo>
                  <a:pt x="309" y="84"/>
                  <a:pt x="309" y="81"/>
                  <a:pt x="309" y="74"/>
                </a:cubicBezTo>
                <a:cubicBezTo>
                  <a:pt x="309" y="66"/>
                  <a:pt x="309" y="46"/>
                  <a:pt x="309" y="4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18" name="Freeform 654"/>
          <p:cNvSpPr>
            <a:spLocks/>
          </p:cNvSpPr>
          <p:nvPr userDrawn="1"/>
        </p:nvSpPr>
        <p:spPr bwMode="auto">
          <a:xfrm>
            <a:off x="5299696" y="4061570"/>
            <a:ext cx="480752" cy="469025"/>
          </a:xfrm>
          <a:custGeom>
            <a:avLst/>
            <a:gdLst>
              <a:gd name="T0" fmla="*/ 2147483646 w 516"/>
              <a:gd name="T1" fmla="*/ 2147483646 h 502"/>
              <a:gd name="T2" fmla="*/ 2147483646 w 516"/>
              <a:gd name="T3" fmla="*/ 2147483646 h 502"/>
              <a:gd name="T4" fmla="*/ 2147483646 w 516"/>
              <a:gd name="T5" fmla="*/ 2147483646 h 502"/>
              <a:gd name="T6" fmla="*/ 2147483646 w 516"/>
              <a:gd name="T7" fmla="*/ 2147483646 h 502"/>
              <a:gd name="T8" fmla="*/ 2147483646 w 516"/>
              <a:gd name="T9" fmla="*/ 2147483646 h 502"/>
              <a:gd name="T10" fmla="*/ 2147483646 w 516"/>
              <a:gd name="T11" fmla="*/ 2147483646 h 502"/>
              <a:gd name="T12" fmla="*/ 2147483646 w 516"/>
              <a:gd name="T13" fmla="*/ 2147483646 h 502"/>
              <a:gd name="T14" fmla="*/ 2147483646 w 516"/>
              <a:gd name="T15" fmla="*/ 2147483646 h 502"/>
              <a:gd name="T16" fmla="*/ 2147483646 w 516"/>
              <a:gd name="T17" fmla="*/ 2147483646 h 502"/>
              <a:gd name="T18" fmla="*/ 2147483646 w 516"/>
              <a:gd name="T19" fmla="*/ 2147483646 h 502"/>
              <a:gd name="T20" fmla="*/ 2147483646 w 516"/>
              <a:gd name="T21" fmla="*/ 2147483646 h 502"/>
              <a:gd name="T22" fmla="*/ 2147483646 w 516"/>
              <a:gd name="T23" fmla="*/ 2147483646 h 502"/>
              <a:gd name="T24" fmla="*/ 2147483646 w 516"/>
              <a:gd name="T25" fmla="*/ 2147483646 h 502"/>
              <a:gd name="T26" fmla="*/ 2147483646 w 516"/>
              <a:gd name="T27" fmla="*/ 2147483646 h 502"/>
              <a:gd name="T28" fmla="*/ 2147483646 w 516"/>
              <a:gd name="T29" fmla="*/ 2147483646 h 502"/>
              <a:gd name="T30" fmla="*/ 2147483646 w 516"/>
              <a:gd name="T31" fmla="*/ 2147483646 h 502"/>
              <a:gd name="T32" fmla="*/ 2147483646 w 516"/>
              <a:gd name="T33" fmla="*/ 2147483646 h 502"/>
              <a:gd name="T34" fmla="*/ 2147483646 w 516"/>
              <a:gd name="T35" fmla="*/ 2147483646 h 502"/>
              <a:gd name="T36" fmla="*/ 2147483646 w 516"/>
              <a:gd name="T37" fmla="*/ 2147483646 h 502"/>
              <a:gd name="T38" fmla="*/ 2147483646 w 516"/>
              <a:gd name="T39" fmla="*/ 2147483646 h 502"/>
              <a:gd name="T40" fmla="*/ 2147483646 w 516"/>
              <a:gd name="T41" fmla="*/ 2147483646 h 502"/>
              <a:gd name="T42" fmla="*/ 2147483646 w 516"/>
              <a:gd name="T43" fmla="*/ 2147483646 h 502"/>
              <a:gd name="T44" fmla="*/ 2147483646 w 516"/>
              <a:gd name="T45" fmla="*/ 2147483646 h 502"/>
              <a:gd name="T46" fmla="*/ 2147483646 w 516"/>
              <a:gd name="T47" fmla="*/ 2147483646 h 502"/>
              <a:gd name="T48" fmla="*/ 2147483646 w 516"/>
              <a:gd name="T49" fmla="*/ 2147483646 h 502"/>
              <a:gd name="T50" fmla="*/ 2147483646 w 516"/>
              <a:gd name="T51" fmla="*/ 2147483646 h 502"/>
              <a:gd name="T52" fmla="*/ 2147483646 w 516"/>
              <a:gd name="T53" fmla="*/ 2147483646 h 502"/>
              <a:gd name="T54" fmla="*/ 2147483646 w 516"/>
              <a:gd name="T55" fmla="*/ 2147483646 h 502"/>
              <a:gd name="T56" fmla="*/ 2147483646 w 516"/>
              <a:gd name="T57" fmla="*/ 2147483646 h 502"/>
              <a:gd name="T58" fmla="*/ 2147483646 w 516"/>
              <a:gd name="T59" fmla="*/ 2147483646 h 502"/>
              <a:gd name="T60" fmla="*/ 2147483646 w 516"/>
              <a:gd name="T61" fmla="*/ 2147483646 h 502"/>
              <a:gd name="T62" fmla="*/ 2147483646 w 516"/>
              <a:gd name="T63" fmla="*/ 2147483646 h 502"/>
              <a:gd name="T64" fmla="*/ 2147483646 w 516"/>
              <a:gd name="T65" fmla="*/ 2147483646 h 502"/>
              <a:gd name="T66" fmla="*/ 2147483646 w 516"/>
              <a:gd name="T67" fmla="*/ 2147483646 h 502"/>
              <a:gd name="T68" fmla="*/ 2147483646 w 516"/>
              <a:gd name="T69" fmla="*/ 2147483646 h 502"/>
              <a:gd name="T70" fmla="*/ 2147483646 w 516"/>
              <a:gd name="T71" fmla="*/ 2147483646 h 502"/>
              <a:gd name="T72" fmla="*/ 2147483646 w 516"/>
              <a:gd name="T73" fmla="*/ 2147483646 h 50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516"/>
              <a:gd name="T112" fmla="*/ 0 h 502"/>
              <a:gd name="T113" fmla="*/ 516 w 516"/>
              <a:gd name="T114" fmla="*/ 502 h 50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516" h="502">
                <a:moveTo>
                  <a:pt x="198" y="52"/>
                </a:moveTo>
                <a:cubicBezTo>
                  <a:pt x="198" y="52"/>
                  <a:pt x="198" y="72"/>
                  <a:pt x="198" y="80"/>
                </a:cubicBezTo>
                <a:cubicBezTo>
                  <a:pt x="198" y="87"/>
                  <a:pt x="198" y="90"/>
                  <a:pt x="197" y="97"/>
                </a:cubicBezTo>
                <a:cubicBezTo>
                  <a:pt x="195" y="103"/>
                  <a:pt x="202" y="114"/>
                  <a:pt x="205" y="118"/>
                </a:cubicBezTo>
                <a:cubicBezTo>
                  <a:pt x="207" y="121"/>
                  <a:pt x="206" y="130"/>
                  <a:pt x="199" y="132"/>
                </a:cubicBezTo>
                <a:cubicBezTo>
                  <a:pt x="193" y="134"/>
                  <a:pt x="166" y="134"/>
                  <a:pt x="160" y="133"/>
                </a:cubicBezTo>
                <a:cubicBezTo>
                  <a:pt x="155" y="132"/>
                  <a:pt x="148" y="133"/>
                  <a:pt x="135" y="134"/>
                </a:cubicBezTo>
                <a:cubicBezTo>
                  <a:pt x="122" y="135"/>
                  <a:pt x="133" y="144"/>
                  <a:pt x="134" y="148"/>
                </a:cubicBezTo>
                <a:cubicBezTo>
                  <a:pt x="135" y="151"/>
                  <a:pt x="140" y="153"/>
                  <a:pt x="141" y="157"/>
                </a:cubicBezTo>
                <a:cubicBezTo>
                  <a:pt x="141" y="160"/>
                  <a:pt x="135" y="160"/>
                  <a:pt x="130" y="161"/>
                </a:cubicBezTo>
                <a:cubicBezTo>
                  <a:pt x="124" y="162"/>
                  <a:pt x="112" y="167"/>
                  <a:pt x="110" y="170"/>
                </a:cubicBezTo>
                <a:cubicBezTo>
                  <a:pt x="107" y="173"/>
                  <a:pt x="110" y="170"/>
                  <a:pt x="107" y="175"/>
                </a:cubicBezTo>
                <a:cubicBezTo>
                  <a:pt x="104" y="179"/>
                  <a:pt x="102" y="186"/>
                  <a:pt x="93" y="182"/>
                </a:cubicBezTo>
                <a:cubicBezTo>
                  <a:pt x="84" y="178"/>
                  <a:pt x="82" y="184"/>
                  <a:pt x="82" y="184"/>
                </a:cubicBezTo>
                <a:cubicBezTo>
                  <a:pt x="82" y="184"/>
                  <a:pt x="74" y="193"/>
                  <a:pt x="69" y="189"/>
                </a:cubicBezTo>
                <a:cubicBezTo>
                  <a:pt x="64" y="186"/>
                  <a:pt x="45" y="192"/>
                  <a:pt x="42" y="195"/>
                </a:cubicBezTo>
                <a:cubicBezTo>
                  <a:pt x="38" y="197"/>
                  <a:pt x="26" y="204"/>
                  <a:pt x="20" y="206"/>
                </a:cubicBezTo>
                <a:cubicBezTo>
                  <a:pt x="14" y="209"/>
                  <a:pt x="4" y="213"/>
                  <a:pt x="4" y="213"/>
                </a:cubicBezTo>
                <a:cubicBezTo>
                  <a:pt x="0" y="240"/>
                  <a:pt x="0" y="240"/>
                  <a:pt x="0" y="240"/>
                </a:cubicBezTo>
                <a:cubicBezTo>
                  <a:pt x="1" y="255"/>
                  <a:pt x="1" y="255"/>
                  <a:pt x="1" y="255"/>
                </a:cubicBezTo>
                <a:cubicBezTo>
                  <a:pt x="223" y="438"/>
                  <a:pt x="223" y="438"/>
                  <a:pt x="223" y="438"/>
                </a:cubicBezTo>
                <a:cubicBezTo>
                  <a:pt x="223" y="438"/>
                  <a:pt x="228" y="445"/>
                  <a:pt x="227" y="449"/>
                </a:cubicBezTo>
                <a:cubicBezTo>
                  <a:pt x="226" y="452"/>
                  <a:pt x="229" y="460"/>
                  <a:pt x="234" y="460"/>
                </a:cubicBezTo>
                <a:cubicBezTo>
                  <a:pt x="238" y="460"/>
                  <a:pt x="242" y="457"/>
                  <a:pt x="246" y="461"/>
                </a:cubicBezTo>
                <a:cubicBezTo>
                  <a:pt x="250" y="464"/>
                  <a:pt x="254" y="467"/>
                  <a:pt x="257" y="471"/>
                </a:cubicBezTo>
                <a:cubicBezTo>
                  <a:pt x="260" y="474"/>
                  <a:pt x="269" y="468"/>
                  <a:pt x="271" y="472"/>
                </a:cubicBezTo>
                <a:cubicBezTo>
                  <a:pt x="273" y="475"/>
                  <a:pt x="282" y="488"/>
                  <a:pt x="280" y="491"/>
                </a:cubicBezTo>
                <a:cubicBezTo>
                  <a:pt x="278" y="495"/>
                  <a:pt x="276" y="501"/>
                  <a:pt x="276" y="501"/>
                </a:cubicBezTo>
                <a:cubicBezTo>
                  <a:pt x="276" y="501"/>
                  <a:pt x="290" y="502"/>
                  <a:pt x="300" y="502"/>
                </a:cubicBezTo>
                <a:cubicBezTo>
                  <a:pt x="310" y="502"/>
                  <a:pt x="347" y="495"/>
                  <a:pt x="355" y="488"/>
                </a:cubicBezTo>
                <a:cubicBezTo>
                  <a:pt x="362" y="481"/>
                  <a:pt x="482" y="390"/>
                  <a:pt x="516" y="384"/>
                </a:cubicBezTo>
                <a:cubicBezTo>
                  <a:pt x="516" y="384"/>
                  <a:pt x="504" y="361"/>
                  <a:pt x="499" y="358"/>
                </a:cubicBezTo>
                <a:cubicBezTo>
                  <a:pt x="493" y="356"/>
                  <a:pt x="476" y="356"/>
                  <a:pt x="471" y="351"/>
                </a:cubicBezTo>
                <a:cubicBezTo>
                  <a:pt x="467" y="345"/>
                  <a:pt x="466" y="347"/>
                  <a:pt x="466" y="338"/>
                </a:cubicBezTo>
                <a:cubicBezTo>
                  <a:pt x="466" y="328"/>
                  <a:pt x="462" y="319"/>
                  <a:pt x="458" y="316"/>
                </a:cubicBezTo>
                <a:cubicBezTo>
                  <a:pt x="454" y="312"/>
                  <a:pt x="452" y="301"/>
                  <a:pt x="461" y="299"/>
                </a:cubicBezTo>
                <a:cubicBezTo>
                  <a:pt x="470" y="297"/>
                  <a:pt x="468" y="289"/>
                  <a:pt x="465" y="283"/>
                </a:cubicBezTo>
                <a:cubicBezTo>
                  <a:pt x="461" y="276"/>
                  <a:pt x="465" y="271"/>
                  <a:pt x="469" y="264"/>
                </a:cubicBezTo>
                <a:cubicBezTo>
                  <a:pt x="473" y="257"/>
                  <a:pt x="469" y="249"/>
                  <a:pt x="466" y="239"/>
                </a:cubicBezTo>
                <a:cubicBezTo>
                  <a:pt x="462" y="229"/>
                  <a:pt x="462" y="227"/>
                  <a:pt x="466" y="222"/>
                </a:cubicBezTo>
                <a:cubicBezTo>
                  <a:pt x="469" y="218"/>
                  <a:pt x="469" y="208"/>
                  <a:pt x="466" y="208"/>
                </a:cubicBezTo>
                <a:cubicBezTo>
                  <a:pt x="462" y="208"/>
                  <a:pt x="457" y="199"/>
                  <a:pt x="457" y="199"/>
                </a:cubicBezTo>
                <a:cubicBezTo>
                  <a:pt x="455" y="189"/>
                  <a:pt x="459" y="187"/>
                  <a:pt x="457" y="179"/>
                </a:cubicBezTo>
                <a:cubicBezTo>
                  <a:pt x="455" y="172"/>
                  <a:pt x="457" y="167"/>
                  <a:pt x="452" y="161"/>
                </a:cubicBezTo>
                <a:cubicBezTo>
                  <a:pt x="448" y="154"/>
                  <a:pt x="446" y="144"/>
                  <a:pt x="447" y="138"/>
                </a:cubicBezTo>
                <a:cubicBezTo>
                  <a:pt x="448" y="131"/>
                  <a:pt x="448" y="128"/>
                  <a:pt x="441" y="127"/>
                </a:cubicBezTo>
                <a:cubicBezTo>
                  <a:pt x="435" y="126"/>
                  <a:pt x="430" y="129"/>
                  <a:pt x="429" y="123"/>
                </a:cubicBezTo>
                <a:cubicBezTo>
                  <a:pt x="428" y="118"/>
                  <a:pt x="428" y="109"/>
                  <a:pt x="428" y="109"/>
                </a:cubicBezTo>
                <a:cubicBezTo>
                  <a:pt x="428" y="109"/>
                  <a:pt x="417" y="105"/>
                  <a:pt x="415" y="100"/>
                </a:cubicBezTo>
                <a:cubicBezTo>
                  <a:pt x="413" y="96"/>
                  <a:pt x="411" y="90"/>
                  <a:pt x="415" y="85"/>
                </a:cubicBezTo>
                <a:cubicBezTo>
                  <a:pt x="420" y="79"/>
                  <a:pt x="416" y="77"/>
                  <a:pt x="423" y="76"/>
                </a:cubicBezTo>
                <a:cubicBezTo>
                  <a:pt x="429" y="75"/>
                  <a:pt x="437" y="71"/>
                  <a:pt x="438" y="65"/>
                </a:cubicBezTo>
                <a:cubicBezTo>
                  <a:pt x="439" y="60"/>
                  <a:pt x="443" y="48"/>
                  <a:pt x="443" y="42"/>
                </a:cubicBezTo>
                <a:cubicBezTo>
                  <a:pt x="443" y="37"/>
                  <a:pt x="442" y="26"/>
                  <a:pt x="443" y="23"/>
                </a:cubicBezTo>
                <a:cubicBezTo>
                  <a:pt x="445" y="20"/>
                  <a:pt x="451" y="15"/>
                  <a:pt x="451" y="15"/>
                </a:cubicBezTo>
                <a:cubicBezTo>
                  <a:pt x="451" y="15"/>
                  <a:pt x="443" y="14"/>
                  <a:pt x="439" y="16"/>
                </a:cubicBezTo>
                <a:cubicBezTo>
                  <a:pt x="435" y="18"/>
                  <a:pt x="429" y="17"/>
                  <a:pt x="427" y="13"/>
                </a:cubicBezTo>
                <a:cubicBezTo>
                  <a:pt x="426" y="9"/>
                  <a:pt x="425" y="10"/>
                  <a:pt x="422" y="8"/>
                </a:cubicBezTo>
                <a:cubicBezTo>
                  <a:pt x="419" y="7"/>
                  <a:pt x="417" y="3"/>
                  <a:pt x="416" y="8"/>
                </a:cubicBezTo>
                <a:cubicBezTo>
                  <a:pt x="415" y="13"/>
                  <a:pt x="414" y="20"/>
                  <a:pt x="409" y="16"/>
                </a:cubicBezTo>
                <a:cubicBezTo>
                  <a:pt x="404" y="11"/>
                  <a:pt x="402" y="9"/>
                  <a:pt x="402" y="8"/>
                </a:cubicBezTo>
                <a:cubicBezTo>
                  <a:pt x="401" y="6"/>
                  <a:pt x="406" y="0"/>
                  <a:pt x="399" y="3"/>
                </a:cubicBezTo>
                <a:cubicBezTo>
                  <a:pt x="393" y="6"/>
                  <a:pt x="389" y="7"/>
                  <a:pt x="387" y="10"/>
                </a:cubicBezTo>
                <a:cubicBezTo>
                  <a:pt x="386" y="13"/>
                  <a:pt x="382" y="15"/>
                  <a:pt x="379" y="15"/>
                </a:cubicBezTo>
                <a:cubicBezTo>
                  <a:pt x="376" y="16"/>
                  <a:pt x="373" y="19"/>
                  <a:pt x="371" y="19"/>
                </a:cubicBezTo>
                <a:cubicBezTo>
                  <a:pt x="371" y="19"/>
                  <a:pt x="367" y="15"/>
                  <a:pt x="366" y="14"/>
                </a:cubicBezTo>
                <a:cubicBezTo>
                  <a:pt x="364" y="13"/>
                  <a:pt x="358" y="9"/>
                  <a:pt x="352" y="10"/>
                </a:cubicBezTo>
                <a:cubicBezTo>
                  <a:pt x="346" y="12"/>
                  <a:pt x="336" y="2"/>
                  <a:pt x="333" y="8"/>
                </a:cubicBezTo>
                <a:cubicBezTo>
                  <a:pt x="330" y="14"/>
                  <a:pt x="313" y="7"/>
                  <a:pt x="309" y="12"/>
                </a:cubicBezTo>
                <a:cubicBezTo>
                  <a:pt x="305" y="16"/>
                  <a:pt x="295" y="17"/>
                  <a:pt x="291" y="16"/>
                </a:cubicBezTo>
                <a:cubicBezTo>
                  <a:pt x="288" y="15"/>
                  <a:pt x="285" y="12"/>
                  <a:pt x="285" y="12"/>
                </a:cubicBezTo>
                <a:cubicBezTo>
                  <a:pt x="285" y="12"/>
                  <a:pt x="265" y="17"/>
                  <a:pt x="258" y="23"/>
                </a:cubicBezTo>
                <a:cubicBezTo>
                  <a:pt x="252" y="29"/>
                  <a:pt x="245" y="36"/>
                  <a:pt x="239" y="34"/>
                </a:cubicBezTo>
                <a:cubicBezTo>
                  <a:pt x="233" y="31"/>
                  <a:pt x="228" y="29"/>
                  <a:pt x="220" y="37"/>
                </a:cubicBezTo>
                <a:cubicBezTo>
                  <a:pt x="212" y="44"/>
                  <a:pt x="198" y="52"/>
                  <a:pt x="198" y="5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19" name="Freeform 655"/>
          <p:cNvSpPr>
            <a:spLocks/>
          </p:cNvSpPr>
          <p:nvPr userDrawn="1"/>
        </p:nvSpPr>
        <p:spPr bwMode="auto">
          <a:xfrm>
            <a:off x="5683292" y="4059895"/>
            <a:ext cx="95480" cy="187611"/>
          </a:xfrm>
          <a:custGeom>
            <a:avLst/>
            <a:gdLst>
              <a:gd name="T0" fmla="*/ 2147483646 w 102"/>
              <a:gd name="T1" fmla="*/ 2147483646 h 200"/>
              <a:gd name="T2" fmla="*/ 2147483646 w 102"/>
              <a:gd name="T3" fmla="*/ 2147483646 h 200"/>
              <a:gd name="T4" fmla="*/ 2147483646 w 102"/>
              <a:gd name="T5" fmla="*/ 2147483646 h 200"/>
              <a:gd name="T6" fmla="*/ 2147483646 w 102"/>
              <a:gd name="T7" fmla="*/ 2147483646 h 200"/>
              <a:gd name="T8" fmla="*/ 2147483646 w 102"/>
              <a:gd name="T9" fmla="*/ 2147483646 h 200"/>
              <a:gd name="T10" fmla="*/ 2147483646 w 102"/>
              <a:gd name="T11" fmla="*/ 2147483646 h 200"/>
              <a:gd name="T12" fmla="*/ 2147483646 w 102"/>
              <a:gd name="T13" fmla="*/ 2147483646 h 200"/>
              <a:gd name="T14" fmla="*/ 2147483646 w 102"/>
              <a:gd name="T15" fmla="*/ 2147483646 h 200"/>
              <a:gd name="T16" fmla="*/ 2147483646 w 102"/>
              <a:gd name="T17" fmla="*/ 2147483646 h 200"/>
              <a:gd name="T18" fmla="*/ 2147483646 w 102"/>
              <a:gd name="T19" fmla="*/ 2147483646 h 200"/>
              <a:gd name="T20" fmla="*/ 2147483646 w 102"/>
              <a:gd name="T21" fmla="*/ 2147483646 h 200"/>
              <a:gd name="T22" fmla="*/ 2147483646 w 102"/>
              <a:gd name="T23" fmla="*/ 2147483646 h 200"/>
              <a:gd name="T24" fmla="*/ 2147483646 w 102"/>
              <a:gd name="T25" fmla="*/ 2147483646 h 200"/>
              <a:gd name="T26" fmla="*/ 2147483646 w 102"/>
              <a:gd name="T27" fmla="*/ 2147483646 h 200"/>
              <a:gd name="T28" fmla="*/ 2147483646 w 102"/>
              <a:gd name="T29" fmla="*/ 2147483646 h 200"/>
              <a:gd name="T30" fmla="*/ 2147483646 w 102"/>
              <a:gd name="T31" fmla="*/ 2147483646 h 200"/>
              <a:gd name="T32" fmla="*/ 2147483646 w 102"/>
              <a:gd name="T33" fmla="*/ 2147483646 h 200"/>
              <a:gd name="T34" fmla="*/ 2147483646 w 102"/>
              <a:gd name="T35" fmla="*/ 2147483646 h 200"/>
              <a:gd name="T36" fmla="*/ 2147483646 w 102"/>
              <a:gd name="T37" fmla="*/ 2147483646 h 200"/>
              <a:gd name="T38" fmla="*/ 2147483646 w 102"/>
              <a:gd name="T39" fmla="*/ 2147483646 h 200"/>
              <a:gd name="T40" fmla="*/ 2147483646 w 102"/>
              <a:gd name="T41" fmla="*/ 2147483646 h 200"/>
              <a:gd name="T42" fmla="*/ 2147483646 w 102"/>
              <a:gd name="T43" fmla="*/ 2147483646 h 200"/>
              <a:gd name="T44" fmla="*/ 2147483646 w 102"/>
              <a:gd name="T45" fmla="*/ 2147483646 h 200"/>
              <a:gd name="T46" fmla="*/ 2147483646 w 102"/>
              <a:gd name="T47" fmla="*/ 2147483646 h 200"/>
              <a:gd name="T48" fmla="*/ 2147483646 w 102"/>
              <a:gd name="T49" fmla="*/ 2147483646 h 200"/>
              <a:gd name="T50" fmla="*/ 2147483646 w 102"/>
              <a:gd name="T51" fmla="*/ 2147483646 h 200"/>
              <a:gd name="T52" fmla="*/ 2147483646 w 102"/>
              <a:gd name="T53" fmla="*/ 2147483646 h 200"/>
              <a:gd name="T54" fmla="*/ 2147483646 w 102"/>
              <a:gd name="T55" fmla="*/ 2147483646 h 200"/>
              <a:gd name="T56" fmla="*/ 2147483646 w 102"/>
              <a:gd name="T57" fmla="*/ 2147483646 h 200"/>
              <a:gd name="T58" fmla="*/ 2147483646 w 102"/>
              <a:gd name="T59" fmla="*/ 2147483646 h 200"/>
              <a:gd name="T60" fmla="*/ 2147483646 w 102"/>
              <a:gd name="T61" fmla="*/ 2147483646 h 200"/>
              <a:gd name="T62" fmla="*/ 2147483646 w 102"/>
              <a:gd name="T63" fmla="*/ 2147483646 h 200"/>
              <a:gd name="T64" fmla="*/ 2147483646 w 102"/>
              <a:gd name="T65" fmla="*/ 2147483646 h 200"/>
              <a:gd name="T66" fmla="*/ 2147483646 w 102"/>
              <a:gd name="T67" fmla="*/ 2147483646 h 200"/>
              <a:gd name="T68" fmla="*/ 2147483646 w 102"/>
              <a:gd name="T69" fmla="*/ 2147483646 h 200"/>
              <a:gd name="T70" fmla="*/ 2147483646 w 102"/>
              <a:gd name="T71" fmla="*/ 2147483646 h 200"/>
              <a:gd name="T72" fmla="*/ 2147483646 w 102"/>
              <a:gd name="T73" fmla="*/ 2147483646 h 200"/>
              <a:gd name="T74" fmla="*/ 2147483646 w 102"/>
              <a:gd name="T75" fmla="*/ 2147483646 h 200"/>
              <a:gd name="T76" fmla="*/ 2147483646 w 102"/>
              <a:gd name="T77" fmla="*/ 2147483646 h 200"/>
              <a:gd name="T78" fmla="*/ 2147483646 w 102"/>
              <a:gd name="T79" fmla="*/ 2147483646 h 200"/>
              <a:gd name="T80" fmla="*/ 2147483646 w 102"/>
              <a:gd name="T81" fmla="*/ 2147483646 h 200"/>
              <a:gd name="T82" fmla="*/ 2147483646 w 102"/>
              <a:gd name="T83" fmla="*/ 2147483646 h 200"/>
              <a:gd name="T84" fmla="*/ 2147483646 w 102"/>
              <a:gd name="T85" fmla="*/ 2147483646 h 20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2"/>
              <a:gd name="T130" fmla="*/ 0 h 200"/>
              <a:gd name="T131" fmla="*/ 102 w 102"/>
              <a:gd name="T132" fmla="*/ 200 h 20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2" h="200">
                <a:moveTo>
                  <a:pt x="40" y="16"/>
                </a:moveTo>
                <a:cubicBezTo>
                  <a:pt x="40" y="16"/>
                  <a:pt x="40" y="16"/>
                  <a:pt x="40" y="16"/>
                </a:cubicBezTo>
                <a:cubicBezTo>
                  <a:pt x="39" y="17"/>
                  <a:pt x="34" y="21"/>
                  <a:pt x="32" y="24"/>
                </a:cubicBezTo>
                <a:cubicBezTo>
                  <a:pt x="31" y="27"/>
                  <a:pt x="32" y="38"/>
                  <a:pt x="32" y="43"/>
                </a:cubicBezTo>
                <a:cubicBezTo>
                  <a:pt x="32" y="49"/>
                  <a:pt x="28" y="61"/>
                  <a:pt x="27" y="66"/>
                </a:cubicBezTo>
                <a:cubicBezTo>
                  <a:pt x="26" y="72"/>
                  <a:pt x="18" y="76"/>
                  <a:pt x="12" y="77"/>
                </a:cubicBezTo>
                <a:cubicBezTo>
                  <a:pt x="5" y="78"/>
                  <a:pt x="9" y="80"/>
                  <a:pt x="4" y="86"/>
                </a:cubicBezTo>
                <a:cubicBezTo>
                  <a:pt x="0" y="91"/>
                  <a:pt x="2" y="97"/>
                  <a:pt x="4" y="101"/>
                </a:cubicBezTo>
                <a:cubicBezTo>
                  <a:pt x="6" y="106"/>
                  <a:pt x="17" y="110"/>
                  <a:pt x="17" y="110"/>
                </a:cubicBezTo>
                <a:cubicBezTo>
                  <a:pt x="17" y="110"/>
                  <a:pt x="17" y="119"/>
                  <a:pt x="18" y="124"/>
                </a:cubicBezTo>
                <a:cubicBezTo>
                  <a:pt x="19" y="130"/>
                  <a:pt x="24" y="127"/>
                  <a:pt x="30" y="128"/>
                </a:cubicBezTo>
                <a:cubicBezTo>
                  <a:pt x="37" y="129"/>
                  <a:pt x="37" y="132"/>
                  <a:pt x="36" y="139"/>
                </a:cubicBezTo>
                <a:cubicBezTo>
                  <a:pt x="35" y="145"/>
                  <a:pt x="37" y="155"/>
                  <a:pt x="41" y="162"/>
                </a:cubicBezTo>
                <a:cubicBezTo>
                  <a:pt x="46" y="168"/>
                  <a:pt x="44" y="173"/>
                  <a:pt x="46" y="180"/>
                </a:cubicBezTo>
                <a:cubicBezTo>
                  <a:pt x="48" y="188"/>
                  <a:pt x="44" y="190"/>
                  <a:pt x="46" y="200"/>
                </a:cubicBezTo>
                <a:cubicBezTo>
                  <a:pt x="46" y="200"/>
                  <a:pt x="51" y="197"/>
                  <a:pt x="54" y="196"/>
                </a:cubicBezTo>
                <a:cubicBezTo>
                  <a:pt x="56" y="196"/>
                  <a:pt x="61" y="192"/>
                  <a:pt x="65" y="188"/>
                </a:cubicBezTo>
                <a:cubicBezTo>
                  <a:pt x="68" y="184"/>
                  <a:pt x="73" y="177"/>
                  <a:pt x="71" y="174"/>
                </a:cubicBezTo>
                <a:cubicBezTo>
                  <a:pt x="69" y="170"/>
                  <a:pt x="66" y="165"/>
                  <a:pt x="69" y="162"/>
                </a:cubicBezTo>
                <a:cubicBezTo>
                  <a:pt x="72" y="160"/>
                  <a:pt x="71" y="155"/>
                  <a:pt x="77" y="154"/>
                </a:cubicBezTo>
                <a:cubicBezTo>
                  <a:pt x="83" y="152"/>
                  <a:pt x="84" y="147"/>
                  <a:pt x="89" y="146"/>
                </a:cubicBezTo>
                <a:cubicBezTo>
                  <a:pt x="94" y="145"/>
                  <a:pt x="97" y="138"/>
                  <a:pt x="98" y="135"/>
                </a:cubicBezTo>
                <a:cubicBezTo>
                  <a:pt x="99" y="132"/>
                  <a:pt x="101" y="129"/>
                  <a:pt x="101" y="126"/>
                </a:cubicBezTo>
                <a:cubicBezTo>
                  <a:pt x="101" y="122"/>
                  <a:pt x="102" y="116"/>
                  <a:pt x="102" y="116"/>
                </a:cubicBezTo>
                <a:cubicBezTo>
                  <a:pt x="102" y="116"/>
                  <a:pt x="92" y="115"/>
                  <a:pt x="92" y="110"/>
                </a:cubicBezTo>
                <a:cubicBezTo>
                  <a:pt x="92" y="106"/>
                  <a:pt x="91" y="102"/>
                  <a:pt x="91" y="102"/>
                </a:cubicBezTo>
                <a:cubicBezTo>
                  <a:pt x="91" y="102"/>
                  <a:pt x="90" y="98"/>
                  <a:pt x="88" y="99"/>
                </a:cubicBezTo>
                <a:cubicBezTo>
                  <a:pt x="87" y="99"/>
                  <a:pt x="84" y="101"/>
                  <a:pt x="82" y="102"/>
                </a:cubicBezTo>
                <a:cubicBezTo>
                  <a:pt x="80" y="104"/>
                  <a:pt x="76" y="103"/>
                  <a:pt x="74" y="99"/>
                </a:cubicBezTo>
                <a:cubicBezTo>
                  <a:pt x="73" y="96"/>
                  <a:pt x="70" y="95"/>
                  <a:pt x="71" y="93"/>
                </a:cubicBezTo>
                <a:cubicBezTo>
                  <a:pt x="73" y="90"/>
                  <a:pt x="73" y="85"/>
                  <a:pt x="77" y="83"/>
                </a:cubicBezTo>
                <a:cubicBezTo>
                  <a:pt x="80" y="82"/>
                  <a:pt x="82" y="78"/>
                  <a:pt x="88" y="76"/>
                </a:cubicBezTo>
                <a:cubicBezTo>
                  <a:pt x="93" y="73"/>
                  <a:pt x="96" y="65"/>
                  <a:pt x="97" y="64"/>
                </a:cubicBezTo>
                <a:cubicBezTo>
                  <a:pt x="97" y="62"/>
                  <a:pt x="93" y="54"/>
                  <a:pt x="92" y="52"/>
                </a:cubicBezTo>
                <a:cubicBezTo>
                  <a:pt x="91" y="51"/>
                  <a:pt x="90" y="52"/>
                  <a:pt x="86" y="48"/>
                </a:cubicBezTo>
                <a:cubicBezTo>
                  <a:pt x="83" y="45"/>
                  <a:pt x="81" y="41"/>
                  <a:pt x="82" y="38"/>
                </a:cubicBezTo>
                <a:cubicBezTo>
                  <a:pt x="84" y="35"/>
                  <a:pt x="82" y="34"/>
                  <a:pt x="88" y="31"/>
                </a:cubicBezTo>
                <a:cubicBezTo>
                  <a:pt x="93" y="27"/>
                  <a:pt x="95" y="26"/>
                  <a:pt x="96" y="19"/>
                </a:cubicBezTo>
                <a:cubicBezTo>
                  <a:pt x="98" y="13"/>
                  <a:pt x="98" y="9"/>
                  <a:pt x="96" y="9"/>
                </a:cubicBezTo>
                <a:cubicBezTo>
                  <a:pt x="93" y="9"/>
                  <a:pt x="89" y="13"/>
                  <a:pt x="84" y="13"/>
                </a:cubicBezTo>
                <a:cubicBezTo>
                  <a:pt x="78" y="14"/>
                  <a:pt x="76" y="14"/>
                  <a:pt x="75" y="10"/>
                </a:cubicBezTo>
                <a:cubicBezTo>
                  <a:pt x="74" y="5"/>
                  <a:pt x="77" y="0"/>
                  <a:pt x="68" y="3"/>
                </a:cubicBezTo>
                <a:cubicBezTo>
                  <a:pt x="58" y="6"/>
                  <a:pt x="40" y="16"/>
                  <a:pt x="40" y="1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20" name="Freeform 656"/>
          <p:cNvSpPr>
            <a:spLocks/>
          </p:cNvSpPr>
          <p:nvPr userDrawn="1"/>
        </p:nvSpPr>
        <p:spPr bwMode="auto">
          <a:xfrm>
            <a:off x="5721819" y="4168775"/>
            <a:ext cx="383597" cy="353445"/>
          </a:xfrm>
          <a:custGeom>
            <a:avLst/>
            <a:gdLst>
              <a:gd name="T0" fmla="*/ 2147483646 w 411"/>
              <a:gd name="T1" fmla="*/ 2147483646 h 379"/>
              <a:gd name="T2" fmla="*/ 2147483646 w 411"/>
              <a:gd name="T3" fmla="*/ 2147483646 h 379"/>
              <a:gd name="T4" fmla="*/ 2147483646 w 411"/>
              <a:gd name="T5" fmla="*/ 2147483646 h 379"/>
              <a:gd name="T6" fmla="*/ 2147483646 w 411"/>
              <a:gd name="T7" fmla="*/ 2147483646 h 379"/>
              <a:gd name="T8" fmla="*/ 2147483646 w 411"/>
              <a:gd name="T9" fmla="*/ 2147483646 h 379"/>
              <a:gd name="T10" fmla="*/ 2147483646 w 411"/>
              <a:gd name="T11" fmla="*/ 2147483646 h 379"/>
              <a:gd name="T12" fmla="*/ 2147483646 w 411"/>
              <a:gd name="T13" fmla="*/ 2147483646 h 379"/>
              <a:gd name="T14" fmla="*/ 2147483646 w 411"/>
              <a:gd name="T15" fmla="*/ 2147483646 h 379"/>
              <a:gd name="T16" fmla="*/ 2147483646 w 411"/>
              <a:gd name="T17" fmla="*/ 2147483646 h 379"/>
              <a:gd name="T18" fmla="*/ 2147483646 w 411"/>
              <a:gd name="T19" fmla="*/ 2147483646 h 379"/>
              <a:gd name="T20" fmla="*/ 2147483646 w 411"/>
              <a:gd name="T21" fmla="*/ 2147483646 h 379"/>
              <a:gd name="T22" fmla="*/ 2147483646 w 411"/>
              <a:gd name="T23" fmla="*/ 2147483646 h 379"/>
              <a:gd name="T24" fmla="*/ 2147483646 w 411"/>
              <a:gd name="T25" fmla="*/ 2147483646 h 379"/>
              <a:gd name="T26" fmla="*/ 2147483646 w 411"/>
              <a:gd name="T27" fmla="*/ 2147483646 h 379"/>
              <a:gd name="T28" fmla="*/ 2147483646 w 411"/>
              <a:gd name="T29" fmla="*/ 2147483646 h 379"/>
              <a:gd name="T30" fmla="*/ 2147483646 w 411"/>
              <a:gd name="T31" fmla="*/ 2147483646 h 379"/>
              <a:gd name="T32" fmla="*/ 2147483646 w 411"/>
              <a:gd name="T33" fmla="*/ 2147483646 h 379"/>
              <a:gd name="T34" fmla="*/ 2147483646 w 411"/>
              <a:gd name="T35" fmla="*/ 2147483646 h 379"/>
              <a:gd name="T36" fmla="*/ 2147483646 w 411"/>
              <a:gd name="T37" fmla="*/ 2147483646 h 379"/>
              <a:gd name="T38" fmla="*/ 2147483646 w 411"/>
              <a:gd name="T39" fmla="*/ 2147483646 h 379"/>
              <a:gd name="T40" fmla="*/ 2147483646 w 411"/>
              <a:gd name="T41" fmla="*/ 0 h 379"/>
              <a:gd name="T42" fmla="*/ 2147483646 w 411"/>
              <a:gd name="T43" fmla="*/ 2147483646 h 379"/>
              <a:gd name="T44" fmla="*/ 2147483646 w 411"/>
              <a:gd name="T45" fmla="*/ 2147483646 h 379"/>
              <a:gd name="T46" fmla="*/ 2147483646 w 411"/>
              <a:gd name="T47" fmla="*/ 2147483646 h 379"/>
              <a:gd name="T48" fmla="*/ 2147483646 w 411"/>
              <a:gd name="T49" fmla="*/ 2147483646 h 379"/>
              <a:gd name="T50" fmla="*/ 2147483646 w 411"/>
              <a:gd name="T51" fmla="*/ 2147483646 h 379"/>
              <a:gd name="T52" fmla="*/ 2147483646 w 411"/>
              <a:gd name="T53" fmla="*/ 2147483646 h 379"/>
              <a:gd name="T54" fmla="*/ 2147483646 w 411"/>
              <a:gd name="T55" fmla="*/ 2147483646 h 379"/>
              <a:gd name="T56" fmla="*/ 2147483646 w 411"/>
              <a:gd name="T57" fmla="*/ 2147483646 h 379"/>
              <a:gd name="T58" fmla="*/ 2147483646 w 411"/>
              <a:gd name="T59" fmla="*/ 2147483646 h 379"/>
              <a:gd name="T60" fmla="*/ 2147483646 w 411"/>
              <a:gd name="T61" fmla="*/ 2147483646 h 379"/>
              <a:gd name="T62" fmla="*/ 2147483646 w 411"/>
              <a:gd name="T63" fmla="*/ 2147483646 h 379"/>
              <a:gd name="T64" fmla="*/ 2147483646 w 411"/>
              <a:gd name="T65" fmla="*/ 2147483646 h 379"/>
              <a:gd name="T66" fmla="*/ 2147483646 w 411"/>
              <a:gd name="T67" fmla="*/ 2147483646 h 379"/>
              <a:gd name="T68" fmla="*/ 2147483646 w 411"/>
              <a:gd name="T69" fmla="*/ 2147483646 h 379"/>
              <a:gd name="T70" fmla="*/ 2147483646 w 411"/>
              <a:gd name="T71" fmla="*/ 2147483646 h 379"/>
              <a:gd name="T72" fmla="*/ 2147483646 w 411"/>
              <a:gd name="T73" fmla="*/ 2147483646 h 379"/>
              <a:gd name="T74" fmla="*/ 2147483646 w 411"/>
              <a:gd name="T75" fmla="*/ 2147483646 h 379"/>
              <a:gd name="T76" fmla="*/ 2147483646 w 411"/>
              <a:gd name="T77" fmla="*/ 2147483646 h 379"/>
              <a:gd name="T78" fmla="*/ 2147483646 w 411"/>
              <a:gd name="T79" fmla="*/ 2147483646 h 379"/>
              <a:gd name="T80" fmla="*/ 2147483646 w 411"/>
              <a:gd name="T81" fmla="*/ 2147483646 h 379"/>
              <a:gd name="T82" fmla="*/ 2147483646 w 411"/>
              <a:gd name="T83" fmla="*/ 2147483646 h 379"/>
              <a:gd name="T84" fmla="*/ 2147483646 w 411"/>
              <a:gd name="T85" fmla="*/ 2147483646 h 379"/>
              <a:gd name="T86" fmla="*/ 2147483646 w 411"/>
              <a:gd name="T87" fmla="*/ 2147483646 h 379"/>
              <a:gd name="T88" fmla="*/ 2147483646 w 411"/>
              <a:gd name="T89" fmla="*/ 2147483646 h 379"/>
              <a:gd name="T90" fmla="*/ 2147483646 w 411"/>
              <a:gd name="T91" fmla="*/ 2147483646 h 379"/>
              <a:gd name="T92" fmla="*/ 2147483646 w 411"/>
              <a:gd name="T93" fmla="*/ 2147483646 h 37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11"/>
              <a:gd name="T142" fmla="*/ 0 h 379"/>
              <a:gd name="T143" fmla="*/ 411 w 411"/>
              <a:gd name="T144" fmla="*/ 379 h 379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11" h="379">
                <a:moveTo>
                  <a:pt x="64" y="269"/>
                </a:moveTo>
                <a:cubicBezTo>
                  <a:pt x="64" y="269"/>
                  <a:pt x="52" y="246"/>
                  <a:pt x="47" y="243"/>
                </a:cubicBezTo>
                <a:cubicBezTo>
                  <a:pt x="41" y="241"/>
                  <a:pt x="24" y="241"/>
                  <a:pt x="19" y="236"/>
                </a:cubicBezTo>
                <a:cubicBezTo>
                  <a:pt x="15" y="230"/>
                  <a:pt x="14" y="232"/>
                  <a:pt x="14" y="223"/>
                </a:cubicBezTo>
                <a:cubicBezTo>
                  <a:pt x="14" y="213"/>
                  <a:pt x="10" y="204"/>
                  <a:pt x="6" y="201"/>
                </a:cubicBezTo>
                <a:cubicBezTo>
                  <a:pt x="2" y="197"/>
                  <a:pt x="0" y="186"/>
                  <a:pt x="9" y="184"/>
                </a:cubicBezTo>
                <a:cubicBezTo>
                  <a:pt x="18" y="182"/>
                  <a:pt x="16" y="174"/>
                  <a:pt x="13" y="168"/>
                </a:cubicBezTo>
                <a:cubicBezTo>
                  <a:pt x="9" y="161"/>
                  <a:pt x="13" y="156"/>
                  <a:pt x="17" y="149"/>
                </a:cubicBezTo>
                <a:cubicBezTo>
                  <a:pt x="21" y="142"/>
                  <a:pt x="17" y="134"/>
                  <a:pt x="14" y="124"/>
                </a:cubicBezTo>
                <a:cubicBezTo>
                  <a:pt x="10" y="114"/>
                  <a:pt x="10" y="112"/>
                  <a:pt x="14" y="107"/>
                </a:cubicBezTo>
                <a:cubicBezTo>
                  <a:pt x="17" y="103"/>
                  <a:pt x="17" y="93"/>
                  <a:pt x="14" y="93"/>
                </a:cubicBezTo>
                <a:cubicBezTo>
                  <a:pt x="10" y="93"/>
                  <a:pt x="5" y="84"/>
                  <a:pt x="5" y="84"/>
                </a:cubicBezTo>
                <a:cubicBezTo>
                  <a:pt x="5" y="84"/>
                  <a:pt x="10" y="81"/>
                  <a:pt x="13" y="80"/>
                </a:cubicBezTo>
                <a:cubicBezTo>
                  <a:pt x="15" y="80"/>
                  <a:pt x="20" y="76"/>
                  <a:pt x="24" y="72"/>
                </a:cubicBezTo>
                <a:cubicBezTo>
                  <a:pt x="27" y="68"/>
                  <a:pt x="32" y="61"/>
                  <a:pt x="30" y="58"/>
                </a:cubicBezTo>
                <a:cubicBezTo>
                  <a:pt x="28" y="54"/>
                  <a:pt x="25" y="49"/>
                  <a:pt x="28" y="46"/>
                </a:cubicBezTo>
                <a:cubicBezTo>
                  <a:pt x="31" y="44"/>
                  <a:pt x="30" y="39"/>
                  <a:pt x="36" y="38"/>
                </a:cubicBezTo>
                <a:cubicBezTo>
                  <a:pt x="42" y="36"/>
                  <a:pt x="43" y="31"/>
                  <a:pt x="48" y="30"/>
                </a:cubicBezTo>
                <a:cubicBezTo>
                  <a:pt x="53" y="29"/>
                  <a:pt x="56" y="22"/>
                  <a:pt x="57" y="19"/>
                </a:cubicBezTo>
                <a:cubicBezTo>
                  <a:pt x="58" y="16"/>
                  <a:pt x="60" y="13"/>
                  <a:pt x="60" y="10"/>
                </a:cubicBezTo>
                <a:cubicBezTo>
                  <a:pt x="60" y="6"/>
                  <a:pt x="61" y="0"/>
                  <a:pt x="61" y="0"/>
                </a:cubicBezTo>
                <a:cubicBezTo>
                  <a:pt x="61" y="0"/>
                  <a:pt x="66" y="3"/>
                  <a:pt x="69" y="6"/>
                </a:cubicBezTo>
                <a:cubicBezTo>
                  <a:pt x="72" y="8"/>
                  <a:pt x="76" y="13"/>
                  <a:pt x="86" y="12"/>
                </a:cubicBezTo>
                <a:cubicBezTo>
                  <a:pt x="95" y="11"/>
                  <a:pt x="108" y="13"/>
                  <a:pt x="111" y="12"/>
                </a:cubicBezTo>
                <a:cubicBezTo>
                  <a:pt x="115" y="12"/>
                  <a:pt x="132" y="17"/>
                  <a:pt x="136" y="21"/>
                </a:cubicBezTo>
                <a:cubicBezTo>
                  <a:pt x="139" y="25"/>
                  <a:pt x="153" y="12"/>
                  <a:pt x="155" y="27"/>
                </a:cubicBezTo>
                <a:cubicBezTo>
                  <a:pt x="158" y="42"/>
                  <a:pt x="153" y="54"/>
                  <a:pt x="173" y="54"/>
                </a:cubicBezTo>
                <a:cubicBezTo>
                  <a:pt x="193" y="54"/>
                  <a:pt x="218" y="61"/>
                  <a:pt x="232" y="73"/>
                </a:cubicBezTo>
                <a:cubicBezTo>
                  <a:pt x="246" y="86"/>
                  <a:pt x="253" y="86"/>
                  <a:pt x="266" y="76"/>
                </a:cubicBezTo>
                <a:cubicBezTo>
                  <a:pt x="278" y="66"/>
                  <a:pt x="277" y="55"/>
                  <a:pt x="271" y="50"/>
                </a:cubicBezTo>
                <a:cubicBezTo>
                  <a:pt x="265" y="45"/>
                  <a:pt x="270" y="33"/>
                  <a:pt x="278" y="26"/>
                </a:cubicBezTo>
                <a:cubicBezTo>
                  <a:pt x="287" y="19"/>
                  <a:pt x="296" y="5"/>
                  <a:pt x="315" y="7"/>
                </a:cubicBezTo>
                <a:cubicBezTo>
                  <a:pt x="333" y="9"/>
                  <a:pt x="349" y="7"/>
                  <a:pt x="347" y="16"/>
                </a:cubicBezTo>
                <a:cubicBezTo>
                  <a:pt x="345" y="25"/>
                  <a:pt x="335" y="29"/>
                  <a:pt x="354" y="29"/>
                </a:cubicBezTo>
                <a:cubicBezTo>
                  <a:pt x="373" y="29"/>
                  <a:pt x="380" y="36"/>
                  <a:pt x="387" y="35"/>
                </a:cubicBezTo>
                <a:cubicBezTo>
                  <a:pt x="393" y="33"/>
                  <a:pt x="402" y="39"/>
                  <a:pt x="396" y="46"/>
                </a:cubicBezTo>
                <a:cubicBezTo>
                  <a:pt x="391" y="53"/>
                  <a:pt x="391" y="57"/>
                  <a:pt x="393" y="62"/>
                </a:cubicBezTo>
                <a:cubicBezTo>
                  <a:pt x="395" y="68"/>
                  <a:pt x="393" y="72"/>
                  <a:pt x="390" y="78"/>
                </a:cubicBezTo>
                <a:cubicBezTo>
                  <a:pt x="388" y="85"/>
                  <a:pt x="389" y="90"/>
                  <a:pt x="394" y="98"/>
                </a:cubicBezTo>
                <a:cubicBezTo>
                  <a:pt x="399" y="107"/>
                  <a:pt x="402" y="108"/>
                  <a:pt x="399" y="117"/>
                </a:cubicBezTo>
                <a:cubicBezTo>
                  <a:pt x="396" y="125"/>
                  <a:pt x="399" y="132"/>
                  <a:pt x="400" y="135"/>
                </a:cubicBezTo>
                <a:cubicBezTo>
                  <a:pt x="400" y="139"/>
                  <a:pt x="411" y="364"/>
                  <a:pt x="411" y="364"/>
                </a:cubicBezTo>
                <a:cubicBezTo>
                  <a:pt x="386" y="365"/>
                  <a:pt x="386" y="365"/>
                  <a:pt x="386" y="365"/>
                </a:cubicBezTo>
                <a:cubicBezTo>
                  <a:pt x="382" y="379"/>
                  <a:pt x="382" y="379"/>
                  <a:pt x="382" y="379"/>
                </a:cubicBezTo>
                <a:cubicBezTo>
                  <a:pt x="173" y="268"/>
                  <a:pt x="173" y="268"/>
                  <a:pt x="173" y="268"/>
                </a:cubicBezTo>
                <a:cubicBezTo>
                  <a:pt x="121" y="296"/>
                  <a:pt x="121" y="296"/>
                  <a:pt x="121" y="296"/>
                </a:cubicBezTo>
                <a:cubicBezTo>
                  <a:pt x="121" y="296"/>
                  <a:pt x="98" y="261"/>
                  <a:pt x="64" y="26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21" name="Freeform 657"/>
          <p:cNvSpPr>
            <a:spLocks/>
          </p:cNvSpPr>
          <p:nvPr userDrawn="1"/>
        </p:nvSpPr>
        <p:spPr bwMode="auto">
          <a:xfrm>
            <a:off x="6083639" y="4195576"/>
            <a:ext cx="284765" cy="264664"/>
          </a:xfrm>
          <a:custGeom>
            <a:avLst/>
            <a:gdLst>
              <a:gd name="T0" fmla="*/ 2147483646 w 306"/>
              <a:gd name="T1" fmla="*/ 2147483646 h 284"/>
              <a:gd name="T2" fmla="*/ 2147483646 w 306"/>
              <a:gd name="T3" fmla="*/ 2147483646 h 284"/>
              <a:gd name="T4" fmla="*/ 2147483646 w 306"/>
              <a:gd name="T5" fmla="*/ 2147483646 h 284"/>
              <a:gd name="T6" fmla="*/ 2147483646 w 306"/>
              <a:gd name="T7" fmla="*/ 2147483646 h 284"/>
              <a:gd name="T8" fmla="*/ 2147483646 w 306"/>
              <a:gd name="T9" fmla="*/ 2147483646 h 284"/>
              <a:gd name="T10" fmla="*/ 2147483646 w 306"/>
              <a:gd name="T11" fmla="*/ 2147483646 h 284"/>
              <a:gd name="T12" fmla="*/ 2147483646 w 306"/>
              <a:gd name="T13" fmla="*/ 2147483646 h 284"/>
              <a:gd name="T14" fmla="*/ 2147483646 w 306"/>
              <a:gd name="T15" fmla="*/ 2147483646 h 284"/>
              <a:gd name="T16" fmla="*/ 2147483646 w 306"/>
              <a:gd name="T17" fmla="*/ 2147483646 h 284"/>
              <a:gd name="T18" fmla="*/ 2147483646 w 306"/>
              <a:gd name="T19" fmla="*/ 2147483646 h 284"/>
              <a:gd name="T20" fmla="*/ 2147483646 w 306"/>
              <a:gd name="T21" fmla="*/ 2147483646 h 284"/>
              <a:gd name="T22" fmla="*/ 2147483646 w 306"/>
              <a:gd name="T23" fmla="*/ 2147483646 h 284"/>
              <a:gd name="T24" fmla="*/ 2147483646 w 306"/>
              <a:gd name="T25" fmla="*/ 2147483646 h 284"/>
              <a:gd name="T26" fmla="*/ 2147483646 w 306"/>
              <a:gd name="T27" fmla="*/ 2147483646 h 284"/>
              <a:gd name="T28" fmla="*/ 2147483646 w 306"/>
              <a:gd name="T29" fmla="*/ 2147483646 h 284"/>
              <a:gd name="T30" fmla="*/ 2147483646 w 306"/>
              <a:gd name="T31" fmla="*/ 2147483646 h 284"/>
              <a:gd name="T32" fmla="*/ 2147483646 w 306"/>
              <a:gd name="T33" fmla="*/ 2147483646 h 284"/>
              <a:gd name="T34" fmla="*/ 2147483646 w 306"/>
              <a:gd name="T35" fmla="*/ 2147483646 h 284"/>
              <a:gd name="T36" fmla="*/ 2147483646 w 306"/>
              <a:gd name="T37" fmla="*/ 2147483646 h 284"/>
              <a:gd name="T38" fmla="*/ 2147483646 w 306"/>
              <a:gd name="T39" fmla="*/ 2147483646 h 284"/>
              <a:gd name="T40" fmla="*/ 2147483646 w 306"/>
              <a:gd name="T41" fmla="*/ 2147483646 h 284"/>
              <a:gd name="T42" fmla="*/ 2147483646 w 306"/>
              <a:gd name="T43" fmla="*/ 2147483646 h 284"/>
              <a:gd name="T44" fmla="*/ 2147483646 w 306"/>
              <a:gd name="T45" fmla="*/ 2147483646 h 284"/>
              <a:gd name="T46" fmla="*/ 2147483646 w 306"/>
              <a:gd name="T47" fmla="*/ 2147483646 h 284"/>
              <a:gd name="T48" fmla="*/ 2147483646 w 306"/>
              <a:gd name="T49" fmla="*/ 2147483646 h 284"/>
              <a:gd name="T50" fmla="*/ 2147483646 w 306"/>
              <a:gd name="T51" fmla="*/ 2147483646 h 284"/>
              <a:gd name="T52" fmla="*/ 2147483646 w 306"/>
              <a:gd name="T53" fmla="*/ 2147483646 h 284"/>
              <a:gd name="T54" fmla="*/ 2147483646 w 306"/>
              <a:gd name="T55" fmla="*/ 2147483646 h 284"/>
              <a:gd name="T56" fmla="*/ 2147483646 w 306"/>
              <a:gd name="T57" fmla="*/ 2147483646 h 284"/>
              <a:gd name="T58" fmla="*/ 2147483646 w 306"/>
              <a:gd name="T59" fmla="*/ 2147483646 h 284"/>
              <a:gd name="T60" fmla="*/ 2147483646 w 306"/>
              <a:gd name="T61" fmla="*/ 2147483646 h 284"/>
              <a:gd name="T62" fmla="*/ 2147483646 w 306"/>
              <a:gd name="T63" fmla="*/ 2147483646 h 284"/>
              <a:gd name="T64" fmla="*/ 2147483646 w 306"/>
              <a:gd name="T65" fmla="*/ 2147483646 h 284"/>
              <a:gd name="T66" fmla="*/ 2147483646 w 306"/>
              <a:gd name="T67" fmla="*/ 2147483646 h 284"/>
              <a:gd name="T68" fmla="*/ 2147483646 w 306"/>
              <a:gd name="T69" fmla="*/ 2147483646 h 284"/>
              <a:gd name="T70" fmla="*/ 2147483646 w 306"/>
              <a:gd name="T71" fmla="*/ 2147483646 h 284"/>
              <a:gd name="T72" fmla="*/ 2147483646 w 306"/>
              <a:gd name="T73" fmla="*/ 2147483646 h 284"/>
              <a:gd name="T74" fmla="*/ 2147483646 w 306"/>
              <a:gd name="T75" fmla="*/ 2147483646 h 284"/>
              <a:gd name="T76" fmla="*/ 2147483646 w 306"/>
              <a:gd name="T77" fmla="*/ 2147483646 h 284"/>
              <a:gd name="T78" fmla="*/ 2147483646 w 306"/>
              <a:gd name="T79" fmla="*/ 2147483646 h 284"/>
              <a:gd name="T80" fmla="*/ 2147483646 w 306"/>
              <a:gd name="T81" fmla="*/ 2147483646 h 284"/>
              <a:gd name="T82" fmla="*/ 2147483646 w 306"/>
              <a:gd name="T83" fmla="*/ 2147483646 h 284"/>
              <a:gd name="T84" fmla="*/ 2147483646 w 306"/>
              <a:gd name="T85" fmla="*/ 2147483646 h 284"/>
              <a:gd name="T86" fmla="*/ 2147483646 w 306"/>
              <a:gd name="T87" fmla="*/ 2147483646 h 284"/>
              <a:gd name="T88" fmla="*/ 2147483646 w 306"/>
              <a:gd name="T89" fmla="*/ 2147483646 h 284"/>
              <a:gd name="T90" fmla="*/ 2147483646 w 306"/>
              <a:gd name="T91" fmla="*/ 2147483646 h 284"/>
              <a:gd name="T92" fmla="*/ 2147483646 w 306"/>
              <a:gd name="T93" fmla="*/ 2147483646 h 284"/>
              <a:gd name="T94" fmla="*/ 2147483646 w 306"/>
              <a:gd name="T95" fmla="*/ 2147483646 h 284"/>
              <a:gd name="T96" fmla="*/ 2147483646 w 306"/>
              <a:gd name="T97" fmla="*/ 2147483646 h 284"/>
              <a:gd name="T98" fmla="*/ 2147483646 w 306"/>
              <a:gd name="T99" fmla="*/ 2147483646 h 284"/>
              <a:gd name="T100" fmla="*/ 2147483646 w 306"/>
              <a:gd name="T101" fmla="*/ 2147483646 h 284"/>
              <a:gd name="T102" fmla="*/ 2147483646 w 306"/>
              <a:gd name="T103" fmla="*/ 2147483646 h 284"/>
              <a:gd name="T104" fmla="*/ 2147483646 w 306"/>
              <a:gd name="T105" fmla="*/ 2147483646 h 284"/>
              <a:gd name="T106" fmla="*/ 2147483646 w 306"/>
              <a:gd name="T107" fmla="*/ 2147483646 h 2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06"/>
              <a:gd name="T163" fmla="*/ 0 h 284"/>
              <a:gd name="T164" fmla="*/ 306 w 306"/>
              <a:gd name="T165" fmla="*/ 284 h 28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06" h="284">
                <a:moveTo>
                  <a:pt x="21" y="280"/>
                </a:moveTo>
                <a:cubicBezTo>
                  <a:pt x="17" y="213"/>
                  <a:pt x="12" y="109"/>
                  <a:pt x="12" y="107"/>
                </a:cubicBezTo>
                <a:cubicBezTo>
                  <a:pt x="11" y="104"/>
                  <a:pt x="8" y="97"/>
                  <a:pt x="11" y="89"/>
                </a:cubicBezTo>
                <a:cubicBezTo>
                  <a:pt x="14" y="80"/>
                  <a:pt x="11" y="79"/>
                  <a:pt x="6" y="70"/>
                </a:cubicBezTo>
                <a:cubicBezTo>
                  <a:pt x="1" y="62"/>
                  <a:pt x="0" y="57"/>
                  <a:pt x="2" y="50"/>
                </a:cubicBezTo>
                <a:cubicBezTo>
                  <a:pt x="5" y="44"/>
                  <a:pt x="7" y="40"/>
                  <a:pt x="5" y="34"/>
                </a:cubicBezTo>
                <a:cubicBezTo>
                  <a:pt x="3" y="29"/>
                  <a:pt x="3" y="25"/>
                  <a:pt x="8" y="18"/>
                </a:cubicBezTo>
                <a:cubicBezTo>
                  <a:pt x="10" y="17"/>
                  <a:pt x="10" y="15"/>
                  <a:pt x="10" y="14"/>
                </a:cubicBezTo>
                <a:cubicBezTo>
                  <a:pt x="10" y="14"/>
                  <a:pt x="14" y="18"/>
                  <a:pt x="18" y="19"/>
                </a:cubicBezTo>
                <a:cubicBezTo>
                  <a:pt x="22" y="19"/>
                  <a:pt x="31" y="19"/>
                  <a:pt x="33" y="19"/>
                </a:cubicBezTo>
                <a:cubicBezTo>
                  <a:pt x="36" y="19"/>
                  <a:pt x="38" y="17"/>
                  <a:pt x="44" y="20"/>
                </a:cubicBezTo>
                <a:cubicBezTo>
                  <a:pt x="50" y="22"/>
                  <a:pt x="60" y="16"/>
                  <a:pt x="65" y="22"/>
                </a:cubicBezTo>
                <a:cubicBezTo>
                  <a:pt x="69" y="27"/>
                  <a:pt x="72" y="20"/>
                  <a:pt x="81" y="24"/>
                </a:cubicBezTo>
                <a:cubicBezTo>
                  <a:pt x="91" y="27"/>
                  <a:pt x="99" y="26"/>
                  <a:pt x="104" y="30"/>
                </a:cubicBezTo>
                <a:cubicBezTo>
                  <a:pt x="109" y="34"/>
                  <a:pt x="100" y="47"/>
                  <a:pt x="114" y="35"/>
                </a:cubicBezTo>
                <a:cubicBezTo>
                  <a:pt x="128" y="22"/>
                  <a:pt x="128" y="18"/>
                  <a:pt x="138" y="16"/>
                </a:cubicBezTo>
                <a:cubicBezTo>
                  <a:pt x="147" y="13"/>
                  <a:pt x="189" y="0"/>
                  <a:pt x="195" y="3"/>
                </a:cubicBezTo>
                <a:cubicBezTo>
                  <a:pt x="202" y="6"/>
                  <a:pt x="222" y="13"/>
                  <a:pt x="227" y="13"/>
                </a:cubicBezTo>
                <a:cubicBezTo>
                  <a:pt x="233" y="14"/>
                  <a:pt x="242" y="13"/>
                  <a:pt x="245" y="12"/>
                </a:cubicBezTo>
                <a:cubicBezTo>
                  <a:pt x="248" y="10"/>
                  <a:pt x="258" y="7"/>
                  <a:pt x="258" y="7"/>
                </a:cubicBezTo>
                <a:cubicBezTo>
                  <a:pt x="272" y="4"/>
                  <a:pt x="272" y="4"/>
                  <a:pt x="272" y="4"/>
                </a:cubicBezTo>
                <a:cubicBezTo>
                  <a:pt x="272" y="4"/>
                  <a:pt x="269" y="40"/>
                  <a:pt x="293" y="72"/>
                </a:cubicBezTo>
                <a:cubicBezTo>
                  <a:pt x="291" y="80"/>
                  <a:pt x="290" y="94"/>
                  <a:pt x="289" y="101"/>
                </a:cubicBezTo>
                <a:cubicBezTo>
                  <a:pt x="289" y="107"/>
                  <a:pt x="291" y="120"/>
                  <a:pt x="282" y="119"/>
                </a:cubicBezTo>
                <a:cubicBezTo>
                  <a:pt x="272" y="117"/>
                  <a:pt x="267" y="114"/>
                  <a:pt x="262" y="104"/>
                </a:cubicBezTo>
                <a:cubicBezTo>
                  <a:pt x="256" y="93"/>
                  <a:pt x="243" y="82"/>
                  <a:pt x="238" y="80"/>
                </a:cubicBezTo>
                <a:cubicBezTo>
                  <a:pt x="233" y="78"/>
                  <a:pt x="230" y="72"/>
                  <a:pt x="231" y="67"/>
                </a:cubicBezTo>
                <a:cubicBezTo>
                  <a:pt x="232" y="62"/>
                  <a:pt x="228" y="61"/>
                  <a:pt x="227" y="65"/>
                </a:cubicBezTo>
                <a:cubicBezTo>
                  <a:pt x="225" y="70"/>
                  <a:pt x="221" y="77"/>
                  <a:pt x="227" y="81"/>
                </a:cubicBezTo>
                <a:cubicBezTo>
                  <a:pt x="233" y="85"/>
                  <a:pt x="236" y="83"/>
                  <a:pt x="234" y="89"/>
                </a:cubicBezTo>
                <a:cubicBezTo>
                  <a:pt x="232" y="94"/>
                  <a:pt x="234" y="98"/>
                  <a:pt x="239" y="100"/>
                </a:cubicBezTo>
                <a:cubicBezTo>
                  <a:pt x="243" y="103"/>
                  <a:pt x="242" y="104"/>
                  <a:pt x="248" y="109"/>
                </a:cubicBezTo>
                <a:cubicBezTo>
                  <a:pt x="253" y="114"/>
                  <a:pt x="263" y="121"/>
                  <a:pt x="262" y="129"/>
                </a:cubicBezTo>
                <a:cubicBezTo>
                  <a:pt x="260" y="136"/>
                  <a:pt x="262" y="131"/>
                  <a:pt x="269" y="140"/>
                </a:cubicBezTo>
                <a:cubicBezTo>
                  <a:pt x="277" y="148"/>
                  <a:pt x="280" y="153"/>
                  <a:pt x="280" y="159"/>
                </a:cubicBezTo>
                <a:cubicBezTo>
                  <a:pt x="279" y="164"/>
                  <a:pt x="288" y="180"/>
                  <a:pt x="297" y="191"/>
                </a:cubicBezTo>
                <a:cubicBezTo>
                  <a:pt x="306" y="202"/>
                  <a:pt x="288" y="215"/>
                  <a:pt x="293" y="217"/>
                </a:cubicBezTo>
                <a:cubicBezTo>
                  <a:pt x="297" y="219"/>
                  <a:pt x="295" y="220"/>
                  <a:pt x="292" y="222"/>
                </a:cubicBezTo>
                <a:cubicBezTo>
                  <a:pt x="288" y="224"/>
                  <a:pt x="289" y="227"/>
                  <a:pt x="292" y="232"/>
                </a:cubicBezTo>
                <a:cubicBezTo>
                  <a:pt x="294" y="236"/>
                  <a:pt x="295" y="241"/>
                  <a:pt x="295" y="241"/>
                </a:cubicBezTo>
                <a:cubicBezTo>
                  <a:pt x="295" y="241"/>
                  <a:pt x="289" y="252"/>
                  <a:pt x="284" y="250"/>
                </a:cubicBezTo>
                <a:cubicBezTo>
                  <a:pt x="278" y="248"/>
                  <a:pt x="274" y="247"/>
                  <a:pt x="272" y="253"/>
                </a:cubicBezTo>
                <a:cubicBezTo>
                  <a:pt x="270" y="259"/>
                  <a:pt x="274" y="263"/>
                  <a:pt x="270" y="263"/>
                </a:cubicBezTo>
                <a:cubicBezTo>
                  <a:pt x="265" y="263"/>
                  <a:pt x="262" y="263"/>
                  <a:pt x="264" y="266"/>
                </a:cubicBezTo>
                <a:cubicBezTo>
                  <a:pt x="265" y="269"/>
                  <a:pt x="265" y="273"/>
                  <a:pt x="263" y="274"/>
                </a:cubicBezTo>
                <a:cubicBezTo>
                  <a:pt x="262" y="274"/>
                  <a:pt x="261" y="275"/>
                  <a:pt x="259" y="274"/>
                </a:cubicBezTo>
                <a:cubicBezTo>
                  <a:pt x="258" y="273"/>
                  <a:pt x="258" y="268"/>
                  <a:pt x="255" y="269"/>
                </a:cubicBezTo>
                <a:cubicBezTo>
                  <a:pt x="253" y="270"/>
                  <a:pt x="251" y="273"/>
                  <a:pt x="252" y="275"/>
                </a:cubicBezTo>
                <a:cubicBezTo>
                  <a:pt x="254" y="277"/>
                  <a:pt x="256" y="280"/>
                  <a:pt x="255" y="281"/>
                </a:cubicBezTo>
                <a:cubicBezTo>
                  <a:pt x="254" y="282"/>
                  <a:pt x="250" y="283"/>
                  <a:pt x="248" y="284"/>
                </a:cubicBezTo>
                <a:cubicBezTo>
                  <a:pt x="247" y="284"/>
                  <a:pt x="241" y="283"/>
                  <a:pt x="241" y="283"/>
                </a:cubicBezTo>
                <a:cubicBezTo>
                  <a:pt x="236" y="279"/>
                  <a:pt x="236" y="279"/>
                  <a:pt x="236" y="279"/>
                </a:cubicBezTo>
                <a:cubicBezTo>
                  <a:pt x="236" y="279"/>
                  <a:pt x="225" y="276"/>
                  <a:pt x="221" y="276"/>
                </a:cubicBezTo>
                <a:cubicBezTo>
                  <a:pt x="217" y="276"/>
                  <a:pt x="21" y="280"/>
                  <a:pt x="21" y="28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22" name="Freeform 658"/>
          <p:cNvSpPr>
            <a:spLocks/>
          </p:cNvSpPr>
          <p:nvPr userDrawn="1"/>
        </p:nvSpPr>
        <p:spPr bwMode="auto">
          <a:xfrm>
            <a:off x="5078585" y="4279331"/>
            <a:ext cx="222788" cy="165835"/>
          </a:xfrm>
          <a:custGeom>
            <a:avLst/>
            <a:gdLst>
              <a:gd name="T0" fmla="*/ 2147483646 w 238"/>
              <a:gd name="T1" fmla="*/ 0 h 178"/>
              <a:gd name="T2" fmla="*/ 2147483646 w 238"/>
              <a:gd name="T3" fmla="*/ 2147483646 h 178"/>
              <a:gd name="T4" fmla="*/ 2147483646 w 238"/>
              <a:gd name="T5" fmla="*/ 2147483646 h 178"/>
              <a:gd name="T6" fmla="*/ 2147483646 w 238"/>
              <a:gd name="T7" fmla="*/ 2147483646 h 178"/>
              <a:gd name="T8" fmla="*/ 2147483646 w 238"/>
              <a:gd name="T9" fmla="*/ 2147483646 h 178"/>
              <a:gd name="T10" fmla="*/ 2147483646 w 238"/>
              <a:gd name="T11" fmla="*/ 2147483646 h 178"/>
              <a:gd name="T12" fmla="*/ 2147483646 w 238"/>
              <a:gd name="T13" fmla="*/ 2147483646 h 178"/>
              <a:gd name="T14" fmla="*/ 2147483646 w 238"/>
              <a:gd name="T15" fmla="*/ 2147483646 h 178"/>
              <a:gd name="T16" fmla="*/ 0 w 238"/>
              <a:gd name="T17" fmla="*/ 2147483646 h 178"/>
              <a:gd name="T18" fmla="*/ 2147483646 w 238"/>
              <a:gd name="T19" fmla="*/ 2147483646 h 178"/>
              <a:gd name="T20" fmla="*/ 2147483646 w 238"/>
              <a:gd name="T21" fmla="*/ 2147483646 h 178"/>
              <a:gd name="T22" fmla="*/ 2147483646 w 238"/>
              <a:gd name="T23" fmla="*/ 2147483646 h 178"/>
              <a:gd name="T24" fmla="*/ 2147483646 w 238"/>
              <a:gd name="T25" fmla="*/ 2147483646 h 178"/>
              <a:gd name="T26" fmla="*/ 2147483646 w 238"/>
              <a:gd name="T27" fmla="*/ 2147483646 h 178"/>
              <a:gd name="T28" fmla="*/ 2147483646 w 238"/>
              <a:gd name="T29" fmla="*/ 2147483646 h 178"/>
              <a:gd name="T30" fmla="*/ 2147483646 w 238"/>
              <a:gd name="T31" fmla="*/ 2147483646 h 178"/>
              <a:gd name="T32" fmla="*/ 2147483646 w 238"/>
              <a:gd name="T33" fmla="*/ 0 h 17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38"/>
              <a:gd name="T52" fmla="*/ 0 h 178"/>
              <a:gd name="T53" fmla="*/ 238 w 238"/>
              <a:gd name="T54" fmla="*/ 178 h 17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38" h="178">
                <a:moveTo>
                  <a:pt x="126" y="0"/>
                </a:moveTo>
                <a:cubicBezTo>
                  <a:pt x="237" y="6"/>
                  <a:pt x="237" y="6"/>
                  <a:pt x="237" y="6"/>
                </a:cubicBezTo>
                <a:cubicBezTo>
                  <a:pt x="238" y="21"/>
                  <a:pt x="238" y="21"/>
                  <a:pt x="238" y="21"/>
                </a:cubicBezTo>
                <a:cubicBezTo>
                  <a:pt x="231" y="56"/>
                  <a:pt x="231" y="56"/>
                  <a:pt x="231" y="56"/>
                </a:cubicBezTo>
                <a:cubicBezTo>
                  <a:pt x="148" y="48"/>
                  <a:pt x="148" y="48"/>
                  <a:pt x="148" y="48"/>
                </a:cubicBezTo>
                <a:cubicBezTo>
                  <a:pt x="135" y="120"/>
                  <a:pt x="135" y="120"/>
                  <a:pt x="135" y="120"/>
                </a:cubicBezTo>
                <a:cubicBezTo>
                  <a:pt x="135" y="120"/>
                  <a:pt x="104" y="128"/>
                  <a:pt x="102" y="139"/>
                </a:cubicBezTo>
                <a:cubicBezTo>
                  <a:pt x="101" y="151"/>
                  <a:pt x="100" y="178"/>
                  <a:pt x="100" y="178"/>
                </a:cubicBezTo>
                <a:cubicBezTo>
                  <a:pt x="0" y="169"/>
                  <a:pt x="0" y="169"/>
                  <a:pt x="0" y="169"/>
                </a:cubicBezTo>
                <a:cubicBezTo>
                  <a:pt x="0" y="169"/>
                  <a:pt x="5" y="146"/>
                  <a:pt x="13" y="143"/>
                </a:cubicBezTo>
                <a:cubicBezTo>
                  <a:pt x="21" y="140"/>
                  <a:pt x="25" y="134"/>
                  <a:pt x="27" y="130"/>
                </a:cubicBezTo>
                <a:cubicBezTo>
                  <a:pt x="29" y="125"/>
                  <a:pt x="33" y="108"/>
                  <a:pt x="39" y="101"/>
                </a:cubicBezTo>
                <a:cubicBezTo>
                  <a:pt x="46" y="94"/>
                  <a:pt x="54" y="87"/>
                  <a:pt x="58" y="83"/>
                </a:cubicBezTo>
                <a:cubicBezTo>
                  <a:pt x="62" y="78"/>
                  <a:pt x="72" y="66"/>
                  <a:pt x="76" y="58"/>
                </a:cubicBezTo>
                <a:cubicBezTo>
                  <a:pt x="79" y="50"/>
                  <a:pt x="82" y="35"/>
                  <a:pt x="90" y="33"/>
                </a:cubicBezTo>
                <a:cubicBezTo>
                  <a:pt x="98" y="30"/>
                  <a:pt x="114" y="25"/>
                  <a:pt x="117" y="18"/>
                </a:cubicBezTo>
                <a:cubicBezTo>
                  <a:pt x="120" y="12"/>
                  <a:pt x="126" y="0"/>
                  <a:pt x="12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23" name="Freeform 659"/>
          <p:cNvSpPr>
            <a:spLocks/>
          </p:cNvSpPr>
          <p:nvPr userDrawn="1"/>
        </p:nvSpPr>
        <p:spPr bwMode="auto">
          <a:xfrm>
            <a:off x="5162340" y="4361411"/>
            <a:ext cx="420449" cy="405372"/>
          </a:xfrm>
          <a:custGeom>
            <a:avLst/>
            <a:gdLst>
              <a:gd name="T0" fmla="*/ 2147483646 w 451"/>
              <a:gd name="T1" fmla="*/ 2147483646 h 434"/>
              <a:gd name="T2" fmla="*/ 2147483646 w 451"/>
              <a:gd name="T3" fmla="*/ 2147483646 h 434"/>
              <a:gd name="T4" fmla="*/ 2147483646 w 451"/>
              <a:gd name="T5" fmla="*/ 2147483646 h 434"/>
              <a:gd name="T6" fmla="*/ 2147483646 w 451"/>
              <a:gd name="T7" fmla="*/ 2147483646 h 434"/>
              <a:gd name="T8" fmla="*/ 2147483646 w 451"/>
              <a:gd name="T9" fmla="*/ 2147483646 h 434"/>
              <a:gd name="T10" fmla="*/ 2147483646 w 451"/>
              <a:gd name="T11" fmla="*/ 2147483646 h 434"/>
              <a:gd name="T12" fmla="*/ 2147483646 w 451"/>
              <a:gd name="T13" fmla="*/ 2147483646 h 434"/>
              <a:gd name="T14" fmla="*/ 2147483646 w 451"/>
              <a:gd name="T15" fmla="*/ 2147483646 h 434"/>
              <a:gd name="T16" fmla="*/ 2147483646 w 451"/>
              <a:gd name="T17" fmla="*/ 2147483646 h 434"/>
              <a:gd name="T18" fmla="*/ 2147483646 w 451"/>
              <a:gd name="T19" fmla="*/ 2147483646 h 434"/>
              <a:gd name="T20" fmla="*/ 2147483646 w 451"/>
              <a:gd name="T21" fmla="*/ 2147483646 h 434"/>
              <a:gd name="T22" fmla="*/ 2147483646 w 451"/>
              <a:gd name="T23" fmla="*/ 2147483646 h 434"/>
              <a:gd name="T24" fmla="*/ 2147483646 w 451"/>
              <a:gd name="T25" fmla="*/ 2147483646 h 434"/>
              <a:gd name="T26" fmla="*/ 2147483646 w 451"/>
              <a:gd name="T27" fmla="*/ 2147483646 h 434"/>
              <a:gd name="T28" fmla="*/ 2147483646 w 451"/>
              <a:gd name="T29" fmla="*/ 2147483646 h 434"/>
              <a:gd name="T30" fmla="*/ 2147483646 w 451"/>
              <a:gd name="T31" fmla="*/ 2147483646 h 434"/>
              <a:gd name="T32" fmla="*/ 2147483646 w 451"/>
              <a:gd name="T33" fmla="*/ 2147483646 h 434"/>
              <a:gd name="T34" fmla="*/ 2147483646 w 451"/>
              <a:gd name="T35" fmla="*/ 2147483646 h 434"/>
              <a:gd name="T36" fmla="*/ 2147483646 w 451"/>
              <a:gd name="T37" fmla="*/ 2147483646 h 434"/>
              <a:gd name="T38" fmla="*/ 2147483646 w 451"/>
              <a:gd name="T39" fmla="*/ 2147483646 h 434"/>
              <a:gd name="T40" fmla="*/ 2147483646 w 451"/>
              <a:gd name="T41" fmla="*/ 2147483646 h 434"/>
              <a:gd name="T42" fmla="*/ 2147483646 w 451"/>
              <a:gd name="T43" fmla="*/ 2147483646 h 434"/>
              <a:gd name="T44" fmla="*/ 2147483646 w 451"/>
              <a:gd name="T45" fmla="*/ 2147483646 h 434"/>
              <a:gd name="T46" fmla="*/ 2147483646 w 451"/>
              <a:gd name="T47" fmla="*/ 2147483646 h 434"/>
              <a:gd name="T48" fmla="*/ 2147483646 w 451"/>
              <a:gd name="T49" fmla="*/ 2147483646 h 434"/>
              <a:gd name="T50" fmla="*/ 2147483646 w 451"/>
              <a:gd name="T51" fmla="*/ 2147483646 h 434"/>
              <a:gd name="T52" fmla="*/ 2147483646 w 451"/>
              <a:gd name="T53" fmla="*/ 2147483646 h 434"/>
              <a:gd name="T54" fmla="*/ 2147483646 w 451"/>
              <a:gd name="T55" fmla="*/ 2147483646 h 434"/>
              <a:gd name="T56" fmla="*/ 2147483646 w 451"/>
              <a:gd name="T57" fmla="*/ 2147483646 h 434"/>
              <a:gd name="T58" fmla="*/ 2147483646 w 451"/>
              <a:gd name="T59" fmla="*/ 2147483646 h 434"/>
              <a:gd name="T60" fmla="*/ 2147483646 w 451"/>
              <a:gd name="T61" fmla="*/ 2147483646 h 434"/>
              <a:gd name="T62" fmla="*/ 2147483646 w 451"/>
              <a:gd name="T63" fmla="*/ 2147483646 h 434"/>
              <a:gd name="T64" fmla="*/ 2147483646 w 451"/>
              <a:gd name="T65" fmla="*/ 2147483646 h 434"/>
              <a:gd name="T66" fmla="*/ 2147483646 w 451"/>
              <a:gd name="T67" fmla="*/ 2147483646 h 434"/>
              <a:gd name="T68" fmla="*/ 2147483646 w 451"/>
              <a:gd name="T69" fmla="*/ 2147483646 h 434"/>
              <a:gd name="T70" fmla="*/ 2147483646 w 451"/>
              <a:gd name="T71" fmla="*/ 2147483646 h 434"/>
              <a:gd name="T72" fmla="*/ 2147483646 w 451"/>
              <a:gd name="T73" fmla="*/ 2147483646 h 434"/>
              <a:gd name="T74" fmla="*/ 2147483646 w 451"/>
              <a:gd name="T75" fmla="*/ 2147483646 h 434"/>
              <a:gd name="T76" fmla="*/ 2147483646 w 451"/>
              <a:gd name="T77" fmla="*/ 2147483646 h 43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451"/>
              <a:gd name="T118" fmla="*/ 0 h 434"/>
              <a:gd name="T119" fmla="*/ 451 w 451"/>
              <a:gd name="T120" fmla="*/ 434 h 434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451" h="434">
                <a:moveTo>
                  <a:pt x="6" y="284"/>
                </a:moveTo>
                <a:cubicBezTo>
                  <a:pt x="15" y="289"/>
                  <a:pt x="14" y="263"/>
                  <a:pt x="21" y="260"/>
                </a:cubicBezTo>
                <a:cubicBezTo>
                  <a:pt x="28" y="257"/>
                  <a:pt x="31" y="261"/>
                  <a:pt x="36" y="269"/>
                </a:cubicBezTo>
                <a:cubicBezTo>
                  <a:pt x="41" y="277"/>
                  <a:pt x="42" y="271"/>
                  <a:pt x="46" y="266"/>
                </a:cubicBezTo>
                <a:cubicBezTo>
                  <a:pt x="49" y="261"/>
                  <a:pt x="63" y="269"/>
                  <a:pt x="63" y="269"/>
                </a:cubicBezTo>
                <a:cubicBezTo>
                  <a:pt x="63" y="269"/>
                  <a:pt x="81" y="269"/>
                  <a:pt x="81" y="263"/>
                </a:cubicBezTo>
                <a:cubicBezTo>
                  <a:pt x="81" y="257"/>
                  <a:pt x="90" y="268"/>
                  <a:pt x="90" y="268"/>
                </a:cubicBezTo>
                <a:cubicBezTo>
                  <a:pt x="186" y="271"/>
                  <a:pt x="186" y="271"/>
                  <a:pt x="186" y="271"/>
                </a:cubicBezTo>
                <a:cubicBezTo>
                  <a:pt x="186" y="266"/>
                  <a:pt x="192" y="248"/>
                  <a:pt x="189" y="248"/>
                </a:cubicBezTo>
                <a:cubicBezTo>
                  <a:pt x="187" y="248"/>
                  <a:pt x="185" y="242"/>
                  <a:pt x="185" y="242"/>
                </a:cubicBezTo>
                <a:cubicBezTo>
                  <a:pt x="189" y="0"/>
                  <a:pt x="189" y="0"/>
                  <a:pt x="189" y="0"/>
                </a:cubicBezTo>
                <a:cubicBezTo>
                  <a:pt x="230" y="2"/>
                  <a:pt x="230" y="2"/>
                  <a:pt x="230" y="2"/>
                </a:cubicBezTo>
                <a:cubicBezTo>
                  <a:pt x="231" y="2"/>
                  <a:pt x="231" y="2"/>
                  <a:pt x="231" y="2"/>
                </a:cubicBezTo>
                <a:cubicBezTo>
                  <a:pt x="370" y="117"/>
                  <a:pt x="370" y="117"/>
                  <a:pt x="370" y="117"/>
                </a:cubicBezTo>
                <a:cubicBezTo>
                  <a:pt x="370" y="117"/>
                  <a:pt x="375" y="124"/>
                  <a:pt x="374" y="128"/>
                </a:cubicBezTo>
                <a:cubicBezTo>
                  <a:pt x="373" y="131"/>
                  <a:pt x="376" y="139"/>
                  <a:pt x="381" y="139"/>
                </a:cubicBezTo>
                <a:cubicBezTo>
                  <a:pt x="385" y="139"/>
                  <a:pt x="389" y="136"/>
                  <a:pt x="393" y="140"/>
                </a:cubicBezTo>
                <a:cubicBezTo>
                  <a:pt x="397" y="143"/>
                  <a:pt x="401" y="146"/>
                  <a:pt x="404" y="150"/>
                </a:cubicBezTo>
                <a:cubicBezTo>
                  <a:pt x="407" y="153"/>
                  <a:pt x="416" y="147"/>
                  <a:pt x="418" y="151"/>
                </a:cubicBezTo>
                <a:cubicBezTo>
                  <a:pt x="420" y="154"/>
                  <a:pt x="429" y="167"/>
                  <a:pt x="427" y="170"/>
                </a:cubicBezTo>
                <a:cubicBezTo>
                  <a:pt x="425" y="174"/>
                  <a:pt x="423" y="180"/>
                  <a:pt x="423" y="180"/>
                </a:cubicBezTo>
                <a:cubicBezTo>
                  <a:pt x="423" y="180"/>
                  <a:pt x="437" y="181"/>
                  <a:pt x="447" y="181"/>
                </a:cubicBezTo>
                <a:cubicBezTo>
                  <a:pt x="447" y="181"/>
                  <a:pt x="451" y="227"/>
                  <a:pt x="449" y="243"/>
                </a:cubicBezTo>
                <a:cubicBezTo>
                  <a:pt x="447" y="258"/>
                  <a:pt x="439" y="258"/>
                  <a:pt x="440" y="265"/>
                </a:cubicBezTo>
                <a:cubicBezTo>
                  <a:pt x="441" y="271"/>
                  <a:pt x="434" y="285"/>
                  <a:pt x="428" y="288"/>
                </a:cubicBezTo>
                <a:cubicBezTo>
                  <a:pt x="423" y="291"/>
                  <a:pt x="408" y="288"/>
                  <a:pt x="403" y="288"/>
                </a:cubicBezTo>
                <a:cubicBezTo>
                  <a:pt x="397" y="288"/>
                  <a:pt x="387" y="286"/>
                  <a:pt x="383" y="287"/>
                </a:cubicBezTo>
                <a:cubicBezTo>
                  <a:pt x="379" y="288"/>
                  <a:pt x="365" y="287"/>
                  <a:pt x="365" y="287"/>
                </a:cubicBezTo>
                <a:cubicBezTo>
                  <a:pt x="365" y="287"/>
                  <a:pt x="365" y="298"/>
                  <a:pt x="352" y="296"/>
                </a:cubicBezTo>
                <a:cubicBezTo>
                  <a:pt x="339" y="293"/>
                  <a:pt x="318" y="278"/>
                  <a:pt x="311" y="289"/>
                </a:cubicBezTo>
                <a:cubicBezTo>
                  <a:pt x="303" y="300"/>
                  <a:pt x="298" y="303"/>
                  <a:pt x="292" y="303"/>
                </a:cubicBezTo>
                <a:cubicBezTo>
                  <a:pt x="285" y="303"/>
                  <a:pt x="280" y="302"/>
                  <a:pt x="280" y="305"/>
                </a:cubicBezTo>
                <a:cubicBezTo>
                  <a:pt x="280" y="309"/>
                  <a:pt x="275" y="314"/>
                  <a:pt x="271" y="315"/>
                </a:cubicBezTo>
                <a:cubicBezTo>
                  <a:pt x="267" y="316"/>
                  <a:pt x="256" y="319"/>
                  <a:pt x="256" y="319"/>
                </a:cubicBezTo>
                <a:cubicBezTo>
                  <a:pt x="256" y="319"/>
                  <a:pt x="248" y="320"/>
                  <a:pt x="247" y="323"/>
                </a:cubicBezTo>
                <a:cubicBezTo>
                  <a:pt x="246" y="326"/>
                  <a:pt x="245" y="338"/>
                  <a:pt x="245" y="338"/>
                </a:cubicBezTo>
                <a:cubicBezTo>
                  <a:pt x="245" y="338"/>
                  <a:pt x="239" y="344"/>
                  <a:pt x="236" y="340"/>
                </a:cubicBezTo>
                <a:cubicBezTo>
                  <a:pt x="233" y="335"/>
                  <a:pt x="230" y="336"/>
                  <a:pt x="227" y="334"/>
                </a:cubicBezTo>
                <a:cubicBezTo>
                  <a:pt x="224" y="332"/>
                  <a:pt x="226" y="323"/>
                  <a:pt x="220" y="326"/>
                </a:cubicBezTo>
                <a:cubicBezTo>
                  <a:pt x="215" y="330"/>
                  <a:pt x="212" y="333"/>
                  <a:pt x="213" y="336"/>
                </a:cubicBezTo>
                <a:cubicBezTo>
                  <a:pt x="214" y="340"/>
                  <a:pt x="220" y="341"/>
                  <a:pt x="217" y="347"/>
                </a:cubicBezTo>
                <a:cubicBezTo>
                  <a:pt x="214" y="354"/>
                  <a:pt x="207" y="353"/>
                  <a:pt x="207" y="353"/>
                </a:cubicBezTo>
                <a:cubicBezTo>
                  <a:pt x="204" y="362"/>
                  <a:pt x="203" y="372"/>
                  <a:pt x="197" y="372"/>
                </a:cubicBezTo>
                <a:cubicBezTo>
                  <a:pt x="192" y="372"/>
                  <a:pt x="185" y="367"/>
                  <a:pt x="182" y="374"/>
                </a:cubicBezTo>
                <a:cubicBezTo>
                  <a:pt x="179" y="380"/>
                  <a:pt x="182" y="386"/>
                  <a:pt x="182" y="391"/>
                </a:cubicBezTo>
                <a:cubicBezTo>
                  <a:pt x="182" y="397"/>
                  <a:pt x="181" y="396"/>
                  <a:pt x="177" y="401"/>
                </a:cubicBezTo>
                <a:cubicBezTo>
                  <a:pt x="172" y="407"/>
                  <a:pt x="170" y="409"/>
                  <a:pt x="173" y="412"/>
                </a:cubicBezTo>
                <a:cubicBezTo>
                  <a:pt x="177" y="415"/>
                  <a:pt x="181" y="423"/>
                  <a:pt x="175" y="423"/>
                </a:cubicBezTo>
                <a:cubicBezTo>
                  <a:pt x="170" y="423"/>
                  <a:pt x="161" y="418"/>
                  <a:pt x="159" y="422"/>
                </a:cubicBezTo>
                <a:cubicBezTo>
                  <a:pt x="157" y="426"/>
                  <a:pt x="150" y="434"/>
                  <a:pt x="151" y="425"/>
                </a:cubicBezTo>
                <a:cubicBezTo>
                  <a:pt x="152" y="416"/>
                  <a:pt x="155" y="410"/>
                  <a:pt x="155" y="410"/>
                </a:cubicBezTo>
                <a:cubicBezTo>
                  <a:pt x="155" y="410"/>
                  <a:pt x="149" y="402"/>
                  <a:pt x="147" y="407"/>
                </a:cubicBezTo>
                <a:cubicBezTo>
                  <a:pt x="141" y="418"/>
                  <a:pt x="140" y="418"/>
                  <a:pt x="136" y="416"/>
                </a:cubicBezTo>
                <a:cubicBezTo>
                  <a:pt x="132" y="415"/>
                  <a:pt x="126" y="410"/>
                  <a:pt x="127" y="416"/>
                </a:cubicBezTo>
                <a:cubicBezTo>
                  <a:pt x="128" y="423"/>
                  <a:pt x="121" y="422"/>
                  <a:pt x="121" y="422"/>
                </a:cubicBezTo>
                <a:cubicBezTo>
                  <a:pt x="121" y="422"/>
                  <a:pt x="121" y="409"/>
                  <a:pt x="117" y="411"/>
                </a:cubicBezTo>
                <a:cubicBezTo>
                  <a:pt x="114" y="413"/>
                  <a:pt x="111" y="413"/>
                  <a:pt x="110" y="418"/>
                </a:cubicBezTo>
                <a:cubicBezTo>
                  <a:pt x="108" y="422"/>
                  <a:pt x="103" y="420"/>
                  <a:pt x="103" y="420"/>
                </a:cubicBezTo>
                <a:cubicBezTo>
                  <a:pt x="94" y="408"/>
                  <a:pt x="94" y="408"/>
                  <a:pt x="94" y="408"/>
                </a:cubicBezTo>
                <a:cubicBezTo>
                  <a:pt x="94" y="408"/>
                  <a:pt x="108" y="410"/>
                  <a:pt x="101" y="403"/>
                </a:cubicBezTo>
                <a:cubicBezTo>
                  <a:pt x="93" y="397"/>
                  <a:pt x="89" y="396"/>
                  <a:pt x="89" y="392"/>
                </a:cubicBezTo>
                <a:cubicBezTo>
                  <a:pt x="89" y="389"/>
                  <a:pt x="97" y="388"/>
                  <a:pt x="97" y="388"/>
                </a:cubicBezTo>
                <a:cubicBezTo>
                  <a:pt x="97" y="388"/>
                  <a:pt x="94" y="371"/>
                  <a:pt x="92" y="376"/>
                </a:cubicBezTo>
                <a:cubicBezTo>
                  <a:pt x="90" y="380"/>
                  <a:pt x="82" y="375"/>
                  <a:pt x="82" y="375"/>
                </a:cubicBezTo>
                <a:cubicBezTo>
                  <a:pt x="82" y="363"/>
                  <a:pt x="82" y="363"/>
                  <a:pt x="82" y="363"/>
                </a:cubicBezTo>
                <a:cubicBezTo>
                  <a:pt x="73" y="352"/>
                  <a:pt x="73" y="352"/>
                  <a:pt x="73" y="352"/>
                </a:cubicBezTo>
                <a:cubicBezTo>
                  <a:pt x="73" y="352"/>
                  <a:pt x="62" y="346"/>
                  <a:pt x="63" y="355"/>
                </a:cubicBezTo>
                <a:cubicBezTo>
                  <a:pt x="65" y="364"/>
                  <a:pt x="60" y="368"/>
                  <a:pt x="57" y="367"/>
                </a:cubicBezTo>
                <a:cubicBezTo>
                  <a:pt x="54" y="366"/>
                  <a:pt x="52" y="349"/>
                  <a:pt x="47" y="355"/>
                </a:cubicBezTo>
                <a:cubicBezTo>
                  <a:pt x="41" y="360"/>
                  <a:pt x="40" y="366"/>
                  <a:pt x="37" y="367"/>
                </a:cubicBezTo>
                <a:cubicBezTo>
                  <a:pt x="34" y="368"/>
                  <a:pt x="33" y="356"/>
                  <a:pt x="27" y="359"/>
                </a:cubicBezTo>
                <a:cubicBezTo>
                  <a:pt x="22" y="363"/>
                  <a:pt x="17" y="369"/>
                  <a:pt x="15" y="362"/>
                </a:cubicBezTo>
                <a:cubicBezTo>
                  <a:pt x="13" y="354"/>
                  <a:pt x="12" y="352"/>
                  <a:pt x="16" y="349"/>
                </a:cubicBezTo>
                <a:cubicBezTo>
                  <a:pt x="21" y="347"/>
                  <a:pt x="21" y="344"/>
                  <a:pt x="21" y="340"/>
                </a:cubicBezTo>
                <a:cubicBezTo>
                  <a:pt x="21" y="335"/>
                  <a:pt x="14" y="313"/>
                  <a:pt x="10" y="315"/>
                </a:cubicBezTo>
                <a:cubicBezTo>
                  <a:pt x="5" y="318"/>
                  <a:pt x="0" y="320"/>
                  <a:pt x="2" y="313"/>
                </a:cubicBezTo>
                <a:cubicBezTo>
                  <a:pt x="4" y="307"/>
                  <a:pt x="5" y="303"/>
                  <a:pt x="5" y="303"/>
                </a:cubicBezTo>
                <a:cubicBezTo>
                  <a:pt x="5" y="292"/>
                  <a:pt x="5" y="292"/>
                  <a:pt x="5" y="292"/>
                </a:cubicBezTo>
                <a:lnTo>
                  <a:pt x="6" y="28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24" name="Line 660"/>
          <p:cNvSpPr>
            <a:spLocks noChangeShapeType="1"/>
          </p:cNvSpPr>
          <p:nvPr userDrawn="1"/>
        </p:nvSpPr>
        <p:spPr bwMode="auto">
          <a:xfrm>
            <a:off x="5388476" y="4404964"/>
            <a:ext cx="1675" cy="167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25" name="Line 661"/>
          <p:cNvSpPr>
            <a:spLocks noChangeShapeType="1"/>
          </p:cNvSpPr>
          <p:nvPr userDrawn="1"/>
        </p:nvSpPr>
        <p:spPr bwMode="auto">
          <a:xfrm>
            <a:off x="5388476" y="4404964"/>
            <a:ext cx="1675" cy="1675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26" name="Freeform 662"/>
          <p:cNvSpPr>
            <a:spLocks/>
          </p:cNvSpPr>
          <p:nvPr userDrawn="1"/>
        </p:nvSpPr>
        <p:spPr bwMode="auto">
          <a:xfrm>
            <a:off x="5071883" y="4299433"/>
            <a:ext cx="304867" cy="331668"/>
          </a:xfrm>
          <a:custGeom>
            <a:avLst/>
            <a:gdLst>
              <a:gd name="T0" fmla="*/ 2147483646 w 328"/>
              <a:gd name="T1" fmla="*/ 2147483646 h 355"/>
              <a:gd name="T2" fmla="*/ 2147483646 w 328"/>
              <a:gd name="T3" fmla="*/ 2147483646 h 355"/>
              <a:gd name="T4" fmla="*/ 2147483646 w 328"/>
              <a:gd name="T5" fmla="*/ 2147483646 h 355"/>
              <a:gd name="T6" fmla="*/ 2147483646 w 328"/>
              <a:gd name="T7" fmla="*/ 2147483646 h 355"/>
              <a:gd name="T8" fmla="*/ 2147483646 w 328"/>
              <a:gd name="T9" fmla="*/ 2147483646 h 355"/>
              <a:gd name="T10" fmla="*/ 2147483646 w 328"/>
              <a:gd name="T11" fmla="*/ 2147483646 h 355"/>
              <a:gd name="T12" fmla="*/ 2147483646 w 328"/>
              <a:gd name="T13" fmla="*/ 2147483646 h 355"/>
              <a:gd name="T14" fmla="*/ 2147483646 w 328"/>
              <a:gd name="T15" fmla="*/ 2147483646 h 355"/>
              <a:gd name="T16" fmla="*/ 2147483646 w 328"/>
              <a:gd name="T17" fmla="*/ 2147483646 h 355"/>
              <a:gd name="T18" fmla="*/ 2147483646 w 328"/>
              <a:gd name="T19" fmla="*/ 2147483646 h 355"/>
              <a:gd name="T20" fmla="*/ 2147483646 w 328"/>
              <a:gd name="T21" fmla="*/ 2147483646 h 355"/>
              <a:gd name="T22" fmla="*/ 2147483646 w 328"/>
              <a:gd name="T23" fmla="*/ 2147483646 h 355"/>
              <a:gd name="T24" fmla="*/ 2147483646 w 328"/>
              <a:gd name="T25" fmla="*/ 2147483646 h 355"/>
              <a:gd name="T26" fmla="*/ 2147483646 w 328"/>
              <a:gd name="T27" fmla="*/ 0 h 355"/>
              <a:gd name="T28" fmla="*/ 2147483646 w 328"/>
              <a:gd name="T29" fmla="*/ 2147483646 h 355"/>
              <a:gd name="T30" fmla="*/ 2147483646 w 328"/>
              <a:gd name="T31" fmla="*/ 2147483646 h 355"/>
              <a:gd name="T32" fmla="*/ 2147483646 w 328"/>
              <a:gd name="T33" fmla="*/ 2147483646 h 355"/>
              <a:gd name="T34" fmla="*/ 2147483646 w 328"/>
              <a:gd name="T35" fmla="*/ 2147483646 h 355"/>
              <a:gd name="T36" fmla="*/ 2147483646 w 328"/>
              <a:gd name="T37" fmla="*/ 2147483646 h 355"/>
              <a:gd name="T38" fmla="*/ 2147483646 w 328"/>
              <a:gd name="T39" fmla="*/ 2147483646 h 355"/>
              <a:gd name="T40" fmla="*/ 2147483646 w 328"/>
              <a:gd name="T41" fmla="*/ 2147483646 h 355"/>
              <a:gd name="T42" fmla="*/ 2147483646 w 328"/>
              <a:gd name="T43" fmla="*/ 2147483646 h 355"/>
              <a:gd name="T44" fmla="*/ 2147483646 w 328"/>
              <a:gd name="T45" fmla="*/ 2147483646 h 355"/>
              <a:gd name="T46" fmla="*/ 2147483646 w 328"/>
              <a:gd name="T47" fmla="*/ 2147483646 h 355"/>
              <a:gd name="T48" fmla="*/ 2147483646 w 328"/>
              <a:gd name="T49" fmla="*/ 2147483646 h 355"/>
              <a:gd name="T50" fmla="*/ 2147483646 w 328"/>
              <a:gd name="T51" fmla="*/ 2147483646 h 355"/>
              <a:gd name="T52" fmla="*/ 2147483646 w 328"/>
              <a:gd name="T53" fmla="*/ 2147483646 h 355"/>
              <a:gd name="T54" fmla="*/ 2147483646 w 328"/>
              <a:gd name="T55" fmla="*/ 2147483646 h 355"/>
              <a:gd name="T56" fmla="*/ 2147483646 w 328"/>
              <a:gd name="T57" fmla="*/ 2147483646 h 355"/>
              <a:gd name="T58" fmla="*/ 2147483646 w 328"/>
              <a:gd name="T59" fmla="*/ 2147483646 h 355"/>
              <a:gd name="T60" fmla="*/ 2147483646 w 328"/>
              <a:gd name="T61" fmla="*/ 2147483646 h 355"/>
              <a:gd name="T62" fmla="*/ 2147483646 w 328"/>
              <a:gd name="T63" fmla="*/ 2147483646 h 355"/>
              <a:gd name="T64" fmla="*/ 2147483646 w 328"/>
              <a:gd name="T65" fmla="*/ 2147483646 h 355"/>
              <a:gd name="T66" fmla="*/ 2147483646 w 328"/>
              <a:gd name="T67" fmla="*/ 2147483646 h 355"/>
              <a:gd name="T68" fmla="*/ 2147483646 w 328"/>
              <a:gd name="T69" fmla="*/ 2147483646 h 355"/>
              <a:gd name="T70" fmla="*/ 2147483646 w 328"/>
              <a:gd name="T71" fmla="*/ 2147483646 h 355"/>
              <a:gd name="T72" fmla="*/ 2147483646 w 328"/>
              <a:gd name="T73" fmla="*/ 2147483646 h 355"/>
              <a:gd name="T74" fmla="*/ 2147483646 w 328"/>
              <a:gd name="T75" fmla="*/ 2147483646 h 355"/>
              <a:gd name="T76" fmla="*/ 2147483646 w 328"/>
              <a:gd name="T77" fmla="*/ 2147483646 h 355"/>
              <a:gd name="T78" fmla="*/ 2147483646 w 328"/>
              <a:gd name="T79" fmla="*/ 2147483646 h 35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28"/>
              <a:gd name="T121" fmla="*/ 0 h 355"/>
              <a:gd name="T122" fmla="*/ 328 w 328"/>
              <a:gd name="T123" fmla="*/ 355 h 35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28" h="355">
                <a:moveTo>
                  <a:pt x="104" y="350"/>
                </a:moveTo>
                <a:cubicBezTo>
                  <a:pt x="113" y="355"/>
                  <a:pt x="112" y="329"/>
                  <a:pt x="119" y="326"/>
                </a:cubicBezTo>
                <a:cubicBezTo>
                  <a:pt x="126" y="323"/>
                  <a:pt x="129" y="327"/>
                  <a:pt x="134" y="335"/>
                </a:cubicBezTo>
                <a:cubicBezTo>
                  <a:pt x="139" y="343"/>
                  <a:pt x="140" y="337"/>
                  <a:pt x="144" y="332"/>
                </a:cubicBezTo>
                <a:cubicBezTo>
                  <a:pt x="147" y="327"/>
                  <a:pt x="161" y="335"/>
                  <a:pt x="161" y="335"/>
                </a:cubicBezTo>
                <a:cubicBezTo>
                  <a:pt x="161" y="335"/>
                  <a:pt x="179" y="335"/>
                  <a:pt x="179" y="329"/>
                </a:cubicBezTo>
                <a:cubicBezTo>
                  <a:pt x="179" y="323"/>
                  <a:pt x="188" y="334"/>
                  <a:pt x="188" y="334"/>
                </a:cubicBezTo>
                <a:cubicBezTo>
                  <a:pt x="284" y="337"/>
                  <a:pt x="284" y="337"/>
                  <a:pt x="284" y="337"/>
                </a:cubicBezTo>
                <a:cubicBezTo>
                  <a:pt x="284" y="332"/>
                  <a:pt x="290" y="314"/>
                  <a:pt x="287" y="314"/>
                </a:cubicBezTo>
                <a:cubicBezTo>
                  <a:pt x="285" y="314"/>
                  <a:pt x="283" y="308"/>
                  <a:pt x="283" y="308"/>
                </a:cubicBezTo>
                <a:cubicBezTo>
                  <a:pt x="287" y="66"/>
                  <a:pt x="287" y="66"/>
                  <a:pt x="287" y="66"/>
                </a:cubicBezTo>
                <a:cubicBezTo>
                  <a:pt x="328" y="68"/>
                  <a:pt x="328" y="68"/>
                  <a:pt x="328" y="68"/>
                </a:cubicBezTo>
                <a:cubicBezTo>
                  <a:pt x="323" y="64"/>
                  <a:pt x="323" y="64"/>
                  <a:pt x="323" y="64"/>
                </a:cubicBezTo>
                <a:cubicBezTo>
                  <a:pt x="246" y="0"/>
                  <a:pt x="246" y="0"/>
                  <a:pt x="246" y="0"/>
                </a:cubicBezTo>
                <a:cubicBezTo>
                  <a:pt x="239" y="35"/>
                  <a:pt x="239" y="35"/>
                  <a:pt x="239" y="35"/>
                </a:cubicBezTo>
                <a:cubicBezTo>
                  <a:pt x="156" y="27"/>
                  <a:pt x="156" y="27"/>
                  <a:pt x="156" y="27"/>
                </a:cubicBezTo>
                <a:cubicBezTo>
                  <a:pt x="143" y="99"/>
                  <a:pt x="143" y="99"/>
                  <a:pt x="143" y="99"/>
                </a:cubicBezTo>
                <a:cubicBezTo>
                  <a:pt x="143" y="99"/>
                  <a:pt x="112" y="107"/>
                  <a:pt x="110" y="118"/>
                </a:cubicBezTo>
                <a:cubicBezTo>
                  <a:pt x="109" y="130"/>
                  <a:pt x="108" y="157"/>
                  <a:pt x="108" y="157"/>
                </a:cubicBezTo>
                <a:cubicBezTo>
                  <a:pt x="8" y="148"/>
                  <a:pt x="8" y="148"/>
                  <a:pt x="8" y="148"/>
                </a:cubicBezTo>
                <a:cubicBezTo>
                  <a:pt x="8" y="148"/>
                  <a:pt x="0" y="155"/>
                  <a:pt x="5" y="161"/>
                </a:cubicBezTo>
                <a:cubicBezTo>
                  <a:pt x="9" y="166"/>
                  <a:pt x="12" y="170"/>
                  <a:pt x="14" y="173"/>
                </a:cubicBezTo>
                <a:cubicBezTo>
                  <a:pt x="17" y="177"/>
                  <a:pt x="20" y="177"/>
                  <a:pt x="19" y="183"/>
                </a:cubicBezTo>
                <a:cubicBezTo>
                  <a:pt x="18" y="189"/>
                  <a:pt x="17" y="191"/>
                  <a:pt x="15" y="194"/>
                </a:cubicBezTo>
                <a:cubicBezTo>
                  <a:pt x="14" y="198"/>
                  <a:pt x="9" y="199"/>
                  <a:pt x="12" y="204"/>
                </a:cubicBezTo>
                <a:cubicBezTo>
                  <a:pt x="14" y="208"/>
                  <a:pt x="19" y="215"/>
                  <a:pt x="20" y="216"/>
                </a:cubicBezTo>
                <a:cubicBezTo>
                  <a:pt x="20" y="218"/>
                  <a:pt x="16" y="221"/>
                  <a:pt x="17" y="228"/>
                </a:cubicBezTo>
                <a:cubicBezTo>
                  <a:pt x="17" y="235"/>
                  <a:pt x="19" y="234"/>
                  <a:pt x="17" y="240"/>
                </a:cubicBezTo>
                <a:cubicBezTo>
                  <a:pt x="16" y="247"/>
                  <a:pt x="12" y="258"/>
                  <a:pt x="10" y="259"/>
                </a:cubicBezTo>
                <a:cubicBezTo>
                  <a:pt x="9" y="261"/>
                  <a:pt x="6" y="271"/>
                  <a:pt x="3" y="276"/>
                </a:cubicBezTo>
                <a:cubicBezTo>
                  <a:pt x="1" y="280"/>
                  <a:pt x="1" y="280"/>
                  <a:pt x="1" y="288"/>
                </a:cubicBezTo>
                <a:cubicBezTo>
                  <a:pt x="1" y="288"/>
                  <a:pt x="6" y="290"/>
                  <a:pt x="10" y="290"/>
                </a:cubicBezTo>
                <a:cubicBezTo>
                  <a:pt x="14" y="290"/>
                  <a:pt x="28" y="290"/>
                  <a:pt x="30" y="290"/>
                </a:cubicBezTo>
                <a:cubicBezTo>
                  <a:pt x="33" y="291"/>
                  <a:pt x="35" y="287"/>
                  <a:pt x="41" y="287"/>
                </a:cubicBezTo>
                <a:cubicBezTo>
                  <a:pt x="46" y="288"/>
                  <a:pt x="56" y="289"/>
                  <a:pt x="59" y="296"/>
                </a:cubicBezTo>
                <a:cubicBezTo>
                  <a:pt x="62" y="303"/>
                  <a:pt x="65" y="308"/>
                  <a:pt x="71" y="307"/>
                </a:cubicBezTo>
                <a:cubicBezTo>
                  <a:pt x="77" y="307"/>
                  <a:pt x="80" y="319"/>
                  <a:pt x="85" y="323"/>
                </a:cubicBezTo>
                <a:cubicBezTo>
                  <a:pt x="90" y="328"/>
                  <a:pt x="97" y="329"/>
                  <a:pt x="97" y="329"/>
                </a:cubicBezTo>
                <a:cubicBezTo>
                  <a:pt x="97" y="329"/>
                  <a:pt x="96" y="338"/>
                  <a:pt x="98" y="342"/>
                </a:cubicBezTo>
                <a:lnTo>
                  <a:pt x="104" y="35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27" name="Freeform 663"/>
          <p:cNvSpPr>
            <a:spLocks/>
          </p:cNvSpPr>
          <p:nvPr userDrawn="1"/>
        </p:nvSpPr>
        <p:spPr bwMode="auto">
          <a:xfrm>
            <a:off x="5041733" y="4567447"/>
            <a:ext cx="140708" cy="154108"/>
          </a:xfrm>
          <a:custGeom>
            <a:avLst/>
            <a:gdLst>
              <a:gd name="T0" fmla="*/ 2147483646 w 151"/>
              <a:gd name="T1" fmla="*/ 2147483646 h 166"/>
              <a:gd name="T2" fmla="*/ 2147483646 w 151"/>
              <a:gd name="T3" fmla="*/ 2147483646 h 166"/>
              <a:gd name="T4" fmla="*/ 2147483646 w 151"/>
              <a:gd name="T5" fmla="*/ 2147483646 h 166"/>
              <a:gd name="T6" fmla="*/ 2147483646 w 151"/>
              <a:gd name="T7" fmla="*/ 0 h 166"/>
              <a:gd name="T8" fmla="*/ 2147483646 w 151"/>
              <a:gd name="T9" fmla="*/ 2147483646 h 166"/>
              <a:gd name="T10" fmla="*/ 2147483646 w 151"/>
              <a:gd name="T11" fmla="*/ 2147483646 h 166"/>
              <a:gd name="T12" fmla="*/ 2147483646 w 151"/>
              <a:gd name="T13" fmla="*/ 2147483646 h 166"/>
              <a:gd name="T14" fmla="*/ 2147483646 w 151"/>
              <a:gd name="T15" fmla="*/ 2147483646 h 166"/>
              <a:gd name="T16" fmla="*/ 2147483646 w 151"/>
              <a:gd name="T17" fmla="*/ 2147483646 h 166"/>
              <a:gd name="T18" fmla="*/ 2147483646 w 151"/>
              <a:gd name="T19" fmla="*/ 2147483646 h 166"/>
              <a:gd name="T20" fmla="*/ 2147483646 w 151"/>
              <a:gd name="T21" fmla="*/ 2147483646 h 166"/>
              <a:gd name="T22" fmla="*/ 2147483646 w 151"/>
              <a:gd name="T23" fmla="*/ 2147483646 h 166"/>
              <a:gd name="T24" fmla="*/ 2147483646 w 151"/>
              <a:gd name="T25" fmla="*/ 2147483646 h 166"/>
              <a:gd name="T26" fmla="*/ 2147483646 w 151"/>
              <a:gd name="T27" fmla="*/ 2147483646 h 166"/>
              <a:gd name="T28" fmla="*/ 2147483646 w 151"/>
              <a:gd name="T29" fmla="*/ 2147483646 h 166"/>
              <a:gd name="T30" fmla="*/ 2147483646 w 151"/>
              <a:gd name="T31" fmla="*/ 2147483646 h 166"/>
              <a:gd name="T32" fmla="*/ 2147483646 w 151"/>
              <a:gd name="T33" fmla="*/ 2147483646 h 166"/>
              <a:gd name="T34" fmla="*/ 2147483646 w 151"/>
              <a:gd name="T35" fmla="*/ 2147483646 h 166"/>
              <a:gd name="T36" fmla="*/ 2147483646 w 151"/>
              <a:gd name="T37" fmla="*/ 2147483646 h 166"/>
              <a:gd name="T38" fmla="*/ 2147483646 w 151"/>
              <a:gd name="T39" fmla="*/ 2147483646 h 166"/>
              <a:gd name="T40" fmla="*/ 2147483646 w 151"/>
              <a:gd name="T41" fmla="*/ 2147483646 h 166"/>
              <a:gd name="T42" fmla="*/ 2147483646 w 151"/>
              <a:gd name="T43" fmla="*/ 2147483646 h 166"/>
              <a:gd name="T44" fmla="*/ 2147483646 w 151"/>
              <a:gd name="T45" fmla="*/ 2147483646 h 166"/>
              <a:gd name="T46" fmla="*/ 2147483646 w 151"/>
              <a:gd name="T47" fmla="*/ 2147483646 h 166"/>
              <a:gd name="T48" fmla="*/ 2147483646 w 151"/>
              <a:gd name="T49" fmla="*/ 2147483646 h 166"/>
              <a:gd name="T50" fmla="*/ 2147483646 w 151"/>
              <a:gd name="T51" fmla="*/ 2147483646 h 166"/>
              <a:gd name="T52" fmla="*/ 2147483646 w 151"/>
              <a:gd name="T53" fmla="*/ 2147483646 h 166"/>
              <a:gd name="T54" fmla="*/ 2147483646 w 151"/>
              <a:gd name="T55" fmla="*/ 2147483646 h 166"/>
              <a:gd name="T56" fmla="*/ 2147483646 w 151"/>
              <a:gd name="T57" fmla="*/ 2147483646 h 166"/>
              <a:gd name="T58" fmla="*/ 2147483646 w 151"/>
              <a:gd name="T59" fmla="*/ 2147483646 h 166"/>
              <a:gd name="T60" fmla="*/ 2147483646 w 151"/>
              <a:gd name="T61" fmla="*/ 2147483646 h 166"/>
              <a:gd name="T62" fmla="*/ 2147483646 w 151"/>
              <a:gd name="T63" fmla="*/ 2147483646 h 166"/>
              <a:gd name="T64" fmla="*/ 2147483646 w 151"/>
              <a:gd name="T65" fmla="*/ 2147483646 h 166"/>
              <a:gd name="T66" fmla="*/ 2147483646 w 151"/>
              <a:gd name="T67" fmla="*/ 2147483646 h 166"/>
              <a:gd name="T68" fmla="*/ 2147483646 w 151"/>
              <a:gd name="T69" fmla="*/ 2147483646 h 166"/>
              <a:gd name="T70" fmla="*/ 2147483646 w 151"/>
              <a:gd name="T71" fmla="*/ 2147483646 h 166"/>
              <a:gd name="T72" fmla="*/ 2147483646 w 151"/>
              <a:gd name="T73" fmla="*/ 2147483646 h 166"/>
              <a:gd name="T74" fmla="*/ 2147483646 w 151"/>
              <a:gd name="T75" fmla="*/ 2147483646 h 166"/>
              <a:gd name="T76" fmla="*/ 2147483646 w 151"/>
              <a:gd name="T77" fmla="*/ 2147483646 h 166"/>
              <a:gd name="T78" fmla="*/ 2147483646 w 151"/>
              <a:gd name="T79" fmla="*/ 2147483646 h 166"/>
              <a:gd name="T80" fmla="*/ 2147483646 w 151"/>
              <a:gd name="T81" fmla="*/ 2147483646 h 166"/>
              <a:gd name="T82" fmla="*/ 2147483646 w 151"/>
              <a:gd name="T83" fmla="*/ 2147483646 h 166"/>
              <a:gd name="T84" fmla="*/ 2147483646 w 151"/>
              <a:gd name="T85" fmla="*/ 2147483646 h 166"/>
              <a:gd name="T86" fmla="*/ 2147483646 w 151"/>
              <a:gd name="T87" fmla="*/ 2147483646 h 166"/>
              <a:gd name="T88" fmla="*/ 2147483646 w 151"/>
              <a:gd name="T89" fmla="*/ 2147483646 h 166"/>
              <a:gd name="T90" fmla="*/ 2147483646 w 151"/>
              <a:gd name="T91" fmla="*/ 2147483646 h 166"/>
              <a:gd name="T92" fmla="*/ 2147483646 w 151"/>
              <a:gd name="T93" fmla="*/ 2147483646 h 166"/>
              <a:gd name="T94" fmla="*/ 2147483646 w 151"/>
              <a:gd name="T95" fmla="*/ 2147483646 h 166"/>
              <a:gd name="T96" fmla="*/ 2147483646 w 151"/>
              <a:gd name="T97" fmla="*/ 2147483646 h 166"/>
              <a:gd name="T98" fmla="*/ 2147483646 w 151"/>
              <a:gd name="T99" fmla="*/ 2147483646 h 166"/>
              <a:gd name="T100" fmla="*/ 2147483646 w 151"/>
              <a:gd name="T101" fmla="*/ 2147483646 h 16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51"/>
              <a:gd name="T154" fmla="*/ 0 h 166"/>
              <a:gd name="T155" fmla="*/ 151 w 151"/>
              <a:gd name="T156" fmla="*/ 166 h 16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51" h="166">
                <a:moveTo>
                  <a:pt x="33" y="1"/>
                </a:moveTo>
                <a:cubicBezTo>
                  <a:pt x="33" y="1"/>
                  <a:pt x="38" y="3"/>
                  <a:pt x="42" y="3"/>
                </a:cubicBezTo>
                <a:cubicBezTo>
                  <a:pt x="46" y="3"/>
                  <a:pt x="60" y="3"/>
                  <a:pt x="62" y="3"/>
                </a:cubicBezTo>
                <a:cubicBezTo>
                  <a:pt x="65" y="4"/>
                  <a:pt x="67" y="0"/>
                  <a:pt x="73" y="0"/>
                </a:cubicBezTo>
                <a:cubicBezTo>
                  <a:pt x="78" y="1"/>
                  <a:pt x="88" y="2"/>
                  <a:pt x="91" y="9"/>
                </a:cubicBezTo>
                <a:cubicBezTo>
                  <a:pt x="94" y="16"/>
                  <a:pt x="97" y="21"/>
                  <a:pt x="103" y="20"/>
                </a:cubicBezTo>
                <a:cubicBezTo>
                  <a:pt x="109" y="20"/>
                  <a:pt x="112" y="32"/>
                  <a:pt x="117" y="36"/>
                </a:cubicBezTo>
                <a:cubicBezTo>
                  <a:pt x="122" y="41"/>
                  <a:pt x="129" y="42"/>
                  <a:pt x="129" y="42"/>
                </a:cubicBezTo>
                <a:cubicBezTo>
                  <a:pt x="129" y="42"/>
                  <a:pt x="128" y="51"/>
                  <a:pt x="130" y="55"/>
                </a:cubicBezTo>
                <a:cubicBezTo>
                  <a:pt x="136" y="63"/>
                  <a:pt x="136" y="63"/>
                  <a:pt x="136" y="63"/>
                </a:cubicBezTo>
                <a:cubicBezTo>
                  <a:pt x="135" y="71"/>
                  <a:pt x="135" y="71"/>
                  <a:pt x="135" y="71"/>
                </a:cubicBezTo>
                <a:cubicBezTo>
                  <a:pt x="135" y="82"/>
                  <a:pt x="135" y="82"/>
                  <a:pt x="135" y="82"/>
                </a:cubicBezTo>
                <a:cubicBezTo>
                  <a:pt x="135" y="82"/>
                  <a:pt x="134" y="86"/>
                  <a:pt x="132" y="92"/>
                </a:cubicBezTo>
                <a:cubicBezTo>
                  <a:pt x="130" y="99"/>
                  <a:pt x="135" y="97"/>
                  <a:pt x="140" y="94"/>
                </a:cubicBezTo>
                <a:cubicBezTo>
                  <a:pt x="144" y="92"/>
                  <a:pt x="151" y="114"/>
                  <a:pt x="151" y="119"/>
                </a:cubicBezTo>
                <a:cubicBezTo>
                  <a:pt x="151" y="123"/>
                  <a:pt x="151" y="126"/>
                  <a:pt x="146" y="128"/>
                </a:cubicBezTo>
                <a:cubicBezTo>
                  <a:pt x="146" y="128"/>
                  <a:pt x="137" y="132"/>
                  <a:pt x="134" y="132"/>
                </a:cubicBezTo>
                <a:cubicBezTo>
                  <a:pt x="130" y="131"/>
                  <a:pt x="122" y="136"/>
                  <a:pt x="118" y="132"/>
                </a:cubicBezTo>
                <a:cubicBezTo>
                  <a:pt x="114" y="128"/>
                  <a:pt x="109" y="122"/>
                  <a:pt x="102" y="121"/>
                </a:cubicBezTo>
                <a:cubicBezTo>
                  <a:pt x="95" y="120"/>
                  <a:pt x="88" y="117"/>
                  <a:pt x="87" y="120"/>
                </a:cubicBezTo>
                <a:cubicBezTo>
                  <a:pt x="87" y="123"/>
                  <a:pt x="91" y="128"/>
                  <a:pt x="90" y="130"/>
                </a:cubicBezTo>
                <a:cubicBezTo>
                  <a:pt x="89" y="131"/>
                  <a:pt x="84" y="133"/>
                  <a:pt x="83" y="132"/>
                </a:cubicBezTo>
                <a:cubicBezTo>
                  <a:pt x="82" y="131"/>
                  <a:pt x="78" y="128"/>
                  <a:pt x="80" y="131"/>
                </a:cubicBezTo>
                <a:cubicBezTo>
                  <a:pt x="81" y="135"/>
                  <a:pt x="87" y="139"/>
                  <a:pt x="88" y="141"/>
                </a:cubicBezTo>
                <a:cubicBezTo>
                  <a:pt x="88" y="142"/>
                  <a:pt x="87" y="146"/>
                  <a:pt x="83" y="148"/>
                </a:cubicBezTo>
                <a:cubicBezTo>
                  <a:pt x="80" y="150"/>
                  <a:pt x="77" y="148"/>
                  <a:pt x="74" y="149"/>
                </a:cubicBezTo>
                <a:cubicBezTo>
                  <a:pt x="70" y="150"/>
                  <a:pt x="58" y="148"/>
                  <a:pt x="51" y="166"/>
                </a:cubicBezTo>
                <a:cubicBezTo>
                  <a:pt x="51" y="166"/>
                  <a:pt x="46" y="157"/>
                  <a:pt x="44" y="155"/>
                </a:cubicBezTo>
                <a:cubicBezTo>
                  <a:pt x="41" y="153"/>
                  <a:pt x="42" y="147"/>
                  <a:pt x="44" y="145"/>
                </a:cubicBezTo>
                <a:cubicBezTo>
                  <a:pt x="46" y="143"/>
                  <a:pt x="48" y="141"/>
                  <a:pt x="51" y="139"/>
                </a:cubicBezTo>
                <a:cubicBezTo>
                  <a:pt x="54" y="137"/>
                  <a:pt x="52" y="134"/>
                  <a:pt x="45" y="136"/>
                </a:cubicBezTo>
                <a:cubicBezTo>
                  <a:pt x="39" y="139"/>
                  <a:pt x="32" y="139"/>
                  <a:pt x="29" y="141"/>
                </a:cubicBezTo>
                <a:cubicBezTo>
                  <a:pt x="27" y="143"/>
                  <a:pt x="22" y="140"/>
                  <a:pt x="20" y="136"/>
                </a:cubicBezTo>
                <a:cubicBezTo>
                  <a:pt x="18" y="132"/>
                  <a:pt x="18" y="128"/>
                  <a:pt x="14" y="127"/>
                </a:cubicBezTo>
                <a:cubicBezTo>
                  <a:pt x="11" y="125"/>
                  <a:pt x="10" y="124"/>
                  <a:pt x="9" y="122"/>
                </a:cubicBezTo>
                <a:cubicBezTo>
                  <a:pt x="9" y="120"/>
                  <a:pt x="15" y="122"/>
                  <a:pt x="16" y="123"/>
                </a:cubicBezTo>
                <a:cubicBezTo>
                  <a:pt x="18" y="123"/>
                  <a:pt x="25" y="125"/>
                  <a:pt x="33" y="124"/>
                </a:cubicBezTo>
                <a:cubicBezTo>
                  <a:pt x="41" y="122"/>
                  <a:pt x="42" y="120"/>
                  <a:pt x="45" y="117"/>
                </a:cubicBezTo>
                <a:cubicBezTo>
                  <a:pt x="45" y="117"/>
                  <a:pt x="25" y="127"/>
                  <a:pt x="12" y="116"/>
                </a:cubicBezTo>
                <a:cubicBezTo>
                  <a:pt x="0" y="106"/>
                  <a:pt x="9" y="108"/>
                  <a:pt x="10" y="103"/>
                </a:cubicBezTo>
                <a:cubicBezTo>
                  <a:pt x="11" y="98"/>
                  <a:pt x="14" y="88"/>
                  <a:pt x="15" y="84"/>
                </a:cubicBezTo>
                <a:cubicBezTo>
                  <a:pt x="17" y="81"/>
                  <a:pt x="19" y="77"/>
                  <a:pt x="21" y="73"/>
                </a:cubicBezTo>
                <a:cubicBezTo>
                  <a:pt x="22" y="70"/>
                  <a:pt x="18" y="77"/>
                  <a:pt x="15" y="78"/>
                </a:cubicBezTo>
                <a:cubicBezTo>
                  <a:pt x="13" y="79"/>
                  <a:pt x="11" y="70"/>
                  <a:pt x="11" y="69"/>
                </a:cubicBezTo>
                <a:cubicBezTo>
                  <a:pt x="10" y="67"/>
                  <a:pt x="8" y="62"/>
                  <a:pt x="6" y="61"/>
                </a:cubicBezTo>
                <a:cubicBezTo>
                  <a:pt x="5" y="60"/>
                  <a:pt x="2" y="61"/>
                  <a:pt x="2" y="57"/>
                </a:cubicBezTo>
                <a:cubicBezTo>
                  <a:pt x="2" y="52"/>
                  <a:pt x="4" y="47"/>
                  <a:pt x="7" y="46"/>
                </a:cubicBezTo>
                <a:cubicBezTo>
                  <a:pt x="10" y="45"/>
                  <a:pt x="10" y="40"/>
                  <a:pt x="13" y="40"/>
                </a:cubicBezTo>
                <a:cubicBezTo>
                  <a:pt x="16" y="39"/>
                  <a:pt x="18" y="32"/>
                  <a:pt x="21" y="29"/>
                </a:cubicBezTo>
                <a:cubicBezTo>
                  <a:pt x="24" y="25"/>
                  <a:pt x="25" y="21"/>
                  <a:pt x="26" y="18"/>
                </a:cubicBezTo>
                <a:cubicBezTo>
                  <a:pt x="28" y="15"/>
                  <a:pt x="33" y="1"/>
                  <a:pt x="3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28" name="Freeform 664"/>
          <p:cNvSpPr>
            <a:spLocks/>
          </p:cNvSpPr>
          <p:nvPr userDrawn="1"/>
        </p:nvSpPr>
        <p:spPr bwMode="auto">
          <a:xfrm>
            <a:off x="5088634" y="4676329"/>
            <a:ext cx="182585" cy="152433"/>
          </a:xfrm>
          <a:custGeom>
            <a:avLst/>
            <a:gdLst>
              <a:gd name="T0" fmla="*/ 0 w 196"/>
              <a:gd name="T1" fmla="*/ 2147483646 h 163"/>
              <a:gd name="T2" fmla="*/ 2147483646 w 196"/>
              <a:gd name="T3" fmla="*/ 2147483646 h 163"/>
              <a:gd name="T4" fmla="*/ 2147483646 w 196"/>
              <a:gd name="T5" fmla="*/ 2147483646 h 163"/>
              <a:gd name="T6" fmla="*/ 2147483646 w 196"/>
              <a:gd name="T7" fmla="*/ 2147483646 h 163"/>
              <a:gd name="T8" fmla="*/ 2147483646 w 196"/>
              <a:gd name="T9" fmla="*/ 2147483646 h 163"/>
              <a:gd name="T10" fmla="*/ 2147483646 w 196"/>
              <a:gd name="T11" fmla="*/ 2147483646 h 163"/>
              <a:gd name="T12" fmla="*/ 2147483646 w 196"/>
              <a:gd name="T13" fmla="*/ 2147483646 h 163"/>
              <a:gd name="T14" fmla="*/ 2147483646 w 196"/>
              <a:gd name="T15" fmla="*/ 2147483646 h 163"/>
              <a:gd name="T16" fmla="*/ 2147483646 w 196"/>
              <a:gd name="T17" fmla="*/ 2147483646 h 163"/>
              <a:gd name="T18" fmla="*/ 2147483646 w 196"/>
              <a:gd name="T19" fmla="*/ 2147483646 h 163"/>
              <a:gd name="T20" fmla="*/ 2147483646 w 196"/>
              <a:gd name="T21" fmla="*/ 2147483646 h 163"/>
              <a:gd name="T22" fmla="*/ 2147483646 w 196"/>
              <a:gd name="T23" fmla="*/ 2147483646 h 163"/>
              <a:gd name="T24" fmla="*/ 2147483646 w 196"/>
              <a:gd name="T25" fmla="*/ 2147483646 h 163"/>
              <a:gd name="T26" fmla="*/ 2147483646 w 196"/>
              <a:gd name="T27" fmla="*/ 2147483646 h 163"/>
              <a:gd name="T28" fmla="*/ 2147483646 w 196"/>
              <a:gd name="T29" fmla="*/ 2147483646 h 163"/>
              <a:gd name="T30" fmla="*/ 2147483646 w 196"/>
              <a:gd name="T31" fmla="*/ 2147483646 h 163"/>
              <a:gd name="T32" fmla="*/ 2147483646 w 196"/>
              <a:gd name="T33" fmla="*/ 2147483646 h 163"/>
              <a:gd name="T34" fmla="*/ 2147483646 w 196"/>
              <a:gd name="T35" fmla="*/ 2147483646 h 163"/>
              <a:gd name="T36" fmla="*/ 2147483646 w 196"/>
              <a:gd name="T37" fmla="*/ 2147483646 h 163"/>
              <a:gd name="T38" fmla="*/ 2147483646 w 196"/>
              <a:gd name="T39" fmla="*/ 2147483646 h 163"/>
              <a:gd name="T40" fmla="*/ 2147483646 w 196"/>
              <a:gd name="T41" fmla="*/ 2147483646 h 163"/>
              <a:gd name="T42" fmla="*/ 2147483646 w 196"/>
              <a:gd name="T43" fmla="*/ 2147483646 h 163"/>
              <a:gd name="T44" fmla="*/ 2147483646 w 196"/>
              <a:gd name="T45" fmla="*/ 2147483646 h 163"/>
              <a:gd name="T46" fmla="*/ 2147483646 w 196"/>
              <a:gd name="T47" fmla="*/ 2147483646 h 163"/>
              <a:gd name="T48" fmla="*/ 2147483646 w 196"/>
              <a:gd name="T49" fmla="*/ 2147483646 h 163"/>
              <a:gd name="T50" fmla="*/ 2147483646 w 196"/>
              <a:gd name="T51" fmla="*/ 2147483646 h 163"/>
              <a:gd name="T52" fmla="*/ 2147483646 w 196"/>
              <a:gd name="T53" fmla="*/ 2147483646 h 163"/>
              <a:gd name="T54" fmla="*/ 2147483646 w 196"/>
              <a:gd name="T55" fmla="*/ 2147483646 h 163"/>
              <a:gd name="T56" fmla="*/ 2147483646 w 196"/>
              <a:gd name="T57" fmla="*/ 2147483646 h 163"/>
              <a:gd name="T58" fmla="*/ 2147483646 w 196"/>
              <a:gd name="T59" fmla="*/ 2147483646 h 163"/>
              <a:gd name="T60" fmla="*/ 2147483646 w 196"/>
              <a:gd name="T61" fmla="*/ 2147483646 h 163"/>
              <a:gd name="T62" fmla="*/ 2147483646 w 196"/>
              <a:gd name="T63" fmla="*/ 2147483646 h 163"/>
              <a:gd name="T64" fmla="*/ 2147483646 w 196"/>
              <a:gd name="T65" fmla="*/ 2147483646 h 163"/>
              <a:gd name="T66" fmla="*/ 2147483646 w 196"/>
              <a:gd name="T67" fmla="*/ 2147483646 h 163"/>
              <a:gd name="T68" fmla="*/ 2147483646 w 196"/>
              <a:gd name="T69" fmla="*/ 2147483646 h 163"/>
              <a:gd name="T70" fmla="*/ 2147483646 w 196"/>
              <a:gd name="T71" fmla="*/ 2147483646 h 163"/>
              <a:gd name="T72" fmla="*/ 2147483646 w 196"/>
              <a:gd name="T73" fmla="*/ 2147483646 h 163"/>
              <a:gd name="T74" fmla="*/ 2147483646 w 196"/>
              <a:gd name="T75" fmla="*/ 2147483646 h 163"/>
              <a:gd name="T76" fmla="*/ 2147483646 w 196"/>
              <a:gd name="T77" fmla="*/ 2147483646 h 163"/>
              <a:gd name="T78" fmla="*/ 2147483646 w 196"/>
              <a:gd name="T79" fmla="*/ 2147483646 h 163"/>
              <a:gd name="T80" fmla="*/ 2147483646 w 196"/>
              <a:gd name="T81" fmla="*/ 2147483646 h 163"/>
              <a:gd name="T82" fmla="*/ 2147483646 w 196"/>
              <a:gd name="T83" fmla="*/ 2147483646 h 163"/>
              <a:gd name="T84" fmla="*/ 2147483646 w 196"/>
              <a:gd name="T85" fmla="*/ 2147483646 h 163"/>
              <a:gd name="T86" fmla="*/ 2147483646 w 196"/>
              <a:gd name="T87" fmla="*/ 2147483646 h 163"/>
              <a:gd name="T88" fmla="*/ 2147483646 w 196"/>
              <a:gd name="T89" fmla="*/ 2147483646 h 163"/>
              <a:gd name="T90" fmla="*/ 2147483646 w 196"/>
              <a:gd name="T91" fmla="*/ 2147483646 h 163"/>
              <a:gd name="T92" fmla="*/ 2147483646 w 196"/>
              <a:gd name="T93" fmla="*/ 2147483646 h 163"/>
              <a:gd name="T94" fmla="*/ 2147483646 w 196"/>
              <a:gd name="T95" fmla="*/ 2147483646 h 163"/>
              <a:gd name="T96" fmla="*/ 2147483646 w 196"/>
              <a:gd name="T97" fmla="*/ 2147483646 h 163"/>
              <a:gd name="T98" fmla="*/ 2147483646 w 196"/>
              <a:gd name="T99" fmla="*/ 2147483646 h 163"/>
              <a:gd name="T100" fmla="*/ 2147483646 w 196"/>
              <a:gd name="T101" fmla="*/ 2147483646 h 163"/>
              <a:gd name="T102" fmla="*/ 2147483646 w 196"/>
              <a:gd name="T103" fmla="*/ 2147483646 h 163"/>
              <a:gd name="T104" fmla="*/ 0 w 196"/>
              <a:gd name="T105" fmla="*/ 2147483646 h 163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96"/>
              <a:gd name="T160" fmla="*/ 0 h 163"/>
              <a:gd name="T161" fmla="*/ 196 w 196"/>
              <a:gd name="T162" fmla="*/ 163 h 163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96" h="163">
                <a:moveTo>
                  <a:pt x="0" y="49"/>
                </a:moveTo>
                <a:cubicBezTo>
                  <a:pt x="7" y="31"/>
                  <a:pt x="19" y="33"/>
                  <a:pt x="23" y="32"/>
                </a:cubicBezTo>
                <a:cubicBezTo>
                  <a:pt x="26" y="31"/>
                  <a:pt x="29" y="33"/>
                  <a:pt x="32" y="31"/>
                </a:cubicBezTo>
                <a:cubicBezTo>
                  <a:pt x="36" y="29"/>
                  <a:pt x="37" y="25"/>
                  <a:pt x="37" y="24"/>
                </a:cubicBezTo>
                <a:cubicBezTo>
                  <a:pt x="36" y="22"/>
                  <a:pt x="30" y="18"/>
                  <a:pt x="29" y="14"/>
                </a:cubicBezTo>
                <a:cubicBezTo>
                  <a:pt x="27" y="11"/>
                  <a:pt x="31" y="14"/>
                  <a:pt x="32" y="15"/>
                </a:cubicBezTo>
                <a:cubicBezTo>
                  <a:pt x="33" y="16"/>
                  <a:pt x="38" y="14"/>
                  <a:pt x="39" y="13"/>
                </a:cubicBezTo>
                <a:cubicBezTo>
                  <a:pt x="40" y="11"/>
                  <a:pt x="36" y="6"/>
                  <a:pt x="36" y="3"/>
                </a:cubicBezTo>
                <a:cubicBezTo>
                  <a:pt x="37" y="0"/>
                  <a:pt x="44" y="3"/>
                  <a:pt x="51" y="4"/>
                </a:cubicBezTo>
                <a:cubicBezTo>
                  <a:pt x="58" y="5"/>
                  <a:pt x="63" y="11"/>
                  <a:pt x="67" y="15"/>
                </a:cubicBezTo>
                <a:cubicBezTo>
                  <a:pt x="71" y="19"/>
                  <a:pt x="79" y="14"/>
                  <a:pt x="83" y="15"/>
                </a:cubicBezTo>
                <a:cubicBezTo>
                  <a:pt x="86" y="15"/>
                  <a:pt x="95" y="11"/>
                  <a:pt x="95" y="11"/>
                </a:cubicBezTo>
                <a:cubicBezTo>
                  <a:pt x="91" y="14"/>
                  <a:pt x="92" y="16"/>
                  <a:pt x="94" y="24"/>
                </a:cubicBezTo>
                <a:cubicBezTo>
                  <a:pt x="96" y="31"/>
                  <a:pt x="101" y="25"/>
                  <a:pt x="106" y="21"/>
                </a:cubicBezTo>
                <a:cubicBezTo>
                  <a:pt x="112" y="18"/>
                  <a:pt x="113" y="30"/>
                  <a:pt x="116" y="29"/>
                </a:cubicBezTo>
                <a:cubicBezTo>
                  <a:pt x="119" y="28"/>
                  <a:pt x="120" y="22"/>
                  <a:pt x="126" y="17"/>
                </a:cubicBezTo>
                <a:cubicBezTo>
                  <a:pt x="131" y="11"/>
                  <a:pt x="133" y="28"/>
                  <a:pt x="136" y="29"/>
                </a:cubicBezTo>
                <a:cubicBezTo>
                  <a:pt x="139" y="30"/>
                  <a:pt x="144" y="26"/>
                  <a:pt x="142" y="17"/>
                </a:cubicBezTo>
                <a:cubicBezTo>
                  <a:pt x="141" y="8"/>
                  <a:pt x="152" y="14"/>
                  <a:pt x="152" y="14"/>
                </a:cubicBezTo>
                <a:cubicBezTo>
                  <a:pt x="161" y="25"/>
                  <a:pt x="161" y="25"/>
                  <a:pt x="161" y="25"/>
                </a:cubicBezTo>
                <a:cubicBezTo>
                  <a:pt x="161" y="37"/>
                  <a:pt x="161" y="37"/>
                  <a:pt x="161" y="37"/>
                </a:cubicBezTo>
                <a:cubicBezTo>
                  <a:pt x="161" y="37"/>
                  <a:pt x="169" y="42"/>
                  <a:pt x="171" y="38"/>
                </a:cubicBezTo>
                <a:cubicBezTo>
                  <a:pt x="173" y="33"/>
                  <a:pt x="176" y="50"/>
                  <a:pt x="176" y="50"/>
                </a:cubicBezTo>
                <a:cubicBezTo>
                  <a:pt x="176" y="50"/>
                  <a:pt x="168" y="51"/>
                  <a:pt x="168" y="54"/>
                </a:cubicBezTo>
                <a:cubicBezTo>
                  <a:pt x="168" y="58"/>
                  <a:pt x="172" y="59"/>
                  <a:pt x="180" y="65"/>
                </a:cubicBezTo>
                <a:cubicBezTo>
                  <a:pt x="187" y="72"/>
                  <a:pt x="173" y="70"/>
                  <a:pt x="173" y="70"/>
                </a:cubicBezTo>
                <a:cubicBezTo>
                  <a:pt x="182" y="82"/>
                  <a:pt x="182" y="82"/>
                  <a:pt x="182" y="82"/>
                </a:cubicBezTo>
                <a:cubicBezTo>
                  <a:pt x="182" y="82"/>
                  <a:pt x="180" y="85"/>
                  <a:pt x="181" y="89"/>
                </a:cubicBezTo>
                <a:cubicBezTo>
                  <a:pt x="182" y="94"/>
                  <a:pt x="178" y="102"/>
                  <a:pt x="183" y="105"/>
                </a:cubicBezTo>
                <a:cubicBezTo>
                  <a:pt x="188" y="109"/>
                  <a:pt x="196" y="115"/>
                  <a:pt x="190" y="118"/>
                </a:cubicBezTo>
                <a:cubicBezTo>
                  <a:pt x="185" y="120"/>
                  <a:pt x="179" y="118"/>
                  <a:pt x="183" y="122"/>
                </a:cubicBezTo>
                <a:cubicBezTo>
                  <a:pt x="188" y="125"/>
                  <a:pt x="193" y="124"/>
                  <a:pt x="194" y="128"/>
                </a:cubicBezTo>
                <a:cubicBezTo>
                  <a:pt x="195" y="132"/>
                  <a:pt x="192" y="139"/>
                  <a:pt x="190" y="139"/>
                </a:cubicBezTo>
                <a:cubicBezTo>
                  <a:pt x="187" y="138"/>
                  <a:pt x="181" y="135"/>
                  <a:pt x="181" y="135"/>
                </a:cubicBezTo>
                <a:cubicBezTo>
                  <a:pt x="181" y="135"/>
                  <a:pt x="179" y="131"/>
                  <a:pt x="178" y="133"/>
                </a:cubicBezTo>
                <a:cubicBezTo>
                  <a:pt x="177" y="135"/>
                  <a:pt x="173" y="136"/>
                  <a:pt x="175" y="138"/>
                </a:cubicBezTo>
                <a:cubicBezTo>
                  <a:pt x="178" y="141"/>
                  <a:pt x="179" y="149"/>
                  <a:pt x="178" y="151"/>
                </a:cubicBezTo>
                <a:cubicBezTo>
                  <a:pt x="177" y="153"/>
                  <a:pt x="167" y="148"/>
                  <a:pt x="164" y="153"/>
                </a:cubicBezTo>
                <a:cubicBezTo>
                  <a:pt x="161" y="159"/>
                  <a:pt x="157" y="162"/>
                  <a:pt x="156" y="162"/>
                </a:cubicBezTo>
                <a:cubicBezTo>
                  <a:pt x="155" y="162"/>
                  <a:pt x="144" y="163"/>
                  <a:pt x="143" y="158"/>
                </a:cubicBezTo>
                <a:cubicBezTo>
                  <a:pt x="143" y="153"/>
                  <a:pt x="143" y="147"/>
                  <a:pt x="142" y="143"/>
                </a:cubicBezTo>
                <a:cubicBezTo>
                  <a:pt x="141" y="139"/>
                  <a:pt x="142" y="136"/>
                  <a:pt x="138" y="133"/>
                </a:cubicBezTo>
                <a:cubicBezTo>
                  <a:pt x="134" y="131"/>
                  <a:pt x="131" y="125"/>
                  <a:pt x="129" y="128"/>
                </a:cubicBezTo>
                <a:cubicBezTo>
                  <a:pt x="126" y="132"/>
                  <a:pt x="123" y="126"/>
                  <a:pt x="121" y="130"/>
                </a:cubicBezTo>
                <a:cubicBezTo>
                  <a:pt x="119" y="133"/>
                  <a:pt x="116" y="141"/>
                  <a:pt x="113" y="134"/>
                </a:cubicBezTo>
                <a:cubicBezTo>
                  <a:pt x="110" y="127"/>
                  <a:pt x="118" y="126"/>
                  <a:pt x="115" y="115"/>
                </a:cubicBezTo>
                <a:cubicBezTo>
                  <a:pt x="111" y="104"/>
                  <a:pt x="106" y="82"/>
                  <a:pt x="80" y="84"/>
                </a:cubicBezTo>
                <a:cubicBezTo>
                  <a:pt x="65" y="86"/>
                  <a:pt x="64" y="80"/>
                  <a:pt x="62" y="90"/>
                </a:cubicBezTo>
                <a:cubicBezTo>
                  <a:pt x="59" y="101"/>
                  <a:pt x="49" y="108"/>
                  <a:pt x="44" y="110"/>
                </a:cubicBezTo>
                <a:cubicBezTo>
                  <a:pt x="44" y="110"/>
                  <a:pt x="38" y="100"/>
                  <a:pt x="35" y="94"/>
                </a:cubicBezTo>
                <a:cubicBezTo>
                  <a:pt x="32" y="88"/>
                  <a:pt x="32" y="81"/>
                  <a:pt x="27" y="80"/>
                </a:cubicBezTo>
                <a:cubicBezTo>
                  <a:pt x="22" y="79"/>
                  <a:pt x="15" y="77"/>
                  <a:pt x="12" y="70"/>
                </a:cubicBezTo>
                <a:cubicBezTo>
                  <a:pt x="9" y="63"/>
                  <a:pt x="0" y="49"/>
                  <a:pt x="0" y="4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29" name="Freeform 665"/>
          <p:cNvSpPr>
            <a:spLocks/>
          </p:cNvSpPr>
          <p:nvPr userDrawn="1"/>
        </p:nvSpPr>
        <p:spPr bwMode="auto">
          <a:xfrm>
            <a:off x="5130513" y="4751708"/>
            <a:ext cx="68679" cy="87105"/>
          </a:xfrm>
          <a:custGeom>
            <a:avLst/>
            <a:gdLst>
              <a:gd name="T0" fmla="*/ 0 w 74"/>
              <a:gd name="T1" fmla="*/ 2147483646 h 94"/>
              <a:gd name="T2" fmla="*/ 2147483646 w 74"/>
              <a:gd name="T3" fmla="*/ 2147483646 h 94"/>
              <a:gd name="T4" fmla="*/ 2147483646 w 74"/>
              <a:gd name="T5" fmla="*/ 2147483646 h 94"/>
              <a:gd name="T6" fmla="*/ 2147483646 w 74"/>
              <a:gd name="T7" fmla="*/ 2147483646 h 94"/>
              <a:gd name="T8" fmla="*/ 2147483646 w 74"/>
              <a:gd name="T9" fmla="*/ 2147483646 h 94"/>
              <a:gd name="T10" fmla="*/ 2147483646 w 74"/>
              <a:gd name="T11" fmla="*/ 2147483646 h 94"/>
              <a:gd name="T12" fmla="*/ 2147483646 w 74"/>
              <a:gd name="T13" fmla="*/ 2147483646 h 94"/>
              <a:gd name="T14" fmla="*/ 2147483646 w 74"/>
              <a:gd name="T15" fmla="*/ 2147483646 h 94"/>
              <a:gd name="T16" fmla="*/ 2147483646 w 74"/>
              <a:gd name="T17" fmla="*/ 2147483646 h 94"/>
              <a:gd name="T18" fmla="*/ 2147483646 w 74"/>
              <a:gd name="T19" fmla="*/ 2147483646 h 94"/>
              <a:gd name="T20" fmla="*/ 0 w 74"/>
              <a:gd name="T21" fmla="*/ 2147483646 h 94"/>
              <a:gd name="T22" fmla="*/ 0 w 74"/>
              <a:gd name="T23" fmla="*/ 2147483646 h 9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4"/>
              <a:gd name="T37" fmla="*/ 0 h 94"/>
              <a:gd name="T38" fmla="*/ 74 w 74"/>
              <a:gd name="T39" fmla="*/ 94 h 9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4" h="94">
                <a:moveTo>
                  <a:pt x="0" y="30"/>
                </a:moveTo>
                <a:cubicBezTo>
                  <a:pt x="5" y="28"/>
                  <a:pt x="15" y="21"/>
                  <a:pt x="18" y="10"/>
                </a:cubicBezTo>
                <a:cubicBezTo>
                  <a:pt x="20" y="0"/>
                  <a:pt x="21" y="6"/>
                  <a:pt x="36" y="4"/>
                </a:cubicBezTo>
                <a:cubicBezTo>
                  <a:pt x="62" y="2"/>
                  <a:pt x="67" y="24"/>
                  <a:pt x="71" y="35"/>
                </a:cubicBezTo>
                <a:cubicBezTo>
                  <a:pt x="74" y="46"/>
                  <a:pt x="66" y="47"/>
                  <a:pt x="69" y="54"/>
                </a:cubicBezTo>
                <a:cubicBezTo>
                  <a:pt x="69" y="54"/>
                  <a:pt x="71" y="58"/>
                  <a:pt x="69" y="60"/>
                </a:cubicBezTo>
                <a:cubicBezTo>
                  <a:pt x="68" y="62"/>
                  <a:pt x="67" y="69"/>
                  <a:pt x="64" y="73"/>
                </a:cubicBezTo>
                <a:cubicBezTo>
                  <a:pt x="61" y="77"/>
                  <a:pt x="45" y="85"/>
                  <a:pt x="42" y="94"/>
                </a:cubicBezTo>
                <a:cubicBezTo>
                  <a:pt x="42" y="94"/>
                  <a:pt x="33" y="87"/>
                  <a:pt x="24" y="82"/>
                </a:cubicBezTo>
                <a:cubicBezTo>
                  <a:pt x="15" y="78"/>
                  <a:pt x="10" y="76"/>
                  <a:pt x="6" y="67"/>
                </a:cubicBezTo>
                <a:cubicBezTo>
                  <a:pt x="1" y="57"/>
                  <a:pt x="1" y="55"/>
                  <a:pt x="0" y="49"/>
                </a:cubicBezTo>
                <a:cubicBezTo>
                  <a:pt x="0" y="42"/>
                  <a:pt x="0" y="30"/>
                  <a:pt x="0" y="3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30" name="Freeform 666"/>
          <p:cNvSpPr>
            <a:spLocks/>
          </p:cNvSpPr>
          <p:nvPr userDrawn="1"/>
        </p:nvSpPr>
        <p:spPr bwMode="auto">
          <a:xfrm>
            <a:off x="5169039" y="4793585"/>
            <a:ext cx="102181" cy="117256"/>
          </a:xfrm>
          <a:custGeom>
            <a:avLst/>
            <a:gdLst>
              <a:gd name="T0" fmla="*/ 0 w 110"/>
              <a:gd name="T1" fmla="*/ 2147483646 h 127"/>
              <a:gd name="T2" fmla="*/ 2147483646 w 110"/>
              <a:gd name="T3" fmla="*/ 2147483646 h 127"/>
              <a:gd name="T4" fmla="*/ 2147483646 w 110"/>
              <a:gd name="T5" fmla="*/ 2147483646 h 127"/>
              <a:gd name="T6" fmla="*/ 2147483646 w 110"/>
              <a:gd name="T7" fmla="*/ 2147483646 h 127"/>
              <a:gd name="T8" fmla="*/ 2147483646 w 110"/>
              <a:gd name="T9" fmla="*/ 2147483646 h 127"/>
              <a:gd name="T10" fmla="*/ 2147483646 w 110"/>
              <a:gd name="T11" fmla="*/ 2147483646 h 127"/>
              <a:gd name="T12" fmla="*/ 2147483646 w 110"/>
              <a:gd name="T13" fmla="*/ 2147483646 h 127"/>
              <a:gd name="T14" fmla="*/ 2147483646 w 110"/>
              <a:gd name="T15" fmla="*/ 2147483646 h 127"/>
              <a:gd name="T16" fmla="*/ 2147483646 w 110"/>
              <a:gd name="T17" fmla="*/ 2147483646 h 127"/>
              <a:gd name="T18" fmla="*/ 2147483646 w 110"/>
              <a:gd name="T19" fmla="*/ 2147483646 h 127"/>
              <a:gd name="T20" fmla="*/ 2147483646 w 110"/>
              <a:gd name="T21" fmla="*/ 2147483646 h 127"/>
              <a:gd name="T22" fmla="*/ 2147483646 w 110"/>
              <a:gd name="T23" fmla="*/ 2147483646 h 127"/>
              <a:gd name="T24" fmla="*/ 2147483646 w 110"/>
              <a:gd name="T25" fmla="*/ 2147483646 h 127"/>
              <a:gd name="T26" fmla="*/ 2147483646 w 110"/>
              <a:gd name="T27" fmla="*/ 2147483646 h 127"/>
              <a:gd name="T28" fmla="*/ 2147483646 w 110"/>
              <a:gd name="T29" fmla="*/ 2147483646 h 127"/>
              <a:gd name="T30" fmla="*/ 2147483646 w 110"/>
              <a:gd name="T31" fmla="*/ 2147483646 h 127"/>
              <a:gd name="T32" fmla="*/ 2147483646 w 110"/>
              <a:gd name="T33" fmla="*/ 2147483646 h 127"/>
              <a:gd name="T34" fmla="*/ 2147483646 w 110"/>
              <a:gd name="T35" fmla="*/ 2147483646 h 127"/>
              <a:gd name="T36" fmla="*/ 2147483646 w 110"/>
              <a:gd name="T37" fmla="*/ 2147483646 h 127"/>
              <a:gd name="T38" fmla="*/ 2147483646 w 110"/>
              <a:gd name="T39" fmla="*/ 2147483646 h 127"/>
              <a:gd name="T40" fmla="*/ 2147483646 w 110"/>
              <a:gd name="T41" fmla="*/ 2147483646 h 127"/>
              <a:gd name="T42" fmla="*/ 2147483646 w 110"/>
              <a:gd name="T43" fmla="*/ 2147483646 h 127"/>
              <a:gd name="T44" fmla="*/ 2147483646 w 110"/>
              <a:gd name="T45" fmla="*/ 2147483646 h 127"/>
              <a:gd name="T46" fmla="*/ 0 w 110"/>
              <a:gd name="T47" fmla="*/ 2147483646 h 127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10"/>
              <a:gd name="T73" fmla="*/ 0 h 127"/>
              <a:gd name="T74" fmla="*/ 110 w 110"/>
              <a:gd name="T75" fmla="*/ 127 h 127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10" h="127">
                <a:moveTo>
                  <a:pt x="0" y="49"/>
                </a:moveTo>
                <a:cubicBezTo>
                  <a:pt x="3" y="40"/>
                  <a:pt x="19" y="32"/>
                  <a:pt x="22" y="28"/>
                </a:cubicBezTo>
                <a:cubicBezTo>
                  <a:pt x="25" y="24"/>
                  <a:pt x="26" y="17"/>
                  <a:pt x="27" y="15"/>
                </a:cubicBezTo>
                <a:cubicBezTo>
                  <a:pt x="29" y="13"/>
                  <a:pt x="27" y="9"/>
                  <a:pt x="27" y="9"/>
                </a:cubicBezTo>
                <a:cubicBezTo>
                  <a:pt x="30" y="16"/>
                  <a:pt x="33" y="8"/>
                  <a:pt x="35" y="5"/>
                </a:cubicBezTo>
                <a:cubicBezTo>
                  <a:pt x="37" y="1"/>
                  <a:pt x="40" y="7"/>
                  <a:pt x="43" y="3"/>
                </a:cubicBezTo>
                <a:cubicBezTo>
                  <a:pt x="45" y="0"/>
                  <a:pt x="48" y="6"/>
                  <a:pt x="52" y="8"/>
                </a:cubicBezTo>
                <a:cubicBezTo>
                  <a:pt x="56" y="11"/>
                  <a:pt x="55" y="14"/>
                  <a:pt x="56" y="18"/>
                </a:cubicBezTo>
                <a:cubicBezTo>
                  <a:pt x="57" y="22"/>
                  <a:pt x="57" y="28"/>
                  <a:pt x="57" y="33"/>
                </a:cubicBezTo>
                <a:cubicBezTo>
                  <a:pt x="58" y="38"/>
                  <a:pt x="69" y="37"/>
                  <a:pt x="70" y="37"/>
                </a:cubicBezTo>
                <a:cubicBezTo>
                  <a:pt x="71" y="37"/>
                  <a:pt x="75" y="34"/>
                  <a:pt x="78" y="28"/>
                </a:cubicBezTo>
                <a:cubicBezTo>
                  <a:pt x="78" y="28"/>
                  <a:pt x="84" y="34"/>
                  <a:pt x="86" y="40"/>
                </a:cubicBezTo>
                <a:cubicBezTo>
                  <a:pt x="88" y="45"/>
                  <a:pt x="90" y="53"/>
                  <a:pt x="86" y="56"/>
                </a:cubicBezTo>
                <a:cubicBezTo>
                  <a:pt x="81" y="59"/>
                  <a:pt x="69" y="55"/>
                  <a:pt x="78" y="62"/>
                </a:cubicBezTo>
                <a:cubicBezTo>
                  <a:pt x="88" y="69"/>
                  <a:pt x="92" y="67"/>
                  <a:pt x="97" y="70"/>
                </a:cubicBezTo>
                <a:cubicBezTo>
                  <a:pt x="101" y="74"/>
                  <a:pt x="103" y="73"/>
                  <a:pt x="102" y="79"/>
                </a:cubicBezTo>
                <a:cubicBezTo>
                  <a:pt x="101" y="84"/>
                  <a:pt x="97" y="85"/>
                  <a:pt x="102" y="86"/>
                </a:cubicBezTo>
                <a:cubicBezTo>
                  <a:pt x="106" y="87"/>
                  <a:pt x="110" y="82"/>
                  <a:pt x="110" y="88"/>
                </a:cubicBezTo>
                <a:cubicBezTo>
                  <a:pt x="110" y="94"/>
                  <a:pt x="107" y="97"/>
                  <a:pt x="104" y="102"/>
                </a:cubicBezTo>
                <a:cubicBezTo>
                  <a:pt x="102" y="107"/>
                  <a:pt x="104" y="127"/>
                  <a:pt x="104" y="127"/>
                </a:cubicBezTo>
                <a:cubicBezTo>
                  <a:pt x="104" y="127"/>
                  <a:pt x="83" y="123"/>
                  <a:pt x="75" y="115"/>
                </a:cubicBezTo>
                <a:cubicBezTo>
                  <a:pt x="68" y="107"/>
                  <a:pt x="56" y="95"/>
                  <a:pt x="51" y="93"/>
                </a:cubicBezTo>
                <a:cubicBezTo>
                  <a:pt x="46" y="91"/>
                  <a:pt x="39" y="74"/>
                  <a:pt x="31" y="71"/>
                </a:cubicBezTo>
                <a:cubicBezTo>
                  <a:pt x="23" y="67"/>
                  <a:pt x="10" y="61"/>
                  <a:pt x="0" y="4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31" name="Freeform 667"/>
          <p:cNvSpPr>
            <a:spLocks/>
          </p:cNvSpPr>
          <p:nvPr userDrawn="1"/>
        </p:nvSpPr>
        <p:spPr bwMode="auto">
          <a:xfrm>
            <a:off x="5234368" y="4736632"/>
            <a:ext cx="169184" cy="177560"/>
          </a:xfrm>
          <a:custGeom>
            <a:avLst/>
            <a:gdLst>
              <a:gd name="T0" fmla="*/ 2147483646 w 183"/>
              <a:gd name="T1" fmla="*/ 2147483646 h 190"/>
              <a:gd name="T2" fmla="*/ 2147483646 w 183"/>
              <a:gd name="T3" fmla="*/ 2147483646 h 190"/>
              <a:gd name="T4" fmla="*/ 2147483646 w 183"/>
              <a:gd name="T5" fmla="*/ 2147483646 h 190"/>
              <a:gd name="T6" fmla="*/ 2147483646 w 183"/>
              <a:gd name="T7" fmla="*/ 2147483646 h 190"/>
              <a:gd name="T8" fmla="*/ 2147483646 w 183"/>
              <a:gd name="T9" fmla="*/ 2147483646 h 190"/>
              <a:gd name="T10" fmla="*/ 2147483646 w 183"/>
              <a:gd name="T11" fmla="*/ 2147483646 h 190"/>
              <a:gd name="T12" fmla="*/ 2147483646 w 183"/>
              <a:gd name="T13" fmla="*/ 2147483646 h 190"/>
              <a:gd name="T14" fmla="*/ 2147483646 w 183"/>
              <a:gd name="T15" fmla="*/ 2147483646 h 190"/>
              <a:gd name="T16" fmla="*/ 2147483646 w 183"/>
              <a:gd name="T17" fmla="*/ 2147483646 h 190"/>
              <a:gd name="T18" fmla="*/ 2147483646 w 183"/>
              <a:gd name="T19" fmla="*/ 2147483646 h 190"/>
              <a:gd name="T20" fmla="*/ 2147483646 w 183"/>
              <a:gd name="T21" fmla="*/ 2147483646 h 190"/>
              <a:gd name="T22" fmla="*/ 2147483646 w 183"/>
              <a:gd name="T23" fmla="*/ 2147483646 h 190"/>
              <a:gd name="T24" fmla="*/ 2147483646 w 183"/>
              <a:gd name="T25" fmla="*/ 2147483646 h 190"/>
              <a:gd name="T26" fmla="*/ 2147483646 w 183"/>
              <a:gd name="T27" fmla="*/ 2147483646 h 190"/>
              <a:gd name="T28" fmla="*/ 2147483646 w 183"/>
              <a:gd name="T29" fmla="*/ 2147483646 h 190"/>
              <a:gd name="T30" fmla="*/ 2147483646 w 183"/>
              <a:gd name="T31" fmla="*/ 2147483646 h 190"/>
              <a:gd name="T32" fmla="*/ 2147483646 w 183"/>
              <a:gd name="T33" fmla="*/ 2147483646 h 190"/>
              <a:gd name="T34" fmla="*/ 2147483646 w 183"/>
              <a:gd name="T35" fmla="*/ 2147483646 h 190"/>
              <a:gd name="T36" fmla="*/ 2147483646 w 183"/>
              <a:gd name="T37" fmla="*/ 2147483646 h 190"/>
              <a:gd name="T38" fmla="*/ 2147483646 w 183"/>
              <a:gd name="T39" fmla="*/ 2147483646 h 190"/>
              <a:gd name="T40" fmla="*/ 2147483646 w 183"/>
              <a:gd name="T41" fmla="*/ 2147483646 h 190"/>
              <a:gd name="T42" fmla="*/ 2147483646 w 183"/>
              <a:gd name="T43" fmla="*/ 2147483646 h 190"/>
              <a:gd name="T44" fmla="*/ 2147483646 w 183"/>
              <a:gd name="T45" fmla="*/ 2147483646 h 190"/>
              <a:gd name="T46" fmla="*/ 2147483646 w 183"/>
              <a:gd name="T47" fmla="*/ 2147483646 h 190"/>
              <a:gd name="T48" fmla="*/ 2147483646 w 183"/>
              <a:gd name="T49" fmla="*/ 2147483646 h 190"/>
              <a:gd name="T50" fmla="*/ 2147483646 w 183"/>
              <a:gd name="T51" fmla="*/ 2147483646 h 190"/>
              <a:gd name="T52" fmla="*/ 2147483646 w 183"/>
              <a:gd name="T53" fmla="*/ 2147483646 h 190"/>
              <a:gd name="T54" fmla="*/ 2147483646 w 183"/>
              <a:gd name="T55" fmla="*/ 2147483646 h 190"/>
              <a:gd name="T56" fmla="*/ 2147483646 w 183"/>
              <a:gd name="T57" fmla="*/ 2147483646 h 190"/>
              <a:gd name="T58" fmla="*/ 2147483646 w 183"/>
              <a:gd name="T59" fmla="*/ 2147483646 h 190"/>
              <a:gd name="T60" fmla="*/ 2147483646 w 183"/>
              <a:gd name="T61" fmla="*/ 2147483646 h 190"/>
              <a:gd name="T62" fmla="*/ 2147483646 w 183"/>
              <a:gd name="T63" fmla="*/ 2147483646 h 190"/>
              <a:gd name="T64" fmla="*/ 2147483646 w 183"/>
              <a:gd name="T65" fmla="*/ 2147483646 h 190"/>
              <a:gd name="T66" fmla="*/ 2147483646 w 183"/>
              <a:gd name="T67" fmla="*/ 2147483646 h 190"/>
              <a:gd name="T68" fmla="*/ 2147483646 w 183"/>
              <a:gd name="T69" fmla="*/ 2147483646 h 190"/>
              <a:gd name="T70" fmla="*/ 2147483646 w 183"/>
              <a:gd name="T71" fmla="*/ 2147483646 h 190"/>
              <a:gd name="T72" fmla="*/ 2147483646 w 183"/>
              <a:gd name="T73" fmla="*/ 2147483646 h 190"/>
              <a:gd name="T74" fmla="*/ 2147483646 w 183"/>
              <a:gd name="T75" fmla="*/ 2147483646 h 190"/>
              <a:gd name="T76" fmla="*/ 2147483646 w 183"/>
              <a:gd name="T77" fmla="*/ 2147483646 h 190"/>
              <a:gd name="T78" fmla="*/ 2147483646 w 183"/>
              <a:gd name="T79" fmla="*/ 2147483646 h 190"/>
              <a:gd name="T80" fmla="*/ 2147483646 w 183"/>
              <a:gd name="T81" fmla="*/ 2147483646 h 190"/>
              <a:gd name="T82" fmla="*/ 2147483646 w 183"/>
              <a:gd name="T83" fmla="*/ 2147483646 h 19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3"/>
              <a:gd name="T127" fmla="*/ 0 h 190"/>
              <a:gd name="T128" fmla="*/ 183 w 183"/>
              <a:gd name="T129" fmla="*/ 190 h 190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3" h="190">
                <a:moveTo>
                  <a:pt x="35" y="188"/>
                </a:moveTo>
                <a:cubicBezTo>
                  <a:pt x="35" y="188"/>
                  <a:pt x="33" y="168"/>
                  <a:pt x="35" y="163"/>
                </a:cubicBezTo>
                <a:cubicBezTo>
                  <a:pt x="38" y="158"/>
                  <a:pt x="41" y="155"/>
                  <a:pt x="41" y="149"/>
                </a:cubicBezTo>
                <a:cubicBezTo>
                  <a:pt x="41" y="143"/>
                  <a:pt x="37" y="148"/>
                  <a:pt x="33" y="147"/>
                </a:cubicBezTo>
                <a:cubicBezTo>
                  <a:pt x="28" y="146"/>
                  <a:pt x="32" y="145"/>
                  <a:pt x="33" y="140"/>
                </a:cubicBezTo>
                <a:cubicBezTo>
                  <a:pt x="34" y="134"/>
                  <a:pt x="32" y="135"/>
                  <a:pt x="28" y="131"/>
                </a:cubicBezTo>
                <a:cubicBezTo>
                  <a:pt x="23" y="128"/>
                  <a:pt x="19" y="130"/>
                  <a:pt x="9" y="123"/>
                </a:cubicBezTo>
                <a:cubicBezTo>
                  <a:pt x="0" y="116"/>
                  <a:pt x="12" y="120"/>
                  <a:pt x="17" y="117"/>
                </a:cubicBezTo>
                <a:cubicBezTo>
                  <a:pt x="21" y="114"/>
                  <a:pt x="19" y="106"/>
                  <a:pt x="17" y="101"/>
                </a:cubicBezTo>
                <a:cubicBezTo>
                  <a:pt x="15" y="95"/>
                  <a:pt x="9" y="89"/>
                  <a:pt x="9" y="89"/>
                </a:cubicBezTo>
                <a:cubicBezTo>
                  <a:pt x="12" y="84"/>
                  <a:pt x="22" y="89"/>
                  <a:pt x="23" y="87"/>
                </a:cubicBezTo>
                <a:cubicBezTo>
                  <a:pt x="24" y="85"/>
                  <a:pt x="23" y="77"/>
                  <a:pt x="20" y="74"/>
                </a:cubicBezTo>
                <a:cubicBezTo>
                  <a:pt x="18" y="72"/>
                  <a:pt x="22" y="71"/>
                  <a:pt x="23" y="69"/>
                </a:cubicBezTo>
                <a:cubicBezTo>
                  <a:pt x="24" y="67"/>
                  <a:pt x="26" y="71"/>
                  <a:pt x="26" y="71"/>
                </a:cubicBezTo>
                <a:cubicBezTo>
                  <a:pt x="26" y="71"/>
                  <a:pt x="32" y="74"/>
                  <a:pt x="35" y="75"/>
                </a:cubicBezTo>
                <a:cubicBezTo>
                  <a:pt x="37" y="75"/>
                  <a:pt x="40" y="68"/>
                  <a:pt x="39" y="64"/>
                </a:cubicBezTo>
                <a:cubicBezTo>
                  <a:pt x="38" y="60"/>
                  <a:pt x="33" y="61"/>
                  <a:pt x="28" y="58"/>
                </a:cubicBezTo>
                <a:cubicBezTo>
                  <a:pt x="24" y="54"/>
                  <a:pt x="30" y="56"/>
                  <a:pt x="35" y="54"/>
                </a:cubicBezTo>
                <a:cubicBezTo>
                  <a:pt x="41" y="51"/>
                  <a:pt x="33" y="45"/>
                  <a:pt x="28" y="41"/>
                </a:cubicBezTo>
                <a:cubicBezTo>
                  <a:pt x="23" y="38"/>
                  <a:pt x="27" y="30"/>
                  <a:pt x="26" y="25"/>
                </a:cubicBezTo>
                <a:cubicBezTo>
                  <a:pt x="25" y="21"/>
                  <a:pt x="27" y="18"/>
                  <a:pt x="27" y="18"/>
                </a:cubicBezTo>
                <a:cubicBezTo>
                  <a:pt x="27" y="18"/>
                  <a:pt x="32" y="20"/>
                  <a:pt x="34" y="16"/>
                </a:cubicBezTo>
                <a:cubicBezTo>
                  <a:pt x="35" y="11"/>
                  <a:pt x="38" y="11"/>
                  <a:pt x="41" y="9"/>
                </a:cubicBezTo>
                <a:cubicBezTo>
                  <a:pt x="45" y="7"/>
                  <a:pt x="45" y="20"/>
                  <a:pt x="45" y="20"/>
                </a:cubicBezTo>
                <a:cubicBezTo>
                  <a:pt x="45" y="20"/>
                  <a:pt x="52" y="21"/>
                  <a:pt x="51" y="14"/>
                </a:cubicBezTo>
                <a:cubicBezTo>
                  <a:pt x="50" y="8"/>
                  <a:pt x="56" y="13"/>
                  <a:pt x="60" y="14"/>
                </a:cubicBezTo>
                <a:cubicBezTo>
                  <a:pt x="64" y="16"/>
                  <a:pt x="65" y="16"/>
                  <a:pt x="71" y="5"/>
                </a:cubicBezTo>
                <a:cubicBezTo>
                  <a:pt x="73" y="0"/>
                  <a:pt x="79" y="8"/>
                  <a:pt x="79" y="8"/>
                </a:cubicBezTo>
                <a:cubicBezTo>
                  <a:pt x="79" y="8"/>
                  <a:pt x="76" y="14"/>
                  <a:pt x="75" y="23"/>
                </a:cubicBezTo>
                <a:cubicBezTo>
                  <a:pt x="74" y="32"/>
                  <a:pt x="81" y="24"/>
                  <a:pt x="83" y="20"/>
                </a:cubicBezTo>
                <a:cubicBezTo>
                  <a:pt x="85" y="16"/>
                  <a:pt x="94" y="21"/>
                  <a:pt x="99" y="21"/>
                </a:cubicBezTo>
                <a:cubicBezTo>
                  <a:pt x="99" y="21"/>
                  <a:pt x="111" y="20"/>
                  <a:pt x="114" y="29"/>
                </a:cubicBezTo>
                <a:cubicBezTo>
                  <a:pt x="118" y="39"/>
                  <a:pt x="121" y="46"/>
                  <a:pt x="131" y="39"/>
                </a:cubicBezTo>
                <a:cubicBezTo>
                  <a:pt x="140" y="32"/>
                  <a:pt x="153" y="27"/>
                  <a:pt x="164" y="36"/>
                </a:cubicBezTo>
                <a:cubicBezTo>
                  <a:pt x="175" y="46"/>
                  <a:pt x="174" y="53"/>
                  <a:pt x="173" y="58"/>
                </a:cubicBezTo>
                <a:cubicBezTo>
                  <a:pt x="173" y="63"/>
                  <a:pt x="183" y="68"/>
                  <a:pt x="176" y="80"/>
                </a:cubicBezTo>
                <a:cubicBezTo>
                  <a:pt x="169" y="93"/>
                  <a:pt x="162" y="92"/>
                  <a:pt x="164" y="101"/>
                </a:cubicBezTo>
                <a:cubicBezTo>
                  <a:pt x="165" y="110"/>
                  <a:pt x="156" y="105"/>
                  <a:pt x="157" y="121"/>
                </a:cubicBezTo>
                <a:cubicBezTo>
                  <a:pt x="158" y="137"/>
                  <a:pt x="153" y="137"/>
                  <a:pt x="160" y="147"/>
                </a:cubicBezTo>
                <a:cubicBezTo>
                  <a:pt x="167" y="157"/>
                  <a:pt x="172" y="170"/>
                  <a:pt x="166" y="171"/>
                </a:cubicBezTo>
                <a:cubicBezTo>
                  <a:pt x="166" y="171"/>
                  <a:pt x="110" y="157"/>
                  <a:pt x="76" y="173"/>
                </a:cubicBezTo>
                <a:cubicBezTo>
                  <a:pt x="41" y="190"/>
                  <a:pt x="35" y="188"/>
                  <a:pt x="35" y="18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32" name="Freeform 668"/>
          <p:cNvSpPr>
            <a:spLocks/>
          </p:cNvSpPr>
          <p:nvPr userDrawn="1"/>
        </p:nvSpPr>
        <p:spPr bwMode="auto">
          <a:xfrm>
            <a:off x="5321472" y="4624401"/>
            <a:ext cx="209387" cy="154108"/>
          </a:xfrm>
          <a:custGeom>
            <a:avLst/>
            <a:gdLst>
              <a:gd name="T0" fmla="*/ 2147483646 w 225"/>
              <a:gd name="T1" fmla="*/ 2147483646 h 166"/>
              <a:gd name="T2" fmla="*/ 2147483646 w 225"/>
              <a:gd name="T3" fmla="*/ 2147483646 h 166"/>
              <a:gd name="T4" fmla="*/ 2147483646 w 225"/>
              <a:gd name="T5" fmla="*/ 2147483646 h 166"/>
              <a:gd name="T6" fmla="*/ 2147483646 w 225"/>
              <a:gd name="T7" fmla="*/ 2147483646 h 166"/>
              <a:gd name="T8" fmla="*/ 2147483646 w 225"/>
              <a:gd name="T9" fmla="*/ 2147483646 h 166"/>
              <a:gd name="T10" fmla="*/ 2147483646 w 225"/>
              <a:gd name="T11" fmla="*/ 2147483646 h 166"/>
              <a:gd name="T12" fmla="*/ 2147483646 w 225"/>
              <a:gd name="T13" fmla="*/ 2147483646 h 166"/>
              <a:gd name="T14" fmla="*/ 2147483646 w 225"/>
              <a:gd name="T15" fmla="*/ 2147483646 h 166"/>
              <a:gd name="T16" fmla="*/ 2147483646 w 225"/>
              <a:gd name="T17" fmla="*/ 2147483646 h 166"/>
              <a:gd name="T18" fmla="*/ 2147483646 w 225"/>
              <a:gd name="T19" fmla="*/ 2147483646 h 166"/>
              <a:gd name="T20" fmla="*/ 2147483646 w 225"/>
              <a:gd name="T21" fmla="*/ 2147483646 h 166"/>
              <a:gd name="T22" fmla="*/ 2147483646 w 225"/>
              <a:gd name="T23" fmla="*/ 2147483646 h 166"/>
              <a:gd name="T24" fmla="*/ 2147483646 w 225"/>
              <a:gd name="T25" fmla="*/ 2147483646 h 166"/>
              <a:gd name="T26" fmla="*/ 2147483646 w 225"/>
              <a:gd name="T27" fmla="*/ 2147483646 h 166"/>
              <a:gd name="T28" fmla="*/ 2147483646 w 225"/>
              <a:gd name="T29" fmla="*/ 2147483646 h 166"/>
              <a:gd name="T30" fmla="*/ 2147483646 w 225"/>
              <a:gd name="T31" fmla="*/ 2147483646 h 166"/>
              <a:gd name="T32" fmla="*/ 2147483646 w 225"/>
              <a:gd name="T33" fmla="*/ 2147483646 h 166"/>
              <a:gd name="T34" fmla="*/ 2147483646 w 225"/>
              <a:gd name="T35" fmla="*/ 2147483646 h 166"/>
              <a:gd name="T36" fmla="*/ 2147483646 w 225"/>
              <a:gd name="T37" fmla="*/ 2147483646 h 166"/>
              <a:gd name="T38" fmla="*/ 2147483646 w 225"/>
              <a:gd name="T39" fmla="*/ 2147483646 h 166"/>
              <a:gd name="T40" fmla="*/ 2147483646 w 225"/>
              <a:gd name="T41" fmla="*/ 2147483646 h 166"/>
              <a:gd name="T42" fmla="*/ 2147483646 w 225"/>
              <a:gd name="T43" fmla="*/ 2147483646 h 166"/>
              <a:gd name="T44" fmla="*/ 2147483646 w 225"/>
              <a:gd name="T45" fmla="*/ 2147483646 h 166"/>
              <a:gd name="T46" fmla="*/ 2147483646 w 225"/>
              <a:gd name="T47" fmla="*/ 2147483646 h 166"/>
              <a:gd name="T48" fmla="*/ 2147483646 w 225"/>
              <a:gd name="T49" fmla="*/ 2147483646 h 166"/>
              <a:gd name="T50" fmla="*/ 2147483646 w 225"/>
              <a:gd name="T51" fmla="*/ 2147483646 h 166"/>
              <a:gd name="T52" fmla="*/ 2147483646 w 225"/>
              <a:gd name="T53" fmla="*/ 2147483646 h 166"/>
              <a:gd name="T54" fmla="*/ 2147483646 w 225"/>
              <a:gd name="T55" fmla="*/ 2147483646 h 166"/>
              <a:gd name="T56" fmla="*/ 2147483646 w 225"/>
              <a:gd name="T57" fmla="*/ 2147483646 h 166"/>
              <a:gd name="T58" fmla="*/ 2147483646 w 225"/>
              <a:gd name="T59" fmla="*/ 2147483646 h 166"/>
              <a:gd name="T60" fmla="*/ 2147483646 w 225"/>
              <a:gd name="T61" fmla="*/ 2147483646 h 166"/>
              <a:gd name="T62" fmla="*/ 2147483646 w 225"/>
              <a:gd name="T63" fmla="*/ 2147483646 h 166"/>
              <a:gd name="T64" fmla="*/ 2147483646 w 225"/>
              <a:gd name="T65" fmla="*/ 2147483646 h 166"/>
              <a:gd name="T66" fmla="*/ 2147483646 w 225"/>
              <a:gd name="T67" fmla="*/ 2147483646 h 166"/>
              <a:gd name="T68" fmla="*/ 2147483646 w 225"/>
              <a:gd name="T69" fmla="*/ 2147483646 h 166"/>
              <a:gd name="T70" fmla="*/ 2147483646 w 225"/>
              <a:gd name="T71" fmla="*/ 2147483646 h 166"/>
              <a:gd name="T72" fmla="*/ 2147483646 w 225"/>
              <a:gd name="T73" fmla="*/ 2147483646 h 166"/>
              <a:gd name="T74" fmla="*/ 2147483646 w 225"/>
              <a:gd name="T75" fmla="*/ 2147483646 h 166"/>
              <a:gd name="T76" fmla="*/ 2147483646 w 225"/>
              <a:gd name="T77" fmla="*/ 2147483646 h 166"/>
              <a:gd name="T78" fmla="*/ 2147483646 w 225"/>
              <a:gd name="T79" fmla="*/ 2147483646 h 166"/>
              <a:gd name="T80" fmla="*/ 2147483646 w 225"/>
              <a:gd name="T81" fmla="*/ 2147483646 h 166"/>
              <a:gd name="T82" fmla="*/ 2147483646 w 225"/>
              <a:gd name="T83" fmla="*/ 2147483646 h 166"/>
              <a:gd name="T84" fmla="*/ 2147483646 w 225"/>
              <a:gd name="T85" fmla="*/ 2147483646 h 166"/>
              <a:gd name="T86" fmla="*/ 2147483646 w 225"/>
              <a:gd name="T87" fmla="*/ 2147483646 h 166"/>
              <a:gd name="T88" fmla="*/ 2147483646 w 225"/>
              <a:gd name="T89" fmla="*/ 2147483646 h 166"/>
              <a:gd name="T90" fmla="*/ 2147483646 w 225"/>
              <a:gd name="T91" fmla="*/ 2147483646 h 16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25"/>
              <a:gd name="T139" fmla="*/ 0 h 166"/>
              <a:gd name="T140" fmla="*/ 225 w 225"/>
              <a:gd name="T141" fmla="*/ 166 h 16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25" h="166">
                <a:moveTo>
                  <a:pt x="168" y="9"/>
                </a:moveTo>
                <a:cubicBezTo>
                  <a:pt x="157" y="4"/>
                  <a:pt x="146" y="0"/>
                  <a:pt x="141" y="7"/>
                </a:cubicBezTo>
                <a:cubicBezTo>
                  <a:pt x="133" y="18"/>
                  <a:pt x="128" y="21"/>
                  <a:pt x="122" y="21"/>
                </a:cubicBezTo>
                <a:cubicBezTo>
                  <a:pt x="115" y="21"/>
                  <a:pt x="110" y="20"/>
                  <a:pt x="110" y="23"/>
                </a:cubicBezTo>
                <a:cubicBezTo>
                  <a:pt x="110" y="27"/>
                  <a:pt x="105" y="32"/>
                  <a:pt x="101" y="33"/>
                </a:cubicBezTo>
                <a:cubicBezTo>
                  <a:pt x="97" y="34"/>
                  <a:pt x="86" y="37"/>
                  <a:pt x="86" y="37"/>
                </a:cubicBezTo>
                <a:cubicBezTo>
                  <a:pt x="86" y="37"/>
                  <a:pt x="78" y="38"/>
                  <a:pt x="77" y="41"/>
                </a:cubicBezTo>
                <a:cubicBezTo>
                  <a:pt x="76" y="44"/>
                  <a:pt x="75" y="56"/>
                  <a:pt x="75" y="56"/>
                </a:cubicBezTo>
                <a:cubicBezTo>
                  <a:pt x="75" y="56"/>
                  <a:pt x="69" y="62"/>
                  <a:pt x="66" y="58"/>
                </a:cubicBezTo>
                <a:cubicBezTo>
                  <a:pt x="63" y="53"/>
                  <a:pt x="60" y="54"/>
                  <a:pt x="57" y="52"/>
                </a:cubicBezTo>
                <a:cubicBezTo>
                  <a:pt x="54" y="50"/>
                  <a:pt x="56" y="41"/>
                  <a:pt x="50" y="44"/>
                </a:cubicBezTo>
                <a:cubicBezTo>
                  <a:pt x="45" y="48"/>
                  <a:pt x="42" y="51"/>
                  <a:pt x="43" y="54"/>
                </a:cubicBezTo>
                <a:cubicBezTo>
                  <a:pt x="44" y="58"/>
                  <a:pt x="50" y="59"/>
                  <a:pt x="47" y="65"/>
                </a:cubicBezTo>
                <a:cubicBezTo>
                  <a:pt x="44" y="72"/>
                  <a:pt x="37" y="71"/>
                  <a:pt x="37" y="71"/>
                </a:cubicBezTo>
                <a:cubicBezTo>
                  <a:pt x="34" y="80"/>
                  <a:pt x="33" y="90"/>
                  <a:pt x="27" y="90"/>
                </a:cubicBezTo>
                <a:cubicBezTo>
                  <a:pt x="22" y="90"/>
                  <a:pt x="15" y="85"/>
                  <a:pt x="12" y="92"/>
                </a:cubicBezTo>
                <a:cubicBezTo>
                  <a:pt x="9" y="98"/>
                  <a:pt x="12" y="104"/>
                  <a:pt x="12" y="109"/>
                </a:cubicBezTo>
                <a:cubicBezTo>
                  <a:pt x="12" y="115"/>
                  <a:pt x="11" y="114"/>
                  <a:pt x="7" y="119"/>
                </a:cubicBezTo>
                <a:cubicBezTo>
                  <a:pt x="2" y="125"/>
                  <a:pt x="0" y="127"/>
                  <a:pt x="3" y="130"/>
                </a:cubicBezTo>
                <a:cubicBezTo>
                  <a:pt x="7" y="133"/>
                  <a:pt x="11" y="141"/>
                  <a:pt x="5" y="141"/>
                </a:cubicBezTo>
                <a:cubicBezTo>
                  <a:pt x="5" y="141"/>
                  <a:pt x="17" y="140"/>
                  <a:pt x="20" y="149"/>
                </a:cubicBezTo>
                <a:cubicBezTo>
                  <a:pt x="24" y="159"/>
                  <a:pt x="27" y="166"/>
                  <a:pt x="37" y="159"/>
                </a:cubicBezTo>
                <a:cubicBezTo>
                  <a:pt x="46" y="152"/>
                  <a:pt x="59" y="147"/>
                  <a:pt x="70" y="156"/>
                </a:cubicBezTo>
                <a:cubicBezTo>
                  <a:pt x="74" y="160"/>
                  <a:pt x="77" y="163"/>
                  <a:pt x="78" y="166"/>
                </a:cubicBezTo>
                <a:cubicBezTo>
                  <a:pt x="78" y="166"/>
                  <a:pt x="82" y="161"/>
                  <a:pt x="80" y="154"/>
                </a:cubicBezTo>
                <a:cubicBezTo>
                  <a:pt x="77" y="146"/>
                  <a:pt x="73" y="133"/>
                  <a:pt x="74" y="130"/>
                </a:cubicBezTo>
                <a:cubicBezTo>
                  <a:pt x="75" y="127"/>
                  <a:pt x="77" y="122"/>
                  <a:pt x="81" y="120"/>
                </a:cubicBezTo>
                <a:cubicBezTo>
                  <a:pt x="85" y="117"/>
                  <a:pt x="86" y="109"/>
                  <a:pt x="92" y="116"/>
                </a:cubicBezTo>
                <a:cubicBezTo>
                  <a:pt x="98" y="124"/>
                  <a:pt x="101" y="126"/>
                  <a:pt x="105" y="125"/>
                </a:cubicBezTo>
                <a:cubicBezTo>
                  <a:pt x="110" y="123"/>
                  <a:pt x="110" y="121"/>
                  <a:pt x="119" y="121"/>
                </a:cubicBezTo>
                <a:cubicBezTo>
                  <a:pt x="128" y="121"/>
                  <a:pt x="138" y="126"/>
                  <a:pt x="142" y="123"/>
                </a:cubicBezTo>
                <a:cubicBezTo>
                  <a:pt x="147" y="120"/>
                  <a:pt x="149" y="115"/>
                  <a:pt x="158" y="120"/>
                </a:cubicBezTo>
                <a:cubicBezTo>
                  <a:pt x="166" y="126"/>
                  <a:pt x="168" y="127"/>
                  <a:pt x="175" y="127"/>
                </a:cubicBezTo>
                <a:cubicBezTo>
                  <a:pt x="181" y="127"/>
                  <a:pt x="183" y="125"/>
                  <a:pt x="185" y="122"/>
                </a:cubicBezTo>
                <a:cubicBezTo>
                  <a:pt x="187" y="120"/>
                  <a:pt x="200" y="111"/>
                  <a:pt x="207" y="112"/>
                </a:cubicBezTo>
                <a:cubicBezTo>
                  <a:pt x="214" y="114"/>
                  <a:pt x="222" y="105"/>
                  <a:pt x="223" y="100"/>
                </a:cubicBezTo>
                <a:cubicBezTo>
                  <a:pt x="225" y="95"/>
                  <a:pt x="220" y="95"/>
                  <a:pt x="217" y="90"/>
                </a:cubicBezTo>
                <a:cubicBezTo>
                  <a:pt x="214" y="84"/>
                  <a:pt x="221" y="77"/>
                  <a:pt x="215" y="77"/>
                </a:cubicBezTo>
                <a:cubicBezTo>
                  <a:pt x="210" y="77"/>
                  <a:pt x="208" y="75"/>
                  <a:pt x="204" y="77"/>
                </a:cubicBezTo>
                <a:cubicBezTo>
                  <a:pt x="200" y="78"/>
                  <a:pt x="189" y="77"/>
                  <a:pt x="188" y="71"/>
                </a:cubicBezTo>
                <a:cubicBezTo>
                  <a:pt x="188" y="66"/>
                  <a:pt x="184" y="63"/>
                  <a:pt x="187" y="62"/>
                </a:cubicBezTo>
                <a:cubicBezTo>
                  <a:pt x="191" y="62"/>
                  <a:pt x="194" y="61"/>
                  <a:pt x="192" y="59"/>
                </a:cubicBezTo>
                <a:cubicBezTo>
                  <a:pt x="191" y="56"/>
                  <a:pt x="188" y="58"/>
                  <a:pt x="182" y="52"/>
                </a:cubicBezTo>
                <a:cubicBezTo>
                  <a:pt x="177" y="46"/>
                  <a:pt x="166" y="32"/>
                  <a:pt x="166" y="29"/>
                </a:cubicBezTo>
                <a:cubicBezTo>
                  <a:pt x="167" y="26"/>
                  <a:pt x="165" y="19"/>
                  <a:pt x="165" y="19"/>
                </a:cubicBezTo>
                <a:lnTo>
                  <a:pt x="168" y="9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33" name="Freeform 669"/>
          <p:cNvSpPr>
            <a:spLocks/>
          </p:cNvSpPr>
          <p:nvPr userDrawn="1"/>
        </p:nvSpPr>
        <p:spPr bwMode="auto">
          <a:xfrm>
            <a:off x="5376750" y="4724905"/>
            <a:ext cx="118932" cy="185936"/>
          </a:xfrm>
          <a:custGeom>
            <a:avLst/>
            <a:gdLst>
              <a:gd name="T0" fmla="*/ 2147483646 w 128"/>
              <a:gd name="T1" fmla="*/ 2147483646 h 199"/>
              <a:gd name="T2" fmla="*/ 2147483646 w 128"/>
              <a:gd name="T3" fmla="*/ 2147483646 h 199"/>
              <a:gd name="T4" fmla="*/ 2147483646 w 128"/>
              <a:gd name="T5" fmla="*/ 2147483646 h 199"/>
              <a:gd name="T6" fmla="*/ 2147483646 w 128"/>
              <a:gd name="T7" fmla="*/ 2147483646 h 199"/>
              <a:gd name="T8" fmla="*/ 2147483646 w 128"/>
              <a:gd name="T9" fmla="*/ 2147483646 h 199"/>
              <a:gd name="T10" fmla="*/ 2147483646 w 128"/>
              <a:gd name="T11" fmla="*/ 2147483646 h 199"/>
              <a:gd name="T12" fmla="*/ 2147483646 w 128"/>
              <a:gd name="T13" fmla="*/ 2147483646 h 199"/>
              <a:gd name="T14" fmla="*/ 2147483646 w 128"/>
              <a:gd name="T15" fmla="*/ 2147483646 h 199"/>
              <a:gd name="T16" fmla="*/ 2147483646 w 128"/>
              <a:gd name="T17" fmla="*/ 2147483646 h 199"/>
              <a:gd name="T18" fmla="*/ 2147483646 w 128"/>
              <a:gd name="T19" fmla="*/ 2147483646 h 199"/>
              <a:gd name="T20" fmla="*/ 2147483646 w 128"/>
              <a:gd name="T21" fmla="*/ 2147483646 h 199"/>
              <a:gd name="T22" fmla="*/ 2147483646 w 128"/>
              <a:gd name="T23" fmla="*/ 2147483646 h 199"/>
              <a:gd name="T24" fmla="*/ 2147483646 w 128"/>
              <a:gd name="T25" fmla="*/ 2147483646 h 199"/>
              <a:gd name="T26" fmla="*/ 2147483646 w 128"/>
              <a:gd name="T27" fmla="*/ 2147483646 h 199"/>
              <a:gd name="T28" fmla="*/ 2147483646 w 128"/>
              <a:gd name="T29" fmla="*/ 2147483646 h 199"/>
              <a:gd name="T30" fmla="*/ 2147483646 w 128"/>
              <a:gd name="T31" fmla="*/ 2147483646 h 199"/>
              <a:gd name="T32" fmla="*/ 2147483646 w 128"/>
              <a:gd name="T33" fmla="*/ 2147483646 h 199"/>
              <a:gd name="T34" fmla="*/ 2147483646 w 128"/>
              <a:gd name="T35" fmla="*/ 2147483646 h 199"/>
              <a:gd name="T36" fmla="*/ 2147483646 w 128"/>
              <a:gd name="T37" fmla="*/ 2147483646 h 199"/>
              <a:gd name="T38" fmla="*/ 2147483646 w 128"/>
              <a:gd name="T39" fmla="*/ 2147483646 h 199"/>
              <a:gd name="T40" fmla="*/ 2147483646 w 128"/>
              <a:gd name="T41" fmla="*/ 2147483646 h 199"/>
              <a:gd name="T42" fmla="*/ 2147483646 w 128"/>
              <a:gd name="T43" fmla="*/ 2147483646 h 199"/>
              <a:gd name="T44" fmla="*/ 2147483646 w 128"/>
              <a:gd name="T45" fmla="*/ 2147483646 h 199"/>
              <a:gd name="T46" fmla="*/ 2147483646 w 128"/>
              <a:gd name="T47" fmla="*/ 2147483646 h 199"/>
              <a:gd name="T48" fmla="*/ 2147483646 w 128"/>
              <a:gd name="T49" fmla="*/ 2147483646 h 199"/>
              <a:gd name="T50" fmla="*/ 2147483646 w 128"/>
              <a:gd name="T51" fmla="*/ 2147483646 h 199"/>
              <a:gd name="T52" fmla="*/ 2147483646 w 128"/>
              <a:gd name="T53" fmla="*/ 2147483646 h 199"/>
              <a:gd name="T54" fmla="*/ 2147483646 w 128"/>
              <a:gd name="T55" fmla="*/ 2147483646 h 199"/>
              <a:gd name="T56" fmla="*/ 2147483646 w 128"/>
              <a:gd name="T57" fmla="*/ 2147483646 h 199"/>
              <a:gd name="T58" fmla="*/ 2147483646 w 128"/>
              <a:gd name="T59" fmla="*/ 2147483646 h 199"/>
              <a:gd name="T60" fmla="*/ 2147483646 w 128"/>
              <a:gd name="T61" fmla="*/ 2147483646 h 199"/>
              <a:gd name="T62" fmla="*/ 2147483646 w 128"/>
              <a:gd name="T63" fmla="*/ 2147483646 h 1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8"/>
              <a:gd name="T97" fmla="*/ 0 h 199"/>
              <a:gd name="T98" fmla="*/ 128 w 128"/>
              <a:gd name="T99" fmla="*/ 199 h 19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8" h="199">
                <a:moveTo>
                  <a:pt x="98" y="12"/>
                </a:moveTo>
                <a:cubicBezTo>
                  <a:pt x="90" y="7"/>
                  <a:pt x="87" y="12"/>
                  <a:pt x="83" y="15"/>
                </a:cubicBezTo>
                <a:cubicBezTo>
                  <a:pt x="79" y="17"/>
                  <a:pt x="69" y="13"/>
                  <a:pt x="60" y="13"/>
                </a:cubicBezTo>
                <a:cubicBezTo>
                  <a:pt x="51" y="13"/>
                  <a:pt x="51" y="15"/>
                  <a:pt x="46" y="16"/>
                </a:cubicBezTo>
                <a:cubicBezTo>
                  <a:pt x="42" y="17"/>
                  <a:pt x="39" y="16"/>
                  <a:pt x="33" y="8"/>
                </a:cubicBezTo>
                <a:cubicBezTo>
                  <a:pt x="26" y="0"/>
                  <a:pt x="26" y="9"/>
                  <a:pt x="22" y="11"/>
                </a:cubicBezTo>
                <a:cubicBezTo>
                  <a:pt x="18" y="14"/>
                  <a:pt x="16" y="19"/>
                  <a:pt x="15" y="22"/>
                </a:cubicBezTo>
                <a:cubicBezTo>
                  <a:pt x="14" y="25"/>
                  <a:pt x="18" y="38"/>
                  <a:pt x="20" y="46"/>
                </a:cubicBezTo>
                <a:cubicBezTo>
                  <a:pt x="23" y="53"/>
                  <a:pt x="19" y="58"/>
                  <a:pt x="19" y="58"/>
                </a:cubicBezTo>
                <a:cubicBezTo>
                  <a:pt x="19" y="59"/>
                  <a:pt x="19" y="59"/>
                  <a:pt x="19" y="59"/>
                </a:cubicBezTo>
                <a:cubicBezTo>
                  <a:pt x="21" y="63"/>
                  <a:pt x="20" y="67"/>
                  <a:pt x="20" y="70"/>
                </a:cubicBezTo>
                <a:cubicBezTo>
                  <a:pt x="19" y="75"/>
                  <a:pt x="30" y="80"/>
                  <a:pt x="23" y="92"/>
                </a:cubicBezTo>
                <a:cubicBezTo>
                  <a:pt x="16" y="105"/>
                  <a:pt x="9" y="104"/>
                  <a:pt x="11" y="113"/>
                </a:cubicBezTo>
                <a:cubicBezTo>
                  <a:pt x="12" y="122"/>
                  <a:pt x="3" y="117"/>
                  <a:pt x="4" y="133"/>
                </a:cubicBezTo>
                <a:cubicBezTo>
                  <a:pt x="5" y="149"/>
                  <a:pt x="0" y="149"/>
                  <a:pt x="7" y="159"/>
                </a:cubicBezTo>
                <a:cubicBezTo>
                  <a:pt x="14" y="169"/>
                  <a:pt x="19" y="182"/>
                  <a:pt x="13" y="183"/>
                </a:cubicBezTo>
                <a:cubicBezTo>
                  <a:pt x="13" y="183"/>
                  <a:pt x="19" y="189"/>
                  <a:pt x="23" y="189"/>
                </a:cubicBezTo>
                <a:cubicBezTo>
                  <a:pt x="26" y="188"/>
                  <a:pt x="31" y="199"/>
                  <a:pt x="37" y="194"/>
                </a:cubicBezTo>
                <a:cubicBezTo>
                  <a:pt x="43" y="189"/>
                  <a:pt x="43" y="186"/>
                  <a:pt x="51" y="183"/>
                </a:cubicBezTo>
                <a:cubicBezTo>
                  <a:pt x="58" y="179"/>
                  <a:pt x="82" y="178"/>
                  <a:pt x="88" y="174"/>
                </a:cubicBezTo>
                <a:cubicBezTo>
                  <a:pt x="94" y="171"/>
                  <a:pt x="94" y="164"/>
                  <a:pt x="94" y="162"/>
                </a:cubicBezTo>
                <a:cubicBezTo>
                  <a:pt x="94" y="159"/>
                  <a:pt x="93" y="152"/>
                  <a:pt x="99" y="156"/>
                </a:cubicBezTo>
                <a:cubicBezTo>
                  <a:pt x="104" y="159"/>
                  <a:pt x="109" y="169"/>
                  <a:pt x="114" y="167"/>
                </a:cubicBezTo>
                <a:cubicBezTo>
                  <a:pt x="120" y="165"/>
                  <a:pt x="127" y="160"/>
                  <a:pt x="128" y="158"/>
                </a:cubicBezTo>
                <a:cubicBezTo>
                  <a:pt x="128" y="158"/>
                  <a:pt x="110" y="151"/>
                  <a:pt x="108" y="140"/>
                </a:cubicBezTo>
                <a:cubicBezTo>
                  <a:pt x="106" y="129"/>
                  <a:pt x="109" y="118"/>
                  <a:pt x="110" y="111"/>
                </a:cubicBezTo>
                <a:cubicBezTo>
                  <a:pt x="111" y="104"/>
                  <a:pt x="111" y="96"/>
                  <a:pt x="108" y="93"/>
                </a:cubicBezTo>
                <a:cubicBezTo>
                  <a:pt x="105" y="90"/>
                  <a:pt x="101" y="89"/>
                  <a:pt x="102" y="81"/>
                </a:cubicBezTo>
                <a:cubicBezTo>
                  <a:pt x="102" y="74"/>
                  <a:pt x="105" y="70"/>
                  <a:pt x="104" y="62"/>
                </a:cubicBezTo>
                <a:cubicBezTo>
                  <a:pt x="102" y="54"/>
                  <a:pt x="105" y="56"/>
                  <a:pt x="107" y="49"/>
                </a:cubicBezTo>
                <a:cubicBezTo>
                  <a:pt x="109" y="41"/>
                  <a:pt x="109" y="31"/>
                  <a:pt x="100" y="29"/>
                </a:cubicBezTo>
                <a:cubicBezTo>
                  <a:pt x="91" y="28"/>
                  <a:pt x="98" y="12"/>
                  <a:pt x="98" y="1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34" name="Freeform 670"/>
          <p:cNvSpPr>
            <a:spLocks/>
          </p:cNvSpPr>
          <p:nvPr userDrawn="1"/>
        </p:nvSpPr>
        <p:spPr bwMode="auto">
          <a:xfrm>
            <a:off x="5460504" y="4736633"/>
            <a:ext cx="50253" cy="135681"/>
          </a:xfrm>
          <a:custGeom>
            <a:avLst/>
            <a:gdLst>
              <a:gd name="T0" fmla="*/ 2147483646 w 53"/>
              <a:gd name="T1" fmla="*/ 2147483646 h 146"/>
              <a:gd name="T2" fmla="*/ 2147483646 w 53"/>
              <a:gd name="T3" fmla="*/ 2147483646 h 146"/>
              <a:gd name="T4" fmla="*/ 2147483646 w 53"/>
              <a:gd name="T5" fmla="*/ 2147483646 h 146"/>
              <a:gd name="T6" fmla="*/ 2147483646 w 53"/>
              <a:gd name="T7" fmla="*/ 2147483646 h 146"/>
              <a:gd name="T8" fmla="*/ 2147483646 w 53"/>
              <a:gd name="T9" fmla="*/ 2147483646 h 146"/>
              <a:gd name="T10" fmla="*/ 2147483646 w 53"/>
              <a:gd name="T11" fmla="*/ 2147483646 h 146"/>
              <a:gd name="T12" fmla="*/ 2147483646 w 53"/>
              <a:gd name="T13" fmla="*/ 2147483646 h 146"/>
              <a:gd name="T14" fmla="*/ 2147483646 w 53"/>
              <a:gd name="T15" fmla="*/ 2147483646 h 146"/>
              <a:gd name="T16" fmla="*/ 2147483646 w 53"/>
              <a:gd name="T17" fmla="*/ 0 h 146"/>
              <a:gd name="T18" fmla="*/ 2147483646 w 53"/>
              <a:gd name="T19" fmla="*/ 0 h 146"/>
              <a:gd name="T20" fmla="*/ 2147483646 w 53"/>
              <a:gd name="T21" fmla="*/ 2147483646 h 146"/>
              <a:gd name="T22" fmla="*/ 2147483646 w 53"/>
              <a:gd name="T23" fmla="*/ 2147483646 h 146"/>
              <a:gd name="T24" fmla="*/ 2147483646 w 53"/>
              <a:gd name="T25" fmla="*/ 2147483646 h 146"/>
              <a:gd name="T26" fmla="*/ 2147483646 w 53"/>
              <a:gd name="T27" fmla="*/ 2147483646 h 146"/>
              <a:gd name="T28" fmla="*/ 2147483646 w 53"/>
              <a:gd name="T29" fmla="*/ 2147483646 h 146"/>
              <a:gd name="T30" fmla="*/ 2147483646 w 53"/>
              <a:gd name="T31" fmla="*/ 2147483646 h 146"/>
              <a:gd name="T32" fmla="*/ 2147483646 w 53"/>
              <a:gd name="T33" fmla="*/ 2147483646 h 146"/>
              <a:gd name="T34" fmla="*/ 2147483646 w 53"/>
              <a:gd name="T35" fmla="*/ 2147483646 h 146"/>
              <a:gd name="T36" fmla="*/ 2147483646 w 53"/>
              <a:gd name="T37" fmla="*/ 2147483646 h 146"/>
              <a:gd name="T38" fmla="*/ 2147483646 w 53"/>
              <a:gd name="T39" fmla="*/ 2147483646 h 14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53"/>
              <a:gd name="T61" fmla="*/ 0 h 146"/>
              <a:gd name="T62" fmla="*/ 53 w 53"/>
              <a:gd name="T63" fmla="*/ 146 h 14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53" h="146">
                <a:moveTo>
                  <a:pt x="37" y="146"/>
                </a:moveTo>
                <a:cubicBezTo>
                  <a:pt x="37" y="146"/>
                  <a:pt x="19" y="139"/>
                  <a:pt x="17" y="128"/>
                </a:cubicBezTo>
                <a:cubicBezTo>
                  <a:pt x="15" y="117"/>
                  <a:pt x="18" y="106"/>
                  <a:pt x="19" y="99"/>
                </a:cubicBezTo>
                <a:cubicBezTo>
                  <a:pt x="20" y="92"/>
                  <a:pt x="20" y="84"/>
                  <a:pt x="17" y="81"/>
                </a:cubicBezTo>
                <a:cubicBezTo>
                  <a:pt x="14" y="78"/>
                  <a:pt x="10" y="77"/>
                  <a:pt x="11" y="69"/>
                </a:cubicBezTo>
                <a:cubicBezTo>
                  <a:pt x="11" y="62"/>
                  <a:pt x="14" y="58"/>
                  <a:pt x="13" y="50"/>
                </a:cubicBezTo>
                <a:cubicBezTo>
                  <a:pt x="11" y="42"/>
                  <a:pt x="14" y="44"/>
                  <a:pt x="16" y="37"/>
                </a:cubicBezTo>
                <a:cubicBezTo>
                  <a:pt x="18" y="29"/>
                  <a:pt x="18" y="19"/>
                  <a:pt x="9" y="17"/>
                </a:cubicBezTo>
                <a:cubicBezTo>
                  <a:pt x="0" y="16"/>
                  <a:pt x="7" y="0"/>
                  <a:pt x="7" y="0"/>
                </a:cubicBezTo>
                <a:cubicBezTo>
                  <a:pt x="8" y="0"/>
                  <a:pt x="8" y="0"/>
                  <a:pt x="8" y="0"/>
                </a:cubicBezTo>
                <a:cubicBezTo>
                  <a:pt x="16" y="6"/>
                  <a:pt x="18" y="7"/>
                  <a:pt x="25" y="7"/>
                </a:cubicBezTo>
                <a:cubicBezTo>
                  <a:pt x="25" y="7"/>
                  <a:pt x="22" y="18"/>
                  <a:pt x="28" y="22"/>
                </a:cubicBezTo>
                <a:cubicBezTo>
                  <a:pt x="33" y="27"/>
                  <a:pt x="42" y="31"/>
                  <a:pt x="42" y="38"/>
                </a:cubicBezTo>
                <a:cubicBezTo>
                  <a:pt x="43" y="45"/>
                  <a:pt x="40" y="51"/>
                  <a:pt x="44" y="57"/>
                </a:cubicBezTo>
                <a:cubicBezTo>
                  <a:pt x="48" y="62"/>
                  <a:pt x="53" y="62"/>
                  <a:pt x="52" y="69"/>
                </a:cubicBezTo>
                <a:cubicBezTo>
                  <a:pt x="50" y="77"/>
                  <a:pt x="47" y="70"/>
                  <a:pt x="48" y="82"/>
                </a:cubicBezTo>
                <a:cubicBezTo>
                  <a:pt x="50" y="94"/>
                  <a:pt x="50" y="115"/>
                  <a:pt x="49" y="118"/>
                </a:cubicBezTo>
                <a:cubicBezTo>
                  <a:pt x="48" y="121"/>
                  <a:pt x="45" y="127"/>
                  <a:pt x="48" y="130"/>
                </a:cubicBezTo>
                <a:cubicBezTo>
                  <a:pt x="51" y="134"/>
                  <a:pt x="52" y="143"/>
                  <a:pt x="52" y="143"/>
                </a:cubicBezTo>
                <a:cubicBezTo>
                  <a:pt x="52" y="143"/>
                  <a:pt x="44" y="139"/>
                  <a:pt x="37" y="14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35" name="Freeform 671"/>
          <p:cNvSpPr>
            <a:spLocks/>
          </p:cNvSpPr>
          <p:nvPr userDrawn="1"/>
        </p:nvSpPr>
        <p:spPr bwMode="auto">
          <a:xfrm>
            <a:off x="5482282" y="4701455"/>
            <a:ext cx="85429" cy="167509"/>
          </a:xfrm>
          <a:custGeom>
            <a:avLst/>
            <a:gdLst>
              <a:gd name="T0" fmla="*/ 2147483646 w 92"/>
              <a:gd name="T1" fmla="*/ 2147483646 h 181"/>
              <a:gd name="T2" fmla="*/ 2147483646 w 92"/>
              <a:gd name="T3" fmla="*/ 2147483646 h 181"/>
              <a:gd name="T4" fmla="*/ 2147483646 w 92"/>
              <a:gd name="T5" fmla="*/ 2147483646 h 181"/>
              <a:gd name="T6" fmla="*/ 2147483646 w 92"/>
              <a:gd name="T7" fmla="*/ 2147483646 h 181"/>
              <a:gd name="T8" fmla="*/ 2147483646 w 92"/>
              <a:gd name="T9" fmla="*/ 2147483646 h 181"/>
              <a:gd name="T10" fmla="*/ 2147483646 w 92"/>
              <a:gd name="T11" fmla="*/ 2147483646 h 181"/>
              <a:gd name="T12" fmla="*/ 2147483646 w 92"/>
              <a:gd name="T13" fmla="*/ 2147483646 h 181"/>
              <a:gd name="T14" fmla="*/ 2147483646 w 92"/>
              <a:gd name="T15" fmla="*/ 2147483646 h 181"/>
              <a:gd name="T16" fmla="*/ 2147483646 w 92"/>
              <a:gd name="T17" fmla="*/ 2147483646 h 181"/>
              <a:gd name="T18" fmla="*/ 2147483646 w 92"/>
              <a:gd name="T19" fmla="*/ 2147483646 h 181"/>
              <a:gd name="T20" fmla="*/ 2147483646 w 92"/>
              <a:gd name="T21" fmla="*/ 2147483646 h 181"/>
              <a:gd name="T22" fmla="*/ 2147483646 w 92"/>
              <a:gd name="T23" fmla="*/ 2147483646 h 181"/>
              <a:gd name="T24" fmla="*/ 2147483646 w 92"/>
              <a:gd name="T25" fmla="*/ 2147483646 h 181"/>
              <a:gd name="T26" fmla="*/ 2147483646 w 92"/>
              <a:gd name="T27" fmla="*/ 2147483646 h 181"/>
              <a:gd name="T28" fmla="*/ 2147483646 w 92"/>
              <a:gd name="T29" fmla="*/ 2147483646 h 181"/>
              <a:gd name="T30" fmla="*/ 2147483646 w 92"/>
              <a:gd name="T31" fmla="*/ 2147483646 h 181"/>
              <a:gd name="T32" fmla="*/ 2147483646 w 92"/>
              <a:gd name="T33" fmla="*/ 2147483646 h 181"/>
              <a:gd name="T34" fmla="*/ 2147483646 w 92"/>
              <a:gd name="T35" fmla="*/ 2147483646 h 181"/>
              <a:gd name="T36" fmla="*/ 2147483646 w 92"/>
              <a:gd name="T37" fmla="*/ 2147483646 h 181"/>
              <a:gd name="T38" fmla="*/ 2147483646 w 92"/>
              <a:gd name="T39" fmla="*/ 2147483646 h 181"/>
              <a:gd name="T40" fmla="*/ 2147483646 w 92"/>
              <a:gd name="T41" fmla="*/ 2147483646 h 181"/>
              <a:gd name="T42" fmla="*/ 2147483646 w 92"/>
              <a:gd name="T43" fmla="*/ 2147483646 h 181"/>
              <a:gd name="T44" fmla="*/ 2147483646 w 92"/>
              <a:gd name="T45" fmla="*/ 2147483646 h 181"/>
              <a:gd name="T46" fmla="*/ 2147483646 w 92"/>
              <a:gd name="T47" fmla="*/ 2147483646 h 181"/>
              <a:gd name="T48" fmla="*/ 2147483646 w 92"/>
              <a:gd name="T49" fmla="*/ 2147483646 h 181"/>
              <a:gd name="T50" fmla="*/ 2147483646 w 92"/>
              <a:gd name="T51" fmla="*/ 2147483646 h 181"/>
              <a:gd name="T52" fmla="*/ 2147483646 w 92"/>
              <a:gd name="T53" fmla="*/ 2147483646 h 181"/>
              <a:gd name="T54" fmla="*/ 2147483646 w 92"/>
              <a:gd name="T55" fmla="*/ 2147483646 h 181"/>
              <a:gd name="T56" fmla="*/ 2147483646 w 92"/>
              <a:gd name="T57" fmla="*/ 2147483646 h 181"/>
              <a:gd name="T58" fmla="*/ 2147483646 w 92"/>
              <a:gd name="T59" fmla="*/ 2147483646 h 181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92"/>
              <a:gd name="T91" fmla="*/ 0 h 181"/>
              <a:gd name="T92" fmla="*/ 92 w 92"/>
              <a:gd name="T93" fmla="*/ 181 h 181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92" h="181">
                <a:moveTo>
                  <a:pt x="30" y="181"/>
                </a:moveTo>
                <a:cubicBezTo>
                  <a:pt x="30" y="181"/>
                  <a:pt x="29" y="172"/>
                  <a:pt x="26" y="168"/>
                </a:cubicBezTo>
                <a:cubicBezTo>
                  <a:pt x="23" y="165"/>
                  <a:pt x="26" y="159"/>
                  <a:pt x="27" y="156"/>
                </a:cubicBezTo>
                <a:cubicBezTo>
                  <a:pt x="28" y="153"/>
                  <a:pt x="28" y="132"/>
                  <a:pt x="26" y="120"/>
                </a:cubicBezTo>
                <a:cubicBezTo>
                  <a:pt x="25" y="108"/>
                  <a:pt x="28" y="115"/>
                  <a:pt x="30" y="107"/>
                </a:cubicBezTo>
                <a:cubicBezTo>
                  <a:pt x="31" y="100"/>
                  <a:pt x="26" y="100"/>
                  <a:pt x="22" y="95"/>
                </a:cubicBezTo>
                <a:cubicBezTo>
                  <a:pt x="18" y="89"/>
                  <a:pt x="21" y="83"/>
                  <a:pt x="20" y="76"/>
                </a:cubicBezTo>
                <a:cubicBezTo>
                  <a:pt x="20" y="69"/>
                  <a:pt x="11" y="65"/>
                  <a:pt x="6" y="60"/>
                </a:cubicBezTo>
                <a:cubicBezTo>
                  <a:pt x="0" y="56"/>
                  <a:pt x="3" y="45"/>
                  <a:pt x="3" y="45"/>
                </a:cubicBezTo>
                <a:cubicBezTo>
                  <a:pt x="9" y="45"/>
                  <a:pt x="11" y="43"/>
                  <a:pt x="13" y="40"/>
                </a:cubicBezTo>
                <a:cubicBezTo>
                  <a:pt x="15" y="38"/>
                  <a:pt x="28" y="29"/>
                  <a:pt x="35" y="30"/>
                </a:cubicBezTo>
                <a:cubicBezTo>
                  <a:pt x="42" y="32"/>
                  <a:pt x="50" y="23"/>
                  <a:pt x="51" y="18"/>
                </a:cubicBezTo>
                <a:cubicBezTo>
                  <a:pt x="51" y="18"/>
                  <a:pt x="51" y="6"/>
                  <a:pt x="55" y="7"/>
                </a:cubicBezTo>
                <a:cubicBezTo>
                  <a:pt x="59" y="9"/>
                  <a:pt x="62" y="9"/>
                  <a:pt x="63" y="6"/>
                </a:cubicBezTo>
                <a:cubicBezTo>
                  <a:pt x="63" y="3"/>
                  <a:pt x="63" y="0"/>
                  <a:pt x="69" y="9"/>
                </a:cubicBezTo>
                <a:cubicBezTo>
                  <a:pt x="75" y="17"/>
                  <a:pt x="79" y="15"/>
                  <a:pt x="82" y="21"/>
                </a:cubicBezTo>
                <a:cubicBezTo>
                  <a:pt x="86" y="26"/>
                  <a:pt x="82" y="28"/>
                  <a:pt x="83" y="32"/>
                </a:cubicBezTo>
                <a:cubicBezTo>
                  <a:pt x="84" y="36"/>
                  <a:pt x="86" y="39"/>
                  <a:pt x="88" y="42"/>
                </a:cubicBezTo>
                <a:cubicBezTo>
                  <a:pt x="89" y="46"/>
                  <a:pt x="92" y="46"/>
                  <a:pt x="89" y="53"/>
                </a:cubicBezTo>
                <a:cubicBezTo>
                  <a:pt x="86" y="60"/>
                  <a:pt x="80" y="63"/>
                  <a:pt x="81" y="68"/>
                </a:cubicBezTo>
                <a:cubicBezTo>
                  <a:pt x="83" y="73"/>
                  <a:pt x="89" y="77"/>
                  <a:pt x="81" y="79"/>
                </a:cubicBezTo>
                <a:cubicBezTo>
                  <a:pt x="73" y="81"/>
                  <a:pt x="71" y="77"/>
                  <a:pt x="71" y="80"/>
                </a:cubicBezTo>
                <a:cubicBezTo>
                  <a:pt x="70" y="84"/>
                  <a:pt x="67" y="82"/>
                  <a:pt x="66" y="85"/>
                </a:cubicBezTo>
                <a:cubicBezTo>
                  <a:pt x="64" y="88"/>
                  <a:pt x="77" y="95"/>
                  <a:pt x="66" y="97"/>
                </a:cubicBezTo>
                <a:cubicBezTo>
                  <a:pt x="55" y="99"/>
                  <a:pt x="51" y="100"/>
                  <a:pt x="54" y="108"/>
                </a:cubicBezTo>
                <a:cubicBezTo>
                  <a:pt x="57" y="117"/>
                  <a:pt x="56" y="122"/>
                  <a:pt x="55" y="127"/>
                </a:cubicBezTo>
                <a:cubicBezTo>
                  <a:pt x="54" y="131"/>
                  <a:pt x="54" y="132"/>
                  <a:pt x="55" y="138"/>
                </a:cubicBezTo>
                <a:cubicBezTo>
                  <a:pt x="57" y="145"/>
                  <a:pt x="58" y="147"/>
                  <a:pt x="58" y="153"/>
                </a:cubicBezTo>
                <a:cubicBezTo>
                  <a:pt x="58" y="158"/>
                  <a:pt x="53" y="176"/>
                  <a:pt x="53" y="176"/>
                </a:cubicBezTo>
                <a:cubicBezTo>
                  <a:pt x="53" y="176"/>
                  <a:pt x="36" y="180"/>
                  <a:pt x="30" y="18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36" name="Freeform 672"/>
          <p:cNvSpPr>
            <a:spLocks/>
          </p:cNvSpPr>
          <p:nvPr userDrawn="1"/>
        </p:nvSpPr>
        <p:spPr bwMode="auto">
          <a:xfrm>
            <a:off x="5475582" y="4411665"/>
            <a:ext cx="403697" cy="308217"/>
          </a:xfrm>
          <a:custGeom>
            <a:avLst/>
            <a:gdLst>
              <a:gd name="T0" fmla="*/ 2147483646 w 434"/>
              <a:gd name="T1" fmla="*/ 2147483646 h 330"/>
              <a:gd name="T2" fmla="*/ 2147483646 w 434"/>
              <a:gd name="T3" fmla="*/ 2147483646 h 330"/>
              <a:gd name="T4" fmla="*/ 2147483646 w 434"/>
              <a:gd name="T5" fmla="*/ 2147483646 h 330"/>
              <a:gd name="T6" fmla="*/ 2147483646 w 434"/>
              <a:gd name="T7" fmla="*/ 2147483646 h 330"/>
              <a:gd name="T8" fmla="*/ 2147483646 w 434"/>
              <a:gd name="T9" fmla="*/ 2147483646 h 330"/>
              <a:gd name="T10" fmla="*/ 2147483646 w 434"/>
              <a:gd name="T11" fmla="*/ 2147483646 h 330"/>
              <a:gd name="T12" fmla="*/ 2147483646 w 434"/>
              <a:gd name="T13" fmla="*/ 2147483646 h 330"/>
              <a:gd name="T14" fmla="*/ 2147483646 w 434"/>
              <a:gd name="T15" fmla="*/ 2147483646 h 330"/>
              <a:gd name="T16" fmla="*/ 2147483646 w 434"/>
              <a:gd name="T17" fmla="*/ 2147483646 h 330"/>
              <a:gd name="T18" fmla="*/ 2147483646 w 434"/>
              <a:gd name="T19" fmla="*/ 2147483646 h 330"/>
              <a:gd name="T20" fmla="*/ 2147483646 w 434"/>
              <a:gd name="T21" fmla="*/ 2147483646 h 330"/>
              <a:gd name="T22" fmla="*/ 2147483646 w 434"/>
              <a:gd name="T23" fmla="*/ 2147483646 h 330"/>
              <a:gd name="T24" fmla="*/ 2147483646 w 434"/>
              <a:gd name="T25" fmla="*/ 2147483646 h 330"/>
              <a:gd name="T26" fmla="*/ 2147483646 w 434"/>
              <a:gd name="T27" fmla="*/ 2147483646 h 330"/>
              <a:gd name="T28" fmla="*/ 0 w 434"/>
              <a:gd name="T29" fmla="*/ 2147483646 h 330"/>
              <a:gd name="T30" fmla="*/ 2147483646 w 434"/>
              <a:gd name="T31" fmla="*/ 2147483646 h 330"/>
              <a:gd name="T32" fmla="*/ 2147483646 w 434"/>
              <a:gd name="T33" fmla="*/ 2147483646 h 330"/>
              <a:gd name="T34" fmla="*/ 2147483646 w 434"/>
              <a:gd name="T35" fmla="*/ 2147483646 h 330"/>
              <a:gd name="T36" fmla="*/ 2147483646 w 434"/>
              <a:gd name="T37" fmla="*/ 2147483646 h 330"/>
              <a:gd name="T38" fmla="*/ 2147483646 w 434"/>
              <a:gd name="T39" fmla="*/ 2147483646 h 330"/>
              <a:gd name="T40" fmla="*/ 2147483646 w 434"/>
              <a:gd name="T41" fmla="*/ 2147483646 h 330"/>
              <a:gd name="T42" fmla="*/ 2147483646 w 434"/>
              <a:gd name="T43" fmla="*/ 2147483646 h 330"/>
              <a:gd name="T44" fmla="*/ 2147483646 w 434"/>
              <a:gd name="T45" fmla="*/ 2147483646 h 330"/>
              <a:gd name="T46" fmla="*/ 2147483646 w 434"/>
              <a:gd name="T47" fmla="*/ 2147483646 h 330"/>
              <a:gd name="T48" fmla="*/ 2147483646 w 434"/>
              <a:gd name="T49" fmla="*/ 2147483646 h 330"/>
              <a:gd name="T50" fmla="*/ 2147483646 w 434"/>
              <a:gd name="T51" fmla="*/ 2147483646 h 330"/>
              <a:gd name="T52" fmla="*/ 2147483646 w 434"/>
              <a:gd name="T53" fmla="*/ 2147483646 h 330"/>
              <a:gd name="T54" fmla="*/ 2147483646 w 434"/>
              <a:gd name="T55" fmla="*/ 2147483646 h 330"/>
              <a:gd name="T56" fmla="*/ 2147483646 w 434"/>
              <a:gd name="T57" fmla="*/ 2147483646 h 330"/>
              <a:gd name="T58" fmla="*/ 2147483646 w 434"/>
              <a:gd name="T59" fmla="*/ 2147483646 h 330"/>
              <a:gd name="T60" fmla="*/ 2147483646 w 434"/>
              <a:gd name="T61" fmla="*/ 2147483646 h 330"/>
              <a:gd name="T62" fmla="*/ 2147483646 w 434"/>
              <a:gd name="T63" fmla="*/ 2147483646 h 330"/>
              <a:gd name="T64" fmla="*/ 2147483646 w 434"/>
              <a:gd name="T65" fmla="*/ 2147483646 h 330"/>
              <a:gd name="T66" fmla="*/ 2147483646 w 434"/>
              <a:gd name="T67" fmla="*/ 2147483646 h 330"/>
              <a:gd name="T68" fmla="*/ 2147483646 w 434"/>
              <a:gd name="T69" fmla="*/ 2147483646 h 330"/>
              <a:gd name="T70" fmla="*/ 2147483646 w 434"/>
              <a:gd name="T71" fmla="*/ 2147483646 h 330"/>
              <a:gd name="T72" fmla="*/ 2147483646 w 434"/>
              <a:gd name="T73" fmla="*/ 2147483646 h 330"/>
              <a:gd name="T74" fmla="*/ 2147483646 w 434"/>
              <a:gd name="T75" fmla="*/ 2147483646 h 330"/>
              <a:gd name="T76" fmla="*/ 2147483646 w 434"/>
              <a:gd name="T77" fmla="*/ 2147483646 h 330"/>
              <a:gd name="T78" fmla="*/ 2147483646 w 434"/>
              <a:gd name="T79" fmla="*/ 2147483646 h 330"/>
              <a:gd name="T80" fmla="*/ 2147483646 w 434"/>
              <a:gd name="T81" fmla="*/ 2147483646 h 330"/>
              <a:gd name="T82" fmla="*/ 2147483646 w 434"/>
              <a:gd name="T83" fmla="*/ 2147483646 h 330"/>
              <a:gd name="T84" fmla="*/ 2147483646 w 434"/>
              <a:gd name="T85" fmla="*/ 2147483646 h 330"/>
              <a:gd name="T86" fmla="*/ 2147483646 w 434"/>
              <a:gd name="T87" fmla="*/ 2147483646 h 330"/>
              <a:gd name="T88" fmla="*/ 2147483646 w 434"/>
              <a:gd name="T89" fmla="*/ 2147483646 h 330"/>
              <a:gd name="T90" fmla="*/ 2147483646 w 434"/>
              <a:gd name="T91" fmla="*/ 2147483646 h 330"/>
              <a:gd name="T92" fmla="*/ 2147483646 w 434"/>
              <a:gd name="T93" fmla="*/ 2147483646 h 330"/>
              <a:gd name="T94" fmla="*/ 2147483646 w 434"/>
              <a:gd name="T95" fmla="*/ 2147483646 h 330"/>
              <a:gd name="T96" fmla="*/ 2147483646 w 434"/>
              <a:gd name="T97" fmla="*/ 2147483646 h 330"/>
              <a:gd name="T98" fmla="*/ 2147483646 w 434"/>
              <a:gd name="T99" fmla="*/ 2147483646 h 330"/>
              <a:gd name="T100" fmla="*/ 2147483646 w 434"/>
              <a:gd name="T101" fmla="*/ 2147483646 h 330"/>
              <a:gd name="T102" fmla="*/ 2147483646 w 434"/>
              <a:gd name="T103" fmla="*/ 2147483646 h 330"/>
              <a:gd name="T104" fmla="*/ 2147483646 w 434"/>
              <a:gd name="T105" fmla="*/ 2147483646 h 330"/>
              <a:gd name="T106" fmla="*/ 2147483646 w 434"/>
              <a:gd name="T107" fmla="*/ 2147483646 h 330"/>
              <a:gd name="T108" fmla="*/ 2147483646 w 434"/>
              <a:gd name="T109" fmla="*/ 2147483646 h 330"/>
              <a:gd name="T110" fmla="*/ 2147483646 w 434"/>
              <a:gd name="T111" fmla="*/ 2147483646 h 330"/>
              <a:gd name="T112" fmla="*/ 2147483646 w 434"/>
              <a:gd name="T113" fmla="*/ 2147483646 h 330"/>
              <a:gd name="T114" fmla="*/ 2147483646 w 434"/>
              <a:gd name="T115" fmla="*/ 2147483646 h 330"/>
              <a:gd name="T116" fmla="*/ 2147483646 w 434"/>
              <a:gd name="T117" fmla="*/ 2147483646 h 330"/>
              <a:gd name="T118" fmla="*/ 2147483646 w 434"/>
              <a:gd name="T119" fmla="*/ 2147483646 h 330"/>
              <a:gd name="T120" fmla="*/ 2147483646 w 434"/>
              <a:gd name="T121" fmla="*/ 2147483646 h 33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34"/>
              <a:gd name="T184" fmla="*/ 0 h 330"/>
              <a:gd name="T185" fmla="*/ 434 w 434"/>
              <a:gd name="T186" fmla="*/ 330 h 33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34" h="330">
                <a:moveTo>
                  <a:pt x="408" y="23"/>
                </a:moveTo>
                <a:cubicBezTo>
                  <a:pt x="385" y="35"/>
                  <a:pt x="385" y="35"/>
                  <a:pt x="385" y="35"/>
                </a:cubicBezTo>
                <a:cubicBezTo>
                  <a:pt x="385" y="35"/>
                  <a:pt x="362" y="0"/>
                  <a:pt x="328" y="8"/>
                </a:cubicBezTo>
                <a:cubicBezTo>
                  <a:pt x="294" y="14"/>
                  <a:pt x="174" y="105"/>
                  <a:pt x="167" y="112"/>
                </a:cubicBezTo>
                <a:cubicBezTo>
                  <a:pt x="159" y="119"/>
                  <a:pt x="122" y="126"/>
                  <a:pt x="112" y="126"/>
                </a:cubicBezTo>
                <a:cubicBezTo>
                  <a:pt x="112" y="126"/>
                  <a:pt x="116" y="172"/>
                  <a:pt x="114" y="188"/>
                </a:cubicBezTo>
                <a:cubicBezTo>
                  <a:pt x="112" y="203"/>
                  <a:pt x="104" y="203"/>
                  <a:pt x="105" y="210"/>
                </a:cubicBezTo>
                <a:cubicBezTo>
                  <a:pt x="106" y="216"/>
                  <a:pt x="99" y="230"/>
                  <a:pt x="93" y="233"/>
                </a:cubicBezTo>
                <a:cubicBezTo>
                  <a:pt x="88" y="236"/>
                  <a:pt x="73" y="233"/>
                  <a:pt x="68" y="233"/>
                </a:cubicBezTo>
                <a:cubicBezTo>
                  <a:pt x="62" y="233"/>
                  <a:pt x="52" y="231"/>
                  <a:pt x="48" y="232"/>
                </a:cubicBezTo>
                <a:cubicBezTo>
                  <a:pt x="44" y="233"/>
                  <a:pt x="30" y="232"/>
                  <a:pt x="30" y="232"/>
                </a:cubicBezTo>
                <a:cubicBezTo>
                  <a:pt x="30" y="232"/>
                  <a:pt x="30" y="243"/>
                  <a:pt x="17" y="241"/>
                </a:cubicBezTo>
                <a:cubicBezTo>
                  <a:pt x="13" y="240"/>
                  <a:pt x="9" y="238"/>
                  <a:pt x="4" y="236"/>
                </a:cubicBezTo>
                <a:cubicBezTo>
                  <a:pt x="3" y="236"/>
                  <a:pt x="3" y="236"/>
                  <a:pt x="3" y="236"/>
                </a:cubicBezTo>
                <a:cubicBezTo>
                  <a:pt x="0" y="246"/>
                  <a:pt x="0" y="246"/>
                  <a:pt x="0" y="246"/>
                </a:cubicBezTo>
                <a:cubicBezTo>
                  <a:pt x="0" y="246"/>
                  <a:pt x="2" y="253"/>
                  <a:pt x="1" y="256"/>
                </a:cubicBezTo>
                <a:cubicBezTo>
                  <a:pt x="1" y="259"/>
                  <a:pt x="12" y="273"/>
                  <a:pt x="17" y="279"/>
                </a:cubicBezTo>
                <a:cubicBezTo>
                  <a:pt x="23" y="285"/>
                  <a:pt x="26" y="283"/>
                  <a:pt x="27" y="286"/>
                </a:cubicBezTo>
                <a:cubicBezTo>
                  <a:pt x="29" y="288"/>
                  <a:pt x="26" y="289"/>
                  <a:pt x="22" y="289"/>
                </a:cubicBezTo>
                <a:cubicBezTo>
                  <a:pt x="19" y="290"/>
                  <a:pt x="23" y="293"/>
                  <a:pt x="23" y="298"/>
                </a:cubicBezTo>
                <a:cubicBezTo>
                  <a:pt x="24" y="304"/>
                  <a:pt x="35" y="305"/>
                  <a:pt x="39" y="304"/>
                </a:cubicBezTo>
                <a:cubicBezTo>
                  <a:pt x="43" y="302"/>
                  <a:pt x="45" y="304"/>
                  <a:pt x="50" y="304"/>
                </a:cubicBezTo>
                <a:cubicBezTo>
                  <a:pt x="56" y="304"/>
                  <a:pt x="49" y="311"/>
                  <a:pt x="52" y="317"/>
                </a:cubicBezTo>
                <a:cubicBezTo>
                  <a:pt x="55" y="322"/>
                  <a:pt x="60" y="322"/>
                  <a:pt x="58" y="327"/>
                </a:cubicBezTo>
                <a:cubicBezTo>
                  <a:pt x="58" y="327"/>
                  <a:pt x="58" y="315"/>
                  <a:pt x="62" y="316"/>
                </a:cubicBezTo>
                <a:cubicBezTo>
                  <a:pt x="66" y="318"/>
                  <a:pt x="69" y="318"/>
                  <a:pt x="70" y="315"/>
                </a:cubicBezTo>
                <a:cubicBezTo>
                  <a:pt x="70" y="312"/>
                  <a:pt x="70" y="309"/>
                  <a:pt x="76" y="318"/>
                </a:cubicBezTo>
                <a:cubicBezTo>
                  <a:pt x="82" y="326"/>
                  <a:pt x="86" y="325"/>
                  <a:pt x="89" y="329"/>
                </a:cubicBezTo>
                <a:cubicBezTo>
                  <a:pt x="89" y="329"/>
                  <a:pt x="89" y="330"/>
                  <a:pt x="89" y="330"/>
                </a:cubicBezTo>
                <a:cubicBezTo>
                  <a:pt x="89" y="330"/>
                  <a:pt x="89" y="330"/>
                  <a:pt x="89" y="330"/>
                </a:cubicBezTo>
                <a:cubicBezTo>
                  <a:pt x="93" y="316"/>
                  <a:pt x="93" y="316"/>
                  <a:pt x="93" y="316"/>
                </a:cubicBezTo>
                <a:cubicBezTo>
                  <a:pt x="93" y="316"/>
                  <a:pt x="93" y="308"/>
                  <a:pt x="96" y="307"/>
                </a:cubicBezTo>
                <a:cubicBezTo>
                  <a:pt x="100" y="307"/>
                  <a:pt x="103" y="306"/>
                  <a:pt x="104" y="300"/>
                </a:cubicBezTo>
                <a:cubicBezTo>
                  <a:pt x="106" y="294"/>
                  <a:pt x="104" y="296"/>
                  <a:pt x="106" y="291"/>
                </a:cubicBezTo>
                <a:cubicBezTo>
                  <a:pt x="108" y="286"/>
                  <a:pt x="111" y="275"/>
                  <a:pt x="122" y="277"/>
                </a:cubicBezTo>
                <a:cubicBezTo>
                  <a:pt x="134" y="278"/>
                  <a:pt x="139" y="279"/>
                  <a:pt x="140" y="275"/>
                </a:cubicBezTo>
                <a:cubicBezTo>
                  <a:pt x="141" y="272"/>
                  <a:pt x="140" y="265"/>
                  <a:pt x="151" y="272"/>
                </a:cubicBezTo>
                <a:cubicBezTo>
                  <a:pt x="162" y="280"/>
                  <a:pt x="173" y="281"/>
                  <a:pt x="175" y="282"/>
                </a:cubicBezTo>
                <a:cubicBezTo>
                  <a:pt x="177" y="282"/>
                  <a:pt x="181" y="285"/>
                  <a:pt x="181" y="285"/>
                </a:cubicBezTo>
                <a:cubicBezTo>
                  <a:pt x="181" y="285"/>
                  <a:pt x="174" y="295"/>
                  <a:pt x="180" y="296"/>
                </a:cubicBezTo>
                <a:cubicBezTo>
                  <a:pt x="186" y="298"/>
                  <a:pt x="185" y="298"/>
                  <a:pt x="193" y="296"/>
                </a:cubicBezTo>
                <a:cubicBezTo>
                  <a:pt x="202" y="293"/>
                  <a:pt x="200" y="289"/>
                  <a:pt x="208" y="291"/>
                </a:cubicBezTo>
                <a:cubicBezTo>
                  <a:pt x="215" y="292"/>
                  <a:pt x="223" y="289"/>
                  <a:pt x="225" y="290"/>
                </a:cubicBezTo>
                <a:cubicBezTo>
                  <a:pt x="227" y="291"/>
                  <a:pt x="236" y="305"/>
                  <a:pt x="242" y="304"/>
                </a:cubicBezTo>
                <a:cubicBezTo>
                  <a:pt x="249" y="303"/>
                  <a:pt x="267" y="298"/>
                  <a:pt x="270" y="294"/>
                </a:cubicBezTo>
                <a:cubicBezTo>
                  <a:pt x="274" y="291"/>
                  <a:pt x="277" y="276"/>
                  <a:pt x="294" y="285"/>
                </a:cubicBezTo>
                <a:cubicBezTo>
                  <a:pt x="311" y="294"/>
                  <a:pt x="303" y="292"/>
                  <a:pt x="319" y="293"/>
                </a:cubicBezTo>
                <a:cubicBezTo>
                  <a:pt x="335" y="294"/>
                  <a:pt x="327" y="291"/>
                  <a:pt x="338" y="289"/>
                </a:cubicBezTo>
                <a:cubicBezTo>
                  <a:pt x="348" y="287"/>
                  <a:pt x="346" y="284"/>
                  <a:pt x="353" y="283"/>
                </a:cubicBezTo>
                <a:cubicBezTo>
                  <a:pt x="361" y="282"/>
                  <a:pt x="368" y="283"/>
                  <a:pt x="368" y="283"/>
                </a:cubicBezTo>
                <a:cubicBezTo>
                  <a:pt x="368" y="283"/>
                  <a:pt x="368" y="265"/>
                  <a:pt x="367" y="262"/>
                </a:cubicBezTo>
                <a:cubicBezTo>
                  <a:pt x="366" y="259"/>
                  <a:pt x="372" y="259"/>
                  <a:pt x="376" y="249"/>
                </a:cubicBezTo>
                <a:cubicBezTo>
                  <a:pt x="380" y="239"/>
                  <a:pt x="379" y="237"/>
                  <a:pt x="385" y="230"/>
                </a:cubicBezTo>
                <a:cubicBezTo>
                  <a:pt x="392" y="223"/>
                  <a:pt x="396" y="216"/>
                  <a:pt x="401" y="212"/>
                </a:cubicBezTo>
                <a:cubicBezTo>
                  <a:pt x="406" y="208"/>
                  <a:pt x="419" y="192"/>
                  <a:pt x="419" y="192"/>
                </a:cubicBezTo>
                <a:cubicBezTo>
                  <a:pt x="419" y="192"/>
                  <a:pt x="423" y="141"/>
                  <a:pt x="424" y="129"/>
                </a:cubicBezTo>
                <a:cubicBezTo>
                  <a:pt x="426" y="118"/>
                  <a:pt x="434" y="108"/>
                  <a:pt x="431" y="101"/>
                </a:cubicBezTo>
                <a:cubicBezTo>
                  <a:pt x="428" y="93"/>
                  <a:pt x="418" y="92"/>
                  <a:pt x="417" y="88"/>
                </a:cubicBezTo>
                <a:cubicBezTo>
                  <a:pt x="416" y="83"/>
                  <a:pt x="418" y="76"/>
                  <a:pt x="416" y="71"/>
                </a:cubicBezTo>
                <a:cubicBezTo>
                  <a:pt x="415" y="67"/>
                  <a:pt x="409" y="61"/>
                  <a:pt x="408" y="55"/>
                </a:cubicBezTo>
                <a:cubicBezTo>
                  <a:pt x="407" y="48"/>
                  <a:pt x="408" y="23"/>
                  <a:pt x="408" y="2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37" name="Freeform 673"/>
          <p:cNvSpPr>
            <a:spLocks/>
          </p:cNvSpPr>
          <p:nvPr userDrawn="1"/>
        </p:nvSpPr>
        <p:spPr bwMode="auto">
          <a:xfrm>
            <a:off x="5817300" y="4418364"/>
            <a:ext cx="264664" cy="428824"/>
          </a:xfrm>
          <a:custGeom>
            <a:avLst/>
            <a:gdLst>
              <a:gd name="T0" fmla="*/ 2147483646 w 285"/>
              <a:gd name="T1" fmla="*/ 2147483646 h 459"/>
              <a:gd name="T2" fmla="*/ 2147483646 w 285"/>
              <a:gd name="T3" fmla="*/ 0 h 459"/>
              <a:gd name="T4" fmla="*/ 2147483646 w 285"/>
              <a:gd name="T5" fmla="*/ 2147483646 h 459"/>
              <a:gd name="T6" fmla="*/ 2147483646 w 285"/>
              <a:gd name="T7" fmla="*/ 2147483646 h 459"/>
              <a:gd name="T8" fmla="*/ 2147483646 w 285"/>
              <a:gd name="T9" fmla="*/ 2147483646 h 459"/>
              <a:gd name="T10" fmla="*/ 2147483646 w 285"/>
              <a:gd name="T11" fmla="*/ 2147483646 h 459"/>
              <a:gd name="T12" fmla="*/ 2147483646 w 285"/>
              <a:gd name="T13" fmla="*/ 2147483646 h 459"/>
              <a:gd name="T14" fmla="*/ 2147483646 w 285"/>
              <a:gd name="T15" fmla="*/ 2147483646 h 459"/>
              <a:gd name="T16" fmla="*/ 2147483646 w 285"/>
              <a:gd name="T17" fmla="*/ 2147483646 h 459"/>
              <a:gd name="T18" fmla="*/ 2147483646 w 285"/>
              <a:gd name="T19" fmla="*/ 2147483646 h 459"/>
              <a:gd name="T20" fmla="*/ 2147483646 w 285"/>
              <a:gd name="T21" fmla="*/ 2147483646 h 459"/>
              <a:gd name="T22" fmla="*/ 2147483646 w 285"/>
              <a:gd name="T23" fmla="*/ 2147483646 h 459"/>
              <a:gd name="T24" fmla="*/ 2147483646 w 285"/>
              <a:gd name="T25" fmla="*/ 2147483646 h 459"/>
              <a:gd name="T26" fmla="*/ 2147483646 w 285"/>
              <a:gd name="T27" fmla="*/ 2147483646 h 459"/>
              <a:gd name="T28" fmla="*/ 2147483646 w 285"/>
              <a:gd name="T29" fmla="*/ 2147483646 h 459"/>
              <a:gd name="T30" fmla="*/ 2147483646 w 285"/>
              <a:gd name="T31" fmla="*/ 2147483646 h 459"/>
              <a:gd name="T32" fmla="*/ 2147483646 w 285"/>
              <a:gd name="T33" fmla="*/ 2147483646 h 459"/>
              <a:gd name="T34" fmla="*/ 2147483646 w 285"/>
              <a:gd name="T35" fmla="*/ 2147483646 h 459"/>
              <a:gd name="T36" fmla="*/ 2147483646 w 285"/>
              <a:gd name="T37" fmla="*/ 2147483646 h 459"/>
              <a:gd name="T38" fmla="*/ 2147483646 w 285"/>
              <a:gd name="T39" fmla="*/ 2147483646 h 459"/>
              <a:gd name="T40" fmla="*/ 2147483646 w 285"/>
              <a:gd name="T41" fmla="*/ 2147483646 h 459"/>
              <a:gd name="T42" fmla="*/ 2147483646 w 285"/>
              <a:gd name="T43" fmla="*/ 2147483646 h 459"/>
              <a:gd name="T44" fmla="*/ 2147483646 w 285"/>
              <a:gd name="T45" fmla="*/ 2147483646 h 459"/>
              <a:gd name="T46" fmla="*/ 2147483646 w 285"/>
              <a:gd name="T47" fmla="*/ 2147483646 h 459"/>
              <a:gd name="T48" fmla="*/ 2147483646 w 285"/>
              <a:gd name="T49" fmla="*/ 2147483646 h 459"/>
              <a:gd name="T50" fmla="*/ 2147483646 w 285"/>
              <a:gd name="T51" fmla="*/ 2147483646 h 459"/>
              <a:gd name="T52" fmla="*/ 2147483646 w 285"/>
              <a:gd name="T53" fmla="*/ 2147483646 h 459"/>
              <a:gd name="T54" fmla="*/ 2147483646 w 285"/>
              <a:gd name="T55" fmla="*/ 2147483646 h 459"/>
              <a:gd name="T56" fmla="*/ 2147483646 w 285"/>
              <a:gd name="T57" fmla="*/ 2147483646 h 459"/>
              <a:gd name="T58" fmla="*/ 2147483646 w 285"/>
              <a:gd name="T59" fmla="*/ 2147483646 h 459"/>
              <a:gd name="T60" fmla="*/ 2147483646 w 285"/>
              <a:gd name="T61" fmla="*/ 2147483646 h 459"/>
              <a:gd name="T62" fmla="*/ 2147483646 w 285"/>
              <a:gd name="T63" fmla="*/ 2147483646 h 459"/>
              <a:gd name="T64" fmla="*/ 2147483646 w 285"/>
              <a:gd name="T65" fmla="*/ 2147483646 h 459"/>
              <a:gd name="T66" fmla="*/ 2147483646 w 285"/>
              <a:gd name="T67" fmla="*/ 2147483646 h 459"/>
              <a:gd name="T68" fmla="*/ 2147483646 w 285"/>
              <a:gd name="T69" fmla="*/ 2147483646 h 459"/>
              <a:gd name="T70" fmla="*/ 2147483646 w 285"/>
              <a:gd name="T71" fmla="*/ 2147483646 h 459"/>
              <a:gd name="T72" fmla="*/ 2147483646 w 285"/>
              <a:gd name="T73" fmla="*/ 2147483646 h 459"/>
              <a:gd name="T74" fmla="*/ 2147483646 w 285"/>
              <a:gd name="T75" fmla="*/ 2147483646 h 459"/>
              <a:gd name="T76" fmla="*/ 2147483646 w 285"/>
              <a:gd name="T77" fmla="*/ 2147483646 h 459"/>
              <a:gd name="T78" fmla="*/ 2147483646 w 285"/>
              <a:gd name="T79" fmla="*/ 2147483646 h 459"/>
              <a:gd name="T80" fmla="*/ 2147483646 w 285"/>
              <a:gd name="T81" fmla="*/ 2147483646 h 459"/>
              <a:gd name="T82" fmla="*/ 2147483646 w 285"/>
              <a:gd name="T83" fmla="*/ 2147483646 h 459"/>
              <a:gd name="T84" fmla="*/ 2147483646 w 285"/>
              <a:gd name="T85" fmla="*/ 2147483646 h 459"/>
              <a:gd name="T86" fmla="*/ 2147483646 w 285"/>
              <a:gd name="T87" fmla="*/ 2147483646 h 459"/>
              <a:gd name="T88" fmla="*/ 2147483646 w 285"/>
              <a:gd name="T89" fmla="*/ 2147483646 h 459"/>
              <a:gd name="T90" fmla="*/ 2147483646 w 285"/>
              <a:gd name="T91" fmla="*/ 2147483646 h 459"/>
              <a:gd name="T92" fmla="*/ 2147483646 w 285"/>
              <a:gd name="T93" fmla="*/ 2147483646 h 459"/>
              <a:gd name="T94" fmla="*/ 2147483646 w 285"/>
              <a:gd name="T95" fmla="*/ 2147483646 h 459"/>
              <a:gd name="T96" fmla="*/ 2147483646 w 285"/>
              <a:gd name="T97" fmla="*/ 2147483646 h 459"/>
              <a:gd name="T98" fmla="*/ 2147483646 w 285"/>
              <a:gd name="T99" fmla="*/ 2147483646 h 459"/>
              <a:gd name="T100" fmla="*/ 2147483646 w 285"/>
              <a:gd name="T101" fmla="*/ 2147483646 h 459"/>
              <a:gd name="T102" fmla="*/ 2147483646 w 285"/>
              <a:gd name="T103" fmla="*/ 2147483646 h 459"/>
              <a:gd name="T104" fmla="*/ 2147483646 w 285"/>
              <a:gd name="T105" fmla="*/ 2147483646 h 459"/>
              <a:gd name="T106" fmla="*/ 2147483646 w 285"/>
              <a:gd name="T107" fmla="*/ 2147483646 h 459"/>
              <a:gd name="T108" fmla="*/ 2147483646 w 285"/>
              <a:gd name="T109" fmla="*/ 2147483646 h 459"/>
              <a:gd name="T110" fmla="*/ 2147483646 w 285"/>
              <a:gd name="T111" fmla="*/ 2147483646 h 45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85"/>
              <a:gd name="T169" fmla="*/ 0 h 459"/>
              <a:gd name="T170" fmla="*/ 285 w 285"/>
              <a:gd name="T171" fmla="*/ 459 h 459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85" h="459">
                <a:moveTo>
                  <a:pt x="280" y="111"/>
                </a:moveTo>
                <a:cubicBezTo>
                  <a:pt x="71" y="0"/>
                  <a:pt x="71" y="0"/>
                  <a:pt x="71" y="0"/>
                </a:cubicBezTo>
                <a:cubicBezTo>
                  <a:pt x="44" y="15"/>
                  <a:pt x="44" y="15"/>
                  <a:pt x="44" y="15"/>
                </a:cubicBezTo>
                <a:cubicBezTo>
                  <a:pt x="42" y="16"/>
                  <a:pt x="42" y="16"/>
                  <a:pt x="42" y="16"/>
                </a:cubicBezTo>
                <a:cubicBezTo>
                  <a:pt x="42" y="16"/>
                  <a:pt x="41" y="41"/>
                  <a:pt x="42" y="48"/>
                </a:cubicBezTo>
                <a:cubicBezTo>
                  <a:pt x="43" y="54"/>
                  <a:pt x="49" y="60"/>
                  <a:pt x="50" y="64"/>
                </a:cubicBezTo>
                <a:cubicBezTo>
                  <a:pt x="52" y="69"/>
                  <a:pt x="50" y="76"/>
                  <a:pt x="51" y="81"/>
                </a:cubicBezTo>
                <a:cubicBezTo>
                  <a:pt x="52" y="85"/>
                  <a:pt x="62" y="86"/>
                  <a:pt x="65" y="94"/>
                </a:cubicBezTo>
                <a:cubicBezTo>
                  <a:pt x="68" y="101"/>
                  <a:pt x="60" y="111"/>
                  <a:pt x="58" y="122"/>
                </a:cubicBezTo>
                <a:cubicBezTo>
                  <a:pt x="57" y="134"/>
                  <a:pt x="53" y="185"/>
                  <a:pt x="53" y="185"/>
                </a:cubicBezTo>
                <a:cubicBezTo>
                  <a:pt x="53" y="185"/>
                  <a:pt x="40" y="201"/>
                  <a:pt x="35" y="205"/>
                </a:cubicBezTo>
                <a:cubicBezTo>
                  <a:pt x="30" y="209"/>
                  <a:pt x="26" y="216"/>
                  <a:pt x="19" y="223"/>
                </a:cubicBezTo>
                <a:cubicBezTo>
                  <a:pt x="13" y="230"/>
                  <a:pt x="14" y="232"/>
                  <a:pt x="10" y="242"/>
                </a:cubicBezTo>
                <a:cubicBezTo>
                  <a:pt x="6" y="252"/>
                  <a:pt x="0" y="252"/>
                  <a:pt x="1" y="255"/>
                </a:cubicBezTo>
                <a:cubicBezTo>
                  <a:pt x="2" y="258"/>
                  <a:pt x="2" y="276"/>
                  <a:pt x="2" y="276"/>
                </a:cubicBezTo>
                <a:cubicBezTo>
                  <a:pt x="2" y="276"/>
                  <a:pt x="6" y="292"/>
                  <a:pt x="17" y="292"/>
                </a:cubicBezTo>
                <a:cubicBezTo>
                  <a:pt x="28" y="292"/>
                  <a:pt x="30" y="295"/>
                  <a:pt x="32" y="302"/>
                </a:cubicBezTo>
                <a:cubicBezTo>
                  <a:pt x="33" y="310"/>
                  <a:pt x="40" y="315"/>
                  <a:pt x="43" y="321"/>
                </a:cubicBezTo>
                <a:cubicBezTo>
                  <a:pt x="46" y="327"/>
                  <a:pt x="39" y="335"/>
                  <a:pt x="43" y="346"/>
                </a:cubicBezTo>
                <a:cubicBezTo>
                  <a:pt x="48" y="357"/>
                  <a:pt x="45" y="365"/>
                  <a:pt x="49" y="369"/>
                </a:cubicBezTo>
                <a:cubicBezTo>
                  <a:pt x="54" y="373"/>
                  <a:pt x="59" y="384"/>
                  <a:pt x="46" y="384"/>
                </a:cubicBezTo>
                <a:cubicBezTo>
                  <a:pt x="34" y="384"/>
                  <a:pt x="15" y="372"/>
                  <a:pt x="13" y="383"/>
                </a:cubicBezTo>
                <a:cubicBezTo>
                  <a:pt x="10" y="394"/>
                  <a:pt x="8" y="394"/>
                  <a:pt x="18" y="401"/>
                </a:cubicBezTo>
                <a:cubicBezTo>
                  <a:pt x="27" y="407"/>
                  <a:pt x="33" y="412"/>
                  <a:pt x="38" y="419"/>
                </a:cubicBezTo>
                <a:cubicBezTo>
                  <a:pt x="42" y="426"/>
                  <a:pt x="54" y="452"/>
                  <a:pt x="54" y="452"/>
                </a:cubicBezTo>
                <a:cubicBezTo>
                  <a:pt x="54" y="452"/>
                  <a:pt x="62" y="458"/>
                  <a:pt x="69" y="453"/>
                </a:cubicBezTo>
                <a:cubicBezTo>
                  <a:pt x="76" y="447"/>
                  <a:pt x="80" y="437"/>
                  <a:pt x="83" y="443"/>
                </a:cubicBezTo>
                <a:cubicBezTo>
                  <a:pt x="86" y="449"/>
                  <a:pt x="86" y="459"/>
                  <a:pt x="93" y="450"/>
                </a:cubicBezTo>
                <a:cubicBezTo>
                  <a:pt x="101" y="442"/>
                  <a:pt x="101" y="440"/>
                  <a:pt x="111" y="439"/>
                </a:cubicBezTo>
                <a:cubicBezTo>
                  <a:pt x="120" y="439"/>
                  <a:pt x="120" y="435"/>
                  <a:pt x="129" y="436"/>
                </a:cubicBezTo>
                <a:cubicBezTo>
                  <a:pt x="139" y="436"/>
                  <a:pt x="151" y="425"/>
                  <a:pt x="151" y="420"/>
                </a:cubicBezTo>
                <a:cubicBezTo>
                  <a:pt x="151" y="415"/>
                  <a:pt x="139" y="408"/>
                  <a:pt x="151" y="409"/>
                </a:cubicBezTo>
                <a:cubicBezTo>
                  <a:pt x="163" y="409"/>
                  <a:pt x="172" y="409"/>
                  <a:pt x="178" y="407"/>
                </a:cubicBezTo>
                <a:cubicBezTo>
                  <a:pt x="185" y="405"/>
                  <a:pt x="194" y="407"/>
                  <a:pt x="197" y="399"/>
                </a:cubicBezTo>
                <a:cubicBezTo>
                  <a:pt x="199" y="391"/>
                  <a:pt x="197" y="384"/>
                  <a:pt x="209" y="380"/>
                </a:cubicBezTo>
                <a:cubicBezTo>
                  <a:pt x="221" y="376"/>
                  <a:pt x="223" y="373"/>
                  <a:pt x="225" y="366"/>
                </a:cubicBezTo>
                <a:cubicBezTo>
                  <a:pt x="227" y="359"/>
                  <a:pt x="235" y="354"/>
                  <a:pt x="240" y="354"/>
                </a:cubicBezTo>
                <a:cubicBezTo>
                  <a:pt x="245" y="354"/>
                  <a:pt x="258" y="354"/>
                  <a:pt x="258" y="354"/>
                </a:cubicBezTo>
                <a:cubicBezTo>
                  <a:pt x="258" y="354"/>
                  <a:pt x="265" y="348"/>
                  <a:pt x="255" y="342"/>
                </a:cubicBezTo>
                <a:cubicBezTo>
                  <a:pt x="246" y="336"/>
                  <a:pt x="246" y="332"/>
                  <a:pt x="246" y="323"/>
                </a:cubicBezTo>
                <a:cubicBezTo>
                  <a:pt x="246" y="314"/>
                  <a:pt x="246" y="306"/>
                  <a:pt x="240" y="307"/>
                </a:cubicBezTo>
                <a:cubicBezTo>
                  <a:pt x="235" y="308"/>
                  <a:pt x="223" y="310"/>
                  <a:pt x="227" y="301"/>
                </a:cubicBezTo>
                <a:cubicBezTo>
                  <a:pt x="230" y="292"/>
                  <a:pt x="230" y="291"/>
                  <a:pt x="235" y="291"/>
                </a:cubicBezTo>
                <a:cubicBezTo>
                  <a:pt x="239" y="290"/>
                  <a:pt x="239" y="288"/>
                  <a:pt x="240" y="286"/>
                </a:cubicBezTo>
                <a:cubicBezTo>
                  <a:pt x="240" y="283"/>
                  <a:pt x="241" y="280"/>
                  <a:pt x="237" y="279"/>
                </a:cubicBezTo>
                <a:cubicBezTo>
                  <a:pt x="232" y="278"/>
                  <a:pt x="227" y="275"/>
                  <a:pt x="229" y="272"/>
                </a:cubicBezTo>
                <a:cubicBezTo>
                  <a:pt x="232" y="269"/>
                  <a:pt x="229" y="264"/>
                  <a:pt x="235" y="264"/>
                </a:cubicBezTo>
                <a:cubicBezTo>
                  <a:pt x="241" y="264"/>
                  <a:pt x="246" y="258"/>
                  <a:pt x="243" y="256"/>
                </a:cubicBezTo>
                <a:cubicBezTo>
                  <a:pt x="240" y="253"/>
                  <a:pt x="243" y="249"/>
                  <a:pt x="243" y="249"/>
                </a:cubicBezTo>
                <a:cubicBezTo>
                  <a:pt x="243" y="249"/>
                  <a:pt x="248" y="244"/>
                  <a:pt x="254" y="244"/>
                </a:cubicBezTo>
                <a:cubicBezTo>
                  <a:pt x="260" y="244"/>
                  <a:pt x="262" y="242"/>
                  <a:pt x="259" y="233"/>
                </a:cubicBezTo>
                <a:cubicBezTo>
                  <a:pt x="257" y="224"/>
                  <a:pt x="254" y="220"/>
                  <a:pt x="259" y="220"/>
                </a:cubicBezTo>
                <a:cubicBezTo>
                  <a:pt x="264" y="220"/>
                  <a:pt x="259" y="212"/>
                  <a:pt x="265" y="212"/>
                </a:cubicBezTo>
                <a:cubicBezTo>
                  <a:pt x="272" y="212"/>
                  <a:pt x="273" y="208"/>
                  <a:pt x="277" y="213"/>
                </a:cubicBezTo>
                <a:cubicBezTo>
                  <a:pt x="281" y="218"/>
                  <a:pt x="285" y="218"/>
                  <a:pt x="285" y="218"/>
                </a:cubicBezTo>
                <a:lnTo>
                  <a:pt x="280" y="111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38" name="Freeform 674"/>
          <p:cNvSpPr>
            <a:spLocks/>
          </p:cNvSpPr>
          <p:nvPr userDrawn="1"/>
        </p:nvSpPr>
        <p:spPr bwMode="auto">
          <a:xfrm>
            <a:off x="5529184" y="4659577"/>
            <a:ext cx="316592" cy="264664"/>
          </a:xfrm>
          <a:custGeom>
            <a:avLst/>
            <a:gdLst>
              <a:gd name="T0" fmla="*/ 2147483646 w 340"/>
              <a:gd name="T1" fmla="*/ 2147483646 h 283"/>
              <a:gd name="T2" fmla="*/ 2147483646 w 340"/>
              <a:gd name="T3" fmla="*/ 2147483646 h 283"/>
              <a:gd name="T4" fmla="*/ 2147483646 w 340"/>
              <a:gd name="T5" fmla="*/ 2147483646 h 283"/>
              <a:gd name="T6" fmla="*/ 2147483646 w 340"/>
              <a:gd name="T7" fmla="*/ 2147483646 h 283"/>
              <a:gd name="T8" fmla="*/ 2147483646 w 340"/>
              <a:gd name="T9" fmla="*/ 2147483646 h 283"/>
              <a:gd name="T10" fmla="*/ 2147483646 w 340"/>
              <a:gd name="T11" fmla="*/ 2147483646 h 283"/>
              <a:gd name="T12" fmla="*/ 2147483646 w 340"/>
              <a:gd name="T13" fmla="*/ 2147483646 h 283"/>
              <a:gd name="T14" fmla="*/ 2147483646 w 340"/>
              <a:gd name="T15" fmla="*/ 2147483646 h 283"/>
              <a:gd name="T16" fmla="*/ 2147483646 w 340"/>
              <a:gd name="T17" fmla="*/ 2147483646 h 283"/>
              <a:gd name="T18" fmla="*/ 2147483646 w 340"/>
              <a:gd name="T19" fmla="*/ 2147483646 h 283"/>
              <a:gd name="T20" fmla="*/ 2147483646 w 340"/>
              <a:gd name="T21" fmla="*/ 2147483646 h 283"/>
              <a:gd name="T22" fmla="*/ 2147483646 w 340"/>
              <a:gd name="T23" fmla="*/ 2147483646 h 283"/>
              <a:gd name="T24" fmla="*/ 2147483646 w 340"/>
              <a:gd name="T25" fmla="*/ 2147483646 h 283"/>
              <a:gd name="T26" fmla="*/ 2147483646 w 340"/>
              <a:gd name="T27" fmla="*/ 2147483646 h 283"/>
              <a:gd name="T28" fmla="*/ 2147483646 w 340"/>
              <a:gd name="T29" fmla="*/ 2147483646 h 283"/>
              <a:gd name="T30" fmla="*/ 2147483646 w 340"/>
              <a:gd name="T31" fmla="*/ 2147483646 h 283"/>
              <a:gd name="T32" fmla="*/ 2147483646 w 340"/>
              <a:gd name="T33" fmla="*/ 2147483646 h 283"/>
              <a:gd name="T34" fmla="*/ 2147483646 w 340"/>
              <a:gd name="T35" fmla="*/ 2147483646 h 283"/>
              <a:gd name="T36" fmla="*/ 2147483646 w 340"/>
              <a:gd name="T37" fmla="*/ 2147483646 h 283"/>
              <a:gd name="T38" fmla="*/ 2147483646 w 340"/>
              <a:gd name="T39" fmla="*/ 2147483646 h 283"/>
              <a:gd name="T40" fmla="*/ 2147483646 w 340"/>
              <a:gd name="T41" fmla="*/ 2147483646 h 283"/>
              <a:gd name="T42" fmla="*/ 2147483646 w 340"/>
              <a:gd name="T43" fmla="*/ 2147483646 h 283"/>
              <a:gd name="T44" fmla="*/ 2147483646 w 340"/>
              <a:gd name="T45" fmla="*/ 2147483646 h 283"/>
              <a:gd name="T46" fmla="*/ 2147483646 w 340"/>
              <a:gd name="T47" fmla="*/ 2147483646 h 283"/>
              <a:gd name="T48" fmla="*/ 2147483646 w 340"/>
              <a:gd name="T49" fmla="*/ 2147483646 h 283"/>
              <a:gd name="T50" fmla="*/ 2147483646 w 340"/>
              <a:gd name="T51" fmla="*/ 2147483646 h 283"/>
              <a:gd name="T52" fmla="*/ 2147483646 w 340"/>
              <a:gd name="T53" fmla="*/ 2147483646 h 283"/>
              <a:gd name="T54" fmla="*/ 2147483646 w 340"/>
              <a:gd name="T55" fmla="*/ 2147483646 h 283"/>
              <a:gd name="T56" fmla="*/ 2147483646 w 340"/>
              <a:gd name="T57" fmla="*/ 2147483646 h 283"/>
              <a:gd name="T58" fmla="*/ 2147483646 w 340"/>
              <a:gd name="T59" fmla="*/ 2147483646 h 283"/>
              <a:gd name="T60" fmla="*/ 2147483646 w 340"/>
              <a:gd name="T61" fmla="*/ 2147483646 h 283"/>
              <a:gd name="T62" fmla="*/ 2147483646 w 340"/>
              <a:gd name="T63" fmla="*/ 2147483646 h 283"/>
              <a:gd name="T64" fmla="*/ 2147483646 w 340"/>
              <a:gd name="T65" fmla="*/ 2147483646 h 283"/>
              <a:gd name="T66" fmla="*/ 2147483646 w 340"/>
              <a:gd name="T67" fmla="*/ 2147483646 h 283"/>
              <a:gd name="T68" fmla="*/ 2147483646 w 340"/>
              <a:gd name="T69" fmla="*/ 2147483646 h 283"/>
              <a:gd name="T70" fmla="*/ 2147483646 w 340"/>
              <a:gd name="T71" fmla="*/ 2147483646 h 283"/>
              <a:gd name="T72" fmla="*/ 2147483646 w 340"/>
              <a:gd name="T73" fmla="*/ 2147483646 h 283"/>
              <a:gd name="T74" fmla="*/ 2147483646 w 340"/>
              <a:gd name="T75" fmla="*/ 2147483646 h 283"/>
              <a:gd name="T76" fmla="*/ 2147483646 w 340"/>
              <a:gd name="T77" fmla="*/ 2147483646 h 283"/>
              <a:gd name="T78" fmla="*/ 2147483646 w 340"/>
              <a:gd name="T79" fmla="*/ 2147483646 h 283"/>
              <a:gd name="T80" fmla="*/ 2147483646 w 340"/>
              <a:gd name="T81" fmla="*/ 2147483646 h 283"/>
              <a:gd name="T82" fmla="*/ 2147483646 w 340"/>
              <a:gd name="T83" fmla="*/ 2147483646 h 283"/>
              <a:gd name="T84" fmla="*/ 2147483646 w 340"/>
              <a:gd name="T85" fmla="*/ 2147483646 h 283"/>
              <a:gd name="T86" fmla="*/ 2147483646 w 340"/>
              <a:gd name="T87" fmla="*/ 2147483646 h 283"/>
              <a:gd name="T88" fmla="*/ 2147483646 w 340"/>
              <a:gd name="T89" fmla="*/ 2147483646 h 283"/>
              <a:gd name="T90" fmla="*/ 2147483646 w 340"/>
              <a:gd name="T91" fmla="*/ 2147483646 h 283"/>
              <a:gd name="T92" fmla="*/ 2147483646 w 340"/>
              <a:gd name="T93" fmla="*/ 2147483646 h 283"/>
              <a:gd name="T94" fmla="*/ 2147483646 w 340"/>
              <a:gd name="T95" fmla="*/ 2147483646 h 283"/>
              <a:gd name="T96" fmla="*/ 2147483646 w 340"/>
              <a:gd name="T97" fmla="*/ 2147483646 h 283"/>
              <a:gd name="T98" fmla="*/ 2147483646 w 340"/>
              <a:gd name="T99" fmla="*/ 2147483646 h 283"/>
              <a:gd name="T100" fmla="*/ 2147483646 w 340"/>
              <a:gd name="T101" fmla="*/ 2147483646 h 283"/>
              <a:gd name="T102" fmla="*/ 2147483646 w 340"/>
              <a:gd name="T103" fmla="*/ 2147483646 h 283"/>
              <a:gd name="T104" fmla="*/ 2147483646 w 340"/>
              <a:gd name="T105" fmla="*/ 2147483646 h 283"/>
              <a:gd name="T106" fmla="*/ 2147483646 w 340"/>
              <a:gd name="T107" fmla="*/ 2147483646 h 283"/>
              <a:gd name="T108" fmla="*/ 2147483646 w 340"/>
              <a:gd name="T109" fmla="*/ 2147483646 h 283"/>
              <a:gd name="T110" fmla="*/ 2147483646 w 340"/>
              <a:gd name="T111" fmla="*/ 2147483646 h 283"/>
              <a:gd name="T112" fmla="*/ 2147483646 w 340"/>
              <a:gd name="T113" fmla="*/ 2147483646 h 283"/>
              <a:gd name="T114" fmla="*/ 2147483646 w 340"/>
              <a:gd name="T115" fmla="*/ 2147483646 h 283"/>
              <a:gd name="T116" fmla="*/ 2147483646 w 340"/>
              <a:gd name="T117" fmla="*/ 2147483646 h 283"/>
              <a:gd name="T118" fmla="*/ 2147483646 w 340"/>
              <a:gd name="T119" fmla="*/ 2147483646 h 283"/>
              <a:gd name="T120" fmla="*/ 2147483646 w 340"/>
              <a:gd name="T121" fmla="*/ 2147483646 h 283"/>
              <a:gd name="T122" fmla="*/ 2147483646 w 340"/>
              <a:gd name="T123" fmla="*/ 2147483646 h 283"/>
              <a:gd name="T124" fmla="*/ 2147483646 w 340"/>
              <a:gd name="T125" fmla="*/ 2147483646 h 28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0"/>
              <a:gd name="T190" fmla="*/ 0 h 283"/>
              <a:gd name="T191" fmla="*/ 340 w 340"/>
              <a:gd name="T192" fmla="*/ 283 h 28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0" h="283">
                <a:moveTo>
                  <a:pt x="325" y="34"/>
                </a:moveTo>
                <a:cubicBezTo>
                  <a:pt x="314" y="34"/>
                  <a:pt x="310" y="18"/>
                  <a:pt x="310" y="18"/>
                </a:cubicBezTo>
                <a:cubicBezTo>
                  <a:pt x="310" y="18"/>
                  <a:pt x="303" y="17"/>
                  <a:pt x="295" y="18"/>
                </a:cubicBezTo>
                <a:cubicBezTo>
                  <a:pt x="288" y="19"/>
                  <a:pt x="290" y="22"/>
                  <a:pt x="280" y="24"/>
                </a:cubicBezTo>
                <a:cubicBezTo>
                  <a:pt x="269" y="26"/>
                  <a:pt x="277" y="29"/>
                  <a:pt x="261" y="28"/>
                </a:cubicBezTo>
                <a:cubicBezTo>
                  <a:pt x="245" y="27"/>
                  <a:pt x="253" y="29"/>
                  <a:pt x="236" y="20"/>
                </a:cubicBezTo>
                <a:cubicBezTo>
                  <a:pt x="219" y="11"/>
                  <a:pt x="216" y="26"/>
                  <a:pt x="212" y="29"/>
                </a:cubicBezTo>
                <a:cubicBezTo>
                  <a:pt x="209" y="33"/>
                  <a:pt x="191" y="38"/>
                  <a:pt x="184" y="39"/>
                </a:cubicBezTo>
                <a:cubicBezTo>
                  <a:pt x="178" y="40"/>
                  <a:pt x="169" y="26"/>
                  <a:pt x="167" y="25"/>
                </a:cubicBezTo>
                <a:cubicBezTo>
                  <a:pt x="165" y="24"/>
                  <a:pt x="157" y="27"/>
                  <a:pt x="150" y="26"/>
                </a:cubicBezTo>
                <a:cubicBezTo>
                  <a:pt x="142" y="24"/>
                  <a:pt x="144" y="28"/>
                  <a:pt x="135" y="31"/>
                </a:cubicBezTo>
                <a:cubicBezTo>
                  <a:pt x="127" y="33"/>
                  <a:pt x="128" y="33"/>
                  <a:pt x="122" y="31"/>
                </a:cubicBezTo>
                <a:cubicBezTo>
                  <a:pt x="116" y="30"/>
                  <a:pt x="123" y="20"/>
                  <a:pt x="123" y="20"/>
                </a:cubicBezTo>
                <a:cubicBezTo>
                  <a:pt x="123" y="20"/>
                  <a:pt x="119" y="17"/>
                  <a:pt x="117" y="17"/>
                </a:cubicBezTo>
                <a:cubicBezTo>
                  <a:pt x="115" y="16"/>
                  <a:pt x="104" y="15"/>
                  <a:pt x="93" y="7"/>
                </a:cubicBezTo>
                <a:cubicBezTo>
                  <a:pt x="82" y="0"/>
                  <a:pt x="83" y="7"/>
                  <a:pt x="82" y="10"/>
                </a:cubicBezTo>
                <a:cubicBezTo>
                  <a:pt x="81" y="14"/>
                  <a:pt x="76" y="13"/>
                  <a:pt x="64" y="12"/>
                </a:cubicBezTo>
                <a:cubicBezTo>
                  <a:pt x="53" y="10"/>
                  <a:pt x="50" y="21"/>
                  <a:pt x="48" y="26"/>
                </a:cubicBezTo>
                <a:cubicBezTo>
                  <a:pt x="46" y="31"/>
                  <a:pt x="48" y="29"/>
                  <a:pt x="46" y="35"/>
                </a:cubicBezTo>
                <a:cubicBezTo>
                  <a:pt x="45" y="41"/>
                  <a:pt x="42" y="42"/>
                  <a:pt x="38" y="42"/>
                </a:cubicBezTo>
                <a:cubicBezTo>
                  <a:pt x="35" y="43"/>
                  <a:pt x="35" y="51"/>
                  <a:pt x="35" y="51"/>
                </a:cubicBezTo>
                <a:cubicBezTo>
                  <a:pt x="31" y="65"/>
                  <a:pt x="31" y="65"/>
                  <a:pt x="31" y="65"/>
                </a:cubicBezTo>
                <a:cubicBezTo>
                  <a:pt x="35" y="70"/>
                  <a:pt x="31" y="72"/>
                  <a:pt x="32" y="76"/>
                </a:cubicBezTo>
                <a:cubicBezTo>
                  <a:pt x="33" y="80"/>
                  <a:pt x="35" y="83"/>
                  <a:pt x="37" y="86"/>
                </a:cubicBezTo>
                <a:cubicBezTo>
                  <a:pt x="38" y="90"/>
                  <a:pt x="41" y="90"/>
                  <a:pt x="38" y="97"/>
                </a:cubicBezTo>
                <a:cubicBezTo>
                  <a:pt x="35" y="104"/>
                  <a:pt x="29" y="107"/>
                  <a:pt x="30" y="112"/>
                </a:cubicBezTo>
                <a:cubicBezTo>
                  <a:pt x="32" y="117"/>
                  <a:pt x="38" y="121"/>
                  <a:pt x="30" y="123"/>
                </a:cubicBezTo>
                <a:cubicBezTo>
                  <a:pt x="22" y="125"/>
                  <a:pt x="20" y="121"/>
                  <a:pt x="20" y="124"/>
                </a:cubicBezTo>
                <a:cubicBezTo>
                  <a:pt x="19" y="128"/>
                  <a:pt x="16" y="126"/>
                  <a:pt x="15" y="129"/>
                </a:cubicBezTo>
                <a:cubicBezTo>
                  <a:pt x="13" y="132"/>
                  <a:pt x="26" y="139"/>
                  <a:pt x="15" y="141"/>
                </a:cubicBezTo>
                <a:cubicBezTo>
                  <a:pt x="4" y="143"/>
                  <a:pt x="0" y="144"/>
                  <a:pt x="3" y="152"/>
                </a:cubicBezTo>
                <a:cubicBezTo>
                  <a:pt x="6" y="161"/>
                  <a:pt x="5" y="166"/>
                  <a:pt x="4" y="171"/>
                </a:cubicBezTo>
                <a:cubicBezTo>
                  <a:pt x="3" y="175"/>
                  <a:pt x="3" y="176"/>
                  <a:pt x="4" y="182"/>
                </a:cubicBezTo>
                <a:cubicBezTo>
                  <a:pt x="6" y="189"/>
                  <a:pt x="7" y="191"/>
                  <a:pt x="7" y="197"/>
                </a:cubicBezTo>
                <a:cubicBezTo>
                  <a:pt x="7" y="202"/>
                  <a:pt x="2" y="220"/>
                  <a:pt x="2" y="220"/>
                </a:cubicBezTo>
                <a:cubicBezTo>
                  <a:pt x="2" y="220"/>
                  <a:pt x="15" y="225"/>
                  <a:pt x="23" y="223"/>
                </a:cubicBezTo>
                <a:cubicBezTo>
                  <a:pt x="31" y="221"/>
                  <a:pt x="37" y="221"/>
                  <a:pt x="43" y="219"/>
                </a:cubicBezTo>
                <a:cubicBezTo>
                  <a:pt x="49" y="218"/>
                  <a:pt x="59" y="216"/>
                  <a:pt x="61" y="226"/>
                </a:cubicBezTo>
                <a:cubicBezTo>
                  <a:pt x="64" y="236"/>
                  <a:pt x="74" y="257"/>
                  <a:pt x="81" y="267"/>
                </a:cubicBezTo>
                <a:cubicBezTo>
                  <a:pt x="89" y="277"/>
                  <a:pt x="94" y="283"/>
                  <a:pt x="111" y="277"/>
                </a:cubicBezTo>
                <a:cubicBezTo>
                  <a:pt x="128" y="270"/>
                  <a:pt x="134" y="266"/>
                  <a:pt x="146" y="269"/>
                </a:cubicBezTo>
                <a:cubicBezTo>
                  <a:pt x="157" y="273"/>
                  <a:pt x="165" y="269"/>
                  <a:pt x="165" y="269"/>
                </a:cubicBezTo>
                <a:cubicBezTo>
                  <a:pt x="165" y="269"/>
                  <a:pt x="176" y="246"/>
                  <a:pt x="175" y="238"/>
                </a:cubicBezTo>
                <a:cubicBezTo>
                  <a:pt x="174" y="230"/>
                  <a:pt x="183" y="231"/>
                  <a:pt x="192" y="222"/>
                </a:cubicBezTo>
                <a:cubicBezTo>
                  <a:pt x="201" y="214"/>
                  <a:pt x="199" y="211"/>
                  <a:pt x="205" y="206"/>
                </a:cubicBezTo>
                <a:cubicBezTo>
                  <a:pt x="211" y="201"/>
                  <a:pt x="215" y="198"/>
                  <a:pt x="220" y="203"/>
                </a:cubicBezTo>
                <a:cubicBezTo>
                  <a:pt x="226" y="207"/>
                  <a:pt x="230" y="193"/>
                  <a:pt x="231" y="202"/>
                </a:cubicBezTo>
                <a:cubicBezTo>
                  <a:pt x="231" y="211"/>
                  <a:pt x="227" y="213"/>
                  <a:pt x="232" y="216"/>
                </a:cubicBezTo>
                <a:cubicBezTo>
                  <a:pt x="237" y="219"/>
                  <a:pt x="235" y="215"/>
                  <a:pt x="239" y="222"/>
                </a:cubicBezTo>
                <a:cubicBezTo>
                  <a:pt x="244" y="228"/>
                  <a:pt x="245" y="225"/>
                  <a:pt x="251" y="217"/>
                </a:cubicBezTo>
                <a:cubicBezTo>
                  <a:pt x="258" y="208"/>
                  <a:pt x="258" y="209"/>
                  <a:pt x="260" y="201"/>
                </a:cubicBezTo>
                <a:cubicBezTo>
                  <a:pt x="261" y="193"/>
                  <a:pt x="268" y="185"/>
                  <a:pt x="269" y="178"/>
                </a:cubicBezTo>
                <a:cubicBezTo>
                  <a:pt x="269" y="170"/>
                  <a:pt x="269" y="162"/>
                  <a:pt x="272" y="159"/>
                </a:cubicBezTo>
                <a:cubicBezTo>
                  <a:pt x="275" y="157"/>
                  <a:pt x="254" y="157"/>
                  <a:pt x="272" y="151"/>
                </a:cubicBezTo>
                <a:cubicBezTo>
                  <a:pt x="289" y="144"/>
                  <a:pt x="291" y="137"/>
                  <a:pt x="291" y="132"/>
                </a:cubicBezTo>
                <a:cubicBezTo>
                  <a:pt x="291" y="128"/>
                  <a:pt x="293" y="124"/>
                  <a:pt x="296" y="121"/>
                </a:cubicBezTo>
                <a:cubicBezTo>
                  <a:pt x="299" y="117"/>
                  <a:pt x="300" y="105"/>
                  <a:pt x="300" y="105"/>
                </a:cubicBezTo>
                <a:cubicBezTo>
                  <a:pt x="300" y="105"/>
                  <a:pt x="305" y="91"/>
                  <a:pt x="308" y="91"/>
                </a:cubicBezTo>
                <a:cubicBezTo>
                  <a:pt x="310" y="91"/>
                  <a:pt x="307" y="75"/>
                  <a:pt x="315" y="78"/>
                </a:cubicBezTo>
                <a:cubicBezTo>
                  <a:pt x="323" y="81"/>
                  <a:pt x="326" y="80"/>
                  <a:pt x="329" y="80"/>
                </a:cubicBezTo>
                <a:cubicBezTo>
                  <a:pt x="332" y="80"/>
                  <a:pt x="340" y="63"/>
                  <a:pt x="332" y="60"/>
                </a:cubicBezTo>
                <a:cubicBezTo>
                  <a:pt x="325" y="57"/>
                  <a:pt x="322" y="51"/>
                  <a:pt x="322" y="49"/>
                </a:cubicBezTo>
                <a:cubicBezTo>
                  <a:pt x="322" y="47"/>
                  <a:pt x="325" y="34"/>
                  <a:pt x="325" y="3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39" name="Freeform 675"/>
          <p:cNvSpPr>
            <a:spLocks/>
          </p:cNvSpPr>
          <p:nvPr userDrawn="1"/>
        </p:nvSpPr>
        <p:spPr bwMode="auto">
          <a:xfrm>
            <a:off x="5683292" y="4691405"/>
            <a:ext cx="202685" cy="301516"/>
          </a:xfrm>
          <a:custGeom>
            <a:avLst/>
            <a:gdLst>
              <a:gd name="T0" fmla="*/ 2147483646 w 218"/>
              <a:gd name="T1" fmla="*/ 2147483646 h 323"/>
              <a:gd name="T2" fmla="*/ 2147483646 w 218"/>
              <a:gd name="T3" fmla="*/ 2147483646 h 323"/>
              <a:gd name="T4" fmla="*/ 2147483646 w 218"/>
              <a:gd name="T5" fmla="*/ 2147483646 h 323"/>
              <a:gd name="T6" fmla="*/ 2147483646 w 218"/>
              <a:gd name="T7" fmla="*/ 2147483646 h 323"/>
              <a:gd name="T8" fmla="*/ 2147483646 w 218"/>
              <a:gd name="T9" fmla="*/ 2147483646 h 323"/>
              <a:gd name="T10" fmla="*/ 2147483646 w 218"/>
              <a:gd name="T11" fmla="*/ 2147483646 h 323"/>
              <a:gd name="T12" fmla="*/ 2147483646 w 218"/>
              <a:gd name="T13" fmla="*/ 2147483646 h 323"/>
              <a:gd name="T14" fmla="*/ 2147483646 w 218"/>
              <a:gd name="T15" fmla="*/ 2147483646 h 323"/>
              <a:gd name="T16" fmla="*/ 2147483646 w 218"/>
              <a:gd name="T17" fmla="*/ 2147483646 h 323"/>
              <a:gd name="T18" fmla="*/ 2147483646 w 218"/>
              <a:gd name="T19" fmla="*/ 0 h 323"/>
              <a:gd name="T20" fmla="*/ 2147483646 w 218"/>
              <a:gd name="T21" fmla="*/ 2147483646 h 323"/>
              <a:gd name="T22" fmla="*/ 2147483646 w 218"/>
              <a:gd name="T23" fmla="*/ 2147483646 h 323"/>
              <a:gd name="T24" fmla="*/ 2147483646 w 218"/>
              <a:gd name="T25" fmla="*/ 2147483646 h 323"/>
              <a:gd name="T26" fmla="*/ 2147483646 w 218"/>
              <a:gd name="T27" fmla="*/ 2147483646 h 323"/>
              <a:gd name="T28" fmla="*/ 2147483646 w 218"/>
              <a:gd name="T29" fmla="*/ 2147483646 h 323"/>
              <a:gd name="T30" fmla="*/ 2147483646 w 218"/>
              <a:gd name="T31" fmla="*/ 2147483646 h 323"/>
              <a:gd name="T32" fmla="*/ 2147483646 w 218"/>
              <a:gd name="T33" fmla="*/ 2147483646 h 323"/>
              <a:gd name="T34" fmla="*/ 2147483646 w 218"/>
              <a:gd name="T35" fmla="*/ 2147483646 h 323"/>
              <a:gd name="T36" fmla="*/ 2147483646 w 218"/>
              <a:gd name="T37" fmla="*/ 2147483646 h 323"/>
              <a:gd name="T38" fmla="*/ 2147483646 w 218"/>
              <a:gd name="T39" fmla="*/ 2147483646 h 323"/>
              <a:gd name="T40" fmla="*/ 2147483646 w 218"/>
              <a:gd name="T41" fmla="*/ 2147483646 h 323"/>
              <a:gd name="T42" fmla="*/ 2147483646 w 218"/>
              <a:gd name="T43" fmla="*/ 2147483646 h 323"/>
              <a:gd name="T44" fmla="*/ 2147483646 w 218"/>
              <a:gd name="T45" fmla="*/ 2147483646 h 323"/>
              <a:gd name="T46" fmla="*/ 2147483646 w 218"/>
              <a:gd name="T47" fmla="*/ 2147483646 h 323"/>
              <a:gd name="T48" fmla="*/ 2147483646 w 218"/>
              <a:gd name="T49" fmla="*/ 2147483646 h 323"/>
              <a:gd name="T50" fmla="*/ 2147483646 w 218"/>
              <a:gd name="T51" fmla="*/ 2147483646 h 323"/>
              <a:gd name="T52" fmla="*/ 2147483646 w 218"/>
              <a:gd name="T53" fmla="*/ 2147483646 h 323"/>
              <a:gd name="T54" fmla="*/ 2147483646 w 218"/>
              <a:gd name="T55" fmla="*/ 2147483646 h 323"/>
              <a:gd name="T56" fmla="*/ 2147483646 w 218"/>
              <a:gd name="T57" fmla="*/ 2147483646 h 323"/>
              <a:gd name="T58" fmla="*/ 2147483646 w 218"/>
              <a:gd name="T59" fmla="*/ 2147483646 h 323"/>
              <a:gd name="T60" fmla="*/ 0 w 218"/>
              <a:gd name="T61" fmla="*/ 2147483646 h 323"/>
              <a:gd name="T62" fmla="*/ 2147483646 w 218"/>
              <a:gd name="T63" fmla="*/ 2147483646 h 323"/>
              <a:gd name="T64" fmla="*/ 2147483646 w 218"/>
              <a:gd name="T65" fmla="*/ 2147483646 h 323"/>
              <a:gd name="T66" fmla="*/ 2147483646 w 218"/>
              <a:gd name="T67" fmla="*/ 2147483646 h 323"/>
              <a:gd name="T68" fmla="*/ 2147483646 w 218"/>
              <a:gd name="T69" fmla="*/ 2147483646 h 323"/>
              <a:gd name="T70" fmla="*/ 2147483646 w 218"/>
              <a:gd name="T71" fmla="*/ 2147483646 h 323"/>
              <a:gd name="T72" fmla="*/ 2147483646 w 218"/>
              <a:gd name="T73" fmla="*/ 2147483646 h 323"/>
              <a:gd name="T74" fmla="*/ 2147483646 w 218"/>
              <a:gd name="T75" fmla="*/ 2147483646 h 323"/>
              <a:gd name="T76" fmla="*/ 2147483646 w 218"/>
              <a:gd name="T77" fmla="*/ 2147483646 h 323"/>
              <a:gd name="T78" fmla="*/ 2147483646 w 218"/>
              <a:gd name="T79" fmla="*/ 2147483646 h 323"/>
              <a:gd name="T80" fmla="*/ 2147483646 w 218"/>
              <a:gd name="T81" fmla="*/ 2147483646 h 323"/>
              <a:gd name="T82" fmla="*/ 2147483646 w 218"/>
              <a:gd name="T83" fmla="*/ 2147483646 h 323"/>
              <a:gd name="T84" fmla="*/ 2147483646 w 218"/>
              <a:gd name="T85" fmla="*/ 2147483646 h 323"/>
              <a:gd name="T86" fmla="*/ 2147483646 w 218"/>
              <a:gd name="T87" fmla="*/ 2147483646 h 323"/>
              <a:gd name="T88" fmla="*/ 2147483646 w 218"/>
              <a:gd name="T89" fmla="*/ 2147483646 h 323"/>
              <a:gd name="T90" fmla="*/ 2147483646 w 218"/>
              <a:gd name="T91" fmla="*/ 2147483646 h 323"/>
              <a:gd name="T92" fmla="*/ 2147483646 w 218"/>
              <a:gd name="T93" fmla="*/ 2147483646 h 323"/>
              <a:gd name="T94" fmla="*/ 2147483646 w 218"/>
              <a:gd name="T95" fmla="*/ 2147483646 h 323"/>
              <a:gd name="T96" fmla="*/ 2147483646 w 218"/>
              <a:gd name="T97" fmla="*/ 2147483646 h 32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18"/>
              <a:gd name="T148" fmla="*/ 0 h 323"/>
              <a:gd name="T149" fmla="*/ 218 w 218"/>
              <a:gd name="T150" fmla="*/ 323 h 32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18" h="323">
                <a:moveTo>
                  <a:pt x="197" y="160"/>
                </a:moveTo>
                <a:cubicBezTo>
                  <a:pt x="197" y="160"/>
                  <a:pt x="185" y="134"/>
                  <a:pt x="181" y="127"/>
                </a:cubicBezTo>
                <a:cubicBezTo>
                  <a:pt x="176" y="120"/>
                  <a:pt x="170" y="115"/>
                  <a:pt x="161" y="109"/>
                </a:cubicBezTo>
                <a:cubicBezTo>
                  <a:pt x="151" y="102"/>
                  <a:pt x="153" y="102"/>
                  <a:pt x="156" y="91"/>
                </a:cubicBezTo>
                <a:cubicBezTo>
                  <a:pt x="158" y="80"/>
                  <a:pt x="177" y="92"/>
                  <a:pt x="189" y="92"/>
                </a:cubicBezTo>
                <a:cubicBezTo>
                  <a:pt x="202" y="92"/>
                  <a:pt x="197" y="81"/>
                  <a:pt x="192" y="77"/>
                </a:cubicBezTo>
                <a:cubicBezTo>
                  <a:pt x="188" y="73"/>
                  <a:pt x="191" y="65"/>
                  <a:pt x="186" y="54"/>
                </a:cubicBezTo>
                <a:cubicBezTo>
                  <a:pt x="182" y="43"/>
                  <a:pt x="189" y="35"/>
                  <a:pt x="186" y="29"/>
                </a:cubicBezTo>
                <a:cubicBezTo>
                  <a:pt x="183" y="23"/>
                  <a:pt x="176" y="18"/>
                  <a:pt x="175" y="10"/>
                </a:cubicBezTo>
                <a:cubicBezTo>
                  <a:pt x="173" y="3"/>
                  <a:pt x="171" y="0"/>
                  <a:pt x="160" y="0"/>
                </a:cubicBezTo>
                <a:cubicBezTo>
                  <a:pt x="160" y="0"/>
                  <a:pt x="157" y="13"/>
                  <a:pt x="157" y="15"/>
                </a:cubicBezTo>
                <a:cubicBezTo>
                  <a:pt x="157" y="17"/>
                  <a:pt x="160" y="23"/>
                  <a:pt x="167" y="26"/>
                </a:cubicBezTo>
                <a:cubicBezTo>
                  <a:pt x="175" y="29"/>
                  <a:pt x="167" y="46"/>
                  <a:pt x="164" y="46"/>
                </a:cubicBezTo>
                <a:cubicBezTo>
                  <a:pt x="161" y="46"/>
                  <a:pt x="158" y="47"/>
                  <a:pt x="150" y="44"/>
                </a:cubicBezTo>
                <a:cubicBezTo>
                  <a:pt x="142" y="41"/>
                  <a:pt x="145" y="57"/>
                  <a:pt x="143" y="57"/>
                </a:cubicBezTo>
                <a:cubicBezTo>
                  <a:pt x="140" y="57"/>
                  <a:pt x="135" y="71"/>
                  <a:pt x="135" y="71"/>
                </a:cubicBezTo>
                <a:cubicBezTo>
                  <a:pt x="135" y="71"/>
                  <a:pt x="134" y="83"/>
                  <a:pt x="131" y="87"/>
                </a:cubicBezTo>
                <a:cubicBezTo>
                  <a:pt x="128" y="90"/>
                  <a:pt x="126" y="94"/>
                  <a:pt x="126" y="98"/>
                </a:cubicBezTo>
                <a:cubicBezTo>
                  <a:pt x="126" y="103"/>
                  <a:pt x="124" y="110"/>
                  <a:pt x="107" y="117"/>
                </a:cubicBezTo>
                <a:cubicBezTo>
                  <a:pt x="89" y="123"/>
                  <a:pt x="110" y="123"/>
                  <a:pt x="107" y="125"/>
                </a:cubicBezTo>
                <a:cubicBezTo>
                  <a:pt x="104" y="128"/>
                  <a:pt x="104" y="136"/>
                  <a:pt x="104" y="144"/>
                </a:cubicBezTo>
                <a:cubicBezTo>
                  <a:pt x="103" y="151"/>
                  <a:pt x="96" y="159"/>
                  <a:pt x="95" y="167"/>
                </a:cubicBezTo>
                <a:cubicBezTo>
                  <a:pt x="93" y="175"/>
                  <a:pt x="93" y="174"/>
                  <a:pt x="86" y="183"/>
                </a:cubicBezTo>
                <a:cubicBezTo>
                  <a:pt x="80" y="191"/>
                  <a:pt x="79" y="194"/>
                  <a:pt x="74" y="188"/>
                </a:cubicBezTo>
                <a:cubicBezTo>
                  <a:pt x="70" y="181"/>
                  <a:pt x="72" y="185"/>
                  <a:pt x="67" y="182"/>
                </a:cubicBezTo>
                <a:cubicBezTo>
                  <a:pt x="62" y="179"/>
                  <a:pt x="66" y="177"/>
                  <a:pt x="66" y="168"/>
                </a:cubicBezTo>
                <a:cubicBezTo>
                  <a:pt x="65" y="159"/>
                  <a:pt x="61" y="173"/>
                  <a:pt x="55" y="169"/>
                </a:cubicBezTo>
                <a:cubicBezTo>
                  <a:pt x="50" y="164"/>
                  <a:pt x="46" y="167"/>
                  <a:pt x="40" y="172"/>
                </a:cubicBezTo>
                <a:cubicBezTo>
                  <a:pt x="34" y="177"/>
                  <a:pt x="36" y="180"/>
                  <a:pt x="27" y="188"/>
                </a:cubicBezTo>
                <a:cubicBezTo>
                  <a:pt x="18" y="197"/>
                  <a:pt x="9" y="196"/>
                  <a:pt x="10" y="204"/>
                </a:cubicBezTo>
                <a:cubicBezTo>
                  <a:pt x="11" y="212"/>
                  <a:pt x="0" y="235"/>
                  <a:pt x="0" y="235"/>
                </a:cubicBezTo>
                <a:cubicBezTo>
                  <a:pt x="0" y="235"/>
                  <a:pt x="9" y="235"/>
                  <a:pt x="10" y="241"/>
                </a:cubicBezTo>
                <a:cubicBezTo>
                  <a:pt x="10" y="247"/>
                  <a:pt x="16" y="257"/>
                  <a:pt x="18" y="258"/>
                </a:cubicBezTo>
                <a:cubicBezTo>
                  <a:pt x="19" y="258"/>
                  <a:pt x="24" y="248"/>
                  <a:pt x="35" y="247"/>
                </a:cubicBezTo>
                <a:cubicBezTo>
                  <a:pt x="35" y="247"/>
                  <a:pt x="28" y="251"/>
                  <a:pt x="31" y="257"/>
                </a:cubicBezTo>
                <a:cubicBezTo>
                  <a:pt x="34" y="263"/>
                  <a:pt x="23" y="265"/>
                  <a:pt x="31" y="270"/>
                </a:cubicBezTo>
                <a:cubicBezTo>
                  <a:pt x="39" y="275"/>
                  <a:pt x="42" y="281"/>
                  <a:pt x="39" y="285"/>
                </a:cubicBezTo>
                <a:cubicBezTo>
                  <a:pt x="36" y="289"/>
                  <a:pt x="36" y="305"/>
                  <a:pt x="36" y="305"/>
                </a:cubicBezTo>
                <a:cubicBezTo>
                  <a:pt x="36" y="305"/>
                  <a:pt x="61" y="310"/>
                  <a:pt x="79" y="306"/>
                </a:cubicBezTo>
                <a:cubicBezTo>
                  <a:pt x="96" y="303"/>
                  <a:pt x="95" y="295"/>
                  <a:pt x="122" y="302"/>
                </a:cubicBezTo>
                <a:cubicBezTo>
                  <a:pt x="149" y="308"/>
                  <a:pt x="168" y="309"/>
                  <a:pt x="174" y="312"/>
                </a:cubicBezTo>
                <a:cubicBezTo>
                  <a:pt x="180" y="314"/>
                  <a:pt x="208" y="307"/>
                  <a:pt x="213" y="323"/>
                </a:cubicBezTo>
                <a:cubicBezTo>
                  <a:pt x="213" y="323"/>
                  <a:pt x="218" y="302"/>
                  <a:pt x="211" y="292"/>
                </a:cubicBezTo>
                <a:cubicBezTo>
                  <a:pt x="205" y="283"/>
                  <a:pt x="182" y="268"/>
                  <a:pt x="182" y="260"/>
                </a:cubicBezTo>
                <a:cubicBezTo>
                  <a:pt x="183" y="252"/>
                  <a:pt x="184" y="248"/>
                  <a:pt x="177" y="241"/>
                </a:cubicBezTo>
                <a:cubicBezTo>
                  <a:pt x="169" y="234"/>
                  <a:pt x="170" y="226"/>
                  <a:pt x="170" y="216"/>
                </a:cubicBezTo>
                <a:cubicBezTo>
                  <a:pt x="169" y="205"/>
                  <a:pt x="162" y="205"/>
                  <a:pt x="164" y="200"/>
                </a:cubicBezTo>
                <a:cubicBezTo>
                  <a:pt x="166" y="196"/>
                  <a:pt x="171" y="201"/>
                  <a:pt x="174" y="195"/>
                </a:cubicBezTo>
                <a:cubicBezTo>
                  <a:pt x="178" y="190"/>
                  <a:pt x="187" y="165"/>
                  <a:pt x="197" y="16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40" name="Freeform 676"/>
          <p:cNvSpPr>
            <a:spLocks/>
          </p:cNvSpPr>
          <p:nvPr userDrawn="1"/>
        </p:nvSpPr>
        <p:spPr bwMode="auto">
          <a:xfrm>
            <a:off x="5834052" y="4750032"/>
            <a:ext cx="343393" cy="242888"/>
          </a:xfrm>
          <a:custGeom>
            <a:avLst/>
            <a:gdLst>
              <a:gd name="T0" fmla="*/ 2147483646 w 367"/>
              <a:gd name="T1" fmla="*/ 2147483646 h 261"/>
              <a:gd name="T2" fmla="*/ 2147483646 w 367"/>
              <a:gd name="T3" fmla="*/ 2147483646 h 261"/>
              <a:gd name="T4" fmla="*/ 2147483646 w 367"/>
              <a:gd name="T5" fmla="*/ 2147483646 h 261"/>
              <a:gd name="T6" fmla="*/ 2147483646 w 367"/>
              <a:gd name="T7" fmla="*/ 2147483646 h 261"/>
              <a:gd name="T8" fmla="*/ 2147483646 w 367"/>
              <a:gd name="T9" fmla="*/ 2147483646 h 261"/>
              <a:gd name="T10" fmla="*/ 2147483646 w 367"/>
              <a:gd name="T11" fmla="*/ 2147483646 h 261"/>
              <a:gd name="T12" fmla="*/ 2147483646 w 367"/>
              <a:gd name="T13" fmla="*/ 2147483646 h 261"/>
              <a:gd name="T14" fmla="*/ 2147483646 w 367"/>
              <a:gd name="T15" fmla="*/ 2147483646 h 261"/>
              <a:gd name="T16" fmla="*/ 2147483646 w 367"/>
              <a:gd name="T17" fmla="*/ 2147483646 h 261"/>
              <a:gd name="T18" fmla="*/ 2147483646 w 367"/>
              <a:gd name="T19" fmla="*/ 2147483646 h 261"/>
              <a:gd name="T20" fmla="*/ 2147483646 w 367"/>
              <a:gd name="T21" fmla="*/ 2147483646 h 261"/>
              <a:gd name="T22" fmla="*/ 2147483646 w 367"/>
              <a:gd name="T23" fmla="*/ 2147483646 h 261"/>
              <a:gd name="T24" fmla="*/ 2147483646 w 367"/>
              <a:gd name="T25" fmla="*/ 2147483646 h 261"/>
              <a:gd name="T26" fmla="*/ 2147483646 w 367"/>
              <a:gd name="T27" fmla="*/ 2147483646 h 261"/>
              <a:gd name="T28" fmla="*/ 2147483646 w 367"/>
              <a:gd name="T29" fmla="*/ 2147483646 h 261"/>
              <a:gd name="T30" fmla="*/ 2147483646 w 367"/>
              <a:gd name="T31" fmla="*/ 2147483646 h 261"/>
              <a:gd name="T32" fmla="*/ 2147483646 w 367"/>
              <a:gd name="T33" fmla="*/ 2147483646 h 261"/>
              <a:gd name="T34" fmla="*/ 2147483646 w 367"/>
              <a:gd name="T35" fmla="*/ 2147483646 h 261"/>
              <a:gd name="T36" fmla="*/ 2147483646 w 367"/>
              <a:gd name="T37" fmla="*/ 2147483646 h 261"/>
              <a:gd name="T38" fmla="*/ 2147483646 w 367"/>
              <a:gd name="T39" fmla="*/ 0 h 261"/>
              <a:gd name="T40" fmla="*/ 2147483646 w 367"/>
              <a:gd name="T41" fmla="*/ 0 h 261"/>
              <a:gd name="T42" fmla="*/ 2147483646 w 367"/>
              <a:gd name="T43" fmla="*/ 2147483646 h 261"/>
              <a:gd name="T44" fmla="*/ 2147483646 w 367"/>
              <a:gd name="T45" fmla="*/ 2147483646 h 261"/>
              <a:gd name="T46" fmla="*/ 2147483646 w 367"/>
              <a:gd name="T47" fmla="*/ 2147483646 h 261"/>
              <a:gd name="T48" fmla="*/ 2147483646 w 367"/>
              <a:gd name="T49" fmla="*/ 2147483646 h 261"/>
              <a:gd name="T50" fmla="*/ 2147483646 w 367"/>
              <a:gd name="T51" fmla="*/ 2147483646 h 261"/>
              <a:gd name="T52" fmla="*/ 2147483646 w 367"/>
              <a:gd name="T53" fmla="*/ 2147483646 h 261"/>
              <a:gd name="T54" fmla="*/ 2147483646 w 367"/>
              <a:gd name="T55" fmla="*/ 2147483646 h 261"/>
              <a:gd name="T56" fmla="*/ 2147483646 w 367"/>
              <a:gd name="T57" fmla="*/ 2147483646 h 261"/>
              <a:gd name="T58" fmla="*/ 2147483646 w 367"/>
              <a:gd name="T59" fmla="*/ 2147483646 h 261"/>
              <a:gd name="T60" fmla="*/ 2147483646 w 367"/>
              <a:gd name="T61" fmla="*/ 2147483646 h 261"/>
              <a:gd name="T62" fmla="*/ 2147483646 w 367"/>
              <a:gd name="T63" fmla="*/ 2147483646 h 261"/>
              <a:gd name="T64" fmla="*/ 2147483646 w 367"/>
              <a:gd name="T65" fmla="*/ 2147483646 h 261"/>
              <a:gd name="T66" fmla="*/ 2147483646 w 367"/>
              <a:gd name="T67" fmla="*/ 2147483646 h 261"/>
              <a:gd name="T68" fmla="*/ 2147483646 w 367"/>
              <a:gd name="T69" fmla="*/ 2147483646 h 261"/>
              <a:gd name="T70" fmla="*/ 2147483646 w 367"/>
              <a:gd name="T71" fmla="*/ 2147483646 h 261"/>
              <a:gd name="T72" fmla="*/ 2147483646 w 367"/>
              <a:gd name="T73" fmla="*/ 2147483646 h 261"/>
              <a:gd name="T74" fmla="*/ 2147483646 w 367"/>
              <a:gd name="T75" fmla="*/ 2147483646 h 261"/>
              <a:gd name="T76" fmla="*/ 2147483646 w 367"/>
              <a:gd name="T77" fmla="*/ 2147483646 h 261"/>
              <a:gd name="T78" fmla="*/ 2147483646 w 367"/>
              <a:gd name="T79" fmla="*/ 2147483646 h 261"/>
              <a:gd name="T80" fmla="*/ 2147483646 w 367"/>
              <a:gd name="T81" fmla="*/ 2147483646 h 261"/>
              <a:gd name="T82" fmla="*/ 2147483646 w 367"/>
              <a:gd name="T83" fmla="*/ 2147483646 h 261"/>
              <a:gd name="T84" fmla="*/ 2147483646 w 367"/>
              <a:gd name="T85" fmla="*/ 2147483646 h 261"/>
              <a:gd name="T86" fmla="*/ 2147483646 w 367"/>
              <a:gd name="T87" fmla="*/ 2147483646 h 261"/>
              <a:gd name="T88" fmla="*/ 2147483646 w 367"/>
              <a:gd name="T89" fmla="*/ 2147483646 h 261"/>
              <a:gd name="T90" fmla="*/ 2147483646 w 367"/>
              <a:gd name="T91" fmla="*/ 2147483646 h 261"/>
              <a:gd name="T92" fmla="*/ 2147483646 w 367"/>
              <a:gd name="T93" fmla="*/ 2147483646 h 261"/>
              <a:gd name="T94" fmla="*/ 2147483646 w 367"/>
              <a:gd name="T95" fmla="*/ 2147483646 h 261"/>
              <a:gd name="T96" fmla="*/ 2147483646 w 367"/>
              <a:gd name="T97" fmla="*/ 2147483646 h 261"/>
              <a:gd name="T98" fmla="*/ 2147483646 w 367"/>
              <a:gd name="T99" fmla="*/ 2147483646 h 261"/>
              <a:gd name="T100" fmla="*/ 2147483646 w 367"/>
              <a:gd name="T101" fmla="*/ 2147483646 h 261"/>
              <a:gd name="T102" fmla="*/ 2147483646 w 367"/>
              <a:gd name="T103" fmla="*/ 2147483646 h 261"/>
              <a:gd name="T104" fmla="*/ 2147483646 w 367"/>
              <a:gd name="T105" fmla="*/ 2147483646 h 261"/>
              <a:gd name="T106" fmla="*/ 2147483646 w 367"/>
              <a:gd name="T107" fmla="*/ 2147483646 h 261"/>
              <a:gd name="T108" fmla="*/ 2147483646 w 367"/>
              <a:gd name="T109" fmla="*/ 2147483646 h 261"/>
              <a:gd name="T110" fmla="*/ 2147483646 w 367"/>
              <a:gd name="T111" fmla="*/ 2147483646 h 261"/>
              <a:gd name="T112" fmla="*/ 2147483646 w 367"/>
              <a:gd name="T113" fmla="*/ 2147483646 h 261"/>
              <a:gd name="T114" fmla="*/ 2147483646 w 367"/>
              <a:gd name="T115" fmla="*/ 2147483646 h 26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67"/>
              <a:gd name="T175" fmla="*/ 0 h 261"/>
              <a:gd name="T176" fmla="*/ 367 w 367"/>
              <a:gd name="T177" fmla="*/ 261 h 26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67" h="261">
                <a:moveTo>
                  <a:pt x="51" y="261"/>
                </a:moveTo>
                <a:cubicBezTo>
                  <a:pt x="51" y="261"/>
                  <a:pt x="56" y="240"/>
                  <a:pt x="49" y="230"/>
                </a:cubicBezTo>
                <a:cubicBezTo>
                  <a:pt x="43" y="221"/>
                  <a:pt x="20" y="206"/>
                  <a:pt x="20" y="198"/>
                </a:cubicBezTo>
                <a:cubicBezTo>
                  <a:pt x="21" y="190"/>
                  <a:pt x="22" y="186"/>
                  <a:pt x="15" y="179"/>
                </a:cubicBezTo>
                <a:cubicBezTo>
                  <a:pt x="7" y="172"/>
                  <a:pt x="8" y="164"/>
                  <a:pt x="8" y="154"/>
                </a:cubicBezTo>
                <a:cubicBezTo>
                  <a:pt x="7" y="143"/>
                  <a:pt x="0" y="143"/>
                  <a:pt x="2" y="138"/>
                </a:cubicBezTo>
                <a:cubicBezTo>
                  <a:pt x="4" y="134"/>
                  <a:pt x="9" y="139"/>
                  <a:pt x="12" y="133"/>
                </a:cubicBezTo>
                <a:cubicBezTo>
                  <a:pt x="16" y="128"/>
                  <a:pt x="25" y="103"/>
                  <a:pt x="35" y="98"/>
                </a:cubicBezTo>
                <a:cubicBezTo>
                  <a:pt x="35" y="98"/>
                  <a:pt x="43" y="104"/>
                  <a:pt x="50" y="99"/>
                </a:cubicBezTo>
                <a:cubicBezTo>
                  <a:pt x="57" y="93"/>
                  <a:pt x="61" y="83"/>
                  <a:pt x="64" y="89"/>
                </a:cubicBezTo>
                <a:cubicBezTo>
                  <a:pt x="67" y="95"/>
                  <a:pt x="67" y="105"/>
                  <a:pt x="74" y="96"/>
                </a:cubicBezTo>
                <a:cubicBezTo>
                  <a:pt x="82" y="88"/>
                  <a:pt x="82" y="86"/>
                  <a:pt x="92" y="85"/>
                </a:cubicBezTo>
                <a:cubicBezTo>
                  <a:pt x="101" y="85"/>
                  <a:pt x="101" y="81"/>
                  <a:pt x="110" y="82"/>
                </a:cubicBezTo>
                <a:cubicBezTo>
                  <a:pt x="120" y="82"/>
                  <a:pt x="132" y="71"/>
                  <a:pt x="132" y="66"/>
                </a:cubicBezTo>
                <a:cubicBezTo>
                  <a:pt x="132" y="61"/>
                  <a:pt x="120" y="54"/>
                  <a:pt x="132" y="55"/>
                </a:cubicBezTo>
                <a:cubicBezTo>
                  <a:pt x="144" y="55"/>
                  <a:pt x="153" y="55"/>
                  <a:pt x="159" y="53"/>
                </a:cubicBezTo>
                <a:cubicBezTo>
                  <a:pt x="166" y="51"/>
                  <a:pt x="175" y="53"/>
                  <a:pt x="178" y="45"/>
                </a:cubicBezTo>
                <a:cubicBezTo>
                  <a:pt x="180" y="37"/>
                  <a:pt x="178" y="30"/>
                  <a:pt x="190" y="26"/>
                </a:cubicBezTo>
                <a:cubicBezTo>
                  <a:pt x="202" y="22"/>
                  <a:pt x="204" y="19"/>
                  <a:pt x="206" y="12"/>
                </a:cubicBezTo>
                <a:cubicBezTo>
                  <a:pt x="208" y="5"/>
                  <a:pt x="216" y="0"/>
                  <a:pt x="221" y="0"/>
                </a:cubicBezTo>
                <a:cubicBezTo>
                  <a:pt x="226" y="0"/>
                  <a:pt x="239" y="0"/>
                  <a:pt x="239" y="0"/>
                </a:cubicBezTo>
                <a:cubicBezTo>
                  <a:pt x="239" y="0"/>
                  <a:pt x="238" y="5"/>
                  <a:pt x="246" y="10"/>
                </a:cubicBezTo>
                <a:cubicBezTo>
                  <a:pt x="253" y="15"/>
                  <a:pt x="267" y="32"/>
                  <a:pt x="261" y="41"/>
                </a:cubicBezTo>
                <a:cubicBezTo>
                  <a:pt x="256" y="50"/>
                  <a:pt x="252" y="60"/>
                  <a:pt x="258" y="61"/>
                </a:cubicBezTo>
                <a:cubicBezTo>
                  <a:pt x="264" y="62"/>
                  <a:pt x="269" y="54"/>
                  <a:pt x="274" y="60"/>
                </a:cubicBezTo>
                <a:cubicBezTo>
                  <a:pt x="280" y="67"/>
                  <a:pt x="272" y="71"/>
                  <a:pt x="276" y="73"/>
                </a:cubicBezTo>
                <a:cubicBezTo>
                  <a:pt x="279" y="76"/>
                  <a:pt x="283" y="73"/>
                  <a:pt x="289" y="75"/>
                </a:cubicBezTo>
                <a:cubicBezTo>
                  <a:pt x="295" y="78"/>
                  <a:pt x="295" y="82"/>
                  <a:pt x="301" y="84"/>
                </a:cubicBezTo>
                <a:cubicBezTo>
                  <a:pt x="307" y="85"/>
                  <a:pt x="315" y="81"/>
                  <a:pt x="313" y="89"/>
                </a:cubicBezTo>
                <a:cubicBezTo>
                  <a:pt x="312" y="97"/>
                  <a:pt x="304" y="99"/>
                  <a:pt x="310" y="102"/>
                </a:cubicBezTo>
                <a:cubicBezTo>
                  <a:pt x="317" y="104"/>
                  <a:pt x="318" y="100"/>
                  <a:pt x="326" y="105"/>
                </a:cubicBezTo>
                <a:cubicBezTo>
                  <a:pt x="334" y="110"/>
                  <a:pt x="337" y="116"/>
                  <a:pt x="340" y="120"/>
                </a:cubicBezTo>
                <a:cubicBezTo>
                  <a:pt x="343" y="124"/>
                  <a:pt x="337" y="134"/>
                  <a:pt x="344" y="138"/>
                </a:cubicBezTo>
                <a:cubicBezTo>
                  <a:pt x="350" y="142"/>
                  <a:pt x="357" y="146"/>
                  <a:pt x="359" y="147"/>
                </a:cubicBezTo>
                <a:cubicBezTo>
                  <a:pt x="361" y="149"/>
                  <a:pt x="367" y="151"/>
                  <a:pt x="367" y="155"/>
                </a:cubicBezTo>
                <a:cubicBezTo>
                  <a:pt x="367" y="158"/>
                  <a:pt x="365" y="162"/>
                  <a:pt x="365" y="162"/>
                </a:cubicBezTo>
                <a:cubicBezTo>
                  <a:pt x="365" y="162"/>
                  <a:pt x="357" y="160"/>
                  <a:pt x="355" y="162"/>
                </a:cubicBezTo>
                <a:cubicBezTo>
                  <a:pt x="353" y="165"/>
                  <a:pt x="346" y="167"/>
                  <a:pt x="341" y="164"/>
                </a:cubicBezTo>
                <a:cubicBezTo>
                  <a:pt x="336" y="162"/>
                  <a:pt x="332" y="157"/>
                  <a:pt x="328" y="160"/>
                </a:cubicBezTo>
                <a:cubicBezTo>
                  <a:pt x="325" y="162"/>
                  <a:pt x="320" y="161"/>
                  <a:pt x="318" y="160"/>
                </a:cubicBezTo>
                <a:cubicBezTo>
                  <a:pt x="316" y="159"/>
                  <a:pt x="311" y="152"/>
                  <a:pt x="309" y="157"/>
                </a:cubicBezTo>
                <a:cubicBezTo>
                  <a:pt x="308" y="162"/>
                  <a:pt x="283" y="161"/>
                  <a:pt x="279" y="164"/>
                </a:cubicBezTo>
                <a:cubicBezTo>
                  <a:pt x="275" y="166"/>
                  <a:pt x="272" y="177"/>
                  <a:pt x="270" y="177"/>
                </a:cubicBezTo>
                <a:cubicBezTo>
                  <a:pt x="268" y="177"/>
                  <a:pt x="265" y="175"/>
                  <a:pt x="261" y="177"/>
                </a:cubicBezTo>
                <a:cubicBezTo>
                  <a:pt x="256" y="179"/>
                  <a:pt x="252" y="173"/>
                  <a:pt x="248" y="173"/>
                </a:cubicBezTo>
                <a:cubicBezTo>
                  <a:pt x="243" y="173"/>
                  <a:pt x="239" y="163"/>
                  <a:pt x="237" y="173"/>
                </a:cubicBezTo>
                <a:cubicBezTo>
                  <a:pt x="235" y="184"/>
                  <a:pt x="230" y="192"/>
                  <a:pt x="226" y="192"/>
                </a:cubicBezTo>
                <a:cubicBezTo>
                  <a:pt x="222" y="192"/>
                  <a:pt x="220" y="191"/>
                  <a:pt x="216" y="190"/>
                </a:cubicBezTo>
                <a:cubicBezTo>
                  <a:pt x="212" y="190"/>
                  <a:pt x="191" y="186"/>
                  <a:pt x="186" y="187"/>
                </a:cubicBezTo>
                <a:cubicBezTo>
                  <a:pt x="182" y="187"/>
                  <a:pt x="175" y="184"/>
                  <a:pt x="174" y="181"/>
                </a:cubicBezTo>
                <a:cubicBezTo>
                  <a:pt x="173" y="177"/>
                  <a:pt x="164" y="160"/>
                  <a:pt x="147" y="164"/>
                </a:cubicBezTo>
                <a:cubicBezTo>
                  <a:pt x="130" y="168"/>
                  <a:pt x="121" y="187"/>
                  <a:pt x="121" y="207"/>
                </a:cubicBezTo>
                <a:cubicBezTo>
                  <a:pt x="121" y="207"/>
                  <a:pt x="117" y="211"/>
                  <a:pt x="108" y="209"/>
                </a:cubicBezTo>
                <a:cubicBezTo>
                  <a:pt x="98" y="207"/>
                  <a:pt x="91" y="206"/>
                  <a:pt x="87" y="204"/>
                </a:cubicBezTo>
                <a:cubicBezTo>
                  <a:pt x="83" y="202"/>
                  <a:pt x="79" y="203"/>
                  <a:pt x="78" y="207"/>
                </a:cubicBezTo>
                <a:cubicBezTo>
                  <a:pt x="78" y="211"/>
                  <a:pt x="71" y="211"/>
                  <a:pt x="66" y="212"/>
                </a:cubicBezTo>
                <a:cubicBezTo>
                  <a:pt x="61" y="213"/>
                  <a:pt x="62" y="224"/>
                  <a:pt x="62" y="226"/>
                </a:cubicBezTo>
                <a:cubicBezTo>
                  <a:pt x="62" y="229"/>
                  <a:pt x="57" y="254"/>
                  <a:pt x="51" y="26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41" name="Freeform 677"/>
          <p:cNvSpPr>
            <a:spLocks/>
          </p:cNvSpPr>
          <p:nvPr userDrawn="1"/>
        </p:nvSpPr>
        <p:spPr bwMode="auto">
          <a:xfrm>
            <a:off x="5701718" y="4976170"/>
            <a:ext cx="55279" cy="33501"/>
          </a:xfrm>
          <a:custGeom>
            <a:avLst/>
            <a:gdLst>
              <a:gd name="T0" fmla="*/ 2147483646 w 59"/>
              <a:gd name="T1" fmla="*/ 0 h 36"/>
              <a:gd name="T2" fmla="*/ 2147483646 w 59"/>
              <a:gd name="T3" fmla="*/ 2147483646 h 36"/>
              <a:gd name="T4" fmla="*/ 2147483646 w 59"/>
              <a:gd name="T5" fmla="*/ 2147483646 h 36"/>
              <a:gd name="T6" fmla="*/ 2147483646 w 59"/>
              <a:gd name="T7" fmla="*/ 2147483646 h 36"/>
              <a:gd name="T8" fmla="*/ 2147483646 w 59"/>
              <a:gd name="T9" fmla="*/ 2147483646 h 36"/>
              <a:gd name="T10" fmla="*/ 2147483646 w 59"/>
              <a:gd name="T11" fmla="*/ 2147483646 h 36"/>
              <a:gd name="T12" fmla="*/ 2147483646 w 59"/>
              <a:gd name="T13" fmla="*/ 2147483646 h 36"/>
              <a:gd name="T14" fmla="*/ 2147483646 w 59"/>
              <a:gd name="T15" fmla="*/ 0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9"/>
              <a:gd name="T25" fmla="*/ 0 h 36"/>
              <a:gd name="T26" fmla="*/ 59 w 59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9" h="36">
                <a:moveTo>
                  <a:pt x="16" y="0"/>
                </a:moveTo>
                <a:cubicBezTo>
                  <a:pt x="16" y="0"/>
                  <a:pt x="43" y="6"/>
                  <a:pt x="59" y="1"/>
                </a:cubicBezTo>
                <a:cubicBezTo>
                  <a:pt x="59" y="1"/>
                  <a:pt x="57" y="15"/>
                  <a:pt x="58" y="19"/>
                </a:cubicBezTo>
                <a:cubicBezTo>
                  <a:pt x="58" y="24"/>
                  <a:pt x="57" y="31"/>
                  <a:pt x="56" y="33"/>
                </a:cubicBezTo>
                <a:cubicBezTo>
                  <a:pt x="56" y="34"/>
                  <a:pt x="41" y="36"/>
                  <a:pt x="41" y="36"/>
                </a:cubicBezTo>
                <a:cubicBezTo>
                  <a:pt x="8" y="36"/>
                  <a:pt x="8" y="36"/>
                  <a:pt x="8" y="36"/>
                </a:cubicBezTo>
                <a:cubicBezTo>
                  <a:pt x="8" y="36"/>
                  <a:pt x="0" y="29"/>
                  <a:pt x="6" y="25"/>
                </a:cubicBezTo>
                <a:cubicBezTo>
                  <a:pt x="11" y="20"/>
                  <a:pt x="17" y="6"/>
                  <a:pt x="16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42" name="Freeform 678"/>
          <p:cNvSpPr>
            <a:spLocks/>
          </p:cNvSpPr>
          <p:nvPr userDrawn="1"/>
        </p:nvSpPr>
        <p:spPr bwMode="auto">
          <a:xfrm>
            <a:off x="5684967" y="4966119"/>
            <a:ext cx="154108" cy="167509"/>
          </a:xfrm>
          <a:custGeom>
            <a:avLst/>
            <a:gdLst>
              <a:gd name="T0" fmla="*/ 2147483646 w 166"/>
              <a:gd name="T1" fmla="*/ 2147483646 h 179"/>
              <a:gd name="T2" fmla="*/ 2147483646 w 166"/>
              <a:gd name="T3" fmla="*/ 2147483646 h 179"/>
              <a:gd name="T4" fmla="*/ 2147483646 w 166"/>
              <a:gd name="T5" fmla="*/ 2147483646 h 179"/>
              <a:gd name="T6" fmla="*/ 2147483646 w 166"/>
              <a:gd name="T7" fmla="*/ 2147483646 h 179"/>
              <a:gd name="T8" fmla="*/ 2147483646 w 166"/>
              <a:gd name="T9" fmla="*/ 2147483646 h 179"/>
              <a:gd name="T10" fmla="*/ 2147483646 w 166"/>
              <a:gd name="T11" fmla="*/ 2147483646 h 179"/>
              <a:gd name="T12" fmla="*/ 2147483646 w 166"/>
              <a:gd name="T13" fmla="*/ 2147483646 h 179"/>
              <a:gd name="T14" fmla="*/ 2147483646 w 166"/>
              <a:gd name="T15" fmla="*/ 2147483646 h 179"/>
              <a:gd name="T16" fmla="*/ 2147483646 w 166"/>
              <a:gd name="T17" fmla="*/ 2147483646 h 179"/>
              <a:gd name="T18" fmla="*/ 2147483646 w 166"/>
              <a:gd name="T19" fmla="*/ 2147483646 h 179"/>
              <a:gd name="T20" fmla="*/ 2147483646 w 166"/>
              <a:gd name="T21" fmla="*/ 2147483646 h 179"/>
              <a:gd name="T22" fmla="*/ 2147483646 w 166"/>
              <a:gd name="T23" fmla="*/ 2147483646 h 179"/>
              <a:gd name="T24" fmla="*/ 2147483646 w 166"/>
              <a:gd name="T25" fmla="*/ 2147483646 h 179"/>
              <a:gd name="T26" fmla="*/ 2147483646 w 166"/>
              <a:gd name="T27" fmla="*/ 2147483646 h 179"/>
              <a:gd name="T28" fmla="*/ 2147483646 w 166"/>
              <a:gd name="T29" fmla="*/ 2147483646 h 179"/>
              <a:gd name="T30" fmla="*/ 2147483646 w 166"/>
              <a:gd name="T31" fmla="*/ 2147483646 h 179"/>
              <a:gd name="T32" fmla="*/ 2147483646 w 166"/>
              <a:gd name="T33" fmla="*/ 2147483646 h 179"/>
              <a:gd name="T34" fmla="*/ 2147483646 w 166"/>
              <a:gd name="T35" fmla="*/ 2147483646 h 179"/>
              <a:gd name="T36" fmla="*/ 2147483646 w 166"/>
              <a:gd name="T37" fmla="*/ 2147483646 h 179"/>
              <a:gd name="T38" fmla="*/ 2147483646 w 166"/>
              <a:gd name="T39" fmla="*/ 2147483646 h 179"/>
              <a:gd name="T40" fmla="*/ 2147483646 w 166"/>
              <a:gd name="T41" fmla="*/ 2147483646 h 179"/>
              <a:gd name="T42" fmla="*/ 2147483646 w 166"/>
              <a:gd name="T43" fmla="*/ 2147483646 h 179"/>
              <a:gd name="T44" fmla="*/ 2147483646 w 166"/>
              <a:gd name="T45" fmla="*/ 2147483646 h 179"/>
              <a:gd name="T46" fmla="*/ 2147483646 w 166"/>
              <a:gd name="T47" fmla="*/ 2147483646 h 179"/>
              <a:gd name="T48" fmla="*/ 2147483646 w 166"/>
              <a:gd name="T49" fmla="*/ 2147483646 h 179"/>
              <a:gd name="T50" fmla="*/ 2147483646 w 166"/>
              <a:gd name="T51" fmla="*/ 2147483646 h 179"/>
              <a:gd name="T52" fmla="*/ 2147483646 w 166"/>
              <a:gd name="T53" fmla="*/ 2147483646 h 179"/>
              <a:gd name="T54" fmla="*/ 2147483646 w 166"/>
              <a:gd name="T55" fmla="*/ 2147483646 h 179"/>
              <a:gd name="T56" fmla="*/ 2147483646 w 166"/>
              <a:gd name="T57" fmla="*/ 2147483646 h 179"/>
              <a:gd name="T58" fmla="*/ 2147483646 w 166"/>
              <a:gd name="T59" fmla="*/ 2147483646 h 179"/>
              <a:gd name="T60" fmla="*/ 2147483646 w 166"/>
              <a:gd name="T61" fmla="*/ 2147483646 h 179"/>
              <a:gd name="T62" fmla="*/ 2147483646 w 166"/>
              <a:gd name="T63" fmla="*/ 2147483646 h 179"/>
              <a:gd name="T64" fmla="*/ 2147483646 w 166"/>
              <a:gd name="T65" fmla="*/ 2147483646 h 179"/>
              <a:gd name="T66" fmla="*/ 2147483646 w 166"/>
              <a:gd name="T67" fmla="*/ 2147483646 h 179"/>
              <a:gd name="T68" fmla="*/ 2147483646 w 166"/>
              <a:gd name="T69" fmla="*/ 2147483646 h 179"/>
              <a:gd name="T70" fmla="*/ 2147483646 w 166"/>
              <a:gd name="T71" fmla="*/ 2147483646 h 179"/>
              <a:gd name="T72" fmla="*/ 2147483646 w 166"/>
              <a:gd name="T73" fmla="*/ 2147483646 h 179"/>
              <a:gd name="T74" fmla="*/ 2147483646 w 166"/>
              <a:gd name="T75" fmla="*/ 2147483646 h 179"/>
              <a:gd name="T76" fmla="*/ 2147483646 w 166"/>
              <a:gd name="T77" fmla="*/ 2147483646 h 179"/>
              <a:gd name="T78" fmla="*/ 2147483646 w 166"/>
              <a:gd name="T79" fmla="*/ 2147483646 h 179"/>
              <a:gd name="T80" fmla="*/ 2147483646 w 166"/>
              <a:gd name="T81" fmla="*/ 2147483646 h 179"/>
              <a:gd name="T82" fmla="*/ 2147483646 w 166"/>
              <a:gd name="T83" fmla="*/ 2147483646 h 179"/>
              <a:gd name="T84" fmla="*/ 2147483646 w 166"/>
              <a:gd name="T85" fmla="*/ 2147483646 h 179"/>
              <a:gd name="T86" fmla="*/ 2147483646 w 166"/>
              <a:gd name="T87" fmla="*/ 2147483646 h 179"/>
              <a:gd name="T88" fmla="*/ 2147483646 w 166"/>
              <a:gd name="T89" fmla="*/ 2147483646 h 179"/>
              <a:gd name="T90" fmla="*/ 2147483646 w 166"/>
              <a:gd name="T91" fmla="*/ 2147483646 h 179"/>
              <a:gd name="T92" fmla="*/ 2147483646 w 166"/>
              <a:gd name="T93" fmla="*/ 2147483646 h 179"/>
              <a:gd name="T94" fmla="*/ 2147483646 w 166"/>
              <a:gd name="T95" fmla="*/ 2147483646 h 179"/>
              <a:gd name="T96" fmla="*/ 2147483646 w 166"/>
              <a:gd name="T97" fmla="*/ 2147483646 h 179"/>
              <a:gd name="T98" fmla="*/ 2147483646 w 166"/>
              <a:gd name="T99" fmla="*/ 2147483646 h 179"/>
              <a:gd name="T100" fmla="*/ 2147483646 w 166"/>
              <a:gd name="T101" fmla="*/ 21474836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6"/>
              <a:gd name="T154" fmla="*/ 0 h 179"/>
              <a:gd name="T155" fmla="*/ 166 w 166"/>
              <a:gd name="T156" fmla="*/ 179 h 17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6" h="179">
                <a:moveTo>
                  <a:pt x="132" y="9"/>
                </a:moveTo>
                <a:cubicBezTo>
                  <a:pt x="129" y="9"/>
                  <a:pt x="125" y="8"/>
                  <a:pt x="121" y="7"/>
                </a:cubicBezTo>
                <a:cubicBezTo>
                  <a:pt x="94" y="0"/>
                  <a:pt x="95" y="8"/>
                  <a:pt x="78" y="11"/>
                </a:cubicBezTo>
                <a:cubicBezTo>
                  <a:pt x="78" y="11"/>
                  <a:pt x="76" y="25"/>
                  <a:pt x="77" y="29"/>
                </a:cubicBezTo>
                <a:cubicBezTo>
                  <a:pt x="77" y="34"/>
                  <a:pt x="76" y="41"/>
                  <a:pt x="75" y="43"/>
                </a:cubicBezTo>
                <a:cubicBezTo>
                  <a:pt x="75" y="44"/>
                  <a:pt x="60" y="46"/>
                  <a:pt x="60" y="46"/>
                </a:cubicBezTo>
                <a:cubicBezTo>
                  <a:pt x="27" y="46"/>
                  <a:pt x="27" y="46"/>
                  <a:pt x="27" y="46"/>
                </a:cubicBezTo>
                <a:cubicBezTo>
                  <a:pt x="27" y="46"/>
                  <a:pt x="27" y="52"/>
                  <a:pt x="25" y="57"/>
                </a:cubicBezTo>
                <a:cubicBezTo>
                  <a:pt x="23" y="62"/>
                  <a:pt x="21" y="71"/>
                  <a:pt x="18" y="78"/>
                </a:cubicBezTo>
                <a:cubicBezTo>
                  <a:pt x="16" y="85"/>
                  <a:pt x="21" y="88"/>
                  <a:pt x="15" y="91"/>
                </a:cubicBezTo>
                <a:cubicBezTo>
                  <a:pt x="8" y="94"/>
                  <a:pt x="7" y="92"/>
                  <a:pt x="7" y="92"/>
                </a:cubicBezTo>
                <a:cubicBezTo>
                  <a:pt x="7" y="92"/>
                  <a:pt x="5" y="87"/>
                  <a:pt x="3" y="90"/>
                </a:cubicBezTo>
                <a:cubicBezTo>
                  <a:pt x="1" y="92"/>
                  <a:pt x="0" y="93"/>
                  <a:pt x="2" y="96"/>
                </a:cubicBezTo>
                <a:cubicBezTo>
                  <a:pt x="4" y="99"/>
                  <a:pt x="6" y="100"/>
                  <a:pt x="7" y="103"/>
                </a:cubicBezTo>
                <a:cubicBezTo>
                  <a:pt x="8" y="105"/>
                  <a:pt x="6" y="104"/>
                  <a:pt x="9" y="111"/>
                </a:cubicBezTo>
                <a:cubicBezTo>
                  <a:pt x="12" y="118"/>
                  <a:pt x="12" y="122"/>
                  <a:pt x="15" y="120"/>
                </a:cubicBezTo>
                <a:cubicBezTo>
                  <a:pt x="19" y="119"/>
                  <a:pt x="21" y="116"/>
                  <a:pt x="21" y="120"/>
                </a:cubicBezTo>
                <a:cubicBezTo>
                  <a:pt x="21" y="124"/>
                  <a:pt x="18" y="124"/>
                  <a:pt x="17" y="125"/>
                </a:cubicBezTo>
                <a:cubicBezTo>
                  <a:pt x="15" y="126"/>
                  <a:pt x="15" y="127"/>
                  <a:pt x="18" y="128"/>
                </a:cubicBezTo>
                <a:cubicBezTo>
                  <a:pt x="21" y="129"/>
                  <a:pt x="25" y="127"/>
                  <a:pt x="24" y="131"/>
                </a:cubicBezTo>
                <a:cubicBezTo>
                  <a:pt x="23" y="134"/>
                  <a:pt x="30" y="141"/>
                  <a:pt x="31" y="144"/>
                </a:cubicBezTo>
                <a:cubicBezTo>
                  <a:pt x="33" y="146"/>
                  <a:pt x="41" y="153"/>
                  <a:pt x="45" y="158"/>
                </a:cubicBezTo>
                <a:cubicBezTo>
                  <a:pt x="49" y="163"/>
                  <a:pt x="58" y="170"/>
                  <a:pt x="61" y="173"/>
                </a:cubicBezTo>
                <a:cubicBezTo>
                  <a:pt x="63" y="177"/>
                  <a:pt x="65" y="179"/>
                  <a:pt x="69" y="178"/>
                </a:cubicBezTo>
                <a:cubicBezTo>
                  <a:pt x="73" y="176"/>
                  <a:pt x="70" y="167"/>
                  <a:pt x="77" y="169"/>
                </a:cubicBezTo>
                <a:cubicBezTo>
                  <a:pt x="84" y="172"/>
                  <a:pt x="82" y="168"/>
                  <a:pt x="87" y="167"/>
                </a:cubicBezTo>
                <a:cubicBezTo>
                  <a:pt x="91" y="167"/>
                  <a:pt x="97" y="163"/>
                  <a:pt x="92" y="160"/>
                </a:cubicBezTo>
                <a:cubicBezTo>
                  <a:pt x="87" y="156"/>
                  <a:pt x="87" y="152"/>
                  <a:pt x="87" y="150"/>
                </a:cubicBezTo>
                <a:cubicBezTo>
                  <a:pt x="87" y="148"/>
                  <a:pt x="71" y="139"/>
                  <a:pt x="86" y="142"/>
                </a:cubicBezTo>
                <a:cubicBezTo>
                  <a:pt x="100" y="145"/>
                  <a:pt x="99" y="140"/>
                  <a:pt x="104" y="141"/>
                </a:cubicBezTo>
                <a:cubicBezTo>
                  <a:pt x="110" y="142"/>
                  <a:pt x="111" y="140"/>
                  <a:pt x="110" y="137"/>
                </a:cubicBezTo>
                <a:cubicBezTo>
                  <a:pt x="108" y="133"/>
                  <a:pt x="102" y="128"/>
                  <a:pt x="109" y="129"/>
                </a:cubicBezTo>
                <a:cubicBezTo>
                  <a:pt x="115" y="129"/>
                  <a:pt x="115" y="123"/>
                  <a:pt x="118" y="127"/>
                </a:cubicBezTo>
                <a:cubicBezTo>
                  <a:pt x="121" y="132"/>
                  <a:pt x="121" y="132"/>
                  <a:pt x="123" y="139"/>
                </a:cubicBezTo>
                <a:cubicBezTo>
                  <a:pt x="125" y="145"/>
                  <a:pt x="123" y="143"/>
                  <a:pt x="129" y="144"/>
                </a:cubicBezTo>
                <a:cubicBezTo>
                  <a:pt x="135" y="146"/>
                  <a:pt x="136" y="145"/>
                  <a:pt x="138" y="143"/>
                </a:cubicBezTo>
                <a:cubicBezTo>
                  <a:pt x="141" y="142"/>
                  <a:pt x="138" y="139"/>
                  <a:pt x="142" y="141"/>
                </a:cubicBezTo>
                <a:cubicBezTo>
                  <a:pt x="146" y="142"/>
                  <a:pt x="149" y="142"/>
                  <a:pt x="150" y="144"/>
                </a:cubicBezTo>
                <a:cubicBezTo>
                  <a:pt x="150" y="146"/>
                  <a:pt x="157" y="137"/>
                  <a:pt x="159" y="136"/>
                </a:cubicBezTo>
                <a:cubicBezTo>
                  <a:pt x="160" y="135"/>
                  <a:pt x="159" y="134"/>
                  <a:pt x="161" y="131"/>
                </a:cubicBezTo>
                <a:cubicBezTo>
                  <a:pt x="163" y="128"/>
                  <a:pt x="164" y="118"/>
                  <a:pt x="163" y="110"/>
                </a:cubicBezTo>
                <a:cubicBezTo>
                  <a:pt x="162" y="102"/>
                  <a:pt x="162" y="98"/>
                  <a:pt x="164" y="95"/>
                </a:cubicBezTo>
                <a:cubicBezTo>
                  <a:pt x="165" y="92"/>
                  <a:pt x="165" y="88"/>
                  <a:pt x="161" y="85"/>
                </a:cubicBezTo>
                <a:cubicBezTo>
                  <a:pt x="157" y="83"/>
                  <a:pt x="152" y="84"/>
                  <a:pt x="150" y="80"/>
                </a:cubicBezTo>
                <a:cubicBezTo>
                  <a:pt x="148" y="77"/>
                  <a:pt x="145" y="74"/>
                  <a:pt x="147" y="70"/>
                </a:cubicBezTo>
                <a:cubicBezTo>
                  <a:pt x="148" y="67"/>
                  <a:pt x="148" y="60"/>
                  <a:pt x="153" y="58"/>
                </a:cubicBezTo>
                <a:cubicBezTo>
                  <a:pt x="159" y="56"/>
                  <a:pt x="166" y="59"/>
                  <a:pt x="165" y="51"/>
                </a:cubicBezTo>
                <a:cubicBezTo>
                  <a:pt x="164" y="42"/>
                  <a:pt x="159" y="30"/>
                  <a:pt x="150" y="32"/>
                </a:cubicBezTo>
                <a:cubicBezTo>
                  <a:pt x="142" y="34"/>
                  <a:pt x="133" y="48"/>
                  <a:pt x="130" y="39"/>
                </a:cubicBezTo>
                <a:cubicBezTo>
                  <a:pt x="127" y="31"/>
                  <a:pt x="126" y="27"/>
                  <a:pt x="127" y="24"/>
                </a:cubicBezTo>
                <a:cubicBezTo>
                  <a:pt x="129" y="20"/>
                  <a:pt x="132" y="9"/>
                  <a:pt x="132" y="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43" name="Freeform 679"/>
          <p:cNvSpPr>
            <a:spLocks/>
          </p:cNvSpPr>
          <p:nvPr userDrawn="1"/>
        </p:nvSpPr>
        <p:spPr bwMode="auto">
          <a:xfrm>
            <a:off x="5748620" y="4937643"/>
            <a:ext cx="201011" cy="232837"/>
          </a:xfrm>
          <a:custGeom>
            <a:avLst/>
            <a:gdLst>
              <a:gd name="T0" fmla="*/ 2147483646 w 216"/>
              <a:gd name="T1" fmla="*/ 2147483646 h 249"/>
              <a:gd name="T2" fmla="*/ 2147483646 w 216"/>
              <a:gd name="T3" fmla="*/ 2147483646 h 249"/>
              <a:gd name="T4" fmla="*/ 2147483646 w 216"/>
              <a:gd name="T5" fmla="*/ 2147483646 h 249"/>
              <a:gd name="T6" fmla="*/ 2147483646 w 216"/>
              <a:gd name="T7" fmla="*/ 2147483646 h 249"/>
              <a:gd name="T8" fmla="*/ 2147483646 w 216"/>
              <a:gd name="T9" fmla="*/ 2147483646 h 249"/>
              <a:gd name="T10" fmla="*/ 2147483646 w 216"/>
              <a:gd name="T11" fmla="*/ 2147483646 h 249"/>
              <a:gd name="T12" fmla="*/ 2147483646 w 216"/>
              <a:gd name="T13" fmla="*/ 2147483646 h 249"/>
              <a:gd name="T14" fmla="*/ 2147483646 w 216"/>
              <a:gd name="T15" fmla="*/ 2147483646 h 249"/>
              <a:gd name="T16" fmla="*/ 2147483646 w 216"/>
              <a:gd name="T17" fmla="*/ 2147483646 h 249"/>
              <a:gd name="T18" fmla="*/ 2147483646 w 216"/>
              <a:gd name="T19" fmla="*/ 2147483646 h 249"/>
              <a:gd name="T20" fmla="*/ 2147483646 w 216"/>
              <a:gd name="T21" fmla="*/ 2147483646 h 249"/>
              <a:gd name="T22" fmla="*/ 2147483646 w 216"/>
              <a:gd name="T23" fmla="*/ 2147483646 h 249"/>
              <a:gd name="T24" fmla="*/ 2147483646 w 216"/>
              <a:gd name="T25" fmla="*/ 2147483646 h 249"/>
              <a:gd name="T26" fmla="*/ 2147483646 w 216"/>
              <a:gd name="T27" fmla="*/ 2147483646 h 249"/>
              <a:gd name="T28" fmla="*/ 2147483646 w 216"/>
              <a:gd name="T29" fmla="*/ 2147483646 h 249"/>
              <a:gd name="T30" fmla="*/ 2147483646 w 216"/>
              <a:gd name="T31" fmla="*/ 2147483646 h 249"/>
              <a:gd name="T32" fmla="*/ 2147483646 w 216"/>
              <a:gd name="T33" fmla="*/ 2147483646 h 249"/>
              <a:gd name="T34" fmla="*/ 2147483646 w 216"/>
              <a:gd name="T35" fmla="*/ 2147483646 h 249"/>
              <a:gd name="T36" fmla="*/ 2147483646 w 216"/>
              <a:gd name="T37" fmla="*/ 2147483646 h 249"/>
              <a:gd name="T38" fmla="*/ 2147483646 w 216"/>
              <a:gd name="T39" fmla="*/ 2147483646 h 249"/>
              <a:gd name="T40" fmla="*/ 2147483646 w 216"/>
              <a:gd name="T41" fmla="*/ 2147483646 h 249"/>
              <a:gd name="T42" fmla="*/ 2147483646 w 216"/>
              <a:gd name="T43" fmla="*/ 2147483646 h 249"/>
              <a:gd name="T44" fmla="*/ 2147483646 w 216"/>
              <a:gd name="T45" fmla="*/ 2147483646 h 249"/>
              <a:gd name="T46" fmla="*/ 2147483646 w 216"/>
              <a:gd name="T47" fmla="*/ 2147483646 h 249"/>
              <a:gd name="T48" fmla="*/ 2147483646 w 216"/>
              <a:gd name="T49" fmla="*/ 2147483646 h 249"/>
              <a:gd name="T50" fmla="*/ 2147483646 w 216"/>
              <a:gd name="T51" fmla="*/ 2147483646 h 249"/>
              <a:gd name="T52" fmla="*/ 2147483646 w 216"/>
              <a:gd name="T53" fmla="*/ 2147483646 h 249"/>
              <a:gd name="T54" fmla="*/ 2147483646 w 216"/>
              <a:gd name="T55" fmla="*/ 2147483646 h 249"/>
              <a:gd name="T56" fmla="*/ 2147483646 w 216"/>
              <a:gd name="T57" fmla="*/ 2147483646 h 249"/>
              <a:gd name="T58" fmla="*/ 2147483646 w 216"/>
              <a:gd name="T59" fmla="*/ 2147483646 h 249"/>
              <a:gd name="T60" fmla="*/ 2147483646 w 216"/>
              <a:gd name="T61" fmla="*/ 2147483646 h 249"/>
              <a:gd name="T62" fmla="*/ 2147483646 w 216"/>
              <a:gd name="T63" fmla="*/ 2147483646 h 249"/>
              <a:gd name="T64" fmla="*/ 2147483646 w 216"/>
              <a:gd name="T65" fmla="*/ 2147483646 h 249"/>
              <a:gd name="T66" fmla="*/ 2147483646 w 216"/>
              <a:gd name="T67" fmla="*/ 2147483646 h 249"/>
              <a:gd name="T68" fmla="*/ 2147483646 w 216"/>
              <a:gd name="T69" fmla="*/ 2147483646 h 249"/>
              <a:gd name="T70" fmla="*/ 2147483646 w 216"/>
              <a:gd name="T71" fmla="*/ 2147483646 h 249"/>
              <a:gd name="T72" fmla="*/ 0 w 216"/>
              <a:gd name="T73" fmla="*/ 2147483646 h 249"/>
              <a:gd name="T74" fmla="*/ 2147483646 w 216"/>
              <a:gd name="T75" fmla="*/ 2147483646 h 249"/>
              <a:gd name="T76" fmla="*/ 2147483646 w 216"/>
              <a:gd name="T77" fmla="*/ 2147483646 h 249"/>
              <a:gd name="T78" fmla="*/ 2147483646 w 216"/>
              <a:gd name="T79" fmla="*/ 2147483646 h 249"/>
              <a:gd name="T80" fmla="*/ 2147483646 w 216"/>
              <a:gd name="T81" fmla="*/ 2147483646 h 249"/>
              <a:gd name="T82" fmla="*/ 2147483646 w 216"/>
              <a:gd name="T83" fmla="*/ 2147483646 h 249"/>
              <a:gd name="T84" fmla="*/ 2147483646 w 216"/>
              <a:gd name="T85" fmla="*/ 2147483646 h 249"/>
              <a:gd name="T86" fmla="*/ 2147483646 w 216"/>
              <a:gd name="T87" fmla="*/ 2147483646 h 249"/>
              <a:gd name="T88" fmla="*/ 2147483646 w 216"/>
              <a:gd name="T89" fmla="*/ 2147483646 h 249"/>
              <a:gd name="T90" fmla="*/ 2147483646 w 216"/>
              <a:gd name="T91" fmla="*/ 2147483646 h 249"/>
              <a:gd name="T92" fmla="*/ 2147483646 w 216"/>
              <a:gd name="T93" fmla="*/ 2147483646 h 249"/>
              <a:gd name="T94" fmla="*/ 2147483646 w 216"/>
              <a:gd name="T95" fmla="*/ 2147483646 h 249"/>
              <a:gd name="T96" fmla="*/ 2147483646 w 216"/>
              <a:gd name="T97" fmla="*/ 2147483646 h 249"/>
              <a:gd name="T98" fmla="*/ 2147483646 w 216"/>
              <a:gd name="T99" fmla="*/ 2147483646 h 249"/>
              <a:gd name="T100" fmla="*/ 2147483646 w 216"/>
              <a:gd name="T101" fmla="*/ 2147483646 h 249"/>
              <a:gd name="T102" fmla="*/ 2147483646 w 216"/>
              <a:gd name="T103" fmla="*/ 2147483646 h 249"/>
              <a:gd name="T104" fmla="*/ 2147483646 w 216"/>
              <a:gd name="T105" fmla="*/ 2147483646 h 249"/>
              <a:gd name="T106" fmla="*/ 2147483646 w 216"/>
              <a:gd name="T107" fmla="*/ 2147483646 h 249"/>
              <a:gd name="T108" fmla="*/ 2147483646 w 216"/>
              <a:gd name="T109" fmla="*/ 2147483646 h 249"/>
              <a:gd name="T110" fmla="*/ 2147483646 w 216"/>
              <a:gd name="T111" fmla="*/ 2147483646 h 249"/>
              <a:gd name="T112" fmla="*/ 2147483646 w 216"/>
              <a:gd name="T113" fmla="*/ 2147483646 h 249"/>
              <a:gd name="T114" fmla="*/ 2147483646 w 216"/>
              <a:gd name="T115" fmla="*/ 2147483646 h 249"/>
              <a:gd name="T116" fmla="*/ 2147483646 w 216"/>
              <a:gd name="T117" fmla="*/ 2147483646 h 249"/>
              <a:gd name="T118" fmla="*/ 2147483646 w 216"/>
              <a:gd name="T119" fmla="*/ 2147483646 h 249"/>
              <a:gd name="T120" fmla="*/ 2147483646 w 216"/>
              <a:gd name="T121" fmla="*/ 2147483646 h 249"/>
              <a:gd name="T122" fmla="*/ 2147483646 w 216"/>
              <a:gd name="T123" fmla="*/ 2147483646 h 2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16"/>
              <a:gd name="T187" fmla="*/ 0 h 249"/>
              <a:gd name="T188" fmla="*/ 216 w 216"/>
              <a:gd name="T189" fmla="*/ 249 h 24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16" h="249">
                <a:moveTo>
                  <a:pt x="213" y="5"/>
                </a:moveTo>
                <a:cubicBezTo>
                  <a:pt x="213" y="5"/>
                  <a:pt x="209" y="9"/>
                  <a:pt x="200" y="7"/>
                </a:cubicBezTo>
                <a:cubicBezTo>
                  <a:pt x="190" y="5"/>
                  <a:pt x="183" y="4"/>
                  <a:pt x="179" y="2"/>
                </a:cubicBezTo>
                <a:cubicBezTo>
                  <a:pt x="175" y="0"/>
                  <a:pt x="171" y="1"/>
                  <a:pt x="170" y="5"/>
                </a:cubicBezTo>
                <a:cubicBezTo>
                  <a:pt x="170" y="9"/>
                  <a:pt x="163" y="9"/>
                  <a:pt x="158" y="10"/>
                </a:cubicBezTo>
                <a:cubicBezTo>
                  <a:pt x="153" y="11"/>
                  <a:pt x="154" y="22"/>
                  <a:pt x="154" y="24"/>
                </a:cubicBezTo>
                <a:cubicBezTo>
                  <a:pt x="154" y="27"/>
                  <a:pt x="149" y="52"/>
                  <a:pt x="143" y="59"/>
                </a:cubicBezTo>
                <a:cubicBezTo>
                  <a:pt x="138" y="43"/>
                  <a:pt x="110" y="50"/>
                  <a:pt x="104" y="48"/>
                </a:cubicBezTo>
                <a:cubicBezTo>
                  <a:pt x="99" y="46"/>
                  <a:pt x="85" y="45"/>
                  <a:pt x="65" y="41"/>
                </a:cubicBezTo>
                <a:cubicBezTo>
                  <a:pt x="63" y="40"/>
                  <a:pt x="63" y="40"/>
                  <a:pt x="63" y="40"/>
                </a:cubicBezTo>
                <a:cubicBezTo>
                  <a:pt x="63" y="40"/>
                  <a:pt x="60" y="51"/>
                  <a:pt x="58" y="55"/>
                </a:cubicBezTo>
                <a:cubicBezTo>
                  <a:pt x="57" y="58"/>
                  <a:pt x="58" y="62"/>
                  <a:pt x="61" y="70"/>
                </a:cubicBezTo>
                <a:cubicBezTo>
                  <a:pt x="64" y="79"/>
                  <a:pt x="73" y="65"/>
                  <a:pt x="81" y="63"/>
                </a:cubicBezTo>
                <a:cubicBezTo>
                  <a:pt x="90" y="61"/>
                  <a:pt x="95" y="73"/>
                  <a:pt x="96" y="82"/>
                </a:cubicBezTo>
                <a:cubicBezTo>
                  <a:pt x="97" y="90"/>
                  <a:pt x="90" y="87"/>
                  <a:pt x="84" y="89"/>
                </a:cubicBezTo>
                <a:cubicBezTo>
                  <a:pt x="79" y="91"/>
                  <a:pt x="79" y="98"/>
                  <a:pt x="78" y="101"/>
                </a:cubicBezTo>
                <a:cubicBezTo>
                  <a:pt x="76" y="105"/>
                  <a:pt x="79" y="108"/>
                  <a:pt x="81" y="111"/>
                </a:cubicBezTo>
                <a:cubicBezTo>
                  <a:pt x="83" y="115"/>
                  <a:pt x="88" y="114"/>
                  <a:pt x="92" y="116"/>
                </a:cubicBezTo>
                <a:cubicBezTo>
                  <a:pt x="96" y="119"/>
                  <a:pt x="96" y="123"/>
                  <a:pt x="95" y="126"/>
                </a:cubicBezTo>
                <a:cubicBezTo>
                  <a:pt x="93" y="129"/>
                  <a:pt x="93" y="133"/>
                  <a:pt x="94" y="141"/>
                </a:cubicBezTo>
                <a:cubicBezTo>
                  <a:pt x="95" y="149"/>
                  <a:pt x="94" y="159"/>
                  <a:pt x="92" y="162"/>
                </a:cubicBezTo>
                <a:cubicBezTo>
                  <a:pt x="90" y="165"/>
                  <a:pt x="91" y="166"/>
                  <a:pt x="90" y="167"/>
                </a:cubicBezTo>
                <a:cubicBezTo>
                  <a:pt x="88" y="168"/>
                  <a:pt x="81" y="177"/>
                  <a:pt x="81" y="175"/>
                </a:cubicBezTo>
                <a:cubicBezTo>
                  <a:pt x="80" y="173"/>
                  <a:pt x="77" y="173"/>
                  <a:pt x="73" y="172"/>
                </a:cubicBezTo>
                <a:cubicBezTo>
                  <a:pt x="69" y="170"/>
                  <a:pt x="72" y="173"/>
                  <a:pt x="69" y="174"/>
                </a:cubicBezTo>
                <a:cubicBezTo>
                  <a:pt x="67" y="176"/>
                  <a:pt x="66" y="177"/>
                  <a:pt x="60" y="175"/>
                </a:cubicBezTo>
                <a:cubicBezTo>
                  <a:pt x="54" y="174"/>
                  <a:pt x="56" y="176"/>
                  <a:pt x="54" y="170"/>
                </a:cubicBezTo>
                <a:cubicBezTo>
                  <a:pt x="52" y="163"/>
                  <a:pt x="52" y="163"/>
                  <a:pt x="49" y="158"/>
                </a:cubicBezTo>
                <a:cubicBezTo>
                  <a:pt x="46" y="154"/>
                  <a:pt x="46" y="160"/>
                  <a:pt x="40" y="160"/>
                </a:cubicBezTo>
                <a:cubicBezTo>
                  <a:pt x="33" y="159"/>
                  <a:pt x="39" y="164"/>
                  <a:pt x="41" y="168"/>
                </a:cubicBezTo>
                <a:cubicBezTo>
                  <a:pt x="42" y="171"/>
                  <a:pt x="41" y="173"/>
                  <a:pt x="35" y="172"/>
                </a:cubicBezTo>
                <a:cubicBezTo>
                  <a:pt x="30" y="171"/>
                  <a:pt x="31" y="176"/>
                  <a:pt x="17" y="173"/>
                </a:cubicBezTo>
                <a:cubicBezTo>
                  <a:pt x="2" y="170"/>
                  <a:pt x="18" y="179"/>
                  <a:pt x="18" y="181"/>
                </a:cubicBezTo>
                <a:cubicBezTo>
                  <a:pt x="18" y="183"/>
                  <a:pt x="18" y="187"/>
                  <a:pt x="23" y="191"/>
                </a:cubicBezTo>
                <a:cubicBezTo>
                  <a:pt x="28" y="194"/>
                  <a:pt x="22" y="198"/>
                  <a:pt x="18" y="198"/>
                </a:cubicBezTo>
                <a:cubicBezTo>
                  <a:pt x="13" y="199"/>
                  <a:pt x="15" y="203"/>
                  <a:pt x="8" y="200"/>
                </a:cubicBezTo>
                <a:cubicBezTo>
                  <a:pt x="1" y="198"/>
                  <a:pt x="4" y="207"/>
                  <a:pt x="0" y="209"/>
                </a:cubicBezTo>
                <a:cubicBezTo>
                  <a:pt x="0" y="209"/>
                  <a:pt x="0" y="222"/>
                  <a:pt x="6" y="225"/>
                </a:cubicBezTo>
                <a:cubicBezTo>
                  <a:pt x="12" y="228"/>
                  <a:pt x="20" y="227"/>
                  <a:pt x="21" y="234"/>
                </a:cubicBezTo>
                <a:cubicBezTo>
                  <a:pt x="22" y="241"/>
                  <a:pt x="26" y="248"/>
                  <a:pt x="26" y="248"/>
                </a:cubicBezTo>
                <a:cubicBezTo>
                  <a:pt x="26" y="248"/>
                  <a:pt x="33" y="241"/>
                  <a:pt x="37" y="237"/>
                </a:cubicBezTo>
                <a:cubicBezTo>
                  <a:pt x="41" y="233"/>
                  <a:pt x="47" y="223"/>
                  <a:pt x="51" y="229"/>
                </a:cubicBezTo>
                <a:cubicBezTo>
                  <a:pt x="55" y="235"/>
                  <a:pt x="60" y="249"/>
                  <a:pt x="67" y="245"/>
                </a:cubicBezTo>
                <a:cubicBezTo>
                  <a:pt x="74" y="240"/>
                  <a:pt x="77" y="235"/>
                  <a:pt x="79" y="232"/>
                </a:cubicBezTo>
                <a:cubicBezTo>
                  <a:pt x="81" y="229"/>
                  <a:pt x="85" y="223"/>
                  <a:pt x="89" y="226"/>
                </a:cubicBezTo>
                <a:cubicBezTo>
                  <a:pt x="92" y="230"/>
                  <a:pt x="96" y="222"/>
                  <a:pt x="96" y="225"/>
                </a:cubicBezTo>
                <a:cubicBezTo>
                  <a:pt x="97" y="229"/>
                  <a:pt x="90" y="233"/>
                  <a:pt x="93" y="240"/>
                </a:cubicBezTo>
                <a:cubicBezTo>
                  <a:pt x="95" y="246"/>
                  <a:pt x="97" y="244"/>
                  <a:pt x="101" y="243"/>
                </a:cubicBezTo>
                <a:cubicBezTo>
                  <a:pt x="105" y="243"/>
                  <a:pt x="116" y="232"/>
                  <a:pt x="122" y="226"/>
                </a:cubicBezTo>
                <a:cubicBezTo>
                  <a:pt x="127" y="220"/>
                  <a:pt x="132" y="218"/>
                  <a:pt x="137" y="215"/>
                </a:cubicBezTo>
                <a:cubicBezTo>
                  <a:pt x="141" y="212"/>
                  <a:pt x="144" y="210"/>
                  <a:pt x="144" y="204"/>
                </a:cubicBezTo>
                <a:cubicBezTo>
                  <a:pt x="145" y="198"/>
                  <a:pt x="142" y="193"/>
                  <a:pt x="143" y="185"/>
                </a:cubicBezTo>
                <a:cubicBezTo>
                  <a:pt x="144" y="176"/>
                  <a:pt x="139" y="176"/>
                  <a:pt x="146" y="166"/>
                </a:cubicBezTo>
                <a:cubicBezTo>
                  <a:pt x="154" y="155"/>
                  <a:pt x="155" y="151"/>
                  <a:pt x="160" y="145"/>
                </a:cubicBezTo>
                <a:cubicBezTo>
                  <a:pt x="165" y="140"/>
                  <a:pt x="163" y="135"/>
                  <a:pt x="174" y="131"/>
                </a:cubicBezTo>
                <a:cubicBezTo>
                  <a:pt x="184" y="128"/>
                  <a:pt x="187" y="124"/>
                  <a:pt x="189" y="120"/>
                </a:cubicBezTo>
                <a:cubicBezTo>
                  <a:pt x="191" y="115"/>
                  <a:pt x="190" y="111"/>
                  <a:pt x="191" y="104"/>
                </a:cubicBezTo>
                <a:cubicBezTo>
                  <a:pt x="192" y="97"/>
                  <a:pt x="194" y="88"/>
                  <a:pt x="194" y="80"/>
                </a:cubicBezTo>
                <a:cubicBezTo>
                  <a:pt x="194" y="73"/>
                  <a:pt x="197" y="68"/>
                  <a:pt x="199" y="63"/>
                </a:cubicBezTo>
                <a:cubicBezTo>
                  <a:pt x="201" y="58"/>
                  <a:pt x="204" y="54"/>
                  <a:pt x="202" y="50"/>
                </a:cubicBezTo>
                <a:cubicBezTo>
                  <a:pt x="201" y="45"/>
                  <a:pt x="211" y="25"/>
                  <a:pt x="213" y="22"/>
                </a:cubicBezTo>
                <a:cubicBezTo>
                  <a:pt x="215" y="19"/>
                  <a:pt x="216" y="9"/>
                  <a:pt x="213" y="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44" name="Freeform 680"/>
          <p:cNvSpPr>
            <a:spLocks/>
          </p:cNvSpPr>
          <p:nvPr userDrawn="1"/>
        </p:nvSpPr>
        <p:spPr bwMode="auto">
          <a:xfrm>
            <a:off x="6025011" y="4420039"/>
            <a:ext cx="418773" cy="522629"/>
          </a:xfrm>
          <a:custGeom>
            <a:avLst/>
            <a:gdLst>
              <a:gd name="T0" fmla="*/ 2147483646 w 450"/>
              <a:gd name="T1" fmla="*/ 2147483646 h 560"/>
              <a:gd name="T2" fmla="*/ 2147483646 w 450"/>
              <a:gd name="T3" fmla="*/ 2147483646 h 560"/>
              <a:gd name="T4" fmla="*/ 2147483646 w 450"/>
              <a:gd name="T5" fmla="*/ 2147483646 h 560"/>
              <a:gd name="T6" fmla="*/ 2147483646 w 450"/>
              <a:gd name="T7" fmla="*/ 2147483646 h 560"/>
              <a:gd name="T8" fmla="*/ 2147483646 w 450"/>
              <a:gd name="T9" fmla="*/ 2147483646 h 560"/>
              <a:gd name="T10" fmla="*/ 2147483646 w 450"/>
              <a:gd name="T11" fmla="*/ 2147483646 h 560"/>
              <a:gd name="T12" fmla="*/ 2147483646 w 450"/>
              <a:gd name="T13" fmla="*/ 2147483646 h 560"/>
              <a:gd name="T14" fmla="*/ 2147483646 w 450"/>
              <a:gd name="T15" fmla="*/ 2147483646 h 560"/>
              <a:gd name="T16" fmla="*/ 2147483646 w 450"/>
              <a:gd name="T17" fmla="*/ 2147483646 h 560"/>
              <a:gd name="T18" fmla="*/ 2147483646 w 450"/>
              <a:gd name="T19" fmla="*/ 2147483646 h 560"/>
              <a:gd name="T20" fmla="*/ 2147483646 w 450"/>
              <a:gd name="T21" fmla="*/ 2147483646 h 560"/>
              <a:gd name="T22" fmla="*/ 2147483646 w 450"/>
              <a:gd name="T23" fmla="*/ 2147483646 h 560"/>
              <a:gd name="T24" fmla="*/ 2147483646 w 450"/>
              <a:gd name="T25" fmla="*/ 2147483646 h 560"/>
              <a:gd name="T26" fmla="*/ 2147483646 w 450"/>
              <a:gd name="T27" fmla="*/ 2147483646 h 560"/>
              <a:gd name="T28" fmla="*/ 2147483646 w 450"/>
              <a:gd name="T29" fmla="*/ 2147483646 h 560"/>
              <a:gd name="T30" fmla="*/ 2147483646 w 450"/>
              <a:gd name="T31" fmla="*/ 2147483646 h 560"/>
              <a:gd name="T32" fmla="*/ 2147483646 w 450"/>
              <a:gd name="T33" fmla="*/ 2147483646 h 560"/>
              <a:gd name="T34" fmla="*/ 2147483646 w 450"/>
              <a:gd name="T35" fmla="*/ 2147483646 h 560"/>
              <a:gd name="T36" fmla="*/ 2147483646 w 450"/>
              <a:gd name="T37" fmla="*/ 2147483646 h 560"/>
              <a:gd name="T38" fmla="*/ 2147483646 w 450"/>
              <a:gd name="T39" fmla="*/ 2147483646 h 560"/>
              <a:gd name="T40" fmla="*/ 2147483646 w 450"/>
              <a:gd name="T41" fmla="*/ 2147483646 h 560"/>
              <a:gd name="T42" fmla="*/ 2147483646 w 450"/>
              <a:gd name="T43" fmla="*/ 2147483646 h 560"/>
              <a:gd name="T44" fmla="*/ 2147483646 w 450"/>
              <a:gd name="T45" fmla="*/ 2147483646 h 560"/>
              <a:gd name="T46" fmla="*/ 2147483646 w 450"/>
              <a:gd name="T47" fmla="*/ 2147483646 h 560"/>
              <a:gd name="T48" fmla="*/ 2147483646 w 450"/>
              <a:gd name="T49" fmla="*/ 2147483646 h 560"/>
              <a:gd name="T50" fmla="*/ 2147483646 w 450"/>
              <a:gd name="T51" fmla="*/ 2147483646 h 560"/>
              <a:gd name="T52" fmla="*/ 2147483646 w 450"/>
              <a:gd name="T53" fmla="*/ 2147483646 h 560"/>
              <a:gd name="T54" fmla="*/ 2147483646 w 450"/>
              <a:gd name="T55" fmla="*/ 2147483646 h 560"/>
              <a:gd name="T56" fmla="*/ 2147483646 w 450"/>
              <a:gd name="T57" fmla="*/ 2147483646 h 560"/>
              <a:gd name="T58" fmla="*/ 2147483646 w 450"/>
              <a:gd name="T59" fmla="*/ 2147483646 h 560"/>
              <a:gd name="T60" fmla="*/ 2147483646 w 450"/>
              <a:gd name="T61" fmla="*/ 2147483646 h 560"/>
              <a:gd name="T62" fmla="*/ 2147483646 w 450"/>
              <a:gd name="T63" fmla="*/ 2147483646 h 560"/>
              <a:gd name="T64" fmla="*/ 2147483646 w 450"/>
              <a:gd name="T65" fmla="*/ 2147483646 h 560"/>
              <a:gd name="T66" fmla="*/ 2147483646 w 450"/>
              <a:gd name="T67" fmla="*/ 2147483646 h 560"/>
              <a:gd name="T68" fmla="*/ 2147483646 w 450"/>
              <a:gd name="T69" fmla="*/ 2147483646 h 560"/>
              <a:gd name="T70" fmla="*/ 2147483646 w 450"/>
              <a:gd name="T71" fmla="*/ 2147483646 h 560"/>
              <a:gd name="T72" fmla="*/ 2147483646 w 450"/>
              <a:gd name="T73" fmla="*/ 2147483646 h 560"/>
              <a:gd name="T74" fmla="*/ 2147483646 w 450"/>
              <a:gd name="T75" fmla="*/ 2147483646 h 560"/>
              <a:gd name="T76" fmla="*/ 2147483646 w 450"/>
              <a:gd name="T77" fmla="*/ 2147483646 h 560"/>
              <a:gd name="T78" fmla="*/ 2147483646 w 450"/>
              <a:gd name="T79" fmla="*/ 2147483646 h 560"/>
              <a:gd name="T80" fmla="*/ 2147483646 w 450"/>
              <a:gd name="T81" fmla="*/ 2147483646 h 560"/>
              <a:gd name="T82" fmla="*/ 2147483646 w 450"/>
              <a:gd name="T83" fmla="*/ 2147483646 h 560"/>
              <a:gd name="T84" fmla="*/ 2147483646 w 450"/>
              <a:gd name="T85" fmla="*/ 2147483646 h 560"/>
              <a:gd name="T86" fmla="*/ 2147483646 w 450"/>
              <a:gd name="T87" fmla="*/ 2147483646 h 560"/>
              <a:gd name="T88" fmla="*/ 2147483646 w 450"/>
              <a:gd name="T89" fmla="*/ 2147483646 h 560"/>
              <a:gd name="T90" fmla="*/ 2147483646 w 450"/>
              <a:gd name="T91" fmla="*/ 2147483646 h 560"/>
              <a:gd name="T92" fmla="*/ 2147483646 w 450"/>
              <a:gd name="T93" fmla="*/ 2147483646 h 560"/>
              <a:gd name="T94" fmla="*/ 2147483646 w 450"/>
              <a:gd name="T95" fmla="*/ 2147483646 h 560"/>
              <a:gd name="T96" fmla="*/ 2147483646 w 450"/>
              <a:gd name="T97" fmla="*/ 2147483646 h 560"/>
              <a:gd name="T98" fmla="*/ 2147483646 w 450"/>
              <a:gd name="T99" fmla="*/ 2147483646 h 560"/>
              <a:gd name="T100" fmla="*/ 2147483646 w 450"/>
              <a:gd name="T101" fmla="*/ 2147483646 h 560"/>
              <a:gd name="T102" fmla="*/ 2147483646 w 450"/>
              <a:gd name="T103" fmla="*/ 2147483646 h 560"/>
              <a:gd name="T104" fmla="*/ 2147483646 w 450"/>
              <a:gd name="T105" fmla="*/ 2147483646 h 56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50"/>
              <a:gd name="T160" fmla="*/ 0 h 560"/>
              <a:gd name="T161" fmla="*/ 450 w 450"/>
              <a:gd name="T162" fmla="*/ 560 h 56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50" h="560">
                <a:moveTo>
                  <a:pt x="161" y="515"/>
                </a:moveTo>
                <a:cubicBezTo>
                  <a:pt x="161" y="515"/>
                  <a:pt x="163" y="511"/>
                  <a:pt x="163" y="508"/>
                </a:cubicBezTo>
                <a:cubicBezTo>
                  <a:pt x="163" y="504"/>
                  <a:pt x="157" y="502"/>
                  <a:pt x="155" y="500"/>
                </a:cubicBezTo>
                <a:cubicBezTo>
                  <a:pt x="153" y="499"/>
                  <a:pt x="146" y="495"/>
                  <a:pt x="140" y="491"/>
                </a:cubicBezTo>
                <a:cubicBezTo>
                  <a:pt x="133" y="487"/>
                  <a:pt x="139" y="477"/>
                  <a:pt x="136" y="473"/>
                </a:cubicBezTo>
                <a:cubicBezTo>
                  <a:pt x="133" y="469"/>
                  <a:pt x="130" y="463"/>
                  <a:pt x="122" y="458"/>
                </a:cubicBezTo>
                <a:cubicBezTo>
                  <a:pt x="114" y="453"/>
                  <a:pt x="113" y="458"/>
                  <a:pt x="106" y="455"/>
                </a:cubicBezTo>
                <a:cubicBezTo>
                  <a:pt x="100" y="452"/>
                  <a:pt x="108" y="450"/>
                  <a:pt x="109" y="442"/>
                </a:cubicBezTo>
                <a:cubicBezTo>
                  <a:pt x="111" y="434"/>
                  <a:pt x="103" y="438"/>
                  <a:pt x="97" y="437"/>
                </a:cubicBezTo>
                <a:cubicBezTo>
                  <a:pt x="91" y="435"/>
                  <a:pt x="91" y="431"/>
                  <a:pt x="85" y="428"/>
                </a:cubicBezTo>
                <a:cubicBezTo>
                  <a:pt x="79" y="426"/>
                  <a:pt x="75" y="429"/>
                  <a:pt x="72" y="426"/>
                </a:cubicBezTo>
                <a:cubicBezTo>
                  <a:pt x="68" y="424"/>
                  <a:pt x="76" y="420"/>
                  <a:pt x="70" y="413"/>
                </a:cubicBezTo>
                <a:cubicBezTo>
                  <a:pt x="65" y="407"/>
                  <a:pt x="60" y="415"/>
                  <a:pt x="54" y="414"/>
                </a:cubicBezTo>
                <a:cubicBezTo>
                  <a:pt x="48" y="413"/>
                  <a:pt x="52" y="403"/>
                  <a:pt x="57" y="394"/>
                </a:cubicBezTo>
                <a:cubicBezTo>
                  <a:pt x="63" y="385"/>
                  <a:pt x="49" y="368"/>
                  <a:pt x="42" y="363"/>
                </a:cubicBezTo>
                <a:cubicBezTo>
                  <a:pt x="34" y="358"/>
                  <a:pt x="35" y="353"/>
                  <a:pt x="35" y="353"/>
                </a:cubicBezTo>
                <a:cubicBezTo>
                  <a:pt x="35" y="353"/>
                  <a:pt x="35" y="353"/>
                  <a:pt x="35" y="353"/>
                </a:cubicBezTo>
                <a:cubicBezTo>
                  <a:pt x="35" y="353"/>
                  <a:pt x="42" y="347"/>
                  <a:pt x="32" y="341"/>
                </a:cubicBezTo>
                <a:cubicBezTo>
                  <a:pt x="23" y="335"/>
                  <a:pt x="23" y="331"/>
                  <a:pt x="23" y="322"/>
                </a:cubicBezTo>
                <a:cubicBezTo>
                  <a:pt x="23" y="313"/>
                  <a:pt x="23" y="305"/>
                  <a:pt x="17" y="306"/>
                </a:cubicBezTo>
                <a:cubicBezTo>
                  <a:pt x="12" y="307"/>
                  <a:pt x="0" y="309"/>
                  <a:pt x="4" y="300"/>
                </a:cubicBezTo>
                <a:cubicBezTo>
                  <a:pt x="7" y="291"/>
                  <a:pt x="7" y="290"/>
                  <a:pt x="12" y="290"/>
                </a:cubicBezTo>
                <a:cubicBezTo>
                  <a:pt x="16" y="289"/>
                  <a:pt x="16" y="287"/>
                  <a:pt x="17" y="285"/>
                </a:cubicBezTo>
                <a:cubicBezTo>
                  <a:pt x="17" y="282"/>
                  <a:pt x="18" y="279"/>
                  <a:pt x="14" y="278"/>
                </a:cubicBezTo>
                <a:cubicBezTo>
                  <a:pt x="9" y="277"/>
                  <a:pt x="4" y="274"/>
                  <a:pt x="6" y="271"/>
                </a:cubicBezTo>
                <a:cubicBezTo>
                  <a:pt x="9" y="268"/>
                  <a:pt x="6" y="263"/>
                  <a:pt x="12" y="263"/>
                </a:cubicBezTo>
                <a:cubicBezTo>
                  <a:pt x="18" y="263"/>
                  <a:pt x="23" y="257"/>
                  <a:pt x="20" y="255"/>
                </a:cubicBezTo>
                <a:cubicBezTo>
                  <a:pt x="17" y="252"/>
                  <a:pt x="20" y="248"/>
                  <a:pt x="20" y="248"/>
                </a:cubicBezTo>
                <a:cubicBezTo>
                  <a:pt x="20" y="248"/>
                  <a:pt x="25" y="243"/>
                  <a:pt x="31" y="243"/>
                </a:cubicBezTo>
                <a:cubicBezTo>
                  <a:pt x="37" y="243"/>
                  <a:pt x="39" y="241"/>
                  <a:pt x="36" y="232"/>
                </a:cubicBezTo>
                <a:cubicBezTo>
                  <a:pt x="34" y="223"/>
                  <a:pt x="31" y="219"/>
                  <a:pt x="36" y="219"/>
                </a:cubicBezTo>
                <a:cubicBezTo>
                  <a:pt x="41" y="219"/>
                  <a:pt x="36" y="211"/>
                  <a:pt x="42" y="211"/>
                </a:cubicBezTo>
                <a:cubicBezTo>
                  <a:pt x="49" y="211"/>
                  <a:pt x="50" y="207"/>
                  <a:pt x="54" y="212"/>
                </a:cubicBezTo>
                <a:cubicBezTo>
                  <a:pt x="58" y="217"/>
                  <a:pt x="62" y="217"/>
                  <a:pt x="62" y="217"/>
                </a:cubicBezTo>
                <a:cubicBezTo>
                  <a:pt x="57" y="110"/>
                  <a:pt x="57" y="110"/>
                  <a:pt x="57" y="110"/>
                </a:cubicBezTo>
                <a:cubicBezTo>
                  <a:pt x="61" y="96"/>
                  <a:pt x="61" y="96"/>
                  <a:pt x="61" y="96"/>
                </a:cubicBezTo>
                <a:cubicBezTo>
                  <a:pt x="86" y="95"/>
                  <a:pt x="86" y="95"/>
                  <a:pt x="86" y="95"/>
                </a:cubicBezTo>
                <a:cubicBezTo>
                  <a:pt x="86" y="95"/>
                  <a:pt x="85" y="73"/>
                  <a:pt x="84" y="43"/>
                </a:cubicBezTo>
                <a:cubicBezTo>
                  <a:pt x="84" y="39"/>
                  <a:pt x="84" y="39"/>
                  <a:pt x="84" y="39"/>
                </a:cubicBezTo>
                <a:cubicBezTo>
                  <a:pt x="84" y="39"/>
                  <a:pt x="280" y="35"/>
                  <a:pt x="284" y="35"/>
                </a:cubicBezTo>
                <a:cubicBezTo>
                  <a:pt x="288" y="35"/>
                  <a:pt x="299" y="38"/>
                  <a:pt x="299" y="38"/>
                </a:cubicBezTo>
                <a:cubicBezTo>
                  <a:pt x="304" y="42"/>
                  <a:pt x="304" y="42"/>
                  <a:pt x="304" y="42"/>
                </a:cubicBezTo>
                <a:cubicBezTo>
                  <a:pt x="304" y="42"/>
                  <a:pt x="310" y="43"/>
                  <a:pt x="311" y="43"/>
                </a:cubicBezTo>
                <a:cubicBezTo>
                  <a:pt x="313" y="42"/>
                  <a:pt x="317" y="41"/>
                  <a:pt x="318" y="40"/>
                </a:cubicBezTo>
                <a:cubicBezTo>
                  <a:pt x="319" y="39"/>
                  <a:pt x="317" y="36"/>
                  <a:pt x="315" y="34"/>
                </a:cubicBezTo>
                <a:cubicBezTo>
                  <a:pt x="314" y="32"/>
                  <a:pt x="316" y="29"/>
                  <a:pt x="318" y="28"/>
                </a:cubicBezTo>
                <a:cubicBezTo>
                  <a:pt x="321" y="27"/>
                  <a:pt x="321" y="32"/>
                  <a:pt x="322" y="33"/>
                </a:cubicBezTo>
                <a:cubicBezTo>
                  <a:pt x="324" y="34"/>
                  <a:pt x="325" y="33"/>
                  <a:pt x="326" y="33"/>
                </a:cubicBezTo>
                <a:cubicBezTo>
                  <a:pt x="328" y="32"/>
                  <a:pt x="328" y="28"/>
                  <a:pt x="327" y="25"/>
                </a:cubicBezTo>
                <a:cubicBezTo>
                  <a:pt x="325" y="22"/>
                  <a:pt x="328" y="22"/>
                  <a:pt x="333" y="22"/>
                </a:cubicBezTo>
                <a:cubicBezTo>
                  <a:pt x="337" y="22"/>
                  <a:pt x="333" y="18"/>
                  <a:pt x="335" y="12"/>
                </a:cubicBezTo>
                <a:cubicBezTo>
                  <a:pt x="337" y="6"/>
                  <a:pt x="341" y="7"/>
                  <a:pt x="347" y="9"/>
                </a:cubicBezTo>
                <a:cubicBezTo>
                  <a:pt x="352" y="11"/>
                  <a:pt x="358" y="0"/>
                  <a:pt x="358" y="0"/>
                </a:cubicBezTo>
                <a:cubicBezTo>
                  <a:pt x="358" y="0"/>
                  <a:pt x="363" y="9"/>
                  <a:pt x="366" y="11"/>
                </a:cubicBezTo>
                <a:cubicBezTo>
                  <a:pt x="369" y="13"/>
                  <a:pt x="377" y="9"/>
                  <a:pt x="381" y="16"/>
                </a:cubicBezTo>
                <a:cubicBezTo>
                  <a:pt x="385" y="22"/>
                  <a:pt x="387" y="26"/>
                  <a:pt x="390" y="30"/>
                </a:cubicBezTo>
                <a:cubicBezTo>
                  <a:pt x="392" y="33"/>
                  <a:pt x="403" y="44"/>
                  <a:pt x="406" y="53"/>
                </a:cubicBezTo>
                <a:cubicBezTo>
                  <a:pt x="410" y="62"/>
                  <a:pt x="411" y="59"/>
                  <a:pt x="409" y="79"/>
                </a:cubicBezTo>
                <a:cubicBezTo>
                  <a:pt x="407" y="99"/>
                  <a:pt x="411" y="104"/>
                  <a:pt x="415" y="107"/>
                </a:cubicBezTo>
                <a:cubicBezTo>
                  <a:pt x="419" y="111"/>
                  <a:pt x="430" y="114"/>
                  <a:pt x="434" y="121"/>
                </a:cubicBezTo>
                <a:cubicBezTo>
                  <a:pt x="439" y="129"/>
                  <a:pt x="449" y="140"/>
                  <a:pt x="449" y="140"/>
                </a:cubicBezTo>
                <a:cubicBezTo>
                  <a:pt x="449" y="140"/>
                  <a:pt x="450" y="145"/>
                  <a:pt x="443" y="151"/>
                </a:cubicBezTo>
                <a:cubicBezTo>
                  <a:pt x="436" y="156"/>
                  <a:pt x="428" y="154"/>
                  <a:pt x="425" y="161"/>
                </a:cubicBezTo>
                <a:cubicBezTo>
                  <a:pt x="423" y="168"/>
                  <a:pt x="423" y="175"/>
                  <a:pt x="416" y="174"/>
                </a:cubicBezTo>
                <a:cubicBezTo>
                  <a:pt x="408" y="173"/>
                  <a:pt x="408" y="166"/>
                  <a:pt x="408" y="184"/>
                </a:cubicBezTo>
                <a:cubicBezTo>
                  <a:pt x="408" y="201"/>
                  <a:pt x="405" y="204"/>
                  <a:pt x="402" y="213"/>
                </a:cubicBezTo>
                <a:cubicBezTo>
                  <a:pt x="399" y="222"/>
                  <a:pt x="402" y="230"/>
                  <a:pt x="403" y="238"/>
                </a:cubicBezTo>
                <a:cubicBezTo>
                  <a:pt x="405" y="247"/>
                  <a:pt x="406" y="257"/>
                  <a:pt x="403" y="264"/>
                </a:cubicBezTo>
                <a:cubicBezTo>
                  <a:pt x="400" y="271"/>
                  <a:pt x="393" y="290"/>
                  <a:pt x="393" y="295"/>
                </a:cubicBezTo>
                <a:cubicBezTo>
                  <a:pt x="393" y="299"/>
                  <a:pt x="391" y="296"/>
                  <a:pt x="387" y="296"/>
                </a:cubicBezTo>
                <a:cubicBezTo>
                  <a:pt x="382" y="296"/>
                  <a:pt x="378" y="298"/>
                  <a:pt x="378" y="307"/>
                </a:cubicBezTo>
                <a:cubicBezTo>
                  <a:pt x="377" y="317"/>
                  <a:pt x="370" y="323"/>
                  <a:pt x="368" y="327"/>
                </a:cubicBezTo>
                <a:cubicBezTo>
                  <a:pt x="366" y="331"/>
                  <a:pt x="367" y="337"/>
                  <a:pt x="367" y="346"/>
                </a:cubicBezTo>
                <a:cubicBezTo>
                  <a:pt x="366" y="355"/>
                  <a:pt x="363" y="351"/>
                  <a:pt x="358" y="351"/>
                </a:cubicBezTo>
                <a:cubicBezTo>
                  <a:pt x="353" y="351"/>
                  <a:pt x="351" y="344"/>
                  <a:pt x="350" y="359"/>
                </a:cubicBezTo>
                <a:cubicBezTo>
                  <a:pt x="348" y="375"/>
                  <a:pt x="348" y="387"/>
                  <a:pt x="346" y="392"/>
                </a:cubicBezTo>
                <a:cubicBezTo>
                  <a:pt x="343" y="396"/>
                  <a:pt x="344" y="401"/>
                  <a:pt x="345" y="410"/>
                </a:cubicBezTo>
                <a:cubicBezTo>
                  <a:pt x="346" y="419"/>
                  <a:pt x="343" y="422"/>
                  <a:pt x="337" y="420"/>
                </a:cubicBezTo>
                <a:cubicBezTo>
                  <a:pt x="332" y="419"/>
                  <a:pt x="327" y="408"/>
                  <a:pt x="323" y="419"/>
                </a:cubicBezTo>
                <a:cubicBezTo>
                  <a:pt x="318" y="431"/>
                  <a:pt x="304" y="441"/>
                  <a:pt x="314" y="442"/>
                </a:cubicBezTo>
                <a:cubicBezTo>
                  <a:pt x="324" y="443"/>
                  <a:pt x="331" y="438"/>
                  <a:pt x="338" y="442"/>
                </a:cubicBezTo>
                <a:cubicBezTo>
                  <a:pt x="346" y="446"/>
                  <a:pt x="345" y="447"/>
                  <a:pt x="350" y="456"/>
                </a:cubicBezTo>
                <a:cubicBezTo>
                  <a:pt x="355" y="465"/>
                  <a:pt x="364" y="463"/>
                  <a:pt x="365" y="474"/>
                </a:cubicBezTo>
                <a:cubicBezTo>
                  <a:pt x="367" y="485"/>
                  <a:pt x="367" y="491"/>
                  <a:pt x="374" y="495"/>
                </a:cubicBezTo>
                <a:cubicBezTo>
                  <a:pt x="381" y="498"/>
                  <a:pt x="376" y="502"/>
                  <a:pt x="383" y="504"/>
                </a:cubicBezTo>
                <a:cubicBezTo>
                  <a:pt x="390" y="505"/>
                  <a:pt x="397" y="496"/>
                  <a:pt x="398" y="501"/>
                </a:cubicBezTo>
                <a:cubicBezTo>
                  <a:pt x="400" y="506"/>
                  <a:pt x="397" y="526"/>
                  <a:pt x="397" y="526"/>
                </a:cubicBezTo>
                <a:cubicBezTo>
                  <a:pt x="359" y="527"/>
                  <a:pt x="359" y="527"/>
                  <a:pt x="359" y="527"/>
                </a:cubicBezTo>
                <a:cubicBezTo>
                  <a:pt x="335" y="551"/>
                  <a:pt x="335" y="551"/>
                  <a:pt x="335" y="551"/>
                </a:cubicBezTo>
                <a:cubicBezTo>
                  <a:pt x="335" y="551"/>
                  <a:pt x="321" y="552"/>
                  <a:pt x="318" y="550"/>
                </a:cubicBezTo>
                <a:cubicBezTo>
                  <a:pt x="315" y="549"/>
                  <a:pt x="313" y="544"/>
                  <a:pt x="305" y="551"/>
                </a:cubicBezTo>
                <a:cubicBezTo>
                  <a:pt x="298" y="558"/>
                  <a:pt x="288" y="556"/>
                  <a:pt x="288" y="556"/>
                </a:cubicBezTo>
                <a:cubicBezTo>
                  <a:pt x="288" y="556"/>
                  <a:pt x="287" y="547"/>
                  <a:pt x="284" y="553"/>
                </a:cubicBezTo>
                <a:cubicBezTo>
                  <a:pt x="281" y="558"/>
                  <a:pt x="278" y="556"/>
                  <a:pt x="275" y="555"/>
                </a:cubicBezTo>
                <a:cubicBezTo>
                  <a:pt x="272" y="554"/>
                  <a:pt x="271" y="549"/>
                  <a:pt x="270" y="553"/>
                </a:cubicBezTo>
                <a:cubicBezTo>
                  <a:pt x="269" y="556"/>
                  <a:pt x="262" y="555"/>
                  <a:pt x="262" y="555"/>
                </a:cubicBezTo>
                <a:cubicBezTo>
                  <a:pt x="258" y="560"/>
                  <a:pt x="258" y="560"/>
                  <a:pt x="258" y="560"/>
                </a:cubicBezTo>
                <a:cubicBezTo>
                  <a:pt x="253" y="556"/>
                  <a:pt x="253" y="556"/>
                  <a:pt x="253" y="556"/>
                </a:cubicBezTo>
                <a:cubicBezTo>
                  <a:pt x="253" y="556"/>
                  <a:pt x="247" y="540"/>
                  <a:pt x="242" y="542"/>
                </a:cubicBezTo>
                <a:cubicBezTo>
                  <a:pt x="236" y="543"/>
                  <a:pt x="231" y="544"/>
                  <a:pt x="230" y="538"/>
                </a:cubicBezTo>
                <a:cubicBezTo>
                  <a:pt x="228" y="532"/>
                  <a:pt x="229" y="528"/>
                  <a:pt x="226" y="528"/>
                </a:cubicBezTo>
                <a:cubicBezTo>
                  <a:pt x="223" y="528"/>
                  <a:pt x="220" y="520"/>
                  <a:pt x="220" y="527"/>
                </a:cubicBezTo>
                <a:cubicBezTo>
                  <a:pt x="219" y="534"/>
                  <a:pt x="216" y="536"/>
                  <a:pt x="211" y="534"/>
                </a:cubicBezTo>
                <a:cubicBezTo>
                  <a:pt x="206" y="533"/>
                  <a:pt x="203" y="520"/>
                  <a:pt x="198" y="527"/>
                </a:cubicBezTo>
                <a:cubicBezTo>
                  <a:pt x="192" y="534"/>
                  <a:pt x="192" y="535"/>
                  <a:pt x="185" y="534"/>
                </a:cubicBezTo>
                <a:cubicBezTo>
                  <a:pt x="178" y="534"/>
                  <a:pt x="179" y="533"/>
                  <a:pt x="174" y="528"/>
                </a:cubicBezTo>
                <a:cubicBezTo>
                  <a:pt x="170" y="523"/>
                  <a:pt x="161" y="515"/>
                  <a:pt x="161" y="51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45" name="Freeform 681"/>
          <p:cNvSpPr>
            <a:spLocks/>
          </p:cNvSpPr>
          <p:nvPr userDrawn="1"/>
        </p:nvSpPr>
        <p:spPr bwMode="auto">
          <a:xfrm>
            <a:off x="5778773" y="4890740"/>
            <a:ext cx="499177" cy="497501"/>
          </a:xfrm>
          <a:custGeom>
            <a:avLst/>
            <a:gdLst>
              <a:gd name="T0" fmla="*/ 2147483646 w 536"/>
              <a:gd name="T1" fmla="*/ 2147483646 h 533"/>
              <a:gd name="T2" fmla="*/ 2147483646 w 536"/>
              <a:gd name="T3" fmla="*/ 2147483646 h 533"/>
              <a:gd name="T4" fmla="*/ 2147483646 w 536"/>
              <a:gd name="T5" fmla="*/ 2147483646 h 533"/>
              <a:gd name="T6" fmla="*/ 2147483646 w 536"/>
              <a:gd name="T7" fmla="*/ 2147483646 h 533"/>
              <a:gd name="T8" fmla="*/ 2147483646 w 536"/>
              <a:gd name="T9" fmla="*/ 2147483646 h 533"/>
              <a:gd name="T10" fmla="*/ 2147483646 w 536"/>
              <a:gd name="T11" fmla="*/ 2147483646 h 533"/>
              <a:gd name="T12" fmla="*/ 2147483646 w 536"/>
              <a:gd name="T13" fmla="*/ 2147483646 h 533"/>
              <a:gd name="T14" fmla="*/ 2147483646 w 536"/>
              <a:gd name="T15" fmla="*/ 2147483646 h 533"/>
              <a:gd name="T16" fmla="*/ 2147483646 w 536"/>
              <a:gd name="T17" fmla="*/ 2147483646 h 533"/>
              <a:gd name="T18" fmla="*/ 2147483646 w 536"/>
              <a:gd name="T19" fmla="*/ 2147483646 h 533"/>
              <a:gd name="T20" fmla="*/ 2147483646 w 536"/>
              <a:gd name="T21" fmla="*/ 2147483646 h 533"/>
              <a:gd name="T22" fmla="*/ 2147483646 w 536"/>
              <a:gd name="T23" fmla="*/ 2147483646 h 533"/>
              <a:gd name="T24" fmla="*/ 2147483646 w 536"/>
              <a:gd name="T25" fmla="*/ 2147483646 h 533"/>
              <a:gd name="T26" fmla="*/ 2147483646 w 536"/>
              <a:gd name="T27" fmla="*/ 2147483646 h 533"/>
              <a:gd name="T28" fmla="*/ 2147483646 w 536"/>
              <a:gd name="T29" fmla="*/ 2147483646 h 533"/>
              <a:gd name="T30" fmla="*/ 2147483646 w 536"/>
              <a:gd name="T31" fmla="*/ 2147483646 h 533"/>
              <a:gd name="T32" fmla="*/ 2147483646 w 536"/>
              <a:gd name="T33" fmla="*/ 2147483646 h 533"/>
              <a:gd name="T34" fmla="*/ 2147483646 w 536"/>
              <a:gd name="T35" fmla="*/ 2147483646 h 533"/>
              <a:gd name="T36" fmla="*/ 2147483646 w 536"/>
              <a:gd name="T37" fmla="*/ 2147483646 h 533"/>
              <a:gd name="T38" fmla="*/ 2147483646 w 536"/>
              <a:gd name="T39" fmla="*/ 2147483646 h 533"/>
              <a:gd name="T40" fmla="*/ 2147483646 w 536"/>
              <a:gd name="T41" fmla="*/ 2147483646 h 533"/>
              <a:gd name="T42" fmla="*/ 2147483646 w 536"/>
              <a:gd name="T43" fmla="*/ 2147483646 h 533"/>
              <a:gd name="T44" fmla="*/ 2147483646 w 536"/>
              <a:gd name="T45" fmla="*/ 2147483646 h 533"/>
              <a:gd name="T46" fmla="*/ 2147483646 w 536"/>
              <a:gd name="T47" fmla="*/ 2147483646 h 533"/>
              <a:gd name="T48" fmla="*/ 2147483646 w 536"/>
              <a:gd name="T49" fmla="*/ 2147483646 h 533"/>
              <a:gd name="T50" fmla="*/ 2147483646 w 536"/>
              <a:gd name="T51" fmla="*/ 2147483646 h 533"/>
              <a:gd name="T52" fmla="*/ 2147483646 w 536"/>
              <a:gd name="T53" fmla="*/ 2147483646 h 533"/>
              <a:gd name="T54" fmla="*/ 2147483646 w 536"/>
              <a:gd name="T55" fmla="*/ 2147483646 h 533"/>
              <a:gd name="T56" fmla="*/ 2147483646 w 536"/>
              <a:gd name="T57" fmla="*/ 2147483646 h 533"/>
              <a:gd name="T58" fmla="*/ 2147483646 w 536"/>
              <a:gd name="T59" fmla="*/ 2147483646 h 533"/>
              <a:gd name="T60" fmla="*/ 2147483646 w 536"/>
              <a:gd name="T61" fmla="*/ 2147483646 h 533"/>
              <a:gd name="T62" fmla="*/ 2147483646 w 536"/>
              <a:gd name="T63" fmla="*/ 2147483646 h 533"/>
              <a:gd name="T64" fmla="*/ 2147483646 w 536"/>
              <a:gd name="T65" fmla="*/ 2147483646 h 533"/>
              <a:gd name="T66" fmla="*/ 2147483646 w 536"/>
              <a:gd name="T67" fmla="*/ 2147483646 h 533"/>
              <a:gd name="T68" fmla="*/ 2147483646 w 536"/>
              <a:gd name="T69" fmla="*/ 2147483646 h 533"/>
              <a:gd name="T70" fmla="*/ 2147483646 w 536"/>
              <a:gd name="T71" fmla="*/ 2147483646 h 533"/>
              <a:gd name="T72" fmla="*/ 2147483646 w 536"/>
              <a:gd name="T73" fmla="*/ 2147483646 h 533"/>
              <a:gd name="T74" fmla="*/ 2147483646 w 536"/>
              <a:gd name="T75" fmla="*/ 2147483646 h 533"/>
              <a:gd name="T76" fmla="*/ 2147483646 w 536"/>
              <a:gd name="T77" fmla="*/ 2147483646 h 533"/>
              <a:gd name="T78" fmla="*/ 2147483646 w 536"/>
              <a:gd name="T79" fmla="*/ 2147483646 h 533"/>
              <a:gd name="T80" fmla="*/ 2147483646 w 536"/>
              <a:gd name="T81" fmla="*/ 2147483646 h 533"/>
              <a:gd name="T82" fmla="*/ 2147483646 w 536"/>
              <a:gd name="T83" fmla="*/ 2147483646 h 533"/>
              <a:gd name="T84" fmla="*/ 0 w 536"/>
              <a:gd name="T85" fmla="*/ 2147483646 h 533"/>
              <a:gd name="T86" fmla="*/ 2147483646 w 536"/>
              <a:gd name="T87" fmla="*/ 2147483646 h 53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536"/>
              <a:gd name="T133" fmla="*/ 0 h 533"/>
              <a:gd name="T134" fmla="*/ 536 w 536"/>
              <a:gd name="T135" fmla="*/ 533 h 53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536" h="533">
                <a:moveTo>
                  <a:pt x="23" y="286"/>
                </a:moveTo>
                <a:cubicBezTo>
                  <a:pt x="26" y="292"/>
                  <a:pt x="30" y="298"/>
                  <a:pt x="35" y="295"/>
                </a:cubicBezTo>
                <a:cubicBezTo>
                  <a:pt x="42" y="290"/>
                  <a:pt x="45" y="285"/>
                  <a:pt x="47" y="282"/>
                </a:cubicBezTo>
                <a:cubicBezTo>
                  <a:pt x="49" y="279"/>
                  <a:pt x="53" y="273"/>
                  <a:pt x="57" y="276"/>
                </a:cubicBezTo>
                <a:cubicBezTo>
                  <a:pt x="60" y="280"/>
                  <a:pt x="64" y="272"/>
                  <a:pt x="64" y="275"/>
                </a:cubicBezTo>
                <a:cubicBezTo>
                  <a:pt x="65" y="279"/>
                  <a:pt x="58" y="283"/>
                  <a:pt x="61" y="290"/>
                </a:cubicBezTo>
                <a:cubicBezTo>
                  <a:pt x="63" y="296"/>
                  <a:pt x="65" y="294"/>
                  <a:pt x="69" y="293"/>
                </a:cubicBezTo>
                <a:cubicBezTo>
                  <a:pt x="73" y="293"/>
                  <a:pt x="84" y="282"/>
                  <a:pt x="90" y="276"/>
                </a:cubicBezTo>
                <a:cubicBezTo>
                  <a:pt x="95" y="270"/>
                  <a:pt x="100" y="268"/>
                  <a:pt x="105" y="265"/>
                </a:cubicBezTo>
                <a:cubicBezTo>
                  <a:pt x="109" y="262"/>
                  <a:pt x="112" y="260"/>
                  <a:pt x="112" y="254"/>
                </a:cubicBezTo>
                <a:cubicBezTo>
                  <a:pt x="113" y="248"/>
                  <a:pt x="110" y="243"/>
                  <a:pt x="111" y="235"/>
                </a:cubicBezTo>
                <a:cubicBezTo>
                  <a:pt x="112" y="226"/>
                  <a:pt x="107" y="226"/>
                  <a:pt x="114" y="216"/>
                </a:cubicBezTo>
                <a:cubicBezTo>
                  <a:pt x="122" y="205"/>
                  <a:pt x="123" y="201"/>
                  <a:pt x="128" y="195"/>
                </a:cubicBezTo>
                <a:cubicBezTo>
                  <a:pt x="133" y="190"/>
                  <a:pt x="131" y="185"/>
                  <a:pt x="142" y="181"/>
                </a:cubicBezTo>
                <a:cubicBezTo>
                  <a:pt x="152" y="178"/>
                  <a:pt x="155" y="174"/>
                  <a:pt x="157" y="170"/>
                </a:cubicBezTo>
                <a:cubicBezTo>
                  <a:pt x="159" y="165"/>
                  <a:pt x="158" y="161"/>
                  <a:pt x="159" y="154"/>
                </a:cubicBezTo>
                <a:cubicBezTo>
                  <a:pt x="160" y="147"/>
                  <a:pt x="162" y="138"/>
                  <a:pt x="162" y="130"/>
                </a:cubicBezTo>
                <a:cubicBezTo>
                  <a:pt x="162" y="123"/>
                  <a:pt x="165" y="118"/>
                  <a:pt x="167" y="113"/>
                </a:cubicBezTo>
                <a:cubicBezTo>
                  <a:pt x="169" y="108"/>
                  <a:pt x="172" y="104"/>
                  <a:pt x="170" y="100"/>
                </a:cubicBezTo>
                <a:cubicBezTo>
                  <a:pt x="169" y="95"/>
                  <a:pt x="179" y="75"/>
                  <a:pt x="181" y="72"/>
                </a:cubicBezTo>
                <a:cubicBezTo>
                  <a:pt x="183" y="69"/>
                  <a:pt x="184" y="59"/>
                  <a:pt x="181" y="55"/>
                </a:cubicBezTo>
                <a:cubicBezTo>
                  <a:pt x="181" y="35"/>
                  <a:pt x="190" y="16"/>
                  <a:pt x="207" y="12"/>
                </a:cubicBezTo>
                <a:cubicBezTo>
                  <a:pt x="224" y="8"/>
                  <a:pt x="233" y="25"/>
                  <a:pt x="234" y="29"/>
                </a:cubicBezTo>
                <a:cubicBezTo>
                  <a:pt x="235" y="32"/>
                  <a:pt x="242" y="35"/>
                  <a:pt x="246" y="35"/>
                </a:cubicBezTo>
                <a:cubicBezTo>
                  <a:pt x="251" y="34"/>
                  <a:pt x="272" y="38"/>
                  <a:pt x="276" y="38"/>
                </a:cubicBezTo>
                <a:cubicBezTo>
                  <a:pt x="280" y="39"/>
                  <a:pt x="282" y="40"/>
                  <a:pt x="286" y="40"/>
                </a:cubicBezTo>
                <a:cubicBezTo>
                  <a:pt x="290" y="40"/>
                  <a:pt x="295" y="32"/>
                  <a:pt x="297" y="21"/>
                </a:cubicBezTo>
                <a:cubicBezTo>
                  <a:pt x="299" y="11"/>
                  <a:pt x="303" y="21"/>
                  <a:pt x="308" y="21"/>
                </a:cubicBezTo>
                <a:cubicBezTo>
                  <a:pt x="312" y="21"/>
                  <a:pt x="316" y="27"/>
                  <a:pt x="321" y="25"/>
                </a:cubicBezTo>
                <a:cubicBezTo>
                  <a:pt x="325" y="23"/>
                  <a:pt x="328" y="25"/>
                  <a:pt x="330" y="25"/>
                </a:cubicBezTo>
                <a:cubicBezTo>
                  <a:pt x="332" y="25"/>
                  <a:pt x="335" y="14"/>
                  <a:pt x="339" y="12"/>
                </a:cubicBezTo>
                <a:cubicBezTo>
                  <a:pt x="343" y="9"/>
                  <a:pt x="368" y="10"/>
                  <a:pt x="369" y="5"/>
                </a:cubicBezTo>
                <a:cubicBezTo>
                  <a:pt x="371" y="0"/>
                  <a:pt x="376" y="7"/>
                  <a:pt x="378" y="8"/>
                </a:cubicBezTo>
                <a:cubicBezTo>
                  <a:pt x="380" y="9"/>
                  <a:pt x="385" y="10"/>
                  <a:pt x="388" y="8"/>
                </a:cubicBezTo>
                <a:cubicBezTo>
                  <a:pt x="392" y="5"/>
                  <a:pt x="396" y="10"/>
                  <a:pt x="401" y="12"/>
                </a:cubicBezTo>
                <a:cubicBezTo>
                  <a:pt x="406" y="15"/>
                  <a:pt x="413" y="13"/>
                  <a:pt x="415" y="10"/>
                </a:cubicBezTo>
                <a:cubicBezTo>
                  <a:pt x="417" y="8"/>
                  <a:pt x="425" y="10"/>
                  <a:pt x="425" y="10"/>
                </a:cubicBezTo>
                <a:cubicBezTo>
                  <a:pt x="425" y="10"/>
                  <a:pt x="434" y="18"/>
                  <a:pt x="438" y="23"/>
                </a:cubicBezTo>
                <a:cubicBezTo>
                  <a:pt x="443" y="28"/>
                  <a:pt x="442" y="29"/>
                  <a:pt x="449" y="29"/>
                </a:cubicBezTo>
                <a:cubicBezTo>
                  <a:pt x="456" y="30"/>
                  <a:pt x="456" y="29"/>
                  <a:pt x="462" y="22"/>
                </a:cubicBezTo>
                <a:cubicBezTo>
                  <a:pt x="467" y="15"/>
                  <a:pt x="470" y="28"/>
                  <a:pt x="475" y="29"/>
                </a:cubicBezTo>
                <a:cubicBezTo>
                  <a:pt x="480" y="31"/>
                  <a:pt x="483" y="29"/>
                  <a:pt x="484" y="22"/>
                </a:cubicBezTo>
                <a:cubicBezTo>
                  <a:pt x="484" y="15"/>
                  <a:pt x="487" y="23"/>
                  <a:pt x="490" y="23"/>
                </a:cubicBezTo>
                <a:cubicBezTo>
                  <a:pt x="493" y="23"/>
                  <a:pt x="492" y="27"/>
                  <a:pt x="494" y="33"/>
                </a:cubicBezTo>
                <a:cubicBezTo>
                  <a:pt x="495" y="39"/>
                  <a:pt x="500" y="38"/>
                  <a:pt x="506" y="37"/>
                </a:cubicBezTo>
                <a:cubicBezTo>
                  <a:pt x="511" y="35"/>
                  <a:pt x="517" y="51"/>
                  <a:pt x="517" y="51"/>
                </a:cubicBezTo>
                <a:cubicBezTo>
                  <a:pt x="522" y="55"/>
                  <a:pt x="522" y="55"/>
                  <a:pt x="522" y="55"/>
                </a:cubicBezTo>
                <a:cubicBezTo>
                  <a:pt x="522" y="55"/>
                  <a:pt x="521" y="65"/>
                  <a:pt x="522" y="68"/>
                </a:cubicBezTo>
                <a:cubicBezTo>
                  <a:pt x="523" y="71"/>
                  <a:pt x="526" y="75"/>
                  <a:pt x="524" y="77"/>
                </a:cubicBezTo>
                <a:cubicBezTo>
                  <a:pt x="521" y="80"/>
                  <a:pt x="520" y="81"/>
                  <a:pt x="522" y="83"/>
                </a:cubicBezTo>
                <a:cubicBezTo>
                  <a:pt x="524" y="85"/>
                  <a:pt x="531" y="87"/>
                  <a:pt x="533" y="88"/>
                </a:cubicBezTo>
                <a:cubicBezTo>
                  <a:pt x="534" y="90"/>
                  <a:pt x="536" y="95"/>
                  <a:pt x="533" y="97"/>
                </a:cubicBezTo>
                <a:cubicBezTo>
                  <a:pt x="531" y="99"/>
                  <a:pt x="520" y="109"/>
                  <a:pt x="517" y="112"/>
                </a:cubicBezTo>
                <a:cubicBezTo>
                  <a:pt x="514" y="116"/>
                  <a:pt x="502" y="136"/>
                  <a:pt x="499" y="142"/>
                </a:cubicBezTo>
                <a:cubicBezTo>
                  <a:pt x="496" y="148"/>
                  <a:pt x="491" y="150"/>
                  <a:pt x="491" y="159"/>
                </a:cubicBezTo>
                <a:cubicBezTo>
                  <a:pt x="491" y="168"/>
                  <a:pt x="488" y="174"/>
                  <a:pt x="489" y="180"/>
                </a:cubicBezTo>
                <a:cubicBezTo>
                  <a:pt x="489" y="186"/>
                  <a:pt x="490" y="189"/>
                  <a:pt x="489" y="192"/>
                </a:cubicBezTo>
                <a:cubicBezTo>
                  <a:pt x="487" y="194"/>
                  <a:pt x="489" y="196"/>
                  <a:pt x="484" y="197"/>
                </a:cubicBezTo>
                <a:cubicBezTo>
                  <a:pt x="479" y="199"/>
                  <a:pt x="474" y="198"/>
                  <a:pt x="475" y="204"/>
                </a:cubicBezTo>
                <a:cubicBezTo>
                  <a:pt x="476" y="210"/>
                  <a:pt x="477" y="210"/>
                  <a:pt x="473" y="214"/>
                </a:cubicBezTo>
                <a:cubicBezTo>
                  <a:pt x="470" y="219"/>
                  <a:pt x="468" y="221"/>
                  <a:pt x="469" y="224"/>
                </a:cubicBezTo>
                <a:cubicBezTo>
                  <a:pt x="471" y="226"/>
                  <a:pt x="469" y="228"/>
                  <a:pt x="472" y="229"/>
                </a:cubicBezTo>
                <a:cubicBezTo>
                  <a:pt x="476" y="230"/>
                  <a:pt x="477" y="243"/>
                  <a:pt x="477" y="243"/>
                </a:cubicBezTo>
                <a:cubicBezTo>
                  <a:pt x="477" y="243"/>
                  <a:pt x="480" y="257"/>
                  <a:pt x="480" y="264"/>
                </a:cubicBezTo>
                <a:cubicBezTo>
                  <a:pt x="479" y="270"/>
                  <a:pt x="483" y="275"/>
                  <a:pt x="482" y="284"/>
                </a:cubicBezTo>
                <a:cubicBezTo>
                  <a:pt x="482" y="293"/>
                  <a:pt x="482" y="297"/>
                  <a:pt x="484" y="306"/>
                </a:cubicBezTo>
                <a:cubicBezTo>
                  <a:pt x="485" y="316"/>
                  <a:pt x="489" y="320"/>
                  <a:pt x="489" y="325"/>
                </a:cubicBezTo>
                <a:cubicBezTo>
                  <a:pt x="489" y="330"/>
                  <a:pt x="485" y="330"/>
                  <a:pt x="487" y="335"/>
                </a:cubicBezTo>
                <a:cubicBezTo>
                  <a:pt x="489" y="340"/>
                  <a:pt x="496" y="343"/>
                  <a:pt x="500" y="348"/>
                </a:cubicBezTo>
                <a:cubicBezTo>
                  <a:pt x="505" y="353"/>
                  <a:pt x="510" y="359"/>
                  <a:pt x="511" y="362"/>
                </a:cubicBezTo>
                <a:cubicBezTo>
                  <a:pt x="513" y="365"/>
                  <a:pt x="521" y="388"/>
                  <a:pt x="521" y="388"/>
                </a:cubicBezTo>
                <a:cubicBezTo>
                  <a:pt x="521" y="388"/>
                  <a:pt x="474" y="387"/>
                  <a:pt x="471" y="391"/>
                </a:cubicBezTo>
                <a:cubicBezTo>
                  <a:pt x="468" y="395"/>
                  <a:pt x="470" y="406"/>
                  <a:pt x="470" y="406"/>
                </a:cubicBezTo>
                <a:cubicBezTo>
                  <a:pt x="470" y="406"/>
                  <a:pt x="460" y="415"/>
                  <a:pt x="456" y="415"/>
                </a:cubicBezTo>
                <a:cubicBezTo>
                  <a:pt x="456" y="415"/>
                  <a:pt x="459" y="422"/>
                  <a:pt x="460" y="428"/>
                </a:cubicBezTo>
                <a:cubicBezTo>
                  <a:pt x="462" y="434"/>
                  <a:pt x="458" y="436"/>
                  <a:pt x="459" y="444"/>
                </a:cubicBezTo>
                <a:cubicBezTo>
                  <a:pt x="459" y="451"/>
                  <a:pt x="465" y="454"/>
                  <a:pt x="462" y="460"/>
                </a:cubicBezTo>
                <a:cubicBezTo>
                  <a:pt x="459" y="466"/>
                  <a:pt x="456" y="469"/>
                  <a:pt x="454" y="474"/>
                </a:cubicBezTo>
                <a:cubicBezTo>
                  <a:pt x="453" y="478"/>
                  <a:pt x="454" y="472"/>
                  <a:pt x="453" y="478"/>
                </a:cubicBezTo>
                <a:cubicBezTo>
                  <a:pt x="452" y="484"/>
                  <a:pt x="459" y="483"/>
                  <a:pt x="462" y="489"/>
                </a:cubicBezTo>
                <a:cubicBezTo>
                  <a:pt x="465" y="495"/>
                  <a:pt x="472" y="495"/>
                  <a:pt x="475" y="499"/>
                </a:cubicBezTo>
                <a:cubicBezTo>
                  <a:pt x="478" y="504"/>
                  <a:pt x="481" y="501"/>
                  <a:pt x="481" y="501"/>
                </a:cubicBezTo>
                <a:cubicBezTo>
                  <a:pt x="490" y="503"/>
                  <a:pt x="490" y="503"/>
                  <a:pt x="490" y="503"/>
                </a:cubicBezTo>
                <a:cubicBezTo>
                  <a:pt x="490" y="503"/>
                  <a:pt x="493" y="510"/>
                  <a:pt x="493" y="515"/>
                </a:cubicBezTo>
                <a:cubicBezTo>
                  <a:pt x="493" y="520"/>
                  <a:pt x="496" y="522"/>
                  <a:pt x="492" y="526"/>
                </a:cubicBezTo>
                <a:cubicBezTo>
                  <a:pt x="487" y="529"/>
                  <a:pt x="481" y="533"/>
                  <a:pt x="478" y="531"/>
                </a:cubicBezTo>
                <a:cubicBezTo>
                  <a:pt x="475" y="529"/>
                  <a:pt x="472" y="518"/>
                  <a:pt x="468" y="521"/>
                </a:cubicBezTo>
                <a:cubicBezTo>
                  <a:pt x="465" y="524"/>
                  <a:pt x="461" y="527"/>
                  <a:pt x="459" y="522"/>
                </a:cubicBezTo>
                <a:cubicBezTo>
                  <a:pt x="458" y="518"/>
                  <a:pt x="459" y="510"/>
                  <a:pt x="456" y="510"/>
                </a:cubicBezTo>
                <a:cubicBezTo>
                  <a:pt x="454" y="510"/>
                  <a:pt x="452" y="505"/>
                  <a:pt x="449" y="505"/>
                </a:cubicBezTo>
                <a:cubicBezTo>
                  <a:pt x="446" y="505"/>
                  <a:pt x="440" y="498"/>
                  <a:pt x="440" y="498"/>
                </a:cubicBezTo>
                <a:cubicBezTo>
                  <a:pt x="440" y="498"/>
                  <a:pt x="435" y="499"/>
                  <a:pt x="432" y="499"/>
                </a:cubicBezTo>
                <a:cubicBezTo>
                  <a:pt x="429" y="499"/>
                  <a:pt x="424" y="497"/>
                  <a:pt x="424" y="490"/>
                </a:cubicBezTo>
                <a:cubicBezTo>
                  <a:pt x="423" y="483"/>
                  <a:pt x="422" y="476"/>
                  <a:pt x="419" y="476"/>
                </a:cubicBezTo>
                <a:cubicBezTo>
                  <a:pt x="416" y="476"/>
                  <a:pt x="412" y="478"/>
                  <a:pt x="412" y="484"/>
                </a:cubicBezTo>
                <a:cubicBezTo>
                  <a:pt x="412" y="490"/>
                  <a:pt x="411" y="485"/>
                  <a:pt x="404" y="488"/>
                </a:cubicBezTo>
                <a:cubicBezTo>
                  <a:pt x="398" y="491"/>
                  <a:pt x="396" y="477"/>
                  <a:pt x="390" y="482"/>
                </a:cubicBezTo>
                <a:cubicBezTo>
                  <a:pt x="384" y="486"/>
                  <a:pt x="380" y="487"/>
                  <a:pt x="376" y="486"/>
                </a:cubicBezTo>
                <a:cubicBezTo>
                  <a:pt x="372" y="484"/>
                  <a:pt x="371" y="483"/>
                  <a:pt x="370" y="480"/>
                </a:cubicBezTo>
                <a:cubicBezTo>
                  <a:pt x="369" y="477"/>
                  <a:pt x="369" y="467"/>
                  <a:pt x="366" y="469"/>
                </a:cubicBezTo>
                <a:cubicBezTo>
                  <a:pt x="363" y="472"/>
                  <a:pt x="355" y="475"/>
                  <a:pt x="355" y="475"/>
                </a:cubicBezTo>
                <a:cubicBezTo>
                  <a:pt x="355" y="475"/>
                  <a:pt x="352" y="475"/>
                  <a:pt x="349" y="474"/>
                </a:cubicBezTo>
                <a:cubicBezTo>
                  <a:pt x="346" y="473"/>
                  <a:pt x="343" y="473"/>
                  <a:pt x="340" y="469"/>
                </a:cubicBezTo>
                <a:cubicBezTo>
                  <a:pt x="337" y="466"/>
                  <a:pt x="326" y="467"/>
                  <a:pt x="326" y="467"/>
                </a:cubicBezTo>
                <a:cubicBezTo>
                  <a:pt x="309" y="466"/>
                  <a:pt x="309" y="466"/>
                  <a:pt x="309" y="466"/>
                </a:cubicBezTo>
                <a:cubicBezTo>
                  <a:pt x="309" y="466"/>
                  <a:pt x="285" y="469"/>
                  <a:pt x="283" y="472"/>
                </a:cubicBezTo>
                <a:cubicBezTo>
                  <a:pt x="281" y="475"/>
                  <a:pt x="278" y="466"/>
                  <a:pt x="280" y="461"/>
                </a:cubicBezTo>
                <a:cubicBezTo>
                  <a:pt x="282" y="455"/>
                  <a:pt x="283" y="450"/>
                  <a:pt x="281" y="444"/>
                </a:cubicBezTo>
                <a:cubicBezTo>
                  <a:pt x="279" y="437"/>
                  <a:pt x="274" y="433"/>
                  <a:pt x="273" y="430"/>
                </a:cubicBezTo>
                <a:cubicBezTo>
                  <a:pt x="271" y="427"/>
                  <a:pt x="268" y="424"/>
                  <a:pt x="269" y="419"/>
                </a:cubicBezTo>
                <a:cubicBezTo>
                  <a:pt x="270" y="414"/>
                  <a:pt x="273" y="406"/>
                  <a:pt x="273" y="401"/>
                </a:cubicBezTo>
                <a:cubicBezTo>
                  <a:pt x="273" y="397"/>
                  <a:pt x="274" y="387"/>
                  <a:pt x="270" y="384"/>
                </a:cubicBezTo>
                <a:cubicBezTo>
                  <a:pt x="267" y="382"/>
                  <a:pt x="265" y="376"/>
                  <a:pt x="267" y="373"/>
                </a:cubicBezTo>
                <a:cubicBezTo>
                  <a:pt x="268" y="369"/>
                  <a:pt x="271" y="365"/>
                  <a:pt x="270" y="363"/>
                </a:cubicBezTo>
                <a:cubicBezTo>
                  <a:pt x="270" y="361"/>
                  <a:pt x="268" y="359"/>
                  <a:pt x="268" y="359"/>
                </a:cubicBezTo>
                <a:cubicBezTo>
                  <a:pt x="234" y="360"/>
                  <a:pt x="234" y="360"/>
                  <a:pt x="234" y="360"/>
                </a:cubicBezTo>
                <a:cubicBezTo>
                  <a:pt x="237" y="349"/>
                  <a:pt x="237" y="349"/>
                  <a:pt x="237" y="349"/>
                </a:cubicBezTo>
                <a:cubicBezTo>
                  <a:pt x="227" y="349"/>
                  <a:pt x="227" y="349"/>
                  <a:pt x="227" y="349"/>
                </a:cubicBezTo>
                <a:cubicBezTo>
                  <a:pt x="227" y="349"/>
                  <a:pt x="226" y="353"/>
                  <a:pt x="220" y="354"/>
                </a:cubicBezTo>
                <a:cubicBezTo>
                  <a:pt x="214" y="354"/>
                  <a:pt x="205" y="352"/>
                  <a:pt x="205" y="352"/>
                </a:cubicBezTo>
                <a:cubicBezTo>
                  <a:pt x="205" y="352"/>
                  <a:pt x="208" y="361"/>
                  <a:pt x="205" y="368"/>
                </a:cubicBezTo>
                <a:cubicBezTo>
                  <a:pt x="202" y="376"/>
                  <a:pt x="191" y="382"/>
                  <a:pt x="191" y="382"/>
                </a:cubicBezTo>
                <a:cubicBezTo>
                  <a:pt x="191" y="382"/>
                  <a:pt x="177" y="377"/>
                  <a:pt x="169" y="380"/>
                </a:cubicBezTo>
                <a:cubicBezTo>
                  <a:pt x="161" y="383"/>
                  <a:pt x="149" y="387"/>
                  <a:pt x="143" y="374"/>
                </a:cubicBezTo>
                <a:cubicBezTo>
                  <a:pt x="137" y="361"/>
                  <a:pt x="137" y="349"/>
                  <a:pt x="129" y="345"/>
                </a:cubicBezTo>
                <a:cubicBezTo>
                  <a:pt x="121" y="341"/>
                  <a:pt x="131" y="327"/>
                  <a:pt x="123" y="323"/>
                </a:cubicBezTo>
                <a:cubicBezTo>
                  <a:pt x="115" y="319"/>
                  <a:pt x="21" y="321"/>
                  <a:pt x="21" y="321"/>
                </a:cubicBezTo>
                <a:cubicBezTo>
                  <a:pt x="5" y="327"/>
                  <a:pt x="5" y="327"/>
                  <a:pt x="5" y="327"/>
                </a:cubicBezTo>
                <a:cubicBezTo>
                  <a:pt x="0" y="319"/>
                  <a:pt x="0" y="319"/>
                  <a:pt x="0" y="319"/>
                </a:cubicBezTo>
                <a:cubicBezTo>
                  <a:pt x="0" y="319"/>
                  <a:pt x="7" y="322"/>
                  <a:pt x="8" y="316"/>
                </a:cubicBezTo>
                <a:cubicBezTo>
                  <a:pt x="10" y="309"/>
                  <a:pt x="7" y="297"/>
                  <a:pt x="11" y="296"/>
                </a:cubicBezTo>
                <a:lnTo>
                  <a:pt x="23" y="286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46" name="Freeform 682"/>
          <p:cNvSpPr>
            <a:spLocks/>
          </p:cNvSpPr>
          <p:nvPr userDrawn="1"/>
        </p:nvSpPr>
        <p:spPr bwMode="auto">
          <a:xfrm>
            <a:off x="5772072" y="5145355"/>
            <a:ext cx="28477" cy="45227"/>
          </a:xfrm>
          <a:custGeom>
            <a:avLst/>
            <a:gdLst>
              <a:gd name="T0" fmla="*/ 0 w 29"/>
              <a:gd name="T1" fmla="*/ 2147483646 h 48"/>
              <a:gd name="T2" fmla="*/ 2147483646 w 29"/>
              <a:gd name="T3" fmla="*/ 2147483646 h 48"/>
              <a:gd name="T4" fmla="*/ 2147483646 w 29"/>
              <a:gd name="T5" fmla="*/ 2147483646 h 48"/>
              <a:gd name="T6" fmla="*/ 2147483646 w 29"/>
              <a:gd name="T7" fmla="*/ 2147483646 h 48"/>
              <a:gd name="T8" fmla="*/ 2147483646 w 29"/>
              <a:gd name="T9" fmla="*/ 2147483646 h 48"/>
              <a:gd name="T10" fmla="*/ 2147483646 w 29"/>
              <a:gd name="T11" fmla="*/ 2147483646 h 48"/>
              <a:gd name="T12" fmla="*/ 2147483646 w 29"/>
              <a:gd name="T13" fmla="*/ 2147483646 h 48"/>
              <a:gd name="T14" fmla="*/ 2147483646 w 29"/>
              <a:gd name="T15" fmla="*/ 2147483646 h 48"/>
              <a:gd name="T16" fmla="*/ 0 w 29"/>
              <a:gd name="T17" fmla="*/ 2147483646 h 4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9"/>
              <a:gd name="T28" fmla="*/ 0 h 48"/>
              <a:gd name="T29" fmla="*/ 29 w 29"/>
              <a:gd name="T30" fmla="*/ 48 h 4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9" h="48">
                <a:moveTo>
                  <a:pt x="0" y="25"/>
                </a:moveTo>
                <a:cubicBezTo>
                  <a:pt x="0" y="25"/>
                  <a:pt x="7" y="18"/>
                  <a:pt x="11" y="14"/>
                </a:cubicBezTo>
                <a:cubicBezTo>
                  <a:pt x="15" y="10"/>
                  <a:pt x="21" y="0"/>
                  <a:pt x="25" y="6"/>
                </a:cubicBezTo>
                <a:cubicBezTo>
                  <a:pt x="26" y="8"/>
                  <a:pt x="28" y="10"/>
                  <a:pt x="29" y="13"/>
                </a:cubicBezTo>
                <a:cubicBezTo>
                  <a:pt x="19" y="22"/>
                  <a:pt x="19" y="22"/>
                  <a:pt x="19" y="22"/>
                </a:cubicBezTo>
                <a:cubicBezTo>
                  <a:pt x="19" y="22"/>
                  <a:pt x="15" y="24"/>
                  <a:pt x="15" y="28"/>
                </a:cubicBezTo>
                <a:cubicBezTo>
                  <a:pt x="15" y="32"/>
                  <a:pt x="16" y="43"/>
                  <a:pt x="12" y="46"/>
                </a:cubicBezTo>
                <a:cubicBezTo>
                  <a:pt x="9" y="48"/>
                  <a:pt x="6" y="46"/>
                  <a:pt x="6" y="46"/>
                </a:cubicBezTo>
                <a:cubicBezTo>
                  <a:pt x="6" y="46"/>
                  <a:pt x="3" y="29"/>
                  <a:pt x="0" y="2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47" name="Freeform 683"/>
          <p:cNvSpPr>
            <a:spLocks/>
          </p:cNvSpPr>
          <p:nvPr userDrawn="1"/>
        </p:nvSpPr>
        <p:spPr bwMode="auto">
          <a:xfrm>
            <a:off x="5768722" y="5188907"/>
            <a:ext cx="314917" cy="328319"/>
          </a:xfrm>
          <a:custGeom>
            <a:avLst/>
            <a:gdLst>
              <a:gd name="T0" fmla="*/ 2147483646 w 337"/>
              <a:gd name="T1" fmla="*/ 2147483646 h 351"/>
              <a:gd name="T2" fmla="*/ 2147483646 w 337"/>
              <a:gd name="T3" fmla="*/ 2147483646 h 351"/>
              <a:gd name="T4" fmla="*/ 2147483646 w 337"/>
              <a:gd name="T5" fmla="*/ 2147483646 h 351"/>
              <a:gd name="T6" fmla="*/ 2147483646 w 337"/>
              <a:gd name="T7" fmla="*/ 2147483646 h 351"/>
              <a:gd name="T8" fmla="*/ 2147483646 w 337"/>
              <a:gd name="T9" fmla="*/ 2147483646 h 351"/>
              <a:gd name="T10" fmla="*/ 2147483646 w 337"/>
              <a:gd name="T11" fmla="*/ 2147483646 h 351"/>
              <a:gd name="T12" fmla="*/ 2147483646 w 337"/>
              <a:gd name="T13" fmla="*/ 2147483646 h 351"/>
              <a:gd name="T14" fmla="*/ 2147483646 w 337"/>
              <a:gd name="T15" fmla="*/ 2147483646 h 351"/>
              <a:gd name="T16" fmla="*/ 2147483646 w 337"/>
              <a:gd name="T17" fmla="*/ 2147483646 h 351"/>
              <a:gd name="T18" fmla="*/ 2147483646 w 337"/>
              <a:gd name="T19" fmla="*/ 2147483646 h 351"/>
              <a:gd name="T20" fmla="*/ 2147483646 w 337"/>
              <a:gd name="T21" fmla="*/ 2147483646 h 351"/>
              <a:gd name="T22" fmla="*/ 2147483646 w 337"/>
              <a:gd name="T23" fmla="*/ 2147483646 h 351"/>
              <a:gd name="T24" fmla="*/ 2147483646 w 337"/>
              <a:gd name="T25" fmla="*/ 2147483646 h 351"/>
              <a:gd name="T26" fmla="*/ 2147483646 w 337"/>
              <a:gd name="T27" fmla="*/ 2147483646 h 351"/>
              <a:gd name="T28" fmla="*/ 2147483646 w 337"/>
              <a:gd name="T29" fmla="*/ 2147483646 h 351"/>
              <a:gd name="T30" fmla="*/ 2147483646 w 337"/>
              <a:gd name="T31" fmla="*/ 2147483646 h 351"/>
              <a:gd name="T32" fmla="*/ 2147483646 w 337"/>
              <a:gd name="T33" fmla="*/ 2147483646 h 351"/>
              <a:gd name="T34" fmla="*/ 2147483646 w 337"/>
              <a:gd name="T35" fmla="*/ 2147483646 h 351"/>
              <a:gd name="T36" fmla="*/ 2147483646 w 337"/>
              <a:gd name="T37" fmla="*/ 2147483646 h 351"/>
              <a:gd name="T38" fmla="*/ 2147483646 w 337"/>
              <a:gd name="T39" fmla="*/ 2147483646 h 351"/>
              <a:gd name="T40" fmla="*/ 2147483646 w 337"/>
              <a:gd name="T41" fmla="*/ 2147483646 h 351"/>
              <a:gd name="T42" fmla="*/ 2147483646 w 337"/>
              <a:gd name="T43" fmla="*/ 2147483646 h 351"/>
              <a:gd name="T44" fmla="*/ 2147483646 w 337"/>
              <a:gd name="T45" fmla="*/ 2147483646 h 351"/>
              <a:gd name="T46" fmla="*/ 2147483646 w 337"/>
              <a:gd name="T47" fmla="*/ 2147483646 h 351"/>
              <a:gd name="T48" fmla="*/ 2147483646 w 337"/>
              <a:gd name="T49" fmla="*/ 2147483646 h 351"/>
              <a:gd name="T50" fmla="*/ 2147483646 w 337"/>
              <a:gd name="T51" fmla="*/ 2147483646 h 351"/>
              <a:gd name="T52" fmla="*/ 2147483646 w 337"/>
              <a:gd name="T53" fmla="*/ 2147483646 h 351"/>
              <a:gd name="T54" fmla="*/ 2147483646 w 337"/>
              <a:gd name="T55" fmla="*/ 2147483646 h 351"/>
              <a:gd name="T56" fmla="*/ 2147483646 w 337"/>
              <a:gd name="T57" fmla="*/ 2147483646 h 351"/>
              <a:gd name="T58" fmla="*/ 2147483646 w 337"/>
              <a:gd name="T59" fmla="*/ 2147483646 h 351"/>
              <a:gd name="T60" fmla="*/ 2147483646 w 337"/>
              <a:gd name="T61" fmla="*/ 2147483646 h 351"/>
              <a:gd name="T62" fmla="*/ 2147483646 w 337"/>
              <a:gd name="T63" fmla="*/ 2147483646 h 351"/>
              <a:gd name="T64" fmla="*/ 2147483646 w 337"/>
              <a:gd name="T65" fmla="*/ 2147483646 h 351"/>
              <a:gd name="T66" fmla="*/ 2147483646 w 337"/>
              <a:gd name="T67" fmla="*/ 2147483646 h 351"/>
              <a:gd name="T68" fmla="*/ 2147483646 w 337"/>
              <a:gd name="T69" fmla="*/ 2147483646 h 351"/>
              <a:gd name="T70" fmla="*/ 2147483646 w 337"/>
              <a:gd name="T71" fmla="*/ 2147483646 h 351"/>
              <a:gd name="T72" fmla="*/ 2147483646 w 337"/>
              <a:gd name="T73" fmla="*/ 2147483646 h 351"/>
              <a:gd name="T74" fmla="*/ 2147483646 w 337"/>
              <a:gd name="T75" fmla="*/ 2147483646 h 351"/>
              <a:gd name="T76" fmla="*/ 2147483646 w 337"/>
              <a:gd name="T77" fmla="*/ 2147483646 h 351"/>
              <a:gd name="T78" fmla="*/ 2147483646 w 337"/>
              <a:gd name="T79" fmla="*/ 2147483646 h 351"/>
              <a:gd name="T80" fmla="*/ 2147483646 w 337"/>
              <a:gd name="T81" fmla="*/ 2147483646 h 351"/>
              <a:gd name="T82" fmla="*/ 2147483646 w 337"/>
              <a:gd name="T83" fmla="*/ 2147483646 h 351"/>
              <a:gd name="T84" fmla="*/ 2147483646 w 337"/>
              <a:gd name="T85" fmla="*/ 2147483646 h 351"/>
              <a:gd name="T86" fmla="*/ 2147483646 w 337"/>
              <a:gd name="T87" fmla="*/ 2147483646 h 351"/>
              <a:gd name="T88" fmla="*/ 2147483646 w 337"/>
              <a:gd name="T89" fmla="*/ 2147483646 h 351"/>
              <a:gd name="T90" fmla="*/ 2147483646 w 337"/>
              <a:gd name="T91" fmla="*/ 2147483646 h 351"/>
              <a:gd name="T92" fmla="*/ 2147483646 w 337"/>
              <a:gd name="T93" fmla="*/ 2147483646 h 351"/>
              <a:gd name="T94" fmla="*/ 2147483646 w 337"/>
              <a:gd name="T95" fmla="*/ 2147483646 h 351"/>
              <a:gd name="T96" fmla="*/ 2147483646 w 337"/>
              <a:gd name="T97" fmla="*/ 2147483646 h 351"/>
              <a:gd name="T98" fmla="*/ 2147483646 w 337"/>
              <a:gd name="T99" fmla="*/ 2147483646 h 351"/>
              <a:gd name="T100" fmla="*/ 2147483646 w 337"/>
              <a:gd name="T101" fmla="*/ 2147483646 h 351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37"/>
              <a:gd name="T154" fmla="*/ 0 h 351"/>
              <a:gd name="T155" fmla="*/ 337 w 337"/>
              <a:gd name="T156" fmla="*/ 351 h 351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37" h="351">
                <a:moveTo>
                  <a:pt x="15" y="8"/>
                </a:moveTo>
                <a:cubicBezTo>
                  <a:pt x="31" y="2"/>
                  <a:pt x="31" y="2"/>
                  <a:pt x="31" y="2"/>
                </a:cubicBezTo>
                <a:cubicBezTo>
                  <a:pt x="31" y="2"/>
                  <a:pt x="125" y="0"/>
                  <a:pt x="133" y="4"/>
                </a:cubicBezTo>
                <a:cubicBezTo>
                  <a:pt x="141" y="8"/>
                  <a:pt x="131" y="22"/>
                  <a:pt x="139" y="26"/>
                </a:cubicBezTo>
                <a:cubicBezTo>
                  <a:pt x="147" y="30"/>
                  <a:pt x="147" y="42"/>
                  <a:pt x="153" y="55"/>
                </a:cubicBezTo>
                <a:cubicBezTo>
                  <a:pt x="159" y="68"/>
                  <a:pt x="171" y="64"/>
                  <a:pt x="179" y="61"/>
                </a:cubicBezTo>
                <a:cubicBezTo>
                  <a:pt x="187" y="58"/>
                  <a:pt x="201" y="63"/>
                  <a:pt x="201" y="63"/>
                </a:cubicBezTo>
                <a:cubicBezTo>
                  <a:pt x="201" y="63"/>
                  <a:pt x="212" y="57"/>
                  <a:pt x="215" y="49"/>
                </a:cubicBezTo>
                <a:cubicBezTo>
                  <a:pt x="218" y="42"/>
                  <a:pt x="215" y="33"/>
                  <a:pt x="215" y="33"/>
                </a:cubicBezTo>
                <a:cubicBezTo>
                  <a:pt x="215" y="33"/>
                  <a:pt x="224" y="35"/>
                  <a:pt x="230" y="35"/>
                </a:cubicBezTo>
                <a:cubicBezTo>
                  <a:pt x="236" y="34"/>
                  <a:pt x="237" y="30"/>
                  <a:pt x="237" y="30"/>
                </a:cubicBezTo>
                <a:cubicBezTo>
                  <a:pt x="247" y="30"/>
                  <a:pt x="247" y="30"/>
                  <a:pt x="247" y="30"/>
                </a:cubicBezTo>
                <a:cubicBezTo>
                  <a:pt x="244" y="41"/>
                  <a:pt x="244" y="41"/>
                  <a:pt x="244" y="41"/>
                </a:cubicBezTo>
                <a:cubicBezTo>
                  <a:pt x="278" y="40"/>
                  <a:pt x="278" y="40"/>
                  <a:pt x="278" y="40"/>
                </a:cubicBezTo>
                <a:cubicBezTo>
                  <a:pt x="278" y="40"/>
                  <a:pt x="280" y="42"/>
                  <a:pt x="280" y="44"/>
                </a:cubicBezTo>
                <a:cubicBezTo>
                  <a:pt x="281" y="46"/>
                  <a:pt x="278" y="50"/>
                  <a:pt x="277" y="54"/>
                </a:cubicBezTo>
                <a:cubicBezTo>
                  <a:pt x="275" y="57"/>
                  <a:pt x="277" y="63"/>
                  <a:pt x="280" y="65"/>
                </a:cubicBezTo>
                <a:cubicBezTo>
                  <a:pt x="284" y="68"/>
                  <a:pt x="283" y="78"/>
                  <a:pt x="283" y="82"/>
                </a:cubicBezTo>
                <a:cubicBezTo>
                  <a:pt x="283" y="87"/>
                  <a:pt x="280" y="95"/>
                  <a:pt x="279" y="100"/>
                </a:cubicBezTo>
                <a:cubicBezTo>
                  <a:pt x="278" y="105"/>
                  <a:pt x="281" y="108"/>
                  <a:pt x="283" y="111"/>
                </a:cubicBezTo>
                <a:cubicBezTo>
                  <a:pt x="284" y="114"/>
                  <a:pt x="289" y="118"/>
                  <a:pt x="291" y="125"/>
                </a:cubicBezTo>
                <a:cubicBezTo>
                  <a:pt x="293" y="131"/>
                  <a:pt x="292" y="136"/>
                  <a:pt x="290" y="142"/>
                </a:cubicBezTo>
                <a:cubicBezTo>
                  <a:pt x="288" y="147"/>
                  <a:pt x="291" y="156"/>
                  <a:pt x="293" y="153"/>
                </a:cubicBezTo>
                <a:cubicBezTo>
                  <a:pt x="295" y="150"/>
                  <a:pt x="319" y="147"/>
                  <a:pt x="319" y="147"/>
                </a:cubicBezTo>
                <a:cubicBezTo>
                  <a:pt x="336" y="148"/>
                  <a:pt x="336" y="148"/>
                  <a:pt x="336" y="148"/>
                </a:cubicBezTo>
                <a:cubicBezTo>
                  <a:pt x="337" y="201"/>
                  <a:pt x="337" y="201"/>
                  <a:pt x="337" y="201"/>
                </a:cubicBezTo>
                <a:cubicBezTo>
                  <a:pt x="283" y="203"/>
                  <a:pt x="283" y="203"/>
                  <a:pt x="283" y="203"/>
                </a:cubicBezTo>
                <a:cubicBezTo>
                  <a:pt x="283" y="290"/>
                  <a:pt x="283" y="290"/>
                  <a:pt x="283" y="290"/>
                </a:cubicBezTo>
                <a:cubicBezTo>
                  <a:pt x="283" y="290"/>
                  <a:pt x="282" y="295"/>
                  <a:pt x="289" y="302"/>
                </a:cubicBezTo>
                <a:cubicBezTo>
                  <a:pt x="296" y="310"/>
                  <a:pt x="319" y="332"/>
                  <a:pt x="319" y="332"/>
                </a:cubicBezTo>
                <a:cubicBezTo>
                  <a:pt x="319" y="332"/>
                  <a:pt x="263" y="351"/>
                  <a:pt x="244" y="343"/>
                </a:cubicBezTo>
                <a:cubicBezTo>
                  <a:pt x="225" y="335"/>
                  <a:pt x="210" y="338"/>
                  <a:pt x="203" y="337"/>
                </a:cubicBezTo>
                <a:cubicBezTo>
                  <a:pt x="196" y="336"/>
                  <a:pt x="185" y="333"/>
                  <a:pt x="186" y="325"/>
                </a:cubicBezTo>
                <a:cubicBezTo>
                  <a:pt x="63" y="323"/>
                  <a:pt x="63" y="323"/>
                  <a:pt x="63" y="323"/>
                </a:cubicBezTo>
                <a:cubicBezTo>
                  <a:pt x="63" y="323"/>
                  <a:pt x="49" y="309"/>
                  <a:pt x="41" y="312"/>
                </a:cubicBezTo>
                <a:cubicBezTo>
                  <a:pt x="32" y="314"/>
                  <a:pt x="29" y="320"/>
                  <a:pt x="21" y="319"/>
                </a:cubicBezTo>
                <a:cubicBezTo>
                  <a:pt x="14" y="318"/>
                  <a:pt x="1" y="318"/>
                  <a:pt x="1" y="320"/>
                </a:cubicBezTo>
                <a:cubicBezTo>
                  <a:pt x="1" y="320"/>
                  <a:pt x="0" y="303"/>
                  <a:pt x="2" y="293"/>
                </a:cubicBezTo>
                <a:cubicBezTo>
                  <a:pt x="4" y="284"/>
                  <a:pt x="8" y="275"/>
                  <a:pt x="9" y="268"/>
                </a:cubicBezTo>
                <a:cubicBezTo>
                  <a:pt x="10" y="260"/>
                  <a:pt x="7" y="259"/>
                  <a:pt x="9" y="253"/>
                </a:cubicBezTo>
                <a:cubicBezTo>
                  <a:pt x="11" y="247"/>
                  <a:pt x="15" y="241"/>
                  <a:pt x="18" y="235"/>
                </a:cubicBezTo>
                <a:cubicBezTo>
                  <a:pt x="20" y="229"/>
                  <a:pt x="24" y="225"/>
                  <a:pt x="23" y="220"/>
                </a:cubicBezTo>
                <a:cubicBezTo>
                  <a:pt x="23" y="214"/>
                  <a:pt x="24" y="208"/>
                  <a:pt x="28" y="204"/>
                </a:cubicBezTo>
                <a:cubicBezTo>
                  <a:pt x="32" y="201"/>
                  <a:pt x="32" y="190"/>
                  <a:pt x="39" y="190"/>
                </a:cubicBezTo>
                <a:cubicBezTo>
                  <a:pt x="46" y="189"/>
                  <a:pt x="48" y="186"/>
                  <a:pt x="52" y="180"/>
                </a:cubicBezTo>
                <a:cubicBezTo>
                  <a:pt x="55" y="173"/>
                  <a:pt x="58" y="164"/>
                  <a:pt x="59" y="160"/>
                </a:cubicBezTo>
                <a:cubicBezTo>
                  <a:pt x="60" y="157"/>
                  <a:pt x="58" y="138"/>
                  <a:pt x="48" y="125"/>
                </a:cubicBezTo>
                <a:cubicBezTo>
                  <a:pt x="38" y="112"/>
                  <a:pt x="27" y="101"/>
                  <a:pt x="35" y="96"/>
                </a:cubicBezTo>
                <a:cubicBezTo>
                  <a:pt x="43" y="90"/>
                  <a:pt x="53" y="89"/>
                  <a:pt x="44" y="74"/>
                </a:cubicBezTo>
                <a:cubicBezTo>
                  <a:pt x="35" y="59"/>
                  <a:pt x="33" y="37"/>
                  <a:pt x="27" y="31"/>
                </a:cubicBezTo>
                <a:cubicBezTo>
                  <a:pt x="22" y="25"/>
                  <a:pt x="10" y="18"/>
                  <a:pt x="15" y="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48" name="Freeform 684"/>
          <p:cNvSpPr>
            <a:spLocks/>
          </p:cNvSpPr>
          <p:nvPr userDrawn="1"/>
        </p:nvSpPr>
        <p:spPr bwMode="auto">
          <a:xfrm>
            <a:off x="6234398" y="4922568"/>
            <a:ext cx="145733" cy="152433"/>
          </a:xfrm>
          <a:custGeom>
            <a:avLst/>
            <a:gdLst>
              <a:gd name="T0" fmla="*/ 2147483646 w 157"/>
              <a:gd name="T1" fmla="*/ 0 h 163"/>
              <a:gd name="T2" fmla="*/ 2147483646 w 157"/>
              <a:gd name="T3" fmla="*/ 2147483646 h 163"/>
              <a:gd name="T4" fmla="*/ 2147483646 w 157"/>
              <a:gd name="T5" fmla="*/ 2147483646 h 163"/>
              <a:gd name="T6" fmla="*/ 2147483646 w 157"/>
              <a:gd name="T7" fmla="*/ 2147483646 h 163"/>
              <a:gd name="T8" fmla="*/ 2147483646 w 157"/>
              <a:gd name="T9" fmla="*/ 2147483646 h 163"/>
              <a:gd name="T10" fmla="*/ 2147483646 w 157"/>
              <a:gd name="T11" fmla="*/ 2147483646 h 163"/>
              <a:gd name="T12" fmla="*/ 2147483646 w 157"/>
              <a:gd name="T13" fmla="*/ 2147483646 h 163"/>
              <a:gd name="T14" fmla="*/ 2147483646 w 157"/>
              <a:gd name="T15" fmla="*/ 2147483646 h 163"/>
              <a:gd name="T16" fmla="*/ 2147483646 w 157"/>
              <a:gd name="T17" fmla="*/ 2147483646 h 163"/>
              <a:gd name="T18" fmla="*/ 2147483646 w 157"/>
              <a:gd name="T19" fmla="*/ 2147483646 h 163"/>
              <a:gd name="T20" fmla="*/ 2147483646 w 157"/>
              <a:gd name="T21" fmla="*/ 2147483646 h 163"/>
              <a:gd name="T22" fmla="*/ 2147483646 w 157"/>
              <a:gd name="T23" fmla="*/ 2147483646 h 163"/>
              <a:gd name="T24" fmla="*/ 2147483646 w 157"/>
              <a:gd name="T25" fmla="*/ 2147483646 h 163"/>
              <a:gd name="T26" fmla="*/ 2147483646 w 157"/>
              <a:gd name="T27" fmla="*/ 2147483646 h 163"/>
              <a:gd name="T28" fmla="*/ 2147483646 w 157"/>
              <a:gd name="T29" fmla="*/ 2147483646 h 163"/>
              <a:gd name="T30" fmla="*/ 2147483646 w 157"/>
              <a:gd name="T31" fmla="*/ 2147483646 h 163"/>
              <a:gd name="T32" fmla="*/ 2147483646 w 157"/>
              <a:gd name="T33" fmla="*/ 2147483646 h 163"/>
              <a:gd name="T34" fmla="*/ 2147483646 w 157"/>
              <a:gd name="T35" fmla="*/ 2147483646 h 163"/>
              <a:gd name="T36" fmla="*/ 2147483646 w 157"/>
              <a:gd name="T37" fmla="*/ 2147483646 h 163"/>
              <a:gd name="T38" fmla="*/ 2147483646 w 157"/>
              <a:gd name="T39" fmla="*/ 2147483646 h 163"/>
              <a:gd name="T40" fmla="*/ 2147483646 w 157"/>
              <a:gd name="T41" fmla="*/ 2147483646 h 163"/>
              <a:gd name="T42" fmla="*/ 2147483646 w 157"/>
              <a:gd name="T43" fmla="*/ 2147483646 h 163"/>
              <a:gd name="T44" fmla="*/ 2147483646 w 157"/>
              <a:gd name="T45" fmla="*/ 2147483646 h 163"/>
              <a:gd name="T46" fmla="*/ 2147483646 w 157"/>
              <a:gd name="T47" fmla="*/ 2147483646 h 163"/>
              <a:gd name="T48" fmla="*/ 2147483646 w 157"/>
              <a:gd name="T49" fmla="*/ 2147483646 h 163"/>
              <a:gd name="T50" fmla="*/ 2147483646 w 157"/>
              <a:gd name="T51" fmla="*/ 2147483646 h 163"/>
              <a:gd name="T52" fmla="*/ 2147483646 w 157"/>
              <a:gd name="T53" fmla="*/ 2147483646 h 163"/>
              <a:gd name="T54" fmla="*/ 2147483646 w 157"/>
              <a:gd name="T55" fmla="*/ 2147483646 h 163"/>
              <a:gd name="T56" fmla="*/ 2147483646 w 157"/>
              <a:gd name="T57" fmla="*/ 2147483646 h 163"/>
              <a:gd name="T58" fmla="*/ 2147483646 w 157"/>
              <a:gd name="T59" fmla="*/ 2147483646 h 163"/>
              <a:gd name="T60" fmla="*/ 2147483646 w 157"/>
              <a:gd name="T61" fmla="*/ 2147483646 h 163"/>
              <a:gd name="T62" fmla="*/ 2147483646 w 157"/>
              <a:gd name="T63" fmla="*/ 2147483646 h 163"/>
              <a:gd name="T64" fmla="*/ 2147483646 w 157"/>
              <a:gd name="T65" fmla="*/ 2147483646 h 163"/>
              <a:gd name="T66" fmla="*/ 2147483646 w 157"/>
              <a:gd name="T67" fmla="*/ 2147483646 h 163"/>
              <a:gd name="T68" fmla="*/ 2147483646 w 157"/>
              <a:gd name="T69" fmla="*/ 2147483646 h 163"/>
              <a:gd name="T70" fmla="*/ 2147483646 w 157"/>
              <a:gd name="T71" fmla="*/ 2147483646 h 163"/>
              <a:gd name="T72" fmla="*/ 2147483646 w 157"/>
              <a:gd name="T73" fmla="*/ 2147483646 h 163"/>
              <a:gd name="T74" fmla="*/ 2147483646 w 157"/>
              <a:gd name="T75" fmla="*/ 0 h 16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57"/>
              <a:gd name="T115" fmla="*/ 0 h 163"/>
              <a:gd name="T116" fmla="*/ 157 w 157"/>
              <a:gd name="T117" fmla="*/ 163 h 16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57" h="163">
                <a:moveTo>
                  <a:pt x="124" y="0"/>
                </a:moveTo>
                <a:cubicBezTo>
                  <a:pt x="111" y="12"/>
                  <a:pt x="111" y="12"/>
                  <a:pt x="111" y="12"/>
                </a:cubicBezTo>
                <a:cubicBezTo>
                  <a:pt x="111" y="12"/>
                  <a:pt x="97" y="13"/>
                  <a:pt x="94" y="11"/>
                </a:cubicBezTo>
                <a:cubicBezTo>
                  <a:pt x="91" y="10"/>
                  <a:pt x="89" y="5"/>
                  <a:pt x="81" y="12"/>
                </a:cubicBezTo>
                <a:cubicBezTo>
                  <a:pt x="74" y="19"/>
                  <a:pt x="64" y="17"/>
                  <a:pt x="64" y="17"/>
                </a:cubicBezTo>
                <a:cubicBezTo>
                  <a:pt x="64" y="17"/>
                  <a:pt x="63" y="8"/>
                  <a:pt x="60" y="14"/>
                </a:cubicBezTo>
                <a:cubicBezTo>
                  <a:pt x="57" y="19"/>
                  <a:pt x="54" y="17"/>
                  <a:pt x="51" y="16"/>
                </a:cubicBezTo>
                <a:cubicBezTo>
                  <a:pt x="48" y="15"/>
                  <a:pt x="47" y="10"/>
                  <a:pt x="46" y="14"/>
                </a:cubicBezTo>
                <a:cubicBezTo>
                  <a:pt x="45" y="17"/>
                  <a:pt x="38" y="16"/>
                  <a:pt x="38" y="16"/>
                </a:cubicBezTo>
                <a:cubicBezTo>
                  <a:pt x="34" y="21"/>
                  <a:pt x="34" y="21"/>
                  <a:pt x="34" y="21"/>
                </a:cubicBezTo>
                <a:cubicBezTo>
                  <a:pt x="34" y="21"/>
                  <a:pt x="33" y="31"/>
                  <a:pt x="34" y="34"/>
                </a:cubicBezTo>
                <a:cubicBezTo>
                  <a:pt x="35" y="37"/>
                  <a:pt x="38" y="41"/>
                  <a:pt x="36" y="43"/>
                </a:cubicBezTo>
                <a:cubicBezTo>
                  <a:pt x="33" y="46"/>
                  <a:pt x="32" y="47"/>
                  <a:pt x="34" y="49"/>
                </a:cubicBezTo>
                <a:cubicBezTo>
                  <a:pt x="36" y="51"/>
                  <a:pt x="43" y="53"/>
                  <a:pt x="45" y="54"/>
                </a:cubicBezTo>
                <a:cubicBezTo>
                  <a:pt x="46" y="56"/>
                  <a:pt x="48" y="61"/>
                  <a:pt x="45" y="63"/>
                </a:cubicBezTo>
                <a:cubicBezTo>
                  <a:pt x="43" y="65"/>
                  <a:pt x="32" y="75"/>
                  <a:pt x="29" y="78"/>
                </a:cubicBezTo>
                <a:cubicBezTo>
                  <a:pt x="26" y="82"/>
                  <a:pt x="14" y="102"/>
                  <a:pt x="11" y="108"/>
                </a:cubicBezTo>
                <a:cubicBezTo>
                  <a:pt x="8" y="114"/>
                  <a:pt x="3" y="116"/>
                  <a:pt x="3" y="125"/>
                </a:cubicBezTo>
                <a:cubicBezTo>
                  <a:pt x="3" y="134"/>
                  <a:pt x="0" y="140"/>
                  <a:pt x="1" y="146"/>
                </a:cubicBezTo>
                <a:cubicBezTo>
                  <a:pt x="1" y="152"/>
                  <a:pt x="2" y="155"/>
                  <a:pt x="1" y="158"/>
                </a:cubicBezTo>
                <a:cubicBezTo>
                  <a:pt x="1" y="158"/>
                  <a:pt x="10" y="163"/>
                  <a:pt x="15" y="161"/>
                </a:cubicBezTo>
                <a:cubicBezTo>
                  <a:pt x="20" y="159"/>
                  <a:pt x="21" y="148"/>
                  <a:pt x="32" y="149"/>
                </a:cubicBezTo>
                <a:cubicBezTo>
                  <a:pt x="42" y="150"/>
                  <a:pt x="60" y="147"/>
                  <a:pt x="60" y="147"/>
                </a:cubicBezTo>
                <a:cubicBezTo>
                  <a:pt x="60" y="147"/>
                  <a:pt x="65" y="141"/>
                  <a:pt x="67" y="135"/>
                </a:cubicBezTo>
                <a:cubicBezTo>
                  <a:pt x="69" y="129"/>
                  <a:pt x="68" y="121"/>
                  <a:pt x="74" y="121"/>
                </a:cubicBezTo>
                <a:cubicBezTo>
                  <a:pt x="80" y="120"/>
                  <a:pt x="83" y="114"/>
                  <a:pt x="89" y="118"/>
                </a:cubicBezTo>
                <a:cubicBezTo>
                  <a:pt x="96" y="122"/>
                  <a:pt x="99" y="117"/>
                  <a:pt x="102" y="113"/>
                </a:cubicBezTo>
                <a:cubicBezTo>
                  <a:pt x="105" y="109"/>
                  <a:pt x="107" y="106"/>
                  <a:pt x="109" y="107"/>
                </a:cubicBezTo>
                <a:cubicBezTo>
                  <a:pt x="111" y="109"/>
                  <a:pt x="113" y="107"/>
                  <a:pt x="116" y="110"/>
                </a:cubicBezTo>
                <a:cubicBezTo>
                  <a:pt x="119" y="113"/>
                  <a:pt x="125" y="118"/>
                  <a:pt x="125" y="118"/>
                </a:cubicBezTo>
                <a:cubicBezTo>
                  <a:pt x="125" y="118"/>
                  <a:pt x="127" y="105"/>
                  <a:pt x="132" y="101"/>
                </a:cubicBezTo>
                <a:cubicBezTo>
                  <a:pt x="137" y="98"/>
                  <a:pt x="141" y="88"/>
                  <a:pt x="145" y="85"/>
                </a:cubicBezTo>
                <a:cubicBezTo>
                  <a:pt x="149" y="83"/>
                  <a:pt x="152" y="77"/>
                  <a:pt x="153" y="73"/>
                </a:cubicBezTo>
                <a:cubicBezTo>
                  <a:pt x="153" y="69"/>
                  <a:pt x="153" y="63"/>
                  <a:pt x="153" y="61"/>
                </a:cubicBezTo>
                <a:cubicBezTo>
                  <a:pt x="154" y="58"/>
                  <a:pt x="157" y="52"/>
                  <a:pt x="155" y="49"/>
                </a:cubicBezTo>
                <a:cubicBezTo>
                  <a:pt x="154" y="45"/>
                  <a:pt x="153" y="39"/>
                  <a:pt x="149" y="36"/>
                </a:cubicBezTo>
                <a:cubicBezTo>
                  <a:pt x="146" y="33"/>
                  <a:pt x="140" y="33"/>
                  <a:pt x="139" y="27"/>
                </a:cubicBezTo>
                <a:cubicBezTo>
                  <a:pt x="137" y="20"/>
                  <a:pt x="124" y="0"/>
                  <a:pt x="12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49" name="Freeform 685"/>
          <p:cNvSpPr>
            <a:spLocks/>
          </p:cNvSpPr>
          <p:nvPr userDrawn="1"/>
        </p:nvSpPr>
        <p:spPr bwMode="auto">
          <a:xfrm>
            <a:off x="6214297" y="5059924"/>
            <a:ext cx="298167" cy="284765"/>
          </a:xfrm>
          <a:custGeom>
            <a:avLst/>
            <a:gdLst>
              <a:gd name="T0" fmla="*/ 2147483646 w 319"/>
              <a:gd name="T1" fmla="*/ 2147483646 h 305"/>
              <a:gd name="T2" fmla="*/ 2147483646 w 319"/>
              <a:gd name="T3" fmla="*/ 2147483646 h 305"/>
              <a:gd name="T4" fmla="*/ 2147483646 w 319"/>
              <a:gd name="T5" fmla="*/ 2147483646 h 305"/>
              <a:gd name="T6" fmla="*/ 2147483646 w 319"/>
              <a:gd name="T7" fmla="*/ 2147483646 h 305"/>
              <a:gd name="T8" fmla="*/ 2147483646 w 319"/>
              <a:gd name="T9" fmla="*/ 2147483646 h 305"/>
              <a:gd name="T10" fmla="*/ 2147483646 w 319"/>
              <a:gd name="T11" fmla="*/ 2147483646 h 305"/>
              <a:gd name="T12" fmla="*/ 2147483646 w 319"/>
              <a:gd name="T13" fmla="*/ 2147483646 h 305"/>
              <a:gd name="T14" fmla="*/ 2147483646 w 319"/>
              <a:gd name="T15" fmla="*/ 2147483646 h 305"/>
              <a:gd name="T16" fmla="*/ 2147483646 w 319"/>
              <a:gd name="T17" fmla="*/ 2147483646 h 305"/>
              <a:gd name="T18" fmla="*/ 2147483646 w 319"/>
              <a:gd name="T19" fmla="*/ 2147483646 h 305"/>
              <a:gd name="T20" fmla="*/ 2147483646 w 319"/>
              <a:gd name="T21" fmla="*/ 2147483646 h 305"/>
              <a:gd name="T22" fmla="*/ 2147483646 w 319"/>
              <a:gd name="T23" fmla="*/ 2147483646 h 305"/>
              <a:gd name="T24" fmla="*/ 2147483646 w 319"/>
              <a:gd name="T25" fmla="*/ 2147483646 h 305"/>
              <a:gd name="T26" fmla="*/ 2147483646 w 319"/>
              <a:gd name="T27" fmla="*/ 2147483646 h 305"/>
              <a:gd name="T28" fmla="*/ 2147483646 w 319"/>
              <a:gd name="T29" fmla="*/ 2147483646 h 305"/>
              <a:gd name="T30" fmla="*/ 2147483646 w 319"/>
              <a:gd name="T31" fmla="*/ 2147483646 h 305"/>
              <a:gd name="T32" fmla="*/ 2147483646 w 319"/>
              <a:gd name="T33" fmla="*/ 2147483646 h 305"/>
              <a:gd name="T34" fmla="*/ 2147483646 w 319"/>
              <a:gd name="T35" fmla="*/ 2147483646 h 305"/>
              <a:gd name="T36" fmla="*/ 2147483646 w 319"/>
              <a:gd name="T37" fmla="*/ 2147483646 h 305"/>
              <a:gd name="T38" fmla="*/ 2147483646 w 319"/>
              <a:gd name="T39" fmla="*/ 2147483646 h 305"/>
              <a:gd name="T40" fmla="*/ 2147483646 w 319"/>
              <a:gd name="T41" fmla="*/ 2147483646 h 305"/>
              <a:gd name="T42" fmla="*/ 2147483646 w 319"/>
              <a:gd name="T43" fmla="*/ 2147483646 h 305"/>
              <a:gd name="T44" fmla="*/ 2147483646 w 319"/>
              <a:gd name="T45" fmla="*/ 2147483646 h 305"/>
              <a:gd name="T46" fmla="*/ 2147483646 w 319"/>
              <a:gd name="T47" fmla="*/ 2147483646 h 305"/>
              <a:gd name="T48" fmla="*/ 2147483646 w 319"/>
              <a:gd name="T49" fmla="*/ 2147483646 h 305"/>
              <a:gd name="T50" fmla="*/ 2147483646 w 319"/>
              <a:gd name="T51" fmla="*/ 2147483646 h 305"/>
              <a:gd name="T52" fmla="*/ 2147483646 w 319"/>
              <a:gd name="T53" fmla="*/ 2147483646 h 305"/>
              <a:gd name="T54" fmla="*/ 2147483646 w 319"/>
              <a:gd name="T55" fmla="*/ 2147483646 h 305"/>
              <a:gd name="T56" fmla="*/ 2147483646 w 319"/>
              <a:gd name="T57" fmla="*/ 2147483646 h 305"/>
              <a:gd name="T58" fmla="*/ 2147483646 w 319"/>
              <a:gd name="T59" fmla="*/ 2147483646 h 305"/>
              <a:gd name="T60" fmla="*/ 2147483646 w 319"/>
              <a:gd name="T61" fmla="*/ 2147483646 h 305"/>
              <a:gd name="T62" fmla="*/ 2147483646 w 319"/>
              <a:gd name="T63" fmla="*/ 2147483646 h 305"/>
              <a:gd name="T64" fmla="*/ 2147483646 w 319"/>
              <a:gd name="T65" fmla="*/ 2147483646 h 305"/>
              <a:gd name="T66" fmla="*/ 2147483646 w 319"/>
              <a:gd name="T67" fmla="*/ 2147483646 h 305"/>
              <a:gd name="T68" fmla="*/ 2147483646 w 319"/>
              <a:gd name="T69" fmla="*/ 0 h 30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19"/>
              <a:gd name="T106" fmla="*/ 0 h 305"/>
              <a:gd name="T107" fmla="*/ 319 w 319"/>
              <a:gd name="T108" fmla="*/ 305 h 30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19" h="305">
                <a:moveTo>
                  <a:pt x="80" y="0"/>
                </a:moveTo>
                <a:cubicBezTo>
                  <a:pt x="80" y="0"/>
                  <a:pt x="62" y="3"/>
                  <a:pt x="52" y="2"/>
                </a:cubicBezTo>
                <a:cubicBezTo>
                  <a:pt x="41" y="1"/>
                  <a:pt x="40" y="12"/>
                  <a:pt x="35" y="14"/>
                </a:cubicBezTo>
                <a:cubicBezTo>
                  <a:pt x="30" y="16"/>
                  <a:pt x="21" y="11"/>
                  <a:pt x="21" y="11"/>
                </a:cubicBezTo>
                <a:cubicBezTo>
                  <a:pt x="19" y="13"/>
                  <a:pt x="21" y="15"/>
                  <a:pt x="16" y="16"/>
                </a:cubicBezTo>
                <a:cubicBezTo>
                  <a:pt x="11" y="18"/>
                  <a:pt x="6" y="17"/>
                  <a:pt x="7" y="23"/>
                </a:cubicBezTo>
                <a:cubicBezTo>
                  <a:pt x="8" y="29"/>
                  <a:pt x="9" y="29"/>
                  <a:pt x="5" y="33"/>
                </a:cubicBezTo>
                <a:cubicBezTo>
                  <a:pt x="2" y="38"/>
                  <a:pt x="0" y="40"/>
                  <a:pt x="1" y="43"/>
                </a:cubicBezTo>
                <a:cubicBezTo>
                  <a:pt x="3" y="45"/>
                  <a:pt x="1" y="47"/>
                  <a:pt x="4" y="48"/>
                </a:cubicBezTo>
                <a:cubicBezTo>
                  <a:pt x="8" y="49"/>
                  <a:pt x="9" y="62"/>
                  <a:pt x="9" y="62"/>
                </a:cubicBezTo>
                <a:cubicBezTo>
                  <a:pt x="9" y="62"/>
                  <a:pt x="12" y="76"/>
                  <a:pt x="12" y="83"/>
                </a:cubicBezTo>
                <a:cubicBezTo>
                  <a:pt x="11" y="89"/>
                  <a:pt x="15" y="94"/>
                  <a:pt x="14" y="103"/>
                </a:cubicBezTo>
                <a:cubicBezTo>
                  <a:pt x="14" y="112"/>
                  <a:pt x="14" y="116"/>
                  <a:pt x="16" y="125"/>
                </a:cubicBezTo>
                <a:cubicBezTo>
                  <a:pt x="17" y="135"/>
                  <a:pt x="21" y="139"/>
                  <a:pt x="21" y="144"/>
                </a:cubicBezTo>
                <a:cubicBezTo>
                  <a:pt x="21" y="149"/>
                  <a:pt x="17" y="149"/>
                  <a:pt x="19" y="154"/>
                </a:cubicBezTo>
                <a:cubicBezTo>
                  <a:pt x="21" y="159"/>
                  <a:pt x="28" y="162"/>
                  <a:pt x="32" y="167"/>
                </a:cubicBezTo>
                <a:cubicBezTo>
                  <a:pt x="37" y="172"/>
                  <a:pt x="42" y="178"/>
                  <a:pt x="43" y="181"/>
                </a:cubicBezTo>
                <a:cubicBezTo>
                  <a:pt x="45" y="184"/>
                  <a:pt x="53" y="207"/>
                  <a:pt x="53" y="207"/>
                </a:cubicBezTo>
                <a:cubicBezTo>
                  <a:pt x="53" y="207"/>
                  <a:pt x="65" y="217"/>
                  <a:pt x="73" y="217"/>
                </a:cubicBezTo>
                <a:cubicBezTo>
                  <a:pt x="80" y="218"/>
                  <a:pt x="85" y="214"/>
                  <a:pt x="89" y="223"/>
                </a:cubicBezTo>
                <a:cubicBezTo>
                  <a:pt x="92" y="232"/>
                  <a:pt x="99" y="231"/>
                  <a:pt x="105" y="235"/>
                </a:cubicBezTo>
                <a:cubicBezTo>
                  <a:pt x="111" y="239"/>
                  <a:pt x="120" y="241"/>
                  <a:pt x="124" y="242"/>
                </a:cubicBezTo>
                <a:cubicBezTo>
                  <a:pt x="128" y="244"/>
                  <a:pt x="139" y="241"/>
                  <a:pt x="141" y="242"/>
                </a:cubicBezTo>
                <a:cubicBezTo>
                  <a:pt x="143" y="244"/>
                  <a:pt x="148" y="241"/>
                  <a:pt x="153" y="252"/>
                </a:cubicBezTo>
                <a:cubicBezTo>
                  <a:pt x="158" y="263"/>
                  <a:pt x="160" y="267"/>
                  <a:pt x="158" y="275"/>
                </a:cubicBezTo>
                <a:cubicBezTo>
                  <a:pt x="155" y="282"/>
                  <a:pt x="158" y="288"/>
                  <a:pt x="159" y="290"/>
                </a:cubicBezTo>
                <a:cubicBezTo>
                  <a:pt x="161" y="292"/>
                  <a:pt x="166" y="301"/>
                  <a:pt x="166" y="301"/>
                </a:cubicBezTo>
                <a:cubicBezTo>
                  <a:pt x="186" y="302"/>
                  <a:pt x="186" y="302"/>
                  <a:pt x="186" y="302"/>
                </a:cubicBezTo>
                <a:cubicBezTo>
                  <a:pt x="186" y="302"/>
                  <a:pt x="194" y="292"/>
                  <a:pt x="197" y="297"/>
                </a:cubicBezTo>
                <a:cubicBezTo>
                  <a:pt x="200" y="302"/>
                  <a:pt x="206" y="305"/>
                  <a:pt x="210" y="305"/>
                </a:cubicBezTo>
                <a:cubicBezTo>
                  <a:pt x="215" y="304"/>
                  <a:pt x="212" y="299"/>
                  <a:pt x="221" y="299"/>
                </a:cubicBezTo>
                <a:cubicBezTo>
                  <a:pt x="231" y="300"/>
                  <a:pt x="231" y="305"/>
                  <a:pt x="237" y="304"/>
                </a:cubicBezTo>
                <a:cubicBezTo>
                  <a:pt x="243" y="303"/>
                  <a:pt x="251" y="297"/>
                  <a:pt x="251" y="297"/>
                </a:cubicBezTo>
                <a:cubicBezTo>
                  <a:pt x="251" y="297"/>
                  <a:pt x="248" y="291"/>
                  <a:pt x="252" y="289"/>
                </a:cubicBezTo>
                <a:cubicBezTo>
                  <a:pt x="256" y="288"/>
                  <a:pt x="257" y="281"/>
                  <a:pt x="265" y="287"/>
                </a:cubicBezTo>
                <a:cubicBezTo>
                  <a:pt x="272" y="293"/>
                  <a:pt x="273" y="288"/>
                  <a:pt x="281" y="287"/>
                </a:cubicBezTo>
                <a:cubicBezTo>
                  <a:pt x="288" y="286"/>
                  <a:pt x="313" y="270"/>
                  <a:pt x="319" y="272"/>
                </a:cubicBezTo>
                <a:cubicBezTo>
                  <a:pt x="319" y="272"/>
                  <a:pt x="315" y="265"/>
                  <a:pt x="307" y="262"/>
                </a:cubicBezTo>
                <a:cubicBezTo>
                  <a:pt x="299" y="259"/>
                  <a:pt x="296" y="255"/>
                  <a:pt x="297" y="249"/>
                </a:cubicBezTo>
                <a:cubicBezTo>
                  <a:pt x="299" y="243"/>
                  <a:pt x="302" y="236"/>
                  <a:pt x="300" y="234"/>
                </a:cubicBezTo>
                <a:cubicBezTo>
                  <a:pt x="297" y="231"/>
                  <a:pt x="294" y="225"/>
                  <a:pt x="291" y="223"/>
                </a:cubicBezTo>
                <a:cubicBezTo>
                  <a:pt x="288" y="220"/>
                  <a:pt x="287" y="217"/>
                  <a:pt x="288" y="212"/>
                </a:cubicBezTo>
                <a:cubicBezTo>
                  <a:pt x="289" y="206"/>
                  <a:pt x="290" y="201"/>
                  <a:pt x="293" y="199"/>
                </a:cubicBezTo>
                <a:cubicBezTo>
                  <a:pt x="296" y="197"/>
                  <a:pt x="297" y="194"/>
                  <a:pt x="292" y="188"/>
                </a:cubicBezTo>
                <a:cubicBezTo>
                  <a:pt x="288" y="182"/>
                  <a:pt x="293" y="178"/>
                  <a:pt x="295" y="175"/>
                </a:cubicBezTo>
                <a:cubicBezTo>
                  <a:pt x="296" y="172"/>
                  <a:pt x="295" y="160"/>
                  <a:pt x="291" y="160"/>
                </a:cubicBezTo>
                <a:cubicBezTo>
                  <a:pt x="287" y="159"/>
                  <a:pt x="281" y="160"/>
                  <a:pt x="280" y="155"/>
                </a:cubicBezTo>
                <a:cubicBezTo>
                  <a:pt x="278" y="150"/>
                  <a:pt x="276" y="149"/>
                  <a:pt x="277" y="143"/>
                </a:cubicBezTo>
                <a:cubicBezTo>
                  <a:pt x="278" y="138"/>
                  <a:pt x="281" y="127"/>
                  <a:pt x="283" y="124"/>
                </a:cubicBezTo>
                <a:cubicBezTo>
                  <a:pt x="284" y="120"/>
                  <a:pt x="288" y="102"/>
                  <a:pt x="288" y="102"/>
                </a:cubicBezTo>
                <a:cubicBezTo>
                  <a:pt x="254" y="77"/>
                  <a:pt x="254" y="77"/>
                  <a:pt x="254" y="77"/>
                </a:cubicBezTo>
                <a:cubicBezTo>
                  <a:pt x="254" y="77"/>
                  <a:pt x="246" y="65"/>
                  <a:pt x="248" y="59"/>
                </a:cubicBezTo>
                <a:cubicBezTo>
                  <a:pt x="148" y="1"/>
                  <a:pt x="148" y="1"/>
                  <a:pt x="148" y="1"/>
                </a:cubicBezTo>
                <a:cubicBezTo>
                  <a:pt x="148" y="1"/>
                  <a:pt x="144" y="6"/>
                  <a:pt x="144" y="12"/>
                </a:cubicBezTo>
                <a:cubicBezTo>
                  <a:pt x="143" y="18"/>
                  <a:pt x="137" y="14"/>
                  <a:pt x="133" y="19"/>
                </a:cubicBezTo>
                <a:cubicBezTo>
                  <a:pt x="128" y="24"/>
                  <a:pt x="115" y="27"/>
                  <a:pt x="123" y="31"/>
                </a:cubicBezTo>
                <a:cubicBezTo>
                  <a:pt x="131" y="36"/>
                  <a:pt x="139" y="29"/>
                  <a:pt x="140" y="34"/>
                </a:cubicBezTo>
                <a:cubicBezTo>
                  <a:pt x="142" y="39"/>
                  <a:pt x="138" y="42"/>
                  <a:pt x="131" y="44"/>
                </a:cubicBezTo>
                <a:cubicBezTo>
                  <a:pt x="123" y="46"/>
                  <a:pt x="120" y="47"/>
                  <a:pt x="118" y="44"/>
                </a:cubicBezTo>
                <a:cubicBezTo>
                  <a:pt x="116" y="40"/>
                  <a:pt x="114" y="31"/>
                  <a:pt x="110" y="36"/>
                </a:cubicBezTo>
                <a:cubicBezTo>
                  <a:pt x="106" y="41"/>
                  <a:pt x="103" y="43"/>
                  <a:pt x="103" y="43"/>
                </a:cubicBezTo>
                <a:cubicBezTo>
                  <a:pt x="103" y="43"/>
                  <a:pt x="101" y="34"/>
                  <a:pt x="98" y="38"/>
                </a:cubicBezTo>
                <a:cubicBezTo>
                  <a:pt x="94" y="42"/>
                  <a:pt x="98" y="35"/>
                  <a:pt x="94" y="42"/>
                </a:cubicBezTo>
                <a:cubicBezTo>
                  <a:pt x="90" y="50"/>
                  <a:pt x="89" y="53"/>
                  <a:pt x="84" y="53"/>
                </a:cubicBezTo>
                <a:cubicBezTo>
                  <a:pt x="80" y="53"/>
                  <a:pt x="74" y="53"/>
                  <a:pt x="77" y="46"/>
                </a:cubicBezTo>
                <a:cubicBezTo>
                  <a:pt x="80" y="39"/>
                  <a:pt x="86" y="37"/>
                  <a:pt x="83" y="32"/>
                </a:cubicBezTo>
                <a:cubicBezTo>
                  <a:pt x="80" y="28"/>
                  <a:pt x="80" y="30"/>
                  <a:pt x="80" y="24"/>
                </a:cubicBezTo>
                <a:cubicBezTo>
                  <a:pt x="80" y="18"/>
                  <a:pt x="82" y="15"/>
                  <a:pt x="84" y="14"/>
                </a:cubicBezTo>
                <a:cubicBezTo>
                  <a:pt x="87" y="12"/>
                  <a:pt x="89" y="6"/>
                  <a:pt x="89" y="6"/>
                </a:cubicBezTo>
                <a:lnTo>
                  <a:pt x="8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50" name="Freeform 686"/>
          <p:cNvSpPr>
            <a:spLocks/>
          </p:cNvSpPr>
          <p:nvPr userDrawn="1"/>
        </p:nvSpPr>
        <p:spPr bwMode="auto">
          <a:xfrm>
            <a:off x="6349980" y="4907491"/>
            <a:ext cx="204361" cy="251264"/>
          </a:xfrm>
          <a:custGeom>
            <a:avLst/>
            <a:gdLst>
              <a:gd name="T0" fmla="*/ 2147483646 w 219"/>
              <a:gd name="T1" fmla="*/ 2147483646 h 268"/>
              <a:gd name="T2" fmla="*/ 2147483646 w 219"/>
              <a:gd name="T3" fmla="*/ 2147483646 h 268"/>
              <a:gd name="T4" fmla="*/ 2147483646 w 219"/>
              <a:gd name="T5" fmla="*/ 2147483646 h 268"/>
              <a:gd name="T6" fmla="*/ 2147483646 w 219"/>
              <a:gd name="T7" fmla="*/ 2147483646 h 268"/>
              <a:gd name="T8" fmla="*/ 2147483646 w 219"/>
              <a:gd name="T9" fmla="*/ 2147483646 h 268"/>
              <a:gd name="T10" fmla="*/ 2147483646 w 219"/>
              <a:gd name="T11" fmla="*/ 2147483646 h 268"/>
              <a:gd name="T12" fmla="*/ 2147483646 w 219"/>
              <a:gd name="T13" fmla="*/ 2147483646 h 268"/>
              <a:gd name="T14" fmla="*/ 2147483646 w 219"/>
              <a:gd name="T15" fmla="*/ 2147483646 h 268"/>
              <a:gd name="T16" fmla="*/ 2147483646 w 219"/>
              <a:gd name="T17" fmla="*/ 2147483646 h 268"/>
              <a:gd name="T18" fmla="*/ 2147483646 w 219"/>
              <a:gd name="T19" fmla="*/ 2147483646 h 268"/>
              <a:gd name="T20" fmla="*/ 2147483646 w 219"/>
              <a:gd name="T21" fmla="*/ 2147483646 h 268"/>
              <a:gd name="T22" fmla="*/ 2147483646 w 219"/>
              <a:gd name="T23" fmla="*/ 2147483646 h 268"/>
              <a:gd name="T24" fmla="*/ 2147483646 w 219"/>
              <a:gd name="T25" fmla="*/ 2147483646 h 268"/>
              <a:gd name="T26" fmla="*/ 2147483646 w 219"/>
              <a:gd name="T27" fmla="*/ 2147483646 h 268"/>
              <a:gd name="T28" fmla="*/ 2147483646 w 219"/>
              <a:gd name="T29" fmla="*/ 2147483646 h 268"/>
              <a:gd name="T30" fmla="*/ 2147483646 w 219"/>
              <a:gd name="T31" fmla="*/ 2147483646 h 268"/>
              <a:gd name="T32" fmla="*/ 2147483646 w 219"/>
              <a:gd name="T33" fmla="*/ 2147483646 h 268"/>
              <a:gd name="T34" fmla="*/ 2147483646 w 219"/>
              <a:gd name="T35" fmla="*/ 2147483646 h 268"/>
              <a:gd name="T36" fmla="*/ 2147483646 w 219"/>
              <a:gd name="T37" fmla="*/ 2147483646 h 268"/>
              <a:gd name="T38" fmla="*/ 0 w 219"/>
              <a:gd name="T39" fmla="*/ 2147483646 h 268"/>
              <a:gd name="T40" fmla="*/ 2147483646 w 219"/>
              <a:gd name="T41" fmla="*/ 2147483646 h 268"/>
              <a:gd name="T42" fmla="*/ 2147483646 w 219"/>
              <a:gd name="T43" fmla="*/ 2147483646 h 268"/>
              <a:gd name="T44" fmla="*/ 2147483646 w 219"/>
              <a:gd name="T45" fmla="*/ 2147483646 h 268"/>
              <a:gd name="T46" fmla="*/ 2147483646 w 219"/>
              <a:gd name="T47" fmla="*/ 2147483646 h 268"/>
              <a:gd name="T48" fmla="*/ 2147483646 w 219"/>
              <a:gd name="T49" fmla="*/ 2147483646 h 268"/>
              <a:gd name="T50" fmla="*/ 2147483646 w 219"/>
              <a:gd name="T51" fmla="*/ 2147483646 h 268"/>
              <a:gd name="T52" fmla="*/ 2147483646 w 219"/>
              <a:gd name="T53" fmla="*/ 2147483646 h 268"/>
              <a:gd name="T54" fmla="*/ 2147483646 w 219"/>
              <a:gd name="T55" fmla="*/ 2147483646 h 268"/>
              <a:gd name="T56" fmla="*/ 2147483646 w 219"/>
              <a:gd name="T57" fmla="*/ 2147483646 h 268"/>
              <a:gd name="T58" fmla="*/ 2147483646 w 219"/>
              <a:gd name="T59" fmla="*/ 2147483646 h 268"/>
              <a:gd name="T60" fmla="*/ 2147483646 w 219"/>
              <a:gd name="T61" fmla="*/ 2147483646 h 268"/>
              <a:gd name="T62" fmla="*/ 2147483646 w 219"/>
              <a:gd name="T63" fmla="*/ 2147483646 h 268"/>
              <a:gd name="T64" fmla="*/ 2147483646 w 219"/>
              <a:gd name="T65" fmla="*/ 2147483646 h 268"/>
              <a:gd name="T66" fmla="*/ 2147483646 w 219"/>
              <a:gd name="T67" fmla="*/ 2147483646 h 268"/>
              <a:gd name="T68" fmla="*/ 2147483646 w 219"/>
              <a:gd name="T69" fmla="*/ 2147483646 h 268"/>
              <a:gd name="T70" fmla="*/ 2147483646 w 219"/>
              <a:gd name="T71" fmla="*/ 2147483646 h 268"/>
              <a:gd name="T72" fmla="*/ 2147483646 w 219"/>
              <a:gd name="T73" fmla="*/ 2147483646 h 268"/>
              <a:gd name="T74" fmla="*/ 2147483646 w 219"/>
              <a:gd name="T75" fmla="*/ 2147483646 h 268"/>
              <a:gd name="T76" fmla="*/ 2147483646 w 219"/>
              <a:gd name="T77" fmla="*/ 2147483646 h 268"/>
              <a:gd name="T78" fmla="*/ 2147483646 w 219"/>
              <a:gd name="T79" fmla="*/ 2147483646 h 268"/>
              <a:gd name="T80" fmla="*/ 2147483646 w 219"/>
              <a:gd name="T81" fmla="*/ 2147483646 h 268"/>
              <a:gd name="T82" fmla="*/ 2147483646 w 219"/>
              <a:gd name="T83" fmla="*/ 2147483646 h 268"/>
              <a:gd name="T84" fmla="*/ 2147483646 w 219"/>
              <a:gd name="T85" fmla="*/ 2147483646 h 268"/>
              <a:gd name="T86" fmla="*/ 2147483646 w 219"/>
              <a:gd name="T87" fmla="*/ 2147483646 h 268"/>
              <a:gd name="T88" fmla="*/ 2147483646 w 219"/>
              <a:gd name="T89" fmla="*/ 2147483646 h 268"/>
              <a:gd name="T90" fmla="*/ 2147483646 w 219"/>
              <a:gd name="T91" fmla="*/ 2147483646 h 268"/>
              <a:gd name="T92" fmla="*/ 2147483646 w 219"/>
              <a:gd name="T93" fmla="*/ 2147483646 h 268"/>
              <a:gd name="T94" fmla="*/ 2147483646 w 219"/>
              <a:gd name="T95" fmla="*/ 2147483646 h 268"/>
              <a:gd name="T96" fmla="*/ 2147483646 w 219"/>
              <a:gd name="T97" fmla="*/ 2147483646 h 268"/>
              <a:gd name="T98" fmla="*/ 2147483646 w 219"/>
              <a:gd name="T99" fmla="*/ 2147483646 h 268"/>
              <a:gd name="T100" fmla="*/ 2147483646 w 219"/>
              <a:gd name="T101" fmla="*/ 2147483646 h 26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19"/>
              <a:gd name="T154" fmla="*/ 0 h 268"/>
              <a:gd name="T155" fmla="*/ 219 w 219"/>
              <a:gd name="T156" fmla="*/ 268 h 268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19" h="268">
                <a:moveTo>
                  <a:pt x="144" y="265"/>
                </a:moveTo>
                <a:cubicBezTo>
                  <a:pt x="110" y="240"/>
                  <a:pt x="110" y="240"/>
                  <a:pt x="110" y="240"/>
                </a:cubicBezTo>
                <a:cubicBezTo>
                  <a:pt x="110" y="240"/>
                  <a:pt x="102" y="228"/>
                  <a:pt x="104" y="222"/>
                </a:cubicBezTo>
                <a:cubicBezTo>
                  <a:pt x="4" y="164"/>
                  <a:pt x="4" y="164"/>
                  <a:pt x="4" y="164"/>
                </a:cubicBezTo>
                <a:cubicBezTo>
                  <a:pt x="4" y="164"/>
                  <a:pt x="1" y="153"/>
                  <a:pt x="4" y="149"/>
                </a:cubicBezTo>
                <a:cubicBezTo>
                  <a:pt x="8" y="145"/>
                  <a:pt x="7" y="149"/>
                  <a:pt x="10" y="149"/>
                </a:cubicBezTo>
                <a:cubicBezTo>
                  <a:pt x="13" y="148"/>
                  <a:pt x="15" y="147"/>
                  <a:pt x="16" y="146"/>
                </a:cubicBezTo>
                <a:cubicBezTo>
                  <a:pt x="18" y="145"/>
                  <a:pt x="25" y="144"/>
                  <a:pt x="27" y="142"/>
                </a:cubicBezTo>
                <a:cubicBezTo>
                  <a:pt x="29" y="139"/>
                  <a:pt x="26" y="140"/>
                  <a:pt x="22" y="137"/>
                </a:cubicBezTo>
                <a:cubicBezTo>
                  <a:pt x="18" y="135"/>
                  <a:pt x="15" y="141"/>
                  <a:pt x="13" y="142"/>
                </a:cubicBezTo>
                <a:cubicBezTo>
                  <a:pt x="11" y="143"/>
                  <a:pt x="8" y="142"/>
                  <a:pt x="4" y="140"/>
                </a:cubicBezTo>
                <a:cubicBezTo>
                  <a:pt x="1" y="138"/>
                  <a:pt x="1" y="134"/>
                  <a:pt x="1" y="134"/>
                </a:cubicBezTo>
                <a:cubicBezTo>
                  <a:pt x="1" y="134"/>
                  <a:pt x="3" y="121"/>
                  <a:pt x="8" y="117"/>
                </a:cubicBezTo>
                <a:cubicBezTo>
                  <a:pt x="13" y="114"/>
                  <a:pt x="17" y="104"/>
                  <a:pt x="21" y="101"/>
                </a:cubicBezTo>
                <a:cubicBezTo>
                  <a:pt x="25" y="99"/>
                  <a:pt x="28" y="93"/>
                  <a:pt x="29" y="89"/>
                </a:cubicBezTo>
                <a:cubicBezTo>
                  <a:pt x="29" y="85"/>
                  <a:pt x="29" y="79"/>
                  <a:pt x="29" y="77"/>
                </a:cubicBezTo>
                <a:cubicBezTo>
                  <a:pt x="30" y="74"/>
                  <a:pt x="33" y="68"/>
                  <a:pt x="31" y="65"/>
                </a:cubicBezTo>
                <a:cubicBezTo>
                  <a:pt x="30" y="61"/>
                  <a:pt x="29" y="55"/>
                  <a:pt x="25" y="52"/>
                </a:cubicBezTo>
                <a:cubicBezTo>
                  <a:pt x="22" y="49"/>
                  <a:pt x="16" y="49"/>
                  <a:pt x="15" y="43"/>
                </a:cubicBezTo>
                <a:cubicBezTo>
                  <a:pt x="13" y="36"/>
                  <a:pt x="0" y="16"/>
                  <a:pt x="0" y="16"/>
                </a:cubicBezTo>
                <a:cubicBezTo>
                  <a:pt x="1" y="13"/>
                  <a:pt x="1" y="13"/>
                  <a:pt x="1" y="13"/>
                </a:cubicBezTo>
                <a:cubicBezTo>
                  <a:pt x="11" y="4"/>
                  <a:pt x="11" y="4"/>
                  <a:pt x="11" y="4"/>
                </a:cubicBezTo>
                <a:cubicBezTo>
                  <a:pt x="49" y="3"/>
                  <a:pt x="49" y="3"/>
                  <a:pt x="49" y="3"/>
                </a:cubicBezTo>
                <a:cubicBezTo>
                  <a:pt x="49" y="3"/>
                  <a:pt x="55" y="4"/>
                  <a:pt x="57" y="6"/>
                </a:cubicBezTo>
                <a:cubicBezTo>
                  <a:pt x="59" y="8"/>
                  <a:pt x="84" y="9"/>
                  <a:pt x="84" y="9"/>
                </a:cubicBezTo>
                <a:cubicBezTo>
                  <a:pt x="114" y="28"/>
                  <a:pt x="114" y="28"/>
                  <a:pt x="114" y="28"/>
                </a:cubicBezTo>
                <a:cubicBezTo>
                  <a:pt x="155" y="31"/>
                  <a:pt x="155" y="31"/>
                  <a:pt x="155" y="31"/>
                </a:cubicBezTo>
                <a:cubicBezTo>
                  <a:pt x="155" y="31"/>
                  <a:pt x="162" y="21"/>
                  <a:pt x="169" y="19"/>
                </a:cubicBezTo>
                <a:cubicBezTo>
                  <a:pt x="176" y="17"/>
                  <a:pt x="183" y="0"/>
                  <a:pt x="189" y="9"/>
                </a:cubicBezTo>
                <a:cubicBezTo>
                  <a:pt x="196" y="18"/>
                  <a:pt x="200" y="16"/>
                  <a:pt x="204" y="17"/>
                </a:cubicBezTo>
                <a:cubicBezTo>
                  <a:pt x="208" y="17"/>
                  <a:pt x="219" y="17"/>
                  <a:pt x="219" y="17"/>
                </a:cubicBezTo>
                <a:cubicBezTo>
                  <a:pt x="219" y="17"/>
                  <a:pt x="200" y="47"/>
                  <a:pt x="195" y="50"/>
                </a:cubicBezTo>
                <a:cubicBezTo>
                  <a:pt x="197" y="157"/>
                  <a:pt x="197" y="157"/>
                  <a:pt x="197" y="157"/>
                </a:cubicBezTo>
                <a:cubicBezTo>
                  <a:pt x="213" y="177"/>
                  <a:pt x="213" y="177"/>
                  <a:pt x="213" y="177"/>
                </a:cubicBezTo>
                <a:cubicBezTo>
                  <a:pt x="213" y="177"/>
                  <a:pt x="206" y="189"/>
                  <a:pt x="202" y="189"/>
                </a:cubicBezTo>
                <a:cubicBezTo>
                  <a:pt x="199" y="190"/>
                  <a:pt x="195" y="184"/>
                  <a:pt x="194" y="187"/>
                </a:cubicBezTo>
                <a:cubicBezTo>
                  <a:pt x="192" y="189"/>
                  <a:pt x="193" y="192"/>
                  <a:pt x="193" y="194"/>
                </a:cubicBezTo>
                <a:cubicBezTo>
                  <a:pt x="192" y="195"/>
                  <a:pt x="190" y="194"/>
                  <a:pt x="191" y="199"/>
                </a:cubicBezTo>
                <a:cubicBezTo>
                  <a:pt x="192" y="204"/>
                  <a:pt x="188" y="205"/>
                  <a:pt x="185" y="205"/>
                </a:cubicBezTo>
                <a:cubicBezTo>
                  <a:pt x="183" y="205"/>
                  <a:pt x="183" y="203"/>
                  <a:pt x="181" y="204"/>
                </a:cubicBezTo>
                <a:cubicBezTo>
                  <a:pt x="179" y="204"/>
                  <a:pt x="180" y="197"/>
                  <a:pt x="178" y="202"/>
                </a:cubicBezTo>
                <a:cubicBezTo>
                  <a:pt x="175" y="208"/>
                  <a:pt x="167" y="207"/>
                  <a:pt x="170" y="214"/>
                </a:cubicBezTo>
                <a:cubicBezTo>
                  <a:pt x="174" y="221"/>
                  <a:pt x="174" y="223"/>
                  <a:pt x="171" y="228"/>
                </a:cubicBezTo>
                <a:cubicBezTo>
                  <a:pt x="169" y="233"/>
                  <a:pt x="166" y="233"/>
                  <a:pt x="164" y="234"/>
                </a:cubicBezTo>
                <a:cubicBezTo>
                  <a:pt x="163" y="235"/>
                  <a:pt x="159" y="231"/>
                  <a:pt x="159" y="235"/>
                </a:cubicBezTo>
                <a:cubicBezTo>
                  <a:pt x="159" y="239"/>
                  <a:pt x="166" y="242"/>
                  <a:pt x="163" y="245"/>
                </a:cubicBezTo>
                <a:cubicBezTo>
                  <a:pt x="160" y="247"/>
                  <a:pt x="153" y="245"/>
                  <a:pt x="153" y="245"/>
                </a:cubicBezTo>
                <a:cubicBezTo>
                  <a:pt x="153" y="245"/>
                  <a:pt x="151" y="248"/>
                  <a:pt x="154" y="252"/>
                </a:cubicBezTo>
                <a:cubicBezTo>
                  <a:pt x="157" y="256"/>
                  <a:pt x="159" y="256"/>
                  <a:pt x="158" y="259"/>
                </a:cubicBezTo>
                <a:cubicBezTo>
                  <a:pt x="156" y="263"/>
                  <a:pt x="159" y="263"/>
                  <a:pt x="154" y="265"/>
                </a:cubicBezTo>
                <a:cubicBezTo>
                  <a:pt x="149" y="268"/>
                  <a:pt x="144" y="265"/>
                  <a:pt x="144" y="26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51" name="Freeform 687"/>
          <p:cNvSpPr>
            <a:spLocks/>
          </p:cNvSpPr>
          <p:nvPr userDrawn="1"/>
        </p:nvSpPr>
        <p:spPr bwMode="auto">
          <a:xfrm>
            <a:off x="6396882" y="4550696"/>
            <a:ext cx="170860" cy="145733"/>
          </a:xfrm>
          <a:custGeom>
            <a:avLst/>
            <a:gdLst>
              <a:gd name="T0" fmla="*/ 2147483646 w 184"/>
              <a:gd name="T1" fmla="*/ 0 h 157"/>
              <a:gd name="T2" fmla="*/ 2147483646 w 184"/>
              <a:gd name="T3" fmla="*/ 2147483646 h 157"/>
              <a:gd name="T4" fmla="*/ 2147483646 w 184"/>
              <a:gd name="T5" fmla="*/ 2147483646 h 157"/>
              <a:gd name="T6" fmla="*/ 2147483646 w 184"/>
              <a:gd name="T7" fmla="*/ 2147483646 h 157"/>
              <a:gd name="T8" fmla="*/ 2147483646 w 184"/>
              <a:gd name="T9" fmla="*/ 2147483646 h 157"/>
              <a:gd name="T10" fmla="*/ 2147483646 w 184"/>
              <a:gd name="T11" fmla="*/ 2147483646 h 157"/>
              <a:gd name="T12" fmla="*/ 2147483646 w 184"/>
              <a:gd name="T13" fmla="*/ 2147483646 h 157"/>
              <a:gd name="T14" fmla="*/ 2147483646 w 184"/>
              <a:gd name="T15" fmla="*/ 2147483646 h 157"/>
              <a:gd name="T16" fmla="*/ 2147483646 w 184"/>
              <a:gd name="T17" fmla="*/ 2147483646 h 157"/>
              <a:gd name="T18" fmla="*/ 2147483646 w 184"/>
              <a:gd name="T19" fmla="*/ 2147483646 h 157"/>
              <a:gd name="T20" fmla="*/ 2147483646 w 184"/>
              <a:gd name="T21" fmla="*/ 2147483646 h 157"/>
              <a:gd name="T22" fmla="*/ 2147483646 w 184"/>
              <a:gd name="T23" fmla="*/ 2147483646 h 157"/>
              <a:gd name="T24" fmla="*/ 2147483646 w 184"/>
              <a:gd name="T25" fmla="*/ 2147483646 h 157"/>
              <a:gd name="T26" fmla="*/ 2147483646 w 184"/>
              <a:gd name="T27" fmla="*/ 2147483646 h 157"/>
              <a:gd name="T28" fmla="*/ 2147483646 w 184"/>
              <a:gd name="T29" fmla="*/ 2147483646 h 157"/>
              <a:gd name="T30" fmla="*/ 2147483646 w 184"/>
              <a:gd name="T31" fmla="*/ 2147483646 h 157"/>
              <a:gd name="T32" fmla="*/ 2147483646 w 184"/>
              <a:gd name="T33" fmla="*/ 2147483646 h 157"/>
              <a:gd name="T34" fmla="*/ 2147483646 w 184"/>
              <a:gd name="T35" fmla="*/ 2147483646 h 157"/>
              <a:gd name="T36" fmla="*/ 2147483646 w 184"/>
              <a:gd name="T37" fmla="*/ 2147483646 h 157"/>
              <a:gd name="T38" fmla="*/ 2147483646 w 184"/>
              <a:gd name="T39" fmla="*/ 2147483646 h 157"/>
              <a:gd name="T40" fmla="*/ 2147483646 w 184"/>
              <a:gd name="T41" fmla="*/ 2147483646 h 157"/>
              <a:gd name="T42" fmla="*/ 2147483646 w 184"/>
              <a:gd name="T43" fmla="*/ 2147483646 h 157"/>
              <a:gd name="T44" fmla="*/ 2147483646 w 184"/>
              <a:gd name="T45" fmla="*/ 2147483646 h 157"/>
              <a:gd name="T46" fmla="*/ 2147483646 w 184"/>
              <a:gd name="T47" fmla="*/ 2147483646 h 157"/>
              <a:gd name="T48" fmla="*/ 2147483646 w 184"/>
              <a:gd name="T49" fmla="*/ 2147483646 h 157"/>
              <a:gd name="T50" fmla="*/ 2147483646 w 184"/>
              <a:gd name="T51" fmla="*/ 2147483646 h 157"/>
              <a:gd name="T52" fmla="*/ 2147483646 w 184"/>
              <a:gd name="T53" fmla="*/ 2147483646 h 157"/>
              <a:gd name="T54" fmla="*/ 2147483646 w 184"/>
              <a:gd name="T55" fmla="*/ 2147483646 h 157"/>
              <a:gd name="T56" fmla="*/ 2147483646 w 184"/>
              <a:gd name="T57" fmla="*/ 0 h 15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84"/>
              <a:gd name="T88" fmla="*/ 0 h 157"/>
              <a:gd name="T89" fmla="*/ 184 w 184"/>
              <a:gd name="T90" fmla="*/ 157 h 15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84" h="157">
                <a:moveTo>
                  <a:pt x="50" y="0"/>
                </a:moveTo>
                <a:cubicBezTo>
                  <a:pt x="50" y="0"/>
                  <a:pt x="51" y="5"/>
                  <a:pt x="44" y="11"/>
                </a:cubicBezTo>
                <a:cubicBezTo>
                  <a:pt x="37" y="16"/>
                  <a:pt x="29" y="14"/>
                  <a:pt x="26" y="21"/>
                </a:cubicBezTo>
                <a:cubicBezTo>
                  <a:pt x="24" y="28"/>
                  <a:pt x="24" y="35"/>
                  <a:pt x="17" y="34"/>
                </a:cubicBezTo>
                <a:cubicBezTo>
                  <a:pt x="9" y="33"/>
                  <a:pt x="9" y="26"/>
                  <a:pt x="9" y="44"/>
                </a:cubicBezTo>
                <a:cubicBezTo>
                  <a:pt x="9" y="61"/>
                  <a:pt x="6" y="64"/>
                  <a:pt x="3" y="73"/>
                </a:cubicBezTo>
                <a:cubicBezTo>
                  <a:pt x="0" y="82"/>
                  <a:pt x="3" y="90"/>
                  <a:pt x="4" y="98"/>
                </a:cubicBezTo>
                <a:cubicBezTo>
                  <a:pt x="5" y="101"/>
                  <a:pt x="5" y="104"/>
                  <a:pt x="6" y="107"/>
                </a:cubicBezTo>
                <a:cubicBezTo>
                  <a:pt x="6" y="107"/>
                  <a:pt x="15" y="108"/>
                  <a:pt x="16" y="108"/>
                </a:cubicBezTo>
                <a:cubicBezTo>
                  <a:pt x="17" y="108"/>
                  <a:pt x="22" y="104"/>
                  <a:pt x="25" y="103"/>
                </a:cubicBezTo>
                <a:cubicBezTo>
                  <a:pt x="27" y="103"/>
                  <a:pt x="29" y="103"/>
                  <a:pt x="31" y="109"/>
                </a:cubicBezTo>
                <a:cubicBezTo>
                  <a:pt x="34" y="114"/>
                  <a:pt x="38" y="111"/>
                  <a:pt x="38" y="108"/>
                </a:cubicBezTo>
                <a:cubicBezTo>
                  <a:pt x="39" y="104"/>
                  <a:pt x="38" y="100"/>
                  <a:pt x="40" y="97"/>
                </a:cubicBezTo>
                <a:cubicBezTo>
                  <a:pt x="42" y="94"/>
                  <a:pt x="41" y="88"/>
                  <a:pt x="45" y="89"/>
                </a:cubicBezTo>
                <a:cubicBezTo>
                  <a:pt x="49" y="90"/>
                  <a:pt x="53" y="92"/>
                  <a:pt x="54" y="95"/>
                </a:cubicBezTo>
                <a:cubicBezTo>
                  <a:pt x="54" y="99"/>
                  <a:pt x="57" y="96"/>
                  <a:pt x="60" y="99"/>
                </a:cubicBezTo>
                <a:cubicBezTo>
                  <a:pt x="63" y="103"/>
                  <a:pt x="66" y="100"/>
                  <a:pt x="68" y="99"/>
                </a:cubicBezTo>
                <a:cubicBezTo>
                  <a:pt x="71" y="98"/>
                  <a:pt x="72" y="91"/>
                  <a:pt x="75" y="94"/>
                </a:cubicBezTo>
                <a:cubicBezTo>
                  <a:pt x="77" y="98"/>
                  <a:pt x="76" y="99"/>
                  <a:pt x="81" y="100"/>
                </a:cubicBezTo>
                <a:cubicBezTo>
                  <a:pt x="86" y="102"/>
                  <a:pt x="100" y="98"/>
                  <a:pt x="112" y="105"/>
                </a:cubicBezTo>
                <a:cubicBezTo>
                  <a:pt x="124" y="113"/>
                  <a:pt x="126" y="114"/>
                  <a:pt x="134" y="123"/>
                </a:cubicBezTo>
                <a:cubicBezTo>
                  <a:pt x="142" y="132"/>
                  <a:pt x="165" y="152"/>
                  <a:pt x="170" y="155"/>
                </a:cubicBezTo>
                <a:cubicBezTo>
                  <a:pt x="175" y="157"/>
                  <a:pt x="184" y="149"/>
                  <a:pt x="183" y="146"/>
                </a:cubicBezTo>
                <a:cubicBezTo>
                  <a:pt x="183" y="146"/>
                  <a:pt x="169" y="133"/>
                  <a:pt x="165" y="129"/>
                </a:cubicBezTo>
                <a:cubicBezTo>
                  <a:pt x="162" y="125"/>
                  <a:pt x="156" y="118"/>
                  <a:pt x="149" y="113"/>
                </a:cubicBezTo>
                <a:cubicBezTo>
                  <a:pt x="143" y="108"/>
                  <a:pt x="134" y="95"/>
                  <a:pt x="130" y="92"/>
                </a:cubicBezTo>
                <a:cubicBezTo>
                  <a:pt x="127" y="89"/>
                  <a:pt x="112" y="87"/>
                  <a:pt x="97" y="79"/>
                </a:cubicBezTo>
                <a:cubicBezTo>
                  <a:pt x="82" y="71"/>
                  <a:pt x="77" y="65"/>
                  <a:pt x="77" y="59"/>
                </a:cubicBezTo>
                <a:cubicBezTo>
                  <a:pt x="76" y="54"/>
                  <a:pt x="73" y="23"/>
                  <a:pt x="50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52" name="Freeform 688"/>
          <p:cNvSpPr>
            <a:spLocks/>
          </p:cNvSpPr>
          <p:nvPr userDrawn="1"/>
        </p:nvSpPr>
        <p:spPr bwMode="auto">
          <a:xfrm>
            <a:off x="6308102" y="4632776"/>
            <a:ext cx="395321" cy="304867"/>
          </a:xfrm>
          <a:custGeom>
            <a:avLst/>
            <a:gdLst>
              <a:gd name="T0" fmla="*/ 2147483646 w 423"/>
              <a:gd name="T1" fmla="*/ 2147483646 h 326"/>
              <a:gd name="T2" fmla="*/ 2147483646 w 423"/>
              <a:gd name="T3" fmla="*/ 2147483646 h 326"/>
              <a:gd name="T4" fmla="*/ 2147483646 w 423"/>
              <a:gd name="T5" fmla="*/ 2147483646 h 326"/>
              <a:gd name="T6" fmla="*/ 2147483646 w 423"/>
              <a:gd name="T7" fmla="*/ 2147483646 h 326"/>
              <a:gd name="T8" fmla="*/ 2147483646 w 423"/>
              <a:gd name="T9" fmla="*/ 2147483646 h 326"/>
              <a:gd name="T10" fmla="*/ 2147483646 w 423"/>
              <a:gd name="T11" fmla="*/ 2147483646 h 326"/>
              <a:gd name="T12" fmla="*/ 2147483646 w 423"/>
              <a:gd name="T13" fmla="*/ 2147483646 h 326"/>
              <a:gd name="T14" fmla="*/ 2147483646 w 423"/>
              <a:gd name="T15" fmla="*/ 2147483646 h 326"/>
              <a:gd name="T16" fmla="*/ 2147483646 w 423"/>
              <a:gd name="T17" fmla="*/ 2147483646 h 326"/>
              <a:gd name="T18" fmla="*/ 2147483646 w 423"/>
              <a:gd name="T19" fmla="*/ 2147483646 h 326"/>
              <a:gd name="T20" fmla="*/ 2147483646 w 423"/>
              <a:gd name="T21" fmla="*/ 2147483646 h 326"/>
              <a:gd name="T22" fmla="*/ 2147483646 w 423"/>
              <a:gd name="T23" fmla="*/ 2147483646 h 326"/>
              <a:gd name="T24" fmla="*/ 2147483646 w 423"/>
              <a:gd name="T25" fmla="*/ 2147483646 h 326"/>
              <a:gd name="T26" fmla="*/ 2147483646 w 423"/>
              <a:gd name="T27" fmla="*/ 2147483646 h 326"/>
              <a:gd name="T28" fmla="*/ 2147483646 w 423"/>
              <a:gd name="T29" fmla="*/ 2147483646 h 326"/>
              <a:gd name="T30" fmla="*/ 2147483646 w 423"/>
              <a:gd name="T31" fmla="*/ 2147483646 h 326"/>
              <a:gd name="T32" fmla="*/ 2147483646 w 423"/>
              <a:gd name="T33" fmla="*/ 2147483646 h 326"/>
              <a:gd name="T34" fmla="*/ 2147483646 w 423"/>
              <a:gd name="T35" fmla="*/ 2147483646 h 326"/>
              <a:gd name="T36" fmla="*/ 2147483646 w 423"/>
              <a:gd name="T37" fmla="*/ 2147483646 h 326"/>
              <a:gd name="T38" fmla="*/ 2147483646 w 423"/>
              <a:gd name="T39" fmla="*/ 2147483646 h 326"/>
              <a:gd name="T40" fmla="*/ 2147483646 w 423"/>
              <a:gd name="T41" fmla="*/ 2147483646 h 326"/>
              <a:gd name="T42" fmla="*/ 2147483646 w 423"/>
              <a:gd name="T43" fmla="*/ 2147483646 h 326"/>
              <a:gd name="T44" fmla="*/ 2147483646 w 423"/>
              <a:gd name="T45" fmla="*/ 2147483646 h 326"/>
              <a:gd name="T46" fmla="*/ 2147483646 w 423"/>
              <a:gd name="T47" fmla="*/ 2147483646 h 326"/>
              <a:gd name="T48" fmla="*/ 2147483646 w 423"/>
              <a:gd name="T49" fmla="*/ 2147483646 h 326"/>
              <a:gd name="T50" fmla="*/ 2147483646 w 423"/>
              <a:gd name="T51" fmla="*/ 2147483646 h 326"/>
              <a:gd name="T52" fmla="*/ 2147483646 w 423"/>
              <a:gd name="T53" fmla="*/ 2147483646 h 326"/>
              <a:gd name="T54" fmla="*/ 2147483646 w 423"/>
              <a:gd name="T55" fmla="*/ 2147483646 h 326"/>
              <a:gd name="T56" fmla="*/ 2147483646 w 423"/>
              <a:gd name="T57" fmla="*/ 2147483646 h 326"/>
              <a:gd name="T58" fmla="*/ 2147483646 w 423"/>
              <a:gd name="T59" fmla="*/ 2147483646 h 326"/>
              <a:gd name="T60" fmla="*/ 2147483646 w 423"/>
              <a:gd name="T61" fmla="*/ 2147483646 h 326"/>
              <a:gd name="T62" fmla="*/ 2147483646 w 423"/>
              <a:gd name="T63" fmla="*/ 2147483646 h 326"/>
              <a:gd name="T64" fmla="*/ 2147483646 w 423"/>
              <a:gd name="T65" fmla="*/ 2147483646 h 326"/>
              <a:gd name="T66" fmla="*/ 2147483646 w 423"/>
              <a:gd name="T67" fmla="*/ 2147483646 h 326"/>
              <a:gd name="T68" fmla="*/ 2147483646 w 423"/>
              <a:gd name="T69" fmla="*/ 2147483646 h 326"/>
              <a:gd name="T70" fmla="*/ 2147483646 w 423"/>
              <a:gd name="T71" fmla="*/ 2147483646 h 326"/>
              <a:gd name="T72" fmla="*/ 2147483646 w 423"/>
              <a:gd name="T73" fmla="*/ 2147483646 h 326"/>
              <a:gd name="T74" fmla="*/ 2147483646 w 423"/>
              <a:gd name="T75" fmla="*/ 2147483646 h 326"/>
              <a:gd name="T76" fmla="*/ 2147483646 w 423"/>
              <a:gd name="T77" fmla="*/ 2147483646 h 326"/>
              <a:gd name="T78" fmla="*/ 2147483646 w 423"/>
              <a:gd name="T79" fmla="*/ 2147483646 h 326"/>
              <a:gd name="T80" fmla="*/ 2147483646 w 423"/>
              <a:gd name="T81" fmla="*/ 2147483646 h 326"/>
              <a:gd name="T82" fmla="*/ 2147483646 w 423"/>
              <a:gd name="T83" fmla="*/ 2147483646 h 326"/>
              <a:gd name="T84" fmla="*/ 2147483646 w 423"/>
              <a:gd name="T85" fmla="*/ 2147483646 h 326"/>
              <a:gd name="T86" fmla="*/ 2147483646 w 423"/>
              <a:gd name="T87" fmla="*/ 2147483646 h 326"/>
              <a:gd name="T88" fmla="*/ 2147483646 w 423"/>
              <a:gd name="T89" fmla="*/ 2147483646 h 326"/>
              <a:gd name="T90" fmla="*/ 2147483646 w 423"/>
              <a:gd name="T91" fmla="*/ 2147483646 h 326"/>
              <a:gd name="T92" fmla="*/ 2147483646 w 423"/>
              <a:gd name="T93" fmla="*/ 2147483646 h 326"/>
              <a:gd name="T94" fmla="*/ 2147483646 w 423"/>
              <a:gd name="T95" fmla="*/ 2147483646 h 326"/>
              <a:gd name="T96" fmla="*/ 2147483646 w 423"/>
              <a:gd name="T97" fmla="*/ 2147483646 h 326"/>
              <a:gd name="T98" fmla="*/ 2147483646 w 423"/>
              <a:gd name="T99" fmla="*/ 2147483646 h 326"/>
              <a:gd name="T100" fmla="*/ 2147483646 w 423"/>
              <a:gd name="T101" fmla="*/ 2147483646 h 326"/>
              <a:gd name="T102" fmla="*/ 2147483646 w 423"/>
              <a:gd name="T103" fmla="*/ 2147483646 h 326"/>
              <a:gd name="T104" fmla="*/ 2147483646 w 423"/>
              <a:gd name="T105" fmla="*/ 2147483646 h 326"/>
              <a:gd name="T106" fmla="*/ 2147483646 w 423"/>
              <a:gd name="T107" fmla="*/ 2147483646 h 326"/>
              <a:gd name="T108" fmla="*/ 2147483646 w 423"/>
              <a:gd name="T109" fmla="*/ 2147483646 h 326"/>
              <a:gd name="T110" fmla="*/ 2147483646 w 423"/>
              <a:gd name="T111" fmla="*/ 2147483646 h 326"/>
              <a:gd name="T112" fmla="*/ 2147483646 w 423"/>
              <a:gd name="T113" fmla="*/ 2147483646 h 3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23"/>
              <a:gd name="T172" fmla="*/ 0 h 326"/>
              <a:gd name="T173" fmla="*/ 423 w 423"/>
              <a:gd name="T174" fmla="*/ 326 h 32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23" h="326">
                <a:moveTo>
                  <a:pt x="263" y="312"/>
                </a:moveTo>
                <a:cubicBezTo>
                  <a:pt x="263" y="312"/>
                  <a:pt x="252" y="312"/>
                  <a:pt x="248" y="312"/>
                </a:cubicBezTo>
                <a:cubicBezTo>
                  <a:pt x="244" y="311"/>
                  <a:pt x="240" y="313"/>
                  <a:pt x="233" y="304"/>
                </a:cubicBezTo>
                <a:cubicBezTo>
                  <a:pt x="227" y="295"/>
                  <a:pt x="220" y="312"/>
                  <a:pt x="213" y="314"/>
                </a:cubicBezTo>
                <a:cubicBezTo>
                  <a:pt x="206" y="316"/>
                  <a:pt x="199" y="326"/>
                  <a:pt x="199" y="326"/>
                </a:cubicBezTo>
                <a:cubicBezTo>
                  <a:pt x="158" y="323"/>
                  <a:pt x="158" y="323"/>
                  <a:pt x="158" y="323"/>
                </a:cubicBezTo>
                <a:cubicBezTo>
                  <a:pt x="128" y="304"/>
                  <a:pt x="128" y="304"/>
                  <a:pt x="128" y="304"/>
                </a:cubicBezTo>
                <a:cubicBezTo>
                  <a:pt x="128" y="304"/>
                  <a:pt x="103" y="303"/>
                  <a:pt x="101" y="301"/>
                </a:cubicBezTo>
                <a:cubicBezTo>
                  <a:pt x="99" y="299"/>
                  <a:pt x="93" y="298"/>
                  <a:pt x="93" y="298"/>
                </a:cubicBezTo>
                <a:cubicBezTo>
                  <a:pt x="93" y="298"/>
                  <a:pt x="93" y="298"/>
                  <a:pt x="93" y="298"/>
                </a:cubicBezTo>
                <a:cubicBezTo>
                  <a:pt x="93" y="298"/>
                  <a:pt x="96" y="278"/>
                  <a:pt x="94" y="273"/>
                </a:cubicBezTo>
                <a:cubicBezTo>
                  <a:pt x="93" y="268"/>
                  <a:pt x="86" y="277"/>
                  <a:pt x="79" y="276"/>
                </a:cubicBezTo>
                <a:cubicBezTo>
                  <a:pt x="72" y="274"/>
                  <a:pt x="77" y="270"/>
                  <a:pt x="70" y="267"/>
                </a:cubicBezTo>
                <a:cubicBezTo>
                  <a:pt x="63" y="263"/>
                  <a:pt x="63" y="257"/>
                  <a:pt x="61" y="246"/>
                </a:cubicBezTo>
                <a:cubicBezTo>
                  <a:pt x="60" y="235"/>
                  <a:pt x="51" y="237"/>
                  <a:pt x="46" y="228"/>
                </a:cubicBezTo>
                <a:cubicBezTo>
                  <a:pt x="41" y="219"/>
                  <a:pt x="42" y="218"/>
                  <a:pt x="34" y="214"/>
                </a:cubicBezTo>
                <a:cubicBezTo>
                  <a:pt x="27" y="210"/>
                  <a:pt x="20" y="215"/>
                  <a:pt x="10" y="214"/>
                </a:cubicBezTo>
                <a:cubicBezTo>
                  <a:pt x="0" y="213"/>
                  <a:pt x="14" y="203"/>
                  <a:pt x="19" y="191"/>
                </a:cubicBezTo>
                <a:cubicBezTo>
                  <a:pt x="23" y="180"/>
                  <a:pt x="28" y="191"/>
                  <a:pt x="33" y="192"/>
                </a:cubicBezTo>
                <a:cubicBezTo>
                  <a:pt x="39" y="194"/>
                  <a:pt x="42" y="191"/>
                  <a:pt x="41" y="182"/>
                </a:cubicBezTo>
                <a:cubicBezTo>
                  <a:pt x="40" y="173"/>
                  <a:pt x="39" y="168"/>
                  <a:pt x="42" y="164"/>
                </a:cubicBezTo>
                <a:cubicBezTo>
                  <a:pt x="44" y="159"/>
                  <a:pt x="44" y="147"/>
                  <a:pt x="46" y="131"/>
                </a:cubicBezTo>
                <a:cubicBezTo>
                  <a:pt x="47" y="116"/>
                  <a:pt x="49" y="123"/>
                  <a:pt x="54" y="123"/>
                </a:cubicBezTo>
                <a:cubicBezTo>
                  <a:pt x="59" y="123"/>
                  <a:pt x="62" y="127"/>
                  <a:pt x="63" y="118"/>
                </a:cubicBezTo>
                <a:cubicBezTo>
                  <a:pt x="63" y="109"/>
                  <a:pt x="62" y="103"/>
                  <a:pt x="64" y="99"/>
                </a:cubicBezTo>
                <a:cubicBezTo>
                  <a:pt x="66" y="95"/>
                  <a:pt x="73" y="89"/>
                  <a:pt x="74" y="79"/>
                </a:cubicBezTo>
                <a:cubicBezTo>
                  <a:pt x="74" y="70"/>
                  <a:pt x="78" y="68"/>
                  <a:pt x="83" y="68"/>
                </a:cubicBezTo>
                <a:cubicBezTo>
                  <a:pt x="87" y="68"/>
                  <a:pt x="89" y="71"/>
                  <a:pt x="89" y="67"/>
                </a:cubicBezTo>
                <a:cubicBezTo>
                  <a:pt x="89" y="62"/>
                  <a:pt x="96" y="43"/>
                  <a:pt x="99" y="36"/>
                </a:cubicBezTo>
                <a:cubicBezTo>
                  <a:pt x="101" y="33"/>
                  <a:pt x="101" y="28"/>
                  <a:pt x="101" y="23"/>
                </a:cubicBezTo>
                <a:cubicBezTo>
                  <a:pt x="101" y="19"/>
                  <a:pt x="101" y="19"/>
                  <a:pt x="101" y="19"/>
                </a:cubicBezTo>
                <a:cubicBezTo>
                  <a:pt x="101" y="19"/>
                  <a:pt x="110" y="20"/>
                  <a:pt x="111" y="20"/>
                </a:cubicBezTo>
                <a:cubicBezTo>
                  <a:pt x="112" y="20"/>
                  <a:pt x="117" y="16"/>
                  <a:pt x="120" y="15"/>
                </a:cubicBezTo>
                <a:cubicBezTo>
                  <a:pt x="122" y="15"/>
                  <a:pt x="124" y="15"/>
                  <a:pt x="126" y="21"/>
                </a:cubicBezTo>
                <a:cubicBezTo>
                  <a:pt x="129" y="26"/>
                  <a:pt x="133" y="23"/>
                  <a:pt x="133" y="20"/>
                </a:cubicBezTo>
                <a:cubicBezTo>
                  <a:pt x="134" y="16"/>
                  <a:pt x="133" y="12"/>
                  <a:pt x="135" y="9"/>
                </a:cubicBezTo>
                <a:cubicBezTo>
                  <a:pt x="137" y="6"/>
                  <a:pt x="136" y="0"/>
                  <a:pt x="140" y="1"/>
                </a:cubicBezTo>
                <a:cubicBezTo>
                  <a:pt x="144" y="2"/>
                  <a:pt x="148" y="4"/>
                  <a:pt x="149" y="7"/>
                </a:cubicBezTo>
                <a:cubicBezTo>
                  <a:pt x="149" y="11"/>
                  <a:pt x="152" y="8"/>
                  <a:pt x="155" y="11"/>
                </a:cubicBezTo>
                <a:cubicBezTo>
                  <a:pt x="158" y="15"/>
                  <a:pt x="161" y="12"/>
                  <a:pt x="163" y="11"/>
                </a:cubicBezTo>
                <a:cubicBezTo>
                  <a:pt x="166" y="10"/>
                  <a:pt x="167" y="3"/>
                  <a:pt x="170" y="6"/>
                </a:cubicBezTo>
                <a:cubicBezTo>
                  <a:pt x="172" y="10"/>
                  <a:pt x="171" y="11"/>
                  <a:pt x="176" y="12"/>
                </a:cubicBezTo>
                <a:cubicBezTo>
                  <a:pt x="181" y="14"/>
                  <a:pt x="195" y="10"/>
                  <a:pt x="207" y="17"/>
                </a:cubicBezTo>
                <a:cubicBezTo>
                  <a:pt x="219" y="25"/>
                  <a:pt x="221" y="26"/>
                  <a:pt x="229" y="35"/>
                </a:cubicBezTo>
                <a:cubicBezTo>
                  <a:pt x="237" y="44"/>
                  <a:pt x="260" y="64"/>
                  <a:pt x="265" y="67"/>
                </a:cubicBezTo>
                <a:cubicBezTo>
                  <a:pt x="265" y="67"/>
                  <a:pt x="260" y="72"/>
                  <a:pt x="258" y="74"/>
                </a:cubicBezTo>
                <a:cubicBezTo>
                  <a:pt x="256" y="75"/>
                  <a:pt x="250" y="82"/>
                  <a:pt x="249" y="86"/>
                </a:cubicBezTo>
                <a:cubicBezTo>
                  <a:pt x="247" y="89"/>
                  <a:pt x="244" y="93"/>
                  <a:pt x="247" y="100"/>
                </a:cubicBezTo>
                <a:cubicBezTo>
                  <a:pt x="250" y="108"/>
                  <a:pt x="252" y="111"/>
                  <a:pt x="255" y="111"/>
                </a:cubicBezTo>
                <a:cubicBezTo>
                  <a:pt x="258" y="110"/>
                  <a:pt x="279" y="108"/>
                  <a:pt x="279" y="108"/>
                </a:cubicBezTo>
                <a:cubicBezTo>
                  <a:pt x="279" y="108"/>
                  <a:pt x="273" y="119"/>
                  <a:pt x="279" y="126"/>
                </a:cubicBezTo>
                <a:cubicBezTo>
                  <a:pt x="284" y="134"/>
                  <a:pt x="304" y="160"/>
                  <a:pt x="320" y="166"/>
                </a:cubicBezTo>
                <a:cubicBezTo>
                  <a:pt x="335" y="172"/>
                  <a:pt x="402" y="191"/>
                  <a:pt x="423" y="188"/>
                </a:cubicBezTo>
                <a:cubicBezTo>
                  <a:pt x="344" y="281"/>
                  <a:pt x="344" y="281"/>
                  <a:pt x="344" y="281"/>
                </a:cubicBezTo>
                <a:cubicBezTo>
                  <a:pt x="344" y="281"/>
                  <a:pt x="315" y="283"/>
                  <a:pt x="310" y="285"/>
                </a:cubicBezTo>
                <a:cubicBezTo>
                  <a:pt x="304" y="287"/>
                  <a:pt x="294" y="289"/>
                  <a:pt x="291" y="295"/>
                </a:cubicBezTo>
                <a:cubicBezTo>
                  <a:pt x="288" y="300"/>
                  <a:pt x="267" y="301"/>
                  <a:pt x="263" y="31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53" name="Freeform 689"/>
          <p:cNvSpPr>
            <a:spLocks/>
          </p:cNvSpPr>
          <p:nvPr userDrawn="1"/>
        </p:nvSpPr>
        <p:spPr bwMode="auto">
          <a:xfrm>
            <a:off x="6535914" y="4686379"/>
            <a:ext cx="45228" cy="50253"/>
          </a:xfrm>
          <a:custGeom>
            <a:avLst/>
            <a:gdLst>
              <a:gd name="T0" fmla="*/ 2147483646 w 49"/>
              <a:gd name="T1" fmla="*/ 2147483646 h 54"/>
              <a:gd name="T2" fmla="*/ 2147483646 w 49"/>
              <a:gd name="T3" fmla="*/ 2147483646 h 54"/>
              <a:gd name="T4" fmla="*/ 2147483646 w 49"/>
              <a:gd name="T5" fmla="*/ 2147483646 h 54"/>
              <a:gd name="T6" fmla="*/ 2147483646 w 49"/>
              <a:gd name="T7" fmla="*/ 2147483646 h 54"/>
              <a:gd name="T8" fmla="*/ 2147483646 w 49"/>
              <a:gd name="T9" fmla="*/ 2147483646 h 54"/>
              <a:gd name="T10" fmla="*/ 2147483646 w 49"/>
              <a:gd name="T11" fmla="*/ 2147483646 h 54"/>
              <a:gd name="T12" fmla="*/ 2147483646 w 49"/>
              <a:gd name="T13" fmla="*/ 2147483646 h 54"/>
              <a:gd name="T14" fmla="*/ 2147483646 w 49"/>
              <a:gd name="T15" fmla="*/ 2147483646 h 54"/>
              <a:gd name="T16" fmla="*/ 2147483646 w 49"/>
              <a:gd name="T17" fmla="*/ 2147483646 h 54"/>
              <a:gd name="T18" fmla="*/ 2147483646 w 49"/>
              <a:gd name="T19" fmla="*/ 2147483646 h 54"/>
              <a:gd name="T20" fmla="*/ 2147483646 w 49"/>
              <a:gd name="T21" fmla="*/ 2147483646 h 54"/>
              <a:gd name="T22" fmla="*/ 2147483646 w 49"/>
              <a:gd name="T23" fmla="*/ 2147483646 h 54"/>
              <a:gd name="T24" fmla="*/ 2147483646 w 49"/>
              <a:gd name="T25" fmla="*/ 2147483646 h 54"/>
              <a:gd name="T26" fmla="*/ 2147483646 w 49"/>
              <a:gd name="T27" fmla="*/ 2147483646 h 54"/>
              <a:gd name="T28" fmla="*/ 2147483646 w 49"/>
              <a:gd name="T29" fmla="*/ 2147483646 h 5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9"/>
              <a:gd name="T46" fmla="*/ 0 h 54"/>
              <a:gd name="T47" fmla="*/ 49 w 49"/>
              <a:gd name="T48" fmla="*/ 54 h 5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9" h="54">
                <a:moveTo>
                  <a:pt x="35" y="51"/>
                </a:moveTo>
                <a:cubicBezTo>
                  <a:pt x="35" y="51"/>
                  <a:pt x="14" y="53"/>
                  <a:pt x="11" y="54"/>
                </a:cubicBezTo>
                <a:cubicBezTo>
                  <a:pt x="8" y="54"/>
                  <a:pt x="6" y="51"/>
                  <a:pt x="3" y="43"/>
                </a:cubicBezTo>
                <a:cubicBezTo>
                  <a:pt x="0" y="36"/>
                  <a:pt x="3" y="32"/>
                  <a:pt x="5" y="29"/>
                </a:cubicBezTo>
                <a:cubicBezTo>
                  <a:pt x="6" y="25"/>
                  <a:pt x="12" y="18"/>
                  <a:pt x="14" y="17"/>
                </a:cubicBezTo>
                <a:cubicBezTo>
                  <a:pt x="16" y="15"/>
                  <a:pt x="21" y="10"/>
                  <a:pt x="21" y="10"/>
                </a:cubicBezTo>
                <a:cubicBezTo>
                  <a:pt x="26" y="12"/>
                  <a:pt x="35" y="4"/>
                  <a:pt x="34" y="1"/>
                </a:cubicBezTo>
                <a:cubicBezTo>
                  <a:pt x="34" y="1"/>
                  <a:pt x="39" y="0"/>
                  <a:pt x="41" y="5"/>
                </a:cubicBezTo>
                <a:cubicBezTo>
                  <a:pt x="44" y="9"/>
                  <a:pt x="46" y="14"/>
                  <a:pt x="47" y="15"/>
                </a:cubicBezTo>
                <a:cubicBezTo>
                  <a:pt x="47" y="17"/>
                  <a:pt x="46" y="21"/>
                  <a:pt x="43" y="23"/>
                </a:cubicBezTo>
                <a:cubicBezTo>
                  <a:pt x="39" y="24"/>
                  <a:pt x="35" y="26"/>
                  <a:pt x="37" y="28"/>
                </a:cubicBezTo>
                <a:cubicBezTo>
                  <a:pt x="39" y="30"/>
                  <a:pt x="43" y="29"/>
                  <a:pt x="44" y="31"/>
                </a:cubicBezTo>
                <a:cubicBezTo>
                  <a:pt x="46" y="34"/>
                  <a:pt x="45" y="35"/>
                  <a:pt x="47" y="36"/>
                </a:cubicBezTo>
                <a:cubicBezTo>
                  <a:pt x="48" y="37"/>
                  <a:pt x="49" y="38"/>
                  <a:pt x="49" y="39"/>
                </a:cubicBezTo>
                <a:cubicBezTo>
                  <a:pt x="48" y="41"/>
                  <a:pt x="35" y="51"/>
                  <a:pt x="35" y="5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54" name="Freeform 690"/>
          <p:cNvSpPr>
            <a:spLocks/>
          </p:cNvSpPr>
          <p:nvPr userDrawn="1"/>
        </p:nvSpPr>
        <p:spPr bwMode="auto">
          <a:xfrm>
            <a:off x="6530889" y="4683029"/>
            <a:ext cx="256288" cy="390296"/>
          </a:xfrm>
          <a:custGeom>
            <a:avLst/>
            <a:gdLst>
              <a:gd name="T0" fmla="*/ 2147483646 w 274"/>
              <a:gd name="T1" fmla="*/ 2147483646 h 418"/>
              <a:gd name="T2" fmla="*/ 2147483646 w 274"/>
              <a:gd name="T3" fmla="*/ 2147483646 h 418"/>
              <a:gd name="T4" fmla="*/ 0 w 274"/>
              <a:gd name="T5" fmla="*/ 2147483646 h 418"/>
              <a:gd name="T6" fmla="*/ 2147483646 w 274"/>
              <a:gd name="T7" fmla="*/ 2147483646 h 418"/>
              <a:gd name="T8" fmla="*/ 2147483646 w 274"/>
              <a:gd name="T9" fmla="*/ 2147483646 h 418"/>
              <a:gd name="T10" fmla="*/ 2147483646 w 274"/>
              <a:gd name="T11" fmla="*/ 2147483646 h 418"/>
              <a:gd name="T12" fmla="*/ 2147483646 w 274"/>
              <a:gd name="T13" fmla="*/ 2147483646 h 418"/>
              <a:gd name="T14" fmla="*/ 2147483646 w 274"/>
              <a:gd name="T15" fmla="*/ 2147483646 h 418"/>
              <a:gd name="T16" fmla="*/ 2147483646 w 274"/>
              <a:gd name="T17" fmla="*/ 2147483646 h 418"/>
              <a:gd name="T18" fmla="*/ 2147483646 w 274"/>
              <a:gd name="T19" fmla="*/ 2147483646 h 418"/>
              <a:gd name="T20" fmla="*/ 2147483646 w 274"/>
              <a:gd name="T21" fmla="*/ 2147483646 h 418"/>
              <a:gd name="T22" fmla="*/ 2147483646 w 274"/>
              <a:gd name="T23" fmla="*/ 2147483646 h 418"/>
              <a:gd name="T24" fmla="*/ 2147483646 w 274"/>
              <a:gd name="T25" fmla="*/ 2147483646 h 418"/>
              <a:gd name="T26" fmla="*/ 2147483646 w 274"/>
              <a:gd name="T27" fmla="*/ 2147483646 h 418"/>
              <a:gd name="T28" fmla="*/ 2147483646 w 274"/>
              <a:gd name="T29" fmla="*/ 2147483646 h 418"/>
              <a:gd name="T30" fmla="*/ 2147483646 w 274"/>
              <a:gd name="T31" fmla="*/ 2147483646 h 418"/>
              <a:gd name="T32" fmla="*/ 2147483646 w 274"/>
              <a:gd name="T33" fmla="*/ 2147483646 h 418"/>
              <a:gd name="T34" fmla="*/ 2147483646 w 274"/>
              <a:gd name="T35" fmla="*/ 2147483646 h 418"/>
              <a:gd name="T36" fmla="*/ 2147483646 w 274"/>
              <a:gd name="T37" fmla="*/ 2147483646 h 418"/>
              <a:gd name="T38" fmla="*/ 2147483646 w 274"/>
              <a:gd name="T39" fmla="*/ 2147483646 h 418"/>
              <a:gd name="T40" fmla="*/ 2147483646 w 274"/>
              <a:gd name="T41" fmla="*/ 2147483646 h 418"/>
              <a:gd name="T42" fmla="*/ 2147483646 w 274"/>
              <a:gd name="T43" fmla="*/ 2147483646 h 418"/>
              <a:gd name="T44" fmla="*/ 2147483646 w 274"/>
              <a:gd name="T45" fmla="*/ 2147483646 h 418"/>
              <a:gd name="T46" fmla="*/ 2147483646 w 274"/>
              <a:gd name="T47" fmla="*/ 2147483646 h 418"/>
              <a:gd name="T48" fmla="*/ 2147483646 w 274"/>
              <a:gd name="T49" fmla="*/ 2147483646 h 418"/>
              <a:gd name="T50" fmla="*/ 2147483646 w 274"/>
              <a:gd name="T51" fmla="*/ 2147483646 h 418"/>
              <a:gd name="T52" fmla="*/ 2147483646 w 274"/>
              <a:gd name="T53" fmla="*/ 2147483646 h 418"/>
              <a:gd name="T54" fmla="*/ 2147483646 w 274"/>
              <a:gd name="T55" fmla="*/ 2147483646 h 418"/>
              <a:gd name="T56" fmla="*/ 2147483646 w 274"/>
              <a:gd name="T57" fmla="*/ 2147483646 h 418"/>
              <a:gd name="T58" fmla="*/ 2147483646 w 274"/>
              <a:gd name="T59" fmla="*/ 2147483646 h 418"/>
              <a:gd name="T60" fmla="*/ 2147483646 w 274"/>
              <a:gd name="T61" fmla="*/ 2147483646 h 418"/>
              <a:gd name="T62" fmla="*/ 2147483646 w 274"/>
              <a:gd name="T63" fmla="*/ 2147483646 h 418"/>
              <a:gd name="T64" fmla="*/ 2147483646 w 274"/>
              <a:gd name="T65" fmla="*/ 2147483646 h 41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74"/>
              <a:gd name="T100" fmla="*/ 0 h 418"/>
              <a:gd name="T101" fmla="*/ 274 w 274"/>
              <a:gd name="T102" fmla="*/ 418 h 41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74" h="418">
                <a:moveTo>
                  <a:pt x="18" y="418"/>
                </a:moveTo>
                <a:cubicBezTo>
                  <a:pt x="2" y="398"/>
                  <a:pt x="2" y="398"/>
                  <a:pt x="2" y="398"/>
                </a:cubicBezTo>
                <a:cubicBezTo>
                  <a:pt x="0" y="291"/>
                  <a:pt x="0" y="291"/>
                  <a:pt x="0" y="291"/>
                </a:cubicBezTo>
                <a:cubicBezTo>
                  <a:pt x="5" y="288"/>
                  <a:pt x="24" y="258"/>
                  <a:pt x="24" y="258"/>
                </a:cubicBezTo>
                <a:cubicBezTo>
                  <a:pt x="28" y="247"/>
                  <a:pt x="49" y="246"/>
                  <a:pt x="52" y="241"/>
                </a:cubicBezTo>
                <a:cubicBezTo>
                  <a:pt x="55" y="235"/>
                  <a:pt x="65" y="233"/>
                  <a:pt x="71" y="231"/>
                </a:cubicBezTo>
                <a:cubicBezTo>
                  <a:pt x="76" y="229"/>
                  <a:pt x="105" y="227"/>
                  <a:pt x="105" y="227"/>
                </a:cubicBezTo>
                <a:cubicBezTo>
                  <a:pt x="184" y="134"/>
                  <a:pt x="184" y="134"/>
                  <a:pt x="184" y="134"/>
                </a:cubicBezTo>
                <a:cubicBezTo>
                  <a:pt x="163" y="137"/>
                  <a:pt x="96" y="118"/>
                  <a:pt x="81" y="112"/>
                </a:cubicBezTo>
                <a:cubicBezTo>
                  <a:pt x="65" y="106"/>
                  <a:pt x="45" y="80"/>
                  <a:pt x="40" y="72"/>
                </a:cubicBezTo>
                <a:cubicBezTo>
                  <a:pt x="34" y="65"/>
                  <a:pt x="40" y="54"/>
                  <a:pt x="40" y="54"/>
                </a:cubicBezTo>
                <a:cubicBezTo>
                  <a:pt x="40" y="54"/>
                  <a:pt x="53" y="44"/>
                  <a:pt x="54" y="42"/>
                </a:cubicBezTo>
                <a:cubicBezTo>
                  <a:pt x="54" y="42"/>
                  <a:pt x="70" y="73"/>
                  <a:pt x="84" y="71"/>
                </a:cubicBezTo>
                <a:cubicBezTo>
                  <a:pt x="97" y="70"/>
                  <a:pt x="109" y="63"/>
                  <a:pt x="115" y="59"/>
                </a:cubicBezTo>
                <a:cubicBezTo>
                  <a:pt x="121" y="54"/>
                  <a:pt x="124" y="50"/>
                  <a:pt x="133" y="56"/>
                </a:cubicBezTo>
                <a:cubicBezTo>
                  <a:pt x="142" y="62"/>
                  <a:pt x="148" y="53"/>
                  <a:pt x="151" y="52"/>
                </a:cubicBezTo>
                <a:cubicBezTo>
                  <a:pt x="154" y="51"/>
                  <a:pt x="153" y="46"/>
                  <a:pt x="159" y="43"/>
                </a:cubicBezTo>
                <a:cubicBezTo>
                  <a:pt x="165" y="40"/>
                  <a:pt x="163" y="35"/>
                  <a:pt x="173" y="39"/>
                </a:cubicBezTo>
                <a:cubicBezTo>
                  <a:pt x="184" y="44"/>
                  <a:pt x="185" y="36"/>
                  <a:pt x="193" y="35"/>
                </a:cubicBezTo>
                <a:cubicBezTo>
                  <a:pt x="201" y="33"/>
                  <a:pt x="210" y="28"/>
                  <a:pt x="213" y="32"/>
                </a:cubicBezTo>
                <a:cubicBezTo>
                  <a:pt x="216" y="35"/>
                  <a:pt x="225" y="32"/>
                  <a:pt x="231" y="30"/>
                </a:cubicBezTo>
                <a:cubicBezTo>
                  <a:pt x="237" y="29"/>
                  <a:pt x="240" y="24"/>
                  <a:pt x="243" y="19"/>
                </a:cubicBezTo>
                <a:cubicBezTo>
                  <a:pt x="246" y="15"/>
                  <a:pt x="251" y="12"/>
                  <a:pt x="255" y="16"/>
                </a:cubicBezTo>
                <a:cubicBezTo>
                  <a:pt x="258" y="19"/>
                  <a:pt x="274" y="0"/>
                  <a:pt x="267" y="18"/>
                </a:cubicBezTo>
                <a:cubicBezTo>
                  <a:pt x="259" y="36"/>
                  <a:pt x="263" y="43"/>
                  <a:pt x="263" y="49"/>
                </a:cubicBezTo>
                <a:cubicBezTo>
                  <a:pt x="263" y="55"/>
                  <a:pt x="255" y="55"/>
                  <a:pt x="255" y="67"/>
                </a:cubicBezTo>
                <a:cubicBezTo>
                  <a:pt x="256" y="78"/>
                  <a:pt x="257" y="90"/>
                  <a:pt x="253" y="99"/>
                </a:cubicBezTo>
                <a:cubicBezTo>
                  <a:pt x="249" y="108"/>
                  <a:pt x="242" y="117"/>
                  <a:pt x="235" y="134"/>
                </a:cubicBezTo>
                <a:cubicBezTo>
                  <a:pt x="228" y="151"/>
                  <a:pt x="224" y="169"/>
                  <a:pt x="218" y="187"/>
                </a:cubicBezTo>
                <a:cubicBezTo>
                  <a:pt x="212" y="204"/>
                  <a:pt x="203" y="222"/>
                  <a:pt x="179" y="254"/>
                </a:cubicBezTo>
                <a:cubicBezTo>
                  <a:pt x="154" y="287"/>
                  <a:pt x="138" y="307"/>
                  <a:pt x="118" y="316"/>
                </a:cubicBezTo>
                <a:cubicBezTo>
                  <a:pt x="97" y="324"/>
                  <a:pt x="87" y="334"/>
                  <a:pt x="70" y="355"/>
                </a:cubicBezTo>
                <a:cubicBezTo>
                  <a:pt x="53" y="375"/>
                  <a:pt x="26" y="393"/>
                  <a:pt x="18" y="418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55" name="Freeform 691"/>
          <p:cNvSpPr>
            <a:spLocks/>
          </p:cNvSpPr>
          <p:nvPr userDrawn="1"/>
        </p:nvSpPr>
        <p:spPr bwMode="auto">
          <a:xfrm>
            <a:off x="6031713" y="5252561"/>
            <a:ext cx="311567" cy="259639"/>
          </a:xfrm>
          <a:custGeom>
            <a:avLst/>
            <a:gdLst>
              <a:gd name="T0" fmla="*/ 2147483646 w 333"/>
              <a:gd name="T1" fmla="*/ 2147483646 h 279"/>
              <a:gd name="T2" fmla="*/ 2147483646 w 333"/>
              <a:gd name="T3" fmla="*/ 2147483646 h 279"/>
              <a:gd name="T4" fmla="*/ 2147483646 w 333"/>
              <a:gd name="T5" fmla="*/ 2147483646 h 279"/>
              <a:gd name="T6" fmla="*/ 2147483646 w 333"/>
              <a:gd name="T7" fmla="*/ 2147483646 h 279"/>
              <a:gd name="T8" fmla="*/ 2147483646 w 333"/>
              <a:gd name="T9" fmla="*/ 2147483646 h 279"/>
              <a:gd name="T10" fmla="*/ 2147483646 w 333"/>
              <a:gd name="T11" fmla="*/ 2147483646 h 279"/>
              <a:gd name="T12" fmla="*/ 2147483646 w 333"/>
              <a:gd name="T13" fmla="*/ 2147483646 h 279"/>
              <a:gd name="T14" fmla="*/ 2147483646 w 333"/>
              <a:gd name="T15" fmla="*/ 2147483646 h 279"/>
              <a:gd name="T16" fmla="*/ 2147483646 w 333"/>
              <a:gd name="T17" fmla="*/ 2147483646 h 279"/>
              <a:gd name="T18" fmla="*/ 2147483646 w 333"/>
              <a:gd name="T19" fmla="*/ 2147483646 h 279"/>
              <a:gd name="T20" fmla="*/ 2147483646 w 333"/>
              <a:gd name="T21" fmla="*/ 2147483646 h 279"/>
              <a:gd name="T22" fmla="*/ 2147483646 w 333"/>
              <a:gd name="T23" fmla="*/ 2147483646 h 279"/>
              <a:gd name="T24" fmla="*/ 2147483646 w 333"/>
              <a:gd name="T25" fmla="*/ 2147483646 h 279"/>
              <a:gd name="T26" fmla="*/ 2147483646 w 333"/>
              <a:gd name="T27" fmla="*/ 2147483646 h 279"/>
              <a:gd name="T28" fmla="*/ 2147483646 w 333"/>
              <a:gd name="T29" fmla="*/ 2147483646 h 279"/>
              <a:gd name="T30" fmla="*/ 2147483646 w 333"/>
              <a:gd name="T31" fmla="*/ 2147483646 h 279"/>
              <a:gd name="T32" fmla="*/ 2147483646 w 333"/>
              <a:gd name="T33" fmla="*/ 2147483646 h 279"/>
              <a:gd name="T34" fmla="*/ 2147483646 w 333"/>
              <a:gd name="T35" fmla="*/ 2147483646 h 279"/>
              <a:gd name="T36" fmla="*/ 2147483646 w 333"/>
              <a:gd name="T37" fmla="*/ 2147483646 h 279"/>
              <a:gd name="T38" fmla="*/ 2147483646 w 333"/>
              <a:gd name="T39" fmla="*/ 2147483646 h 279"/>
              <a:gd name="T40" fmla="*/ 2147483646 w 333"/>
              <a:gd name="T41" fmla="*/ 2147483646 h 279"/>
              <a:gd name="T42" fmla="*/ 2147483646 w 333"/>
              <a:gd name="T43" fmla="*/ 2147483646 h 279"/>
              <a:gd name="T44" fmla="*/ 2147483646 w 333"/>
              <a:gd name="T45" fmla="*/ 2147483646 h 279"/>
              <a:gd name="T46" fmla="*/ 2147483646 w 333"/>
              <a:gd name="T47" fmla="*/ 2147483646 h 279"/>
              <a:gd name="T48" fmla="*/ 2147483646 w 333"/>
              <a:gd name="T49" fmla="*/ 2147483646 h 279"/>
              <a:gd name="T50" fmla="*/ 2147483646 w 333"/>
              <a:gd name="T51" fmla="*/ 2147483646 h 279"/>
              <a:gd name="T52" fmla="*/ 2147483646 w 333"/>
              <a:gd name="T53" fmla="*/ 2147483646 h 279"/>
              <a:gd name="T54" fmla="*/ 2147483646 w 333"/>
              <a:gd name="T55" fmla="*/ 2147483646 h 279"/>
              <a:gd name="T56" fmla="*/ 2147483646 w 333"/>
              <a:gd name="T57" fmla="*/ 2147483646 h 279"/>
              <a:gd name="T58" fmla="*/ 2147483646 w 333"/>
              <a:gd name="T59" fmla="*/ 2147483646 h 279"/>
              <a:gd name="T60" fmla="*/ 2147483646 w 333"/>
              <a:gd name="T61" fmla="*/ 2147483646 h 279"/>
              <a:gd name="T62" fmla="*/ 2147483646 w 333"/>
              <a:gd name="T63" fmla="*/ 2147483646 h 279"/>
              <a:gd name="T64" fmla="*/ 2147483646 w 333"/>
              <a:gd name="T65" fmla="*/ 2147483646 h 279"/>
              <a:gd name="T66" fmla="*/ 2147483646 w 333"/>
              <a:gd name="T67" fmla="*/ 2147483646 h 279"/>
              <a:gd name="T68" fmla="*/ 2147483646 w 333"/>
              <a:gd name="T69" fmla="*/ 2147483646 h 27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33"/>
              <a:gd name="T106" fmla="*/ 0 h 279"/>
              <a:gd name="T107" fmla="*/ 333 w 333"/>
              <a:gd name="T108" fmla="*/ 279 h 27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33" h="279">
                <a:moveTo>
                  <a:pt x="37" y="264"/>
                </a:moveTo>
                <a:cubicBezTo>
                  <a:pt x="37" y="264"/>
                  <a:pt x="14" y="242"/>
                  <a:pt x="7" y="234"/>
                </a:cubicBezTo>
                <a:cubicBezTo>
                  <a:pt x="0" y="227"/>
                  <a:pt x="1" y="222"/>
                  <a:pt x="1" y="222"/>
                </a:cubicBezTo>
                <a:cubicBezTo>
                  <a:pt x="1" y="135"/>
                  <a:pt x="1" y="135"/>
                  <a:pt x="1" y="135"/>
                </a:cubicBezTo>
                <a:cubicBezTo>
                  <a:pt x="55" y="133"/>
                  <a:pt x="55" y="133"/>
                  <a:pt x="55" y="133"/>
                </a:cubicBezTo>
                <a:cubicBezTo>
                  <a:pt x="54" y="80"/>
                  <a:pt x="54" y="80"/>
                  <a:pt x="54" y="80"/>
                </a:cubicBezTo>
                <a:cubicBezTo>
                  <a:pt x="54" y="80"/>
                  <a:pt x="65" y="79"/>
                  <a:pt x="68" y="82"/>
                </a:cubicBezTo>
                <a:cubicBezTo>
                  <a:pt x="71" y="86"/>
                  <a:pt x="74" y="86"/>
                  <a:pt x="77" y="87"/>
                </a:cubicBezTo>
                <a:cubicBezTo>
                  <a:pt x="80" y="88"/>
                  <a:pt x="83" y="88"/>
                  <a:pt x="83" y="88"/>
                </a:cubicBezTo>
                <a:cubicBezTo>
                  <a:pt x="83" y="88"/>
                  <a:pt x="91" y="85"/>
                  <a:pt x="94" y="82"/>
                </a:cubicBezTo>
                <a:cubicBezTo>
                  <a:pt x="97" y="80"/>
                  <a:pt x="97" y="90"/>
                  <a:pt x="98" y="93"/>
                </a:cubicBezTo>
                <a:cubicBezTo>
                  <a:pt x="99" y="96"/>
                  <a:pt x="100" y="97"/>
                  <a:pt x="104" y="99"/>
                </a:cubicBezTo>
                <a:cubicBezTo>
                  <a:pt x="108" y="100"/>
                  <a:pt x="112" y="99"/>
                  <a:pt x="118" y="95"/>
                </a:cubicBezTo>
                <a:cubicBezTo>
                  <a:pt x="124" y="90"/>
                  <a:pt x="126" y="104"/>
                  <a:pt x="132" y="101"/>
                </a:cubicBezTo>
                <a:cubicBezTo>
                  <a:pt x="139" y="98"/>
                  <a:pt x="140" y="103"/>
                  <a:pt x="140" y="97"/>
                </a:cubicBezTo>
                <a:cubicBezTo>
                  <a:pt x="140" y="91"/>
                  <a:pt x="144" y="89"/>
                  <a:pt x="147" y="89"/>
                </a:cubicBezTo>
                <a:cubicBezTo>
                  <a:pt x="150" y="89"/>
                  <a:pt x="151" y="96"/>
                  <a:pt x="152" y="103"/>
                </a:cubicBezTo>
                <a:cubicBezTo>
                  <a:pt x="152" y="110"/>
                  <a:pt x="157" y="112"/>
                  <a:pt x="160" y="112"/>
                </a:cubicBezTo>
                <a:cubicBezTo>
                  <a:pt x="163" y="112"/>
                  <a:pt x="168" y="111"/>
                  <a:pt x="168" y="111"/>
                </a:cubicBezTo>
                <a:cubicBezTo>
                  <a:pt x="168" y="111"/>
                  <a:pt x="174" y="118"/>
                  <a:pt x="177" y="118"/>
                </a:cubicBezTo>
                <a:cubicBezTo>
                  <a:pt x="180" y="118"/>
                  <a:pt x="182" y="123"/>
                  <a:pt x="184" y="123"/>
                </a:cubicBezTo>
                <a:cubicBezTo>
                  <a:pt x="187" y="123"/>
                  <a:pt x="186" y="131"/>
                  <a:pt x="187" y="135"/>
                </a:cubicBezTo>
                <a:cubicBezTo>
                  <a:pt x="189" y="140"/>
                  <a:pt x="193" y="137"/>
                  <a:pt x="196" y="134"/>
                </a:cubicBezTo>
                <a:cubicBezTo>
                  <a:pt x="200" y="131"/>
                  <a:pt x="203" y="142"/>
                  <a:pt x="206" y="144"/>
                </a:cubicBezTo>
                <a:cubicBezTo>
                  <a:pt x="209" y="146"/>
                  <a:pt x="215" y="142"/>
                  <a:pt x="220" y="139"/>
                </a:cubicBezTo>
                <a:cubicBezTo>
                  <a:pt x="224" y="135"/>
                  <a:pt x="221" y="133"/>
                  <a:pt x="221" y="128"/>
                </a:cubicBezTo>
                <a:cubicBezTo>
                  <a:pt x="221" y="123"/>
                  <a:pt x="218" y="116"/>
                  <a:pt x="218" y="116"/>
                </a:cubicBezTo>
                <a:cubicBezTo>
                  <a:pt x="209" y="114"/>
                  <a:pt x="209" y="114"/>
                  <a:pt x="209" y="114"/>
                </a:cubicBezTo>
                <a:cubicBezTo>
                  <a:pt x="209" y="114"/>
                  <a:pt x="206" y="117"/>
                  <a:pt x="203" y="112"/>
                </a:cubicBezTo>
                <a:cubicBezTo>
                  <a:pt x="200" y="108"/>
                  <a:pt x="193" y="108"/>
                  <a:pt x="190" y="102"/>
                </a:cubicBezTo>
                <a:cubicBezTo>
                  <a:pt x="187" y="96"/>
                  <a:pt x="180" y="97"/>
                  <a:pt x="181" y="91"/>
                </a:cubicBezTo>
                <a:cubicBezTo>
                  <a:pt x="182" y="85"/>
                  <a:pt x="181" y="91"/>
                  <a:pt x="182" y="87"/>
                </a:cubicBezTo>
                <a:cubicBezTo>
                  <a:pt x="184" y="82"/>
                  <a:pt x="187" y="79"/>
                  <a:pt x="190" y="73"/>
                </a:cubicBezTo>
                <a:cubicBezTo>
                  <a:pt x="193" y="67"/>
                  <a:pt x="187" y="64"/>
                  <a:pt x="187" y="57"/>
                </a:cubicBezTo>
                <a:cubicBezTo>
                  <a:pt x="186" y="49"/>
                  <a:pt x="190" y="47"/>
                  <a:pt x="188" y="41"/>
                </a:cubicBezTo>
                <a:cubicBezTo>
                  <a:pt x="187" y="35"/>
                  <a:pt x="184" y="28"/>
                  <a:pt x="184" y="28"/>
                </a:cubicBezTo>
                <a:cubicBezTo>
                  <a:pt x="188" y="28"/>
                  <a:pt x="198" y="19"/>
                  <a:pt x="198" y="19"/>
                </a:cubicBezTo>
                <a:cubicBezTo>
                  <a:pt x="198" y="19"/>
                  <a:pt x="196" y="8"/>
                  <a:pt x="199" y="4"/>
                </a:cubicBezTo>
                <a:cubicBezTo>
                  <a:pt x="202" y="0"/>
                  <a:pt x="249" y="1"/>
                  <a:pt x="249" y="1"/>
                </a:cubicBezTo>
                <a:cubicBezTo>
                  <a:pt x="249" y="1"/>
                  <a:pt x="261" y="11"/>
                  <a:pt x="269" y="11"/>
                </a:cubicBezTo>
                <a:cubicBezTo>
                  <a:pt x="276" y="12"/>
                  <a:pt x="281" y="8"/>
                  <a:pt x="285" y="17"/>
                </a:cubicBezTo>
                <a:cubicBezTo>
                  <a:pt x="288" y="26"/>
                  <a:pt x="295" y="25"/>
                  <a:pt x="301" y="29"/>
                </a:cubicBezTo>
                <a:cubicBezTo>
                  <a:pt x="307" y="33"/>
                  <a:pt x="316" y="35"/>
                  <a:pt x="320" y="36"/>
                </a:cubicBezTo>
                <a:cubicBezTo>
                  <a:pt x="320" y="36"/>
                  <a:pt x="319" y="48"/>
                  <a:pt x="321" y="52"/>
                </a:cubicBezTo>
                <a:cubicBezTo>
                  <a:pt x="323" y="57"/>
                  <a:pt x="333" y="67"/>
                  <a:pt x="326" y="71"/>
                </a:cubicBezTo>
                <a:cubicBezTo>
                  <a:pt x="319" y="75"/>
                  <a:pt x="311" y="79"/>
                  <a:pt x="313" y="84"/>
                </a:cubicBezTo>
                <a:cubicBezTo>
                  <a:pt x="316" y="88"/>
                  <a:pt x="320" y="90"/>
                  <a:pt x="320" y="95"/>
                </a:cubicBezTo>
                <a:cubicBezTo>
                  <a:pt x="320" y="99"/>
                  <a:pt x="310" y="99"/>
                  <a:pt x="313" y="103"/>
                </a:cubicBezTo>
                <a:cubicBezTo>
                  <a:pt x="316" y="107"/>
                  <a:pt x="322" y="108"/>
                  <a:pt x="322" y="111"/>
                </a:cubicBezTo>
                <a:cubicBezTo>
                  <a:pt x="322" y="114"/>
                  <a:pt x="313" y="117"/>
                  <a:pt x="313" y="120"/>
                </a:cubicBezTo>
                <a:cubicBezTo>
                  <a:pt x="312" y="123"/>
                  <a:pt x="313" y="119"/>
                  <a:pt x="310" y="124"/>
                </a:cubicBezTo>
                <a:cubicBezTo>
                  <a:pt x="307" y="129"/>
                  <a:pt x="301" y="124"/>
                  <a:pt x="301" y="131"/>
                </a:cubicBezTo>
                <a:cubicBezTo>
                  <a:pt x="301" y="138"/>
                  <a:pt x="306" y="138"/>
                  <a:pt x="303" y="142"/>
                </a:cubicBezTo>
                <a:cubicBezTo>
                  <a:pt x="301" y="147"/>
                  <a:pt x="294" y="146"/>
                  <a:pt x="298" y="151"/>
                </a:cubicBezTo>
                <a:cubicBezTo>
                  <a:pt x="302" y="156"/>
                  <a:pt x="308" y="157"/>
                  <a:pt x="307" y="162"/>
                </a:cubicBezTo>
                <a:cubicBezTo>
                  <a:pt x="306" y="167"/>
                  <a:pt x="240" y="183"/>
                  <a:pt x="232" y="189"/>
                </a:cubicBezTo>
                <a:cubicBezTo>
                  <a:pt x="224" y="196"/>
                  <a:pt x="228" y="196"/>
                  <a:pt x="229" y="200"/>
                </a:cubicBezTo>
                <a:cubicBezTo>
                  <a:pt x="231" y="203"/>
                  <a:pt x="230" y="213"/>
                  <a:pt x="230" y="213"/>
                </a:cubicBezTo>
                <a:cubicBezTo>
                  <a:pt x="230" y="213"/>
                  <a:pt x="208" y="206"/>
                  <a:pt x="201" y="212"/>
                </a:cubicBezTo>
                <a:cubicBezTo>
                  <a:pt x="193" y="218"/>
                  <a:pt x="186" y="219"/>
                  <a:pt x="188" y="228"/>
                </a:cubicBezTo>
                <a:cubicBezTo>
                  <a:pt x="190" y="237"/>
                  <a:pt x="180" y="238"/>
                  <a:pt x="176" y="238"/>
                </a:cubicBezTo>
                <a:cubicBezTo>
                  <a:pt x="172" y="238"/>
                  <a:pt x="154" y="242"/>
                  <a:pt x="153" y="251"/>
                </a:cubicBezTo>
                <a:cubicBezTo>
                  <a:pt x="152" y="260"/>
                  <a:pt x="152" y="260"/>
                  <a:pt x="145" y="267"/>
                </a:cubicBezTo>
                <a:cubicBezTo>
                  <a:pt x="138" y="274"/>
                  <a:pt x="132" y="279"/>
                  <a:pt x="129" y="275"/>
                </a:cubicBezTo>
                <a:cubicBezTo>
                  <a:pt x="126" y="270"/>
                  <a:pt x="122" y="264"/>
                  <a:pt x="120" y="270"/>
                </a:cubicBezTo>
                <a:cubicBezTo>
                  <a:pt x="118" y="275"/>
                  <a:pt x="113" y="273"/>
                  <a:pt x="113" y="273"/>
                </a:cubicBezTo>
                <a:cubicBezTo>
                  <a:pt x="113" y="273"/>
                  <a:pt x="109" y="267"/>
                  <a:pt x="108" y="270"/>
                </a:cubicBezTo>
                <a:cubicBezTo>
                  <a:pt x="107" y="274"/>
                  <a:pt x="101" y="270"/>
                  <a:pt x="101" y="270"/>
                </a:cubicBezTo>
                <a:cubicBezTo>
                  <a:pt x="101" y="270"/>
                  <a:pt x="92" y="267"/>
                  <a:pt x="90" y="268"/>
                </a:cubicBezTo>
                <a:cubicBezTo>
                  <a:pt x="90" y="268"/>
                  <a:pt x="89" y="261"/>
                  <a:pt x="79" y="260"/>
                </a:cubicBezTo>
                <a:cubicBezTo>
                  <a:pt x="68" y="259"/>
                  <a:pt x="40" y="259"/>
                  <a:pt x="37" y="26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56" name="Freeform 692"/>
          <p:cNvSpPr>
            <a:spLocks/>
          </p:cNvSpPr>
          <p:nvPr userDrawn="1"/>
        </p:nvSpPr>
        <p:spPr bwMode="auto">
          <a:xfrm>
            <a:off x="6306427" y="5284387"/>
            <a:ext cx="83755" cy="206037"/>
          </a:xfrm>
          <a:custGeom>
            <a:avLst/>
            <a:gdLst>
              <a:gd name="T0" fmla="*/ 2147483646 w 90"/>
              <a:gd name="T1" fmla="*/ 2147483646 h 220"/>
              <a:gd name="T2" fmla="*/ 2147483646 w 90"/>
              <a:gd name="T3" fmla="*/ 2147483646 h 220"/>
              <a:gd name="T4" fmla="*/ 2147483646 w 90"/>
              <a:gd name="T5" fmla="*/ 2147483646 h 220"/>
              <a:gd name="T6" fmla="*/ 2147483646 w 90"/>
              <a:gd name="T7" fmla="*/ 2147483646 h 220"/>
              <a:gd name="T8" fmla="*/ 2147483646 w 90"/>
              <a:gd name="T9" fmla="*/ 2147483646 h 220"/>
              <a:gd name="T10" fmla="*/ 2147483646 w 90"/>
              <a:gd name="T11" fmla="*/ 2147483646 h 220"/>
              <a:gd name="T12" fmla="*/ 2147483646 w 90"/>
              <a:gd name="T13" fmla="*/ 2147483646 h 220"/>
              <a:gd name="T14" fmla="*/ 2147483646 w 90"/>
              <a:gd name="T15" fmla="*/ 2147483646 h 220"/>
              <a:gd name="T16" fmla="*/ 2147483646 w 90"/>
              <a:gd name="T17" fmla="*/ 2147483646 h 220"/>
              <a:gd name="T18" fmla="*/ 2147483646 w 90"/>
              <a:gd name="T19" fmla="*/ 2147483646 h 220"/>
              <a:gd name="T20" fmla="*/ 2147483646 w 90"/>
              <a:gd name="T21" fmla="*/ 2147483646 h 220"/>
              <a:gd name="T22" fmla="*/ 2147483646 w 90"/>
              <a:gd name="T23" fmla="*/ 2147483646 h 220"/>
              <a:gd name="T24" fmla="*/ 2147483646 w 90"/>
              <a:gd name="T25" fmla="*/ 2147483646 h 220"/>
              <a:gd name="T26" fmla="*/ 2147483646 w 90"/>
              <a:gd name="T27" fmla="*/ 2147483646 h 220"/>
              <a:gd name="T28" fmla="*/ 2147483646 w 90"/>
              <a:gd name="T29" fmla="*/ 2147483646 h 220"/>
              <a:gd name="T30" fmla="*/ 2147483646 w 90"/>
              <a:gd name="T31" fmla="*/ 2147483646 h 220"/>
              <a:gd name="T32" fmla="*/ 2147483646 w 90"/>
              <a:gd name="T33" fmla="*/ 2147483646 h 220"/>
              <a:gd name="T34" fmla="*/ 2147483646 w 90"/>
              <a:gd name="T35" fmla="*/ 2147483646 h 220"/>
              <a:gd name="T36" fmla="*/ 2147483646 w 90"/>
              <a:gd name="T37" fmla="*/ 2147483646 h 220"/>
              <a:gd name="T38" fmla="*/ 2147483646 w 90"/>
              <a:gd name="T39" fmla="*/ 2147483646 h 220"/>
              <a:gd name="T40" fmla="*/ 2147483646 w 90"/>
              <a:gd name="T41" fmla="*/ 2147483646 h 220"/>
              <a:gd name="T42" fmla="*/ 2147483646 w 90"/>
              <a:gd name="T43" fmla="*/ 2147483646 h 220"/>
              <a:gd name="T44" fmla="*/ 2147483646 w 90"/>
              <a:gd name="T45" fmla="*/ 2147483646 h 220"/>
              <a:gd name="T46" fmla="*/ 2147483646 w 90"/>
              <a:gd name="T47" fmla="*/ 2147483646 h 220"/>
              <a:gd name="T48" fmla="*/ 2147483646 w 90"/>
              <a:gd name="T49" fmla="*/ 2147483646 h 220"/>
              <a:gd name="T50" fmla="*/ 2147483646 w 90"/>
              <a:gd name="T51" fmla="*/ 2147483646 h 220"/>
              <a:gd name="T52" fmla="*/ 2147483646 w 90"/>
              <a:gd name="T53" fmla="*/ 2147483646 h 220"/>
              <a:gd name="T54" fmla="*/ 2147483646 w 90"/>
              <a:gd name="T55" fmla="*/ 2147483646 h 220"/>
              <a:gd name="T56" fmla="*/ 2147483646 w 90"/>
              <a:gd name="T57" fmla="*/ 2147483646 h 220"/>
              <a:gd name="T58" fmla="*/ 2147483646 w 90"/>
              <a:gd name="T59" fmla="*/ 2147483646 h 220"/>
              <a:gd name="T60" fmla="*/ 2147483646 w 90"/>
              <a:gd name="T61" fmla="*/ 2147483646 h 220"/>
              <a:gd name="T62" fmla="*/ 2147483646 w 90"/>
              <a:gd name="T63" fmla="*/ 2147483646 h 220"/>
              <a:gd name="T64" fmla="*/ 2147483646 w 90"/>
              <a:gd name="T65" fmla="*/ 2147483646 h 220"/>
              <a:gd name="T66" fmla="*/ 2147483646 w 90"/>
              <a:gd name="T67" fmla="*/ 2147483646 h 220"/>
              <a:gd name="T68" fmla="*/ 2147483646 w 90"/>
              <a:gd name="T69" fmla="*/ 2147483646 h 220"/>
              <a:gd name="T70" fmla="*/ 2147483646 w 90"/>
              <a:gd name="T71" fmla="*/ 2147483646 h 220"/>
              <a:gd name="T72" fmla="*/ 2147483646 w 90"/>
              <a:gd name="T73" fmla="*/ 2147483646 h 220"/>
              <a:gd name="T74" fmla="*/ 2147483646 w 90"/>
              <a:gd name="T75" fmla="*/ 2147483646 h 22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90"/>
              <a:gd name="T115" fmla="*/ 0 h 220"/>
              <a:gd name="T116" fmla="*/ 90 w 90"/>
              <a:gd name="T117" fmla="*/ 220 h 22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90" h="220">
                <a:moveTo>
                  <a:pt x="43" y="1"/>
                </a:moveTo>
                <a:cubicBezTo>
                  <a:pt x="41" y="0"/>
                  <a:pt x="30" y="3"/>
                  <a:pt x="26" y="1"/>
                </a:cubicBezTo>
                <a:cubicBezTo>
                  <a:pt x="26" y="1"/>
                  <a:pt x="25" y="13"/>
                  <a:pt x="27" y="17"/>
                </a:cubicBezTo>
                <a:cubicBezTo>
                  <a:pt x="29" y="22"/>
                  <a:pt x="39" y="32"/>
                  <a:pt x="32" y="36"/>
                </a:cubicBezTo>
                <a:cubicBezTo>
                  <a:pt x="25" y="40"/>
                  <a:pt x="17" y="44"/>
                  <a:pt x="19" y="49"/>
                </a:cubicBezTo>
                <a:cubicBezTo>
                  <a:pt x="22" y="53"/>
                  <a:pt x="26" y="55"/>
                  <a:pt x="26" y="60"/>
                </a:cubicBezTo>
                <a:cubicBezTo>
                  <a:pt x="26" y="64"/>
                  <a:pt x="16" y="64"/>
                  <a:pt x="19" y="68"/>
                </a:cubicBezTo>
                <a:cubicBezTo>
                  <a:pt x="22" y="72"/>
                  <a:pt x="28" y="73"/>
                  <a:pt x="28" y="76"/>
                </a:cubicBezTo>
                <a:cubicBezTo>
                  <a:pt x="28" y="79"/>
                  <a:pt x="19" y="82"/>
                  <a:pt x="19" y="85"/>
                </a:cubicBezTo>
                <a:cubicBezTo>
                  <a:pt x="18" y="88"/>
                  <a:pt x="19" y="84"/>
                  <a:pt x="16" y="89"/>
                </a:cubicBezTo>
                <a:cubicBezTo>
                  <a:pt x="13" y="94"/>
                  <a:pt x="7" y="89"/>
                  <a:pt x="7" y="96"/>
                </a:cubicBezTo>
                <a:cubicBezTo>
                  <a:pt x="7" y="103"/>
                  <a:pt x="12" y="103"/>
                  <a:pt x="9" y="107"/>
                </a:cubicBezTo>
                <a:cubicBezTo>
                  <a:pt x="7" y="112"/>
                  <a:pt x="0" y="111"/>
                  <a:pt x="4" y="116"/>
                </a:cubicBezTo>
                <a:cubicBezTo>
                  <a:pt x="8" y="121"/>
                  <a:pt x="14" y="122"/>
                  <a:pt x="13" y="127"/>
                </a:cubicBezTo>
                <a:cubicBezTo>
                  <a:pt x="13" y="127"/>
                  <a:pt x="18" y="128"/>
                  <a:pt x="20" y="132"/>
                </a:cubicBezTo>
                <a:cubicBezTo>
                  <a:pt x="22" y="136"/>
                  <a:pt x="24" y="143"/>
                  <a:pt x="32" y="143"/>
                </a:cubicBezTo>
                <a:cubicBezTo>
                  <a:pt x="40" y="142"/>
                  <a:pt x="47" y="141"/>
                  <a:pt x="49" y="143"/>
                </a:cubicBezTo>
                <a:cubicBezTo>
                  <a:pt x="51" y="146"/>
                  <a:pt x="60" y="152"/>
                  <a:pt x="52" y="165"/>
                </a:cubicBezTo>
                <a:cubicBezTo>
                  <a:pt x="44" y="177"/>
                  <a:pt x="38" y="177"/>
                  <a:pt x="48" y="190"/>
                </a:cubicBezTo>
                <a:cubicBezTo>
                  <a:pt x="58" y="203"/>
                  <a:pt x="57" y="197"/>
                  <a:pt x="60" y="205"/>
                </a:cubicBezTo>
                <a:cubicBezTo>
                  <a:pt x="63" y="213"/>
                  <a:pt x="70" y="220"/>
                  <a:pt x="70" y="220"/>
                </a:cubicBezTo>
                <a:cubicBezTo>
                  <a:pt x="70" y="220"/>
                  <a:pt x="72" y="211"/>
                  <a:pt x="69" y="206"/>
                </a:cubicBezTo>
                <a:cubicBezTo>
                  <a:pt x="66" y="200"/>
                  <a:pt x="65" y="198"/>
                  <a:pt x="70" y="195"/>
                </a:cubicBezTo>
                <a:cubicBezTo>
                  <a:pt x="74" y="191"/>
                  <a:pt x="86" y="189"/>
                  <a:pt x="87" y="183"/>
                </a:cubicBezTo>
                <a:cubicBezTo>
                  <a:pt x="88" y="177"/>
                  <a:pt x="90" y="151"/>
                  <a:pt x="81" y="138"/>
                </a:cubicBezTo>
                <a:cubicBezTo>
                  <a:pt x="72" y="124"/>
                  <a:pt x="70" y="122"/>
                  <a:pt x="70" y="122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3" y="142"/>
                  <a:pt x="65" y="129"/>
                  <a:pt x="64" y="132"/>
                </a:cubicBezTo>
                <a:cubicBezTo>
                  <a:pt x="62" y="134"/>
                  <a:pt x="51" y="138"/>
                  <a:pt x="53" y="130"/>
                </a:cubicBezTo>
                <a:cubicBezTo>
                  <a:pt x="55" y="123"/>
                  <a:pt x="55" y="118"/>
                  <a:pt x="52" y="115"/>
                </a:cubicBezTo>
                <a:cubicBezTo>
                  <a:pt x="48" y="112"/>
                  <a:pt x="47" y="109"/>
                  <a:pt x="47" y="105"/>
                </a:cubicBezTo>
                <a:cubicBezTo>
                  <a:pt x="47" y="101"/>
                  <a:pt x="46" y="106"/>
                  <a:pt x="45" y="94"/>
                </a:cubicBezTo>
                <a:cubicBezTo>
                  <a:pt x="44" y="81"/>
                  <a:pt x="40" y="76"/>
                  <a:pt x="41" y="73"/>
                </a:cubicBezTo>
                <a:cubicBezTo>
                  <a:pt x="41" y="70"/>
                  <a:pt x="44" y="62"/>
                  <a:pt x="47" y="64"/>
                </a:cubicBezTo>
                <a:cubicBezTo>
                  <a:pt x="49" y="65"/>
                  <a:pt x="52" y="61"/>
                  <a:pt x="52" y="59"/>
                </a:cubicBezTo>
                <a:cubicBezTo>
                  <a:pt x="51" y="57"/>
                  <a:pt x="52" y="42"/>
                  <a:pt x="51" y="38"/>
                </a:cubicBezTo>
                <a:cubicBezTo>
                  <a:pt x="50" y="33"/>
                  <a:pt x="45" y="26"/>
                  <a:pt x="43" y="17"/>
                </a:cubicBezTo>
                <a:cubicBezTo>
                  <a:pt x="41" y="9"/>
                  <a:pt x="43" y="1"/>
                  <a:pt x="43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57" name="Freeform 693"/>
          <p:cNvSpPr>
            <a:spLocks/>
          </p:cNvSpPr>
          <p:nvPr userDrawn="1"/>
        </p:nvSpPr>
        <p:spPr bwMode="auto">
          <a:xfrm>
            <a:off x="6241098" y="5312865"/>
            <a:ext cx="276391" cy="425473"/>
          </a:xfrm>
          <a:custGeom>
            <a:avLst/>
            <a:gdLst>
              <a:gd name="T0" fmla="*/ 2147483646 w 297"/>
              <a:gd name="T1" fmla="*/ 2147483646 h 457"/>
              <a:gd name="T2" fmla="*/ 2147483646 w 297"/>
              <a:gd name="T3" fmla="*/ 2147483646 h 457"/>
              <a:gd name="T4" fmla="*/ 2147483646 w 297"/>
              <a:gd name="T5" fmla="*/ 2147483646 h 457"/>
              <a:gd name="T6" fmla="*/ 2147483646 w 297"/>
              <a:gd name="T7" fmla="*/ 2147483646 h 457"/>
              <a:gd name="T8" fmla="*/ 2147483646 w 297"/>
              <a:gd name="T9" fmla="*/ 2147483646 h 457"/>
              <a:gd name="T10" fmla="*/ 2147483646 w 297"/>
              <a:gd name="T11" fmla="*/ 2147483646 h 457"/>
              <a:gd name="T12" fmla="*/ 2147483646 w 297"/>
              <a:gd name="T13" fmla="*/ 2147483646 h 457"/>
              <a:gd name="T14" fmla="*/ 2147483646 w 297"/>
              <a:gd name="T15" fmla="*/ 2147483646 h 457"/>
              <a:gd name="T16" fmla="*/ 2147483646 w 297"/>
              <a:gd name="T17" fmla="*/ 2147483646 h 457"/>
              <a:gd name="T18" fmla="*/ 2147483646 w 297"/>
              <a:gd name="T19" fmla="*/ 2147483646 h 457"/>
              <a:gd name="T20" fmla="*/ 2147483646 w 297"/>
              <a:gd name="T21" fmla="*/ 2147483646 h 457"/>
              <a:gd name="T22" fmla="*/ 2147483646 w 297"/>
              <a:gd name="T23" fmla="*/ 2147483646 h 457"/>
              <a:gd name="T24" fmla="*/ 2147483646 w 297"/>
              <a:gd name="T25" fmla="*/ 2147483646 h 457"/>
              <a:gd name="T26" fmla="*/ 2147483646 w 297"/>
              <a:gd name="T27" fmla="*/ 2147483646 h 457"/>
              <a:gd name="T28" fmla="*/ 2147483646 w 297"/>
              <a:gd name="T29" fmla="*/ 2147483646 h 457"/>
              <a:gd name="T30" fmla="*/ 2147483646 w 297"/>
              <a:gd name="T31" fmla="*/ 2147483646 h 457"/>
              <a:gd name="T32" fmla="*/ 2147483646 w 297"/>
              <a:gd name="T33" fmla="*/ 2147483646 h 457"/>
              <a:gd name="T34" fmla="*/ 2147483646 w 297"/>
              <a:gd name="T35" fmla="*/ 2147483646 h 457"/>
              <a:gd name="T36" fmla="*/ 2147483646 w 297"/>
              <a:gd name="T37" fmla="*/ 2147483646 h 457"/>
              <a:gd name="T38" fmla="*/ 2147483646 w 297"/>
              <a:gd name="T39" fmla="*/ 2147483646 h 457"/>
              <a:gd name="T40" fmla="*/ 2147483646 w 297"/>
              <a:gd name="T41" fmla="*/ 2147483646 h 457"/>
              <a:gd name="T42" fmla="*/ 2147483646 w 297"/>
              <a:gd name="T43" fmla="*/ 2147483646 h 457"/>
              <a:gd name="T44" fmla="*/ 2147483646 w 297"/>
              <a:gd name="T45" fmla="*/ 2147483646 h 457"/>
              <a:gd name="T46" fmla="*/ 2147483646 w 297"/>
              <a:gd name="T47" fmla="*/ 2147483646 h 457"/>
              <a:gd name="T48" fmla="*/ 2147483646 w 297"/>
              <a:gd name="T49" fmla="*/ 2147483646 h 457"/>
              <a:gd name="T50" fmla="*/ 2147483646 w 297"/>
              <a:gd name="T51" fmla="*/ 2147483646 h 457"/>
              <a:gd name="T52" fmla="*/ 2147483646 w 297"/>
              <a:gd name="T53" fmla="*/ 2147483646 h 457"/>
              <a:gd name="T54" fmla="*/ 2147483646 w 297"/>
              <a:gd name="T55" fmla="*/ 2147483646 h 457"/>
              <a:gd name="T56" fmla="*/ 2147483646 w 297"/>
              <a:gd name="T57" fmla="*/ 2147483646 h 457"/>
              <a:gd name="T58" fmla="*/ 2147483646 w 297"/>
              <a:gd name="T59" fmla="*/ 2147483646 h 457"/>
              <a:gd name="T60" fmla="*/ 2147483646 w 297"/>
              <a:gd name="T61" fmla="*/ 2147483646 h 457"/>
              <a:gd name="T62" fmla="*/ 2147483646 w 297"/>
              <a:gd name="T63" fmla="*/ 2147483646 h 457"/>
              <a:gd name="T64" fmla="*/ 2147483646 w 297"/>
              <a:gd name="T65" fmla="*/ 2147483646 h 457"/>
              <a:gd name="T66" fmla="*/ 2147483646 w 297"/>
              <a:gd name="T67" fmla="*/ 2147483646 h 457"/>
              <a:gd name="T68" fmla="*/ 2147483646 w 297"/>
              <a:gd name="T69" fmla="*/ 2147483646 h 457"/>
              <a:gd name="T70" fmla="*/ 2147483646 w 297"/>
              <a:gd name="T71" fmla="*/ 2147483646 h 457"/>
              <a:gd name="T72" fmla="*/ 2147483646 w 297"/>
              <a:gd name="T73" fmla="*/ 2147483646 h 457"/>
              <a:gd name="T74" fmla="*/ 2147483646 w 297"/>
              <a:gd name="T75" fmla="*/ 2147483646 h 457"/>
              <a:gd name="T76" fmla="*/ 2147483646 w 297"/>
              <a:gd name="T77" fmla="*/ 2147483646 h 457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97"/>
              <a:gd name="T118" fmla="*/ 0 h 457"/>
              <a:gd name="T119" fmla="*/ 297 w 297"/>
              <a:gd name="T120" fmla="*/ 457 h 457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97" h="457">
                <a:moveTo>
                  <a:pt x="6" y="149"/>
                </a:moveTo>
                <a:cubicBezTo>
                  <a:pt x="6" y="149"/>
                  <a:pt x="7" y="139"/>
                  <a:pt x="5" y="136"/>
                </a:cubicBezTo>
                <a:cubicBezTo>
                  <a:pt x="4" y="132"/>
                  <a:pt x="0" y="132"/>
                  <a:pt x="8" y="125"/>
                </a:cubicBezTo>
                <a:cubicBezTo>
                  <a:pt x="16" y="119"/>
                  <a:pt x="82" y="103"/>
                  <a:pt x="83" y="98"/>
                </a:cubicBezTo>
                <a:cubicBezTo>
                  <a:pt x="83" y="98"/>
                  <a:pt x="88" y="99"/>
                  <a:pt x="90" y="103"/>
                </a:cubicBezTo>
                <a:cubicBezTo>
                  <a:pt x="92" y="107"/>
                  <a:pt x="94" y="114"/>
                  <a:pt x="102" y="114"/>
                </a:cubicBezTo>
                <a:cubicBezTo>
                  <a:pt x="110" y="113"/>
                  <a:pt x="117" y="112"/>
                  <a:pt x="119" y="114"/>
                </a:cubicBezTo>
                <a:cubicBezTo>
                  <a:pt x="121" y="117"/>
                  <a:pt x="130" y="123"/>
                  <a:pt x="122" y="136"/>
                </a:cubicBezTo>
                <a:cubicBezTo>
                  <a:pt x="114" y="148"/>
                  <a:pt x="108" y="148"/>
                  <a:pt x="118" y="161"/>
                </a:cubicBezTo>
                <a:cubicBezTo>
                  <a:pt x="128" y="174"/>
                  <a:pt x="127" y="168"/>
                  <a:pt x="130" y="176"/>
                </a:cubicBezTo>
                <a:cubicBezTo>
                  <a:pt x="133" y="184"/>
                  <a:pt x="140" y="191"/>
                  <a:pt x="140" y="191"/>
                </a:cubicBezTo>
                <a:cubicBezTo>
                  <a:pt x="140" y="191"/>
                  <a:pt x="142" y="182"/>
                  <a:pt x="139" y="177"/>
                </a:cubicBezTo>
                <a:cubicBezTo>
                  <a:pt x="136" y="171"/>
                  <a:pt x="135" y="169"/>
                  <a:pt x="140" y="166"/>
                </a:cubicBezTo>
                <a:cubicBezTo>
                  <a:pt x="144" y="162"/>
                  <a:pt x="156" y="160"/>
                  <a:pt x="157" y="154"/>
                </a:cubicBezTo>
                <a:cubicBezTo>
                  <a:pt x="158" y="148"/>
                  <a:pt x="160" y="122"/>
                  <a:pt x="151" y="109"/>
                </a:cubicBezTo>
                <a:cubicBezTo>
                  <a:pt x="142" y="95"/>
                  <a:pt x="140" y="93"/>
                  <a:pt x="140" y="93"/>
                </a:cubicBezTo>
                <a:cubicBezTo>
                  <a:pt x="140" y="93"/>
                  <a:pt x="134" y="92"/>
                  <a:pt x="130" y="82"/>
                </a:cubicBezTo>
                <a:cubicBezTo>
                  <a:pt x="127" y="72"/>
                  <a:pt x="127" y="61"/>
                  <a:pt x="127" y="57"/>
                </a:cubicBezTo>
                <a:cubicBezTo>
                  <a:pt x="127" y="52"/>
                  <a:pt x="134" y="33"/>
                  <a:pt x="138" y="31"/>
                </a:cubicBezTo>
                <a:cubicBezTo>
                  <a:pt x="158" y="32"/>
                  <a:pt x="158" y="32"/>
                  <a:pt x="158" y="32"/>
                </a:cubicBezTo>
                <a:cubicBezTo>
                  <a:pt x="158" y="32"/>
                  <a:pt x="166" y="22"/>
                  <a:pt x="169" y="27"/>
                </a:cubicBezTo>
                <a:cubicBezTo>
                  <a:pt x="172" y="32"/>
                  <a:pt x="178" y="35"/>
                  <a:pt x="182" y="35"/>
                </a:cubicBezTo>
                <a:cubicBezTo>
                  <a:pt x="187" y="34"/>
                  <a:pt x="184" y="29"/>
                  <a:pt x="193" y="29"/>
                </a:cubicBezTo>
                <a:cubicBezTo>
                  <a:pt x="203" y="30"/>
                  <a:pt x="203" y="35"/>
                  <a:pt x="209" y="34"/>
                </a:cubicBezTo>
                <a:cubicBezTo>
                  <a:pt x="215" y="33"/>
                  <a:pt x="223" y="27"/>
                  <a:pt x="223" y="27"/>
                </a:cubicBezTo>
                <a:cubicBezTo>
                  <a:pt x="223" y="27"/>
                  <a:pt x="220" y="21"/>
                  <a:pt x="224" y="19"/>
                </a:cubicBezTo>
                <a:cubicBezTo>
                  <a:pt x="228" y="18"/>
                  <a:pt x="229" y="11"/>
                  <a:pt x="237" y="17"/>
                </a:cubicBezTo>
                <a:cubicBezTo>
                  <a:pt x="244" y="23"/>
                  <a:pt x="245" y="18"/>
                  <a:pt x="253" y="17"/>
                </a:cubicBezTo>
                <a:cubicBezTo>
                  <a:pt x="260" y="16"/>
                  <a:pt x="285" y="0"/>
                  <a:pt x="291" y="2"/>
                </a:cubicBezTo>
                <a:cubicBezTo>
                  <a:pt x="291" y="2"/>
                  <a:pt x="297" y="14"/>
                  <a:pt x="293" y="19"/>
                </a:cubicBezTo>
                <a:cubicBezTo>
                  <a:pt x="288" y="25"/>
                  <a:pt x="286" y="26"/>
                  <a:pt x="287" y="38"/>
                </a:cubicBezTo>
                <a:cubicBezTo>
                  <a:pt x="288" y="50"/>
                  <a:pt x="287" y="53"/>
                  <a:pt x="288" y="69"/>
                </a:cubicBezTo>
                <a:cubicBezTo>
                  <a:pt x="289" y="85"/>
                  <a:pt x="291" y="94"/>
                  <a:pt x="291" y="98"/>
                </a:cubicBezTo>
                <a:cubicBezTo>
                  <a:pt x="291" y="102"/>
                  <a:pt x="291" y="104"/>
                  <a:pt x="292" y="107"/>
                </a:cubicBezTo>
                <a:cubicBezTo>
                  <a:pt x="293" y="110"/>
                  <a:pt x="285" y="123"/>
                  <a:pt x="287" y="127"/>
                </a:cubicBezTo>
                <a:cubicBezTo>
                  <a:pt x="289" y="132"/>
                  <a:pt x="291" y="136"/>
                  <a:pt x="289" y="138"/>
                </a:cubicBezTo>
                <a:cubicBezTo>
                  <a:pt x="287" y="141"/>
                  <a:pt x="281" y="145"/>
                  <a:pt x="278" y="149"/>
                </a:cubicBezTo>
                <a:cubicBezTo>
                  <a:pt x="274" y="153"/>
                  <a:pt x="262" y="173"/>
                  <a:pt x="246" y="181"/>
                </a:cubicBezTo>
                <a:cubicBezTo>
                  <a:pt x="230" y="189"/>
                  <a:pt x="218" y="194"/>
                  <a:pt x="207" y="200"/>
                </a:cubicBezTo>
                <a:cubicBezTo>
                  <a:pt x="196" y="205"/>
                  <a:pt x="184" y="208"/>
                  <a:pt x="179" y="216"/>
                </a:cubicBezTo>
                <a:cubicBezTo>
                  <a:pt x="173" y="225"/>
                  <a:pt x="165" y="234"/>
                  <a:pt x="160" y="235"/>
                </a:cubicBezTo>
                <a:cubicBezTo>
                  <a:pt x="155" y="236"/>
                  <a:pt x="149" y="238"/>
                  <a:pt x="143" y="248"/>
                </a:cubicBezTo>
                <a:cubicBezTo>
                  <a:pt x="137" y="258"/>
                  <a:pt x="126" y="265"/>
                  <a:pt x="121" y="260"/>
                </a:cubicBezTo>
                <a:cubicBezTo>
                  <a:pt x="121" y="260"/>
                  <a:pt x="120" y="259"/>
                  <a:pt x="118" y="269"/>
                </a:cubicBezTo>
                <a:cubicBezTo>
                  <a:pt x="117" y="278"/>
                  <a:pt x="117" y="283"/>
                  <a:pt x="122" y="288"/>
                </a:cubicBezTo>
                <a:cubicBezTo>
                  <a:pt x="126" y="292"/>
                  <a:pt x="124" y="294"/>
                  <a:pt x="123" y="304"/>
                </a:cubicBezTo>
                <a:cubicBezTo>
                  <a:pt x="123" y="314"/>
                  <a:pt x="126" y="311"/>
                  <a:pt x="128" y="324"/>
                </a:cubicBezTo>
                <a:cubicBezTo>
                  <a:pt x="131" y="337"/>
                  <a:pt x="136" y="332"/>
                  <a:pt x="136" y="337"/>
                </a:cubicBezTo>
                <a:cubicBezTo>
                  <a:pt x="136" y="342"/>
                  <a:pt x="131" y="345"/>
                  <a:pt x="131" y="350"/>
                </a:cubicBezTo>
                <a:cubicBezTo>
                  <a:pt x="131" y="355"/>
                  <a:pt x="127" y="360"/>
                  <a:pt x="127" y="367"/>
                </a:cubicBezTo>
                <a:cubicBezTo>
                  <a:pt x="128" y="375"/>
                  <a:pt x="130" y="378"/>
                  <a:pt x="130" y="381"/>
                </a:cubicBezTo>
                <a:cubicBezTo>
                  <a:pt x="130" y="383"/>
                  <a:pt x="123" y="385"/>
                  <a:pt x="120" y="390"/>
                </a:cubicBezTo>
                <a:cubicBezTo>
                  <a:pt x="117" y="396"/>
                  <a:pt x="111" y="399"/>
                  <a:pt x="104" y="400"/>
                </a:cubicBezTo>
                <a:cubicBezTo>
                  <a:pt x="97" y="401"/>
                  <a:pt x="95" y="403"/>
                  <a:pt x="94" y="405"/>
                </a:cubicBezTo>
                <a:cubicBezTo>
                  <a:pt x="92" y="406"/>
                  <a:pt x="85" y="409"/>
                  <a:pt x="78" y="409"/>
                </a:cubicBezTo>
                <a:cubicBezTo>
                  <a:pt x="71" y="410"/>
                  <a:pt x="68" y="411"/>
                  <a:pt x="64" y="416"/>
                </a:cubicBezTo>
                <a:cubicBezTo>
                  <a:pt x="60" y="421"/>
                  <a:pt x="58" y="420"/>
                  <a:pt x="55" y="424"/>
                </a:cubicBezTo>
                <a:cubicBezTo>
                  <a:pt x="51" y="428"/>
                  <a:pt x="48" y="427"/>
                  <a:pt x="52" y="433"/>
                </a:cubicBezTo>
                <a:cubicBezTo>
                  <a:pt x="56" y="440"/>
                  <a:pt x="59" y="439"/>
                  <a:pt x="55" y="448"/>
                </a:cubicBezTo>
                <a:cubicBezTo>
                  <a:pt x="51" y="457"/>
                  <a:pt x="51" y="456"/>
                  <a:pt x="46" y="455"/>
                </a:cubicBezTo>
                <a:cubicBezTo>
                  <a:pt x="41" y="453"/>
                  <a:pt x="33" y="455"/>
                  <a:pt x="33" y="455"/>
                </a:cubicBezTo>
                <a:cubicBezTo>
                  <a:pt x="31" y="432"/>
                  <a:pt x="31" y="432"/>
                  <a:pt x="31" y="432"/>
                </a:cubicBezTo>
                <a:cubicBezTo>
                  <a:pt x="31" y="432"/>
                  <a:pt x="33" y="410"/>
                  <a:pt x="34" y="397"/>
                </a:cubicBezTo>
                <a:cubicBezTo>
                  <a:pt x="34" y="384"/>
                  <a:pt x="35" y="379"/>
                  <a:pt x="29" y="367"/>
                </a:cubicBezTo>
                <a:cubicBezTo>
                  <a:pt x="24" y="355"/>
                  <a:pt x="23" y="332"/>
                  <a:pt x="23" y="332"/>
                </a:cubicBezTo>
                <a:cubicBezTo>
                  <a:pt x="23" y="332"/>
                  <a:pt x="33" y="323"/>
                  <a:pt x="42" y="315"/>
                </a:cubicBezTo>
                <a:cubicBezTo>
                  <a:pt x="50" y="306"/>
                  <a:pt x="53" y="299"/>
                  <a:pt x="55" y="291"/>
                </a:cubicBezTo>
                <a:cubicBezTo>
                  <a:pt x="56" y="283"/>
                  <a:pt x="62" y="283"/>
                  <a:pt x="66" y="276"/>
                </a:cubicBezTo>
                <a:cubicBezTo>
                  <a:pt x="71" y="268"/>
                  <a:pt x="70" y="259"/>
                  <a:pt x="67" y="250"/>
                </a:cubicBezTo>
                <a:cubicBezTo>
                  <a:pt x="64" y="241"/>
                  <a:pt x="61" y="236"/>
                  <a:pt x="66" y="233"/>
                </a:cubicBezTo>
                <a:cubicBezTo>
                  <a:pt x="70" y="230"/>
                  <a:pt x="64" y="229"/>
                  <a:pt x="68" y="226"/>
                </a:cubicBezTo>
                <a:cubicBezTo>
                  <a:pt x="73" y="222"/>
                  <a:pt x="74" y="208"/>
                  <a:pt x="75" y="205"/>
                </a:cubicBezTo>
                <a:cubicBezTo>
                  <a:pt x="75" y="202"/>
                  <a:pt x="78" y="206"/>
                  <a:pt x="75" y="191"/>
                </a:cubicBezTo>
                <a:cubicBezTo>
                  <a:pt x="72" y="176"/>
                  <a:pt x="68" y="170"/>
                  <a:pt x="65" y="170"/>
                </a:cubicBezTo>
                <a:cubicBezTo>
                  <a:pt x="61" y="169"/>
                  <a:pt x="58" y="170"/>
                  <a:pt x="53" y="166"/>
                </a:cubicBezTo>
                <a:cubicBezTo>
                  <a:pt x="47" y="162"/>
                  <a:pt x="44" y="158"/>
                  <a:pt x="39" y="157"/>
                </a:cubicBezTo>
                <a:cubicBezTo>
                  <a:pt x="33" y="156"/>
                  <a:pt x="29" y="155"/>
                  <a:pt x="26" y="154"/>
                </a:cubicBezTo>
                <a:cubicBezTo>
                  <a:pt x="23" y="154"/>
                  <a:pt x="19" y="153"/>
                  <a:pt x="16" y="154"/>
                </a:cubicBezTo>
                <a:cubicBezTo>
                  <a:pt x="12" y="154"/>
                  <a:pt x="6" y="149"/>
                  <a:pt x="6" y="14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58" name="Freeform 694"/>
          <p:cNvSpPr>
            <a:spLocks/>
          </p:cNvSpPr>
          <p:nvPr userDrawn="1"/>
        </p:nvSpPr>
        <p:spPr bwMode="auto">
          <a:xfrm>
            <a:off x="6112116" y="5445196"/>
            <a:ext cx="201011" cy="177560"/>
          </a:xfrm>
          <a:custGeom>
            <a:avLst/>
            <a:gdLst>
              <a:gd name="T0" fmla="*/ 2147483646 w 217"/>
              <a:gd name="T1" fmla="*/ 2147483646 h 190"/>
              <a:gd name="T2" fmla="*/ 2147483646 w 217"/>
              <a:gd name="T3" fmla="*/ 2147483646 h 190"/>
              <a:gd name="T4" fmla="*/ 2147483646 w 217"/>
              <a:gd name="T5" fmla="*/ 2147483646 h 190"/>
              <a:gd name="T6" fmla="*/ 2147483646 w 217"/>
              <a:gd name="T7" fmla="*/ 2147483646 h 190"/>
              <a:gd name="T8" fmla="*/ 2147483646 w 217"/>
              <a:gd name="T9" fmla="*/ 2147483646 h 190"/>
              <a:gd name="T10" fmla="*/ 2147483646 w 217"/>
              <a:gd name="T11" fmla="*/ 2147483646 h 190"/>
              <a:gd name="T12" fmla="*/ 2147483646 w 217"/>
              <a:gd name="T13" fmla="*/ 2147483646 h 190"/>
              <a:gd name="T14" fmla="*/ 2147483646 w 217"/>
              <a:gd name="T15" fmla="*/ 2147483646 h 190"/>
              <a:gd name="T16" fmla="*/ 2147483646 w 217"/>
              <a:gd name="T17" fmla="*/ 2147483646 h 190"/>
              <a:gd name="T18" fmla="*/ 2147483646 w 217"/>
              <a:gd name="T19" fmla="*/ 2147483646 h 190"/>
              <a:gd name="T20" fmla="*/ 2147483646 w 217"/>
              <a:gd name="T21" fmla="*/ 2147483646 h 190"/>
              <a:gd name="T22" fmla="*/ 2147483646 w 217"/>
              <a:gd name="T23" fmla="*/ 2147483646 h 190"/>
              <a:gd name="T24" fmla="*/ 2147483646 w 217"/>
              <a:gd name="T25" fmla="*/ 2147483646 h 190"/>
              <a:gd name="T26" fmla="*/ 2147483646 w 217"/>
              <a:gd name="T27" fmla="*/ 2147483646 h 190"/>
              <a:gd name="T28" fmla="*/ 2147483646 w 217"/>
              <a:gd name="T29" fmla="*/ 2147483646 h 190"/>
              <a:gd name="T30" fmla="*/ 2147483646 w 217"/>
              <a:gd name="T31" fmla="*/ 2147483646 h 190"/>
              <a:gd name="T32" fmla="*/ 2147483646 w 217"/>
              <a:gd name="T33" fmla="*/ 2147483646 h 190"/>
              <a:gd name="T34" fmla="*/ 2147483646 w 217"/>
              <a:gd name="T35" fmla="*/ 2147483646 h 190"/>
              <a:gd name="T36" fmla="*/ 2147483646 w 217"/>
              <a:gd name="T37" fmla="*/ 2147483646 h 190"/>
              <a:gd name="T38" fmla="*/ 2147483646 w 217"/>
              <a:gd name="T39" fmla="*/ 2147483646 h 190"/>
              <a:gd name="T40" fmla="*/ 2147483646 w 217"/>
              <a:gd name="T41" fmla="*/ 2147483646 h 190"/>
              <a:gd name="T42" fmla="*/ 2147483646 w 217"/>
              <a:gd name="T43" fmla="*/ 2147483646 h 190"/>
              <a:gd name="T44" fmla="*/ 2147483646 w 217"/>
              <a:gd name="T45" fmla="*/ 2147483646 h 190"/>
              <a:gd name="T46" fmla="*/ 2147483646 w 217"/>
              <a:gd name="T47" fmla="*/ 2147483646 h 190"/>
              <a:gd name="T48" fmla="*/ 2147483646 w 217"/>
              <a:gd name="T49" fmla="*/ 2147483646 h 190"/>
              <a:gd name="T50" fmla="*/ 2147483646 w 217"/>
              <a:gd name="T51" fmla="*/ 2147483646 h 190"/>
              <a:gd name="T52" fmla="*/ 2147483646 w 217"/>
              <a:gd name="T53" fmla="*/ 2147483646 h 190"/>
              <a:gd name="T54" fmla="*/ 2147483646 w 217"/>
              <a:gd name="T55" fmla="*/ 2147483646 h 190"/>
              <a:gd name="T56" fmla="*/ 2147483646 w 217"/>
              <a:gd name="T57" fmla="*/ 2147483646 h 190"/>
              <a:gd name="T58" fmla="*/ 2147483646 w 217"/>
              <a:gd name="T59" fmla="*/ 2147483646 h 190"/>
              <a:gd name="T60" fmla="*/ 2147483646 w 217"/>
              <a:gd name="T61" fmla="*/ 2147483646 h 190"/>
              <a:gd name="T62" fmla="*/ 2147483646 w 217"/>
              <a:gd name="T63" fmla="*/ 2147483646 h 190"/>
              <a:gd name="T64" fmla="*/ 2147483646 w 217"/>
              <a:gd name="T65" fmla="*/ 2147483646 h 190"/>
              <a:gd name="T66" fmla="*/ 2147483646 w 217"/>
              <a:gd name="T67" fmla="*/ 2147483646 h 190"/>
              <a:gd name="T68" fmla="*/ 2147483646 w 217"/>
              <a:gd name="T69" fmla="*/ 2147483646 h 190"/>
              <a:gd name="T70" fmla="*/ 2147483646 w 217"/>
              <a:gd name="T71" fmla="*/ 2147483646 h 190"/>
              <a:gd name="T72" fmla="*/ 2147483646 w 217"/>
              <a:gd name="T73" fmla="*/ 2147483646 h 190"/>
              <a:gd name="T74" fmla="*/ 2147483646 w 217"/>
              <a:gd name="T75" fmla="*/ 2147483646 h 1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17"/>
              <a:gd name="T115" fmla="*/ 0 h 190"/>
              <a:gd name="T116" fmla="*/ 217 w 217"/>
              <a:gd name="T117" fmla="*/ 190 h 19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17" h="190">
                <a:moveTo>
                  <a:pt x="162" y="190"/>
                </a:moveTo>
                <a:cubicBezTo>
                  <a:pt x="162" y="190"/>
                  <a:pt x="172" y="181"/>
                  <a:pt x="181" y="173"/>
                </a:cubicBezTo>
                <a:cubicBezTo>
                  <a:pt x="189" y="164"/>
                  <a:pt x="192" y="157"/>
                  <a:pt x="194" y="149"/>
                </a:cubicBezTo>
                <a:cubicBezTo>
                  <a:pt x="195" y="141"/>
                  <a:pt x="201" y="141"/>
                  <a:pt x="205" y="134"/>
                </a:cubicBezTo>
                <a:cubicBezTo>
                  <a:pt x="210" y="126"/>
                  <a:pt x="209" y="117"/>
                  <a:pt x="206" y="108"/>
                </a:cubicBezTo>
                <a:cubicBezTo>
                  <a:pt x="203" y="99"/>
                  <a:pt x="200" y="94"/>
                  <a:pt x="205" y="91"/>
                </a:cubicBezTo>
                <a:cubicBezTo>
                  <a:pt x="209" y="88"/>
                  <a:pt x="203" y="87"/>
                  <a:pt x="207" y="84"/>
                </a:cubicBezTo>
                <a:cubicBezTo>
                  <a:pt x="212" y="80"/>
                  <a:pt x="213" y="66"/>
                  <a:pt x="214" y="63"/>
                </a:cubicBezTo>
                <a:cubicBezTo>
                  <a:pt x="214" y="60"/>
                  <a:pt x="217" y="64"/>
                  <a:pt x="214" y="49"/>
                </a:cubicBezTo>
                <a:cubicBezTo>
                  <a:pt x="211" y="34"/>
                  <a:pt x="207" y="28"/>
                  <a:pt x="204" y="28"/>
                </a:cubicBezTo>
                <a:cubicBezTo>
                  <a:pt x="200" y="27"/>
                  <a:pt x="197" y="28"/>
                  <a:pt x="192" y="24"/>
                </a:cubicBezTo>
                <a:cubicBezTo>
                  <a:pt x="186" y="20"/>
                  <a:pt x="183" y="16"/>
                  <a:pt x="178" y="15"/>
                </a:cubicBezTo>
                <a:cubicBezTo>
                  <a:pt x="172" y="14"/>
                  <a:pt x="168" y="13"/>
                  <a:pt x="165" y="12"/>
                </a:cubicBezTo>
                <a:cubicBezTo>
                  <a:pt x="162" y="12"/>
                  <a:pt x="158" y="11"/>
                  <a:pt x="155" y="12"/>
                </a:cubicBezTo>
                <a:cubicBezTo>
                  <a:pt x="151" y="12"/>
                  <a:pt x="145" y="7"/>
                  <a:pt x="145" y="7"/>
                </a:cubicBezTo>
                <a:cubicBezTo>
                  <a:pt x="145" y="7"/>
                  <a:pt x="123" y="0"/>
                  <a:pt x="116" y="6"/>
                </a:cubicBezTo>
                <a:cubicBezTo>
                  <a:pt x="108" y="12"/>
                  <a:pt x="101" y="13"/>
                  <a:pt x="103" y="22"/>
                </a:cubicBezTo>
                <a:cubicBezTo>
                  <a:pt x="105" y="31"/>
                  <a:pt x="95" y="32"/>
                  <a:pt x="91" y="32"/>
                </a:cubicBezTo>
                <a:cubicBezTo>
                  <a:pt x="87" y="32"/>
                  <a:pt x="69" y="36"/>
                  <a:pt x="68" y="45"/>
                </a:cubicBezTo>
                <a:cubicBezTo>
                  <a:pt x="67" y="54"/>
                  <a:pt x="67" y="54"/>
                  <a:pt x="60" y="61"/>
                </a:cubicBezTo>
                <a:cubicBezTo>
                  <a:pt x="53" y="68"/>
                  <a:pt x="47" y="73"/>
                  <a:pt x="44" y="69"/>
                </a:cubicBezTo>
                <a:cubicBezTo>
                  <a:pt x="41" y="64"/>
                  <a:pt x="37" y="58"/>
                  <a:pt x="35" y="64"/>
                </a:cubicBezTo>
                <a:cubicBezTo>
                  <a:pt x="33" y="69"/>
                  <a:pt x="28" y="67"/>
                  <a:pt x="28" y="67"/>
                </a:cubicBezTo>
                <a:cubicBezTo>
                  <a:pt x="28" y="67"/>
                  <a:pt x="24" y="61"/>
                  <a:pt x="23" y="64"/>
                </a:cubicBezTo>
                <a:cubicBezTo>
                  <a:pt x="22" y="68"/>
                  <a:pt x="16" y="64"/>
                  <a:pt x="16" y="64"/>
                </a:cubicBezTo>
                <a:cubicBezTo>
                  <a:pt x="16" y="64"/>
                  <a:pt x="7" y="61"/>
                  <a:pt x="5" y="62"/>
                </a:cubicBezTo>
                <a:cubicBezTo>
                  <a:pt x="5" y="62"/>
                  <a:pt x="0" y="73"/>
                  <a:pt x="8" y="79"/>
                </a:cubicBezTo>
                <a:cubicBezTo>
                  <a:pt x="15" y="85"/>
                  <a:pt x="28" y="95"/>
                  <a:pt x="30" y="109"/>
                </a:cubicBezTo>
                <a:cubicBezTo>
                  <a:pt x="32" y="123"/>
                  <a:pt x="43" y="126"/>
                  <a:pt x="48" y="128"/>
                </a:cubicBezTo>
                <a:cubicBezTo>
                  <a:pt x="53" y="131"/>
                  <a:pt x="60" y="133"/>
                  <a:pt x="61" y="136"/>
                </a:cubicBezTo>
                <a:cubicBezTo>
                  <a:pt x="61" y="139"/>
                  <a:pt x="65" y="128"/>
                  <a:pt x="66" y="133"/>
                </a:cubicBezTo>
                <a:cubicBezTo>
                  <a:pt x="67" y="139"/>
                  <a:pt x="62" y="140"/>
                  <a:pt x="63" y="144"/>
                </a:cubicBezTo>
                <a:cubicBezTo>
                  <a:pt x="63" y="149"/>
                  <a:pt x="70" y="148"/>
                  <a:pt x="71" y="151"/>
                </a:cubicBezTo>
                <a:cubicBezTo>
                  <a:pt x="71" y="154"/>
                  <a:pt x="63" y="159"/>
                  <a:pt x="66" y="162"/>
                </a:cubicBezTo>
                <a:cubicBezTo>
                  <a:pt x="70" y="164"/>
                  <a:pt x="72" y="163"/>
                  <a:pt x="76" y="164"/>
                </a:cubicBezTo>
                <a:cubicBezTo>
                  <a:pt x="80" y="164"/>
                  <a:pt x="80" y="164"/>
                  <a:pt x="83" y="167"/>
                </a:cubicBezTo>
                <a:cubicBezTo>
                  <a:pt x="86" y="171"/>
                  <a:pt x="102" y="175"/>
                  <a:pt x="103" y="183"/>
                </a:cubicBezTo>
                <a:cubicBezTo>
                  <a:pt x="103" y="183"/>
                  <a:pt x="153" y="185"/>
                  <a:pt x="162" y="19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59" name="Freeform 695"/>
          <p:cNvSpPr>
            <a:spLocks/>
          </p:cNvSpPr>
          <p:nvPr userDrawn="1"/>
        </p:nvSpPr>
        <p:spPr bwMode="auto">
          <a:xfrm>
            <a:off x="5767047" y="5477023"/>
            <a:ext cx="348419" cy="309892"/>
          </a:xfrm>
          <a:custGeom>
            <a:avLst/>
            <a:gdLst>
              <a:gd name="T0" fmla="*/ 2147483646 w 375"/>
              <a:gd name="T1" fmla="*/ 2147483646 h 332"/>
              <a:gd name="T2" fmla="*/ 2147483646 w 375"/>
              <a:gd name="T3" fmla="*/ 2147483646 h 332"/>
              <a:gd name="T4" fmla="*/ 2147483646 w 375"/>
              <a:gd name="T5" fmla="*/ 2147483646 h 332"/>
              <a:gd name="T6" fmla="*/ 2147483646 w 375"/>
              <a:gd name="T7" fmla="*/ 2147483646 h 332"/>
              <a:gd name="T8" fmla="*/ 2147483646 w 375"/>
              <a:gd name="T9" fmla="*/ 2147483646 h 332"/>
              <a:gd name="T10" fmla="*/ 2147483646 w 375"/>
              <a:gd name="T11" fmla="*/ 2147483646 h 332"/>
              <a:gd name="T12" fmla="*/ 2147483646 w 375"/>
              <a:gd name="T13" fmla="*/ 2147483646 h 332"/>
              <a:gd name="T14" fmla="*/ 2147483646 w 375"/>
              <a:gd name="T15" fmla="*/ 2147483646 h 332"/>
              <a:gd name="T16" fmla="*/ 2147483646 w 375"/>
              <a:gd name="T17" fmla="*/ 2147483646 h 332"/>
              <a:gd name="T18" fmla="*/ 2147483646 w 375"/>
              <a:gd name="T19" fmla="*/ 2147483646 h 332"/>
              <a:gd name="T20" fmla="*/ 2147483646 w 375"/>
              <a:gd name="T21" fmla="*/ 2147483646 h 332"/>
              <a:gd name="T22" fmla="*/ 2147483646 w 375"/>
              <a:gd name="T23" fmla="*/ 2147483646 h 332"/>
              <a:gd name="T24" fmla="*/ 2147483646 w 375"/>
              <a:gd name="T25" fmla="*/ 2147483646 h 332"/>
              <a:gd name="T26" fmla="*/ 2147483646 w 375"/>
              <a:gd name="T27" fmla="*/ 2147483646 h 332"/>
              <a:gd name="T28" fmla="*/ 2147483646 w 375"/>
              <a:gd name="T29" fmla="*/ 2147483646 h 332"/>
              <a:gd name="T30" fmla="*/ 2147483646 w 375"/>
              <a:gd name="T31" fmla="*/ 2147483646 h 332"/>
              <a:gd name="T32" fmla="*/ 2147483646 w 375"/>
              <a:gd name="T33" fmla="*/ 2147483646 h 332"/>
              <a:gd name="T34" fmla="*/ 2147483646 w 375"/>
              <a:gd name="T35" fmla="*/ 2147483646 h 332"/>
              <a:gd name="T36" fmla="*/ 2147483646 w 375"/>
              <a:gd name="T37" fmla="*/ 2147483646 h 332"/>
              <a:gd name="T38" fmla="*/ 2147483646 w 375"/>
              <a:gd name="T39" fmla="*/ 2147483646 h 332"/>
              <a:gd name="T40" fmla="*/ 2147483646 w 375"/>
              <a:gd name="T41" fmla="*/ 2147483646 h 332"/>
              <a:gd name="T42" fmla="*/ 2147483646 w 375"/>
              <a:gd name="T43" fmla="*/ 2147483646 h 332"/>
              <a:gd name="T44" fmla="*/ 2147483646 w 375"/>
              <a:gd name="T45" fmla="*/ 2147483646 h 332"/>
              <a:gd name="T46" fmla="*/ 2147483646 w 375"/>
              <a:gd name="T47" fmla="*/ 2147483646 h 332"/>
              <a:gd name="T48" fmla="*/ 2147483646 w 375"/>
              <a:gd name="T49" fmla="*/ 2147483646 h 332"/>
              <a:gd name="T50" fmla="*/ 2147483646 w 375"/>
              <a:gd name="T51" fmla="*/ 2147483646 h 332"/>
              <a:gd name="T52" fmla="*/ 2147483646 w 375"/>
              <a:gd name="T53" fmla="*/ 2147483646 h 332"/>
              <a:gd name="T54" fmla="*/ 2147483646 w 375"/>
              <a:gd name="T55" fmla="*/ 2147483646 h 332"/>
              <a:gd name="T56" fmla="*/ 2147483646 w 375"/>
              <a:gd name="T57" fmla="*/ 2147483646 h 332"/>
              <a:gd name="T58" fmla="*/ 2147483646 w 375"/>
              <a:gd name="T59" fmla="*/ 2147483646 h 332"/>
              <a:gd name="T60" fmla="*/ 2147483646 w 375"/>
              <a:gd name="T61" fmla="*/ 2147483646 h 332"/>
              <a:gd name="T62" fmla="*/ 2147483646 w 375"/>
              <a:gd name="T63" fmla="*/ 2147483646 h 332"/>
              <a:gd name="T64" fmla="*/ 2147483646 w 375"/>
              <a:gd name="T65" fmla="*/ 2147483646 h 332"/>
              <a:gd name="T66" fmla="*/ 2147483646 w 375"/>
              <a:gd name="T67" fmla="*/ 2147483646 h 332"/>
              <a:gd name="T68" fmla="*/ 2147483646 w 375"/>
              <a:gd name="T69" fmla="*/ 2147483646 h 332"/>
              <a:gd name="T70" fmla="*/ 2147483646 w 375"/>
              <a:gd name="T71" fmla="*/ 2147483646 h 332"/>
              <a:gd name="T72" fmla="*/ 2147483646 w 375"/>
              <a:gd name="T73" fmla="*/ 2147483646 h 33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375"/>
              <a:gd name="T112" fmla="*/ 0 h 332"/>
              <a:gd name="T113" fmla="*/ 375 w 375"/>
              <a:gd name="T114" fmla="*/ 332 h 33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375" h="332">
                <a:moveTo>
                  <a:pt x="4" y="11"/>
                </a:moveTo>
                <a:cubicBezTo>
                  <a:pt x="4" y="9"/>
                  <a:pt x="17" y="9"/>
                  <a:pt x="24" y="10"/>
                </a:cubicBezTo>
                <a:cubicBezTo>
                  <a:pt x="32" y="11"/>
                  <a:pt x="35" y="5"/>
                  <a:pt x="44" y="3"/>
                </a:cubicBezTo>
                <a:cubicBezTo>
                  <a:pt x="52" y="0"/>
                  <a:pt x="66" y="14"/>
                  <a:pt x="66" y="14"/>
                </a:cubicBezTo>
                <a:cubicBezTo>
                  <a:pt x="189" y="16"/>
                  <a:pt x="189" y="16"/>
                  <a:pt x="189" y="16"/>
                </a:cubicBezTo>
                <a:cubicBezTo>
                  <a:pt x="188" y="24"/>
                  <a:pt x="199" y="27"/>
                  <a:pt x="206" y="28"/>
                </a:cubicBezTo>
                <a:cubicBezTo>
                  <a:pt x="213" y="29"/>
                  <a:pt x="228" y="26"/>
                  <a:pt x="247" y="34"/>
                </a:cubicBezTo>
                <a:cubicBezTo>
                  <a:pt x="266" y="42"/>
                  <a:pt x="322" y="23"/>
                  <a:pt x="322" y="23"/>
                </a:cubicBezTo>
                <a:cubicBezTo>
                  <a:pt x="325" y="18"/>
                  <a:pt x="353" y="18"/>
                  <a:pt x="364" y="19"/>
                </a:cubicBezTo>
                <a:cubicBezTo>
                  <a:pt x="374" y="20"/>
                  <a:pt x="375" y="27"/>
                  <a:pt x="375" y="27"/>
                </a:cubicBezTo>
                <a:cubicBezTo>
                  <a:pt x="375" y="27"/>
                  <a:pt x="374" y="27"/>
                  <a:pt x="368" y="28"/>
                </a:cubicBezTo>
                <a:cubicBezTo>
                  <a:pt x="361" y="30"/>
                  <a:pt x="361" y="38"/>
                  <a:pt x="355" y="35"/>
                </a:cubicBezTo>
                <a:cubicBezTo>
                  <a:pt x="349" y="33"/>
                  <a:pt x="347" y="28"/>
                  <a:pt x="341" y="34"/>
                </a:cubicBezTo>
                <a:cubicBezTo>
                  <a:pt x="335" y="40"/>
                  <a:pt x="328" y="43"/>
                  <a:pt x="328" y="43"/>
                </a:cubicBezTo>
                <a:cubicBezTo>
                  <a:pt x="320" y="34"/>
                  <a:pt x="320" y="34"/>
                  <a:pt x="320" y="34"/>
                </a:cubicBezTo>
                <a:cubicBezTo>
                  <a:pt x="320" y="34"/>
                  <a:pt x="268" y="45"/>
                  <a:pt x="259" y="43"/>
                </a:cubicBezTo>
                <a:cubicBezTo>
                  <a:pt x="254" y="142"/>
                  <a:pt x="254" y="142"/>
                  <a:pt x="254" y="142"/>
                </a:cubicBezTo>
                <a:cubicBezTo>
                  <a:pt x="229" y="144"/>
                  <a:pt x="229" y="144"/>
                  <a:pt x="229" y="144"/>
                </a:cubicBezTo>
                <a:cubicBezTo>
                  <a:pt x="227" y="315"/>
                  <a:pt x="227" y="315"/>
                  <a:pt x="227" y="315"/>
                </a:cubicBezTo>
                <a:cubicBezTo>
                  <a:pt x="227" y="315"/>
                  <a:pt x="212" y="320"/>
                  <a:pt x="210" y="325"/>
                </a:cubicBezTo>
                <a:cubicBezTo>
                  <a:pt x="208" y="330"/>
                  <a:pt x="204" y="331"/>
                  <a:pt x="199" y="329"/>
                </a:cubicBezTo>
                <a:cubicBezTo>
                  <a:pt x="193" y="328"/>
                  <a:pt x="189" y="325"/>
                  <a:pt x="186" y="328"/>
                </a:cubicBezTo>
                <a:cubicBezTo>
                  <a:pt x="183" y="330"/>
                  <a:pt x="177" y="332"/>
                  <a:pt x="174" y="330"/>
                </a:cubicBezTo>
                <a:cubicBezTo>
                  <a:pt x="171" y="328"/>
                  <a:pt x="169" y="321"/>
                  <a:pt x="166" y="323"/>
                </a:cubicBezTo>
                <a:cubicBezTo>
                  <a:pt x="163" y="325"/>
                  <a:pt x="157" y="323"/>
                  <a:pt x="156" y="320"/>
                </a:cubicBezTo>
                <a:cubicBezTo>
                  <a:pt x="155" y="318"/>
                  <a:pt x="152" y="305"/>
                  <a:pt x="149" y="306"/>
                </a:cubicBezTo>
                <a:cubicBezTo>
                  <a:pt x="147" y="308"/>
                  <a:pt x="136" y="325"/>
                  <a:pt x="136" y="325"/>
                </a:cubicBezTo>
                <a:cubicBezTo>
                  <a:pt x="136" y="325"/>
                  <a:pt x="103" y="304"/>
                  <a:pt x="101" y="284"/>
                </a:cubicBezTo>
                <a:cubicBezTo>
                  <a:pt x="100" y="265"/>
                  <a:pt x="99" y="259"/>
                  <a:pt x="95" y="251"/>
                </a:cubicBezTo>
                <a:cubicBezTo>
                  <a:pt x="92" y="243"/>
                  <a:pt x="91" y="234"/>
                  <a:pt x="92" y="227"/>
                </a:cubicBezTo>
                <a:cubicBezTo>
                  <a:pt x="92" y="221"/>
                  <a:pt x="95" y="213"/>
                  <a:pt x="90" y="211"/>
                </a:cubicBezTo>
                <a:cubicBezTo>
                  <a:pt x="86" y="210"/>
                  <a:pt x="78" y="224"/>
                  <a:pt x="81" y="202"/>
                </a:cubicBezTo>
                <a:cubicBezTo>
                  <a:pt x="84" y="179"/>
                  <a:pt x="91" y="171"/>
                  <a:pt x="80" y="155"/>
                </a:cubicBezTo>
                <a:cubicBezTo>
                  <a:pt x="69" y="139"/>
                  <a:pt x="64" y="127"/>
                  <a:pt x="54" y="111"/>
                </a:cubicBezTo>
                <a:cubicBezTo>
                  <a:pt x="43" y="95"/>
                  <a:pt x="32" y="91"/>
                  <a:pt x="30" y="74"/>
                </a:cubicBezTo>
                <a:cubicBezTo>
                  <a:pt x="28" y="56"/>
                  <a:pt x="27" y="64"/>
                  <a:pt x="16" y="51"/>
                </a:cubicBezTo>
                <a:cubicBezTo>
                  <a:pt x="5" y="38"/>
                  <a:pt x="0" y="25"/>
                  <a:pt x="4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60" name="Freeform 696"/>
          <p:cNvSpPr>
            <a:spLocks/>
          </p:cNvSpPr>
          <p:nvPr userDrawn="1"/>
        </p:nvSpPr>
        <p:spPr bwMode="auto">
          <a:xfrm>
            <a:off x="5979783" y="5502149"/>
            <a:ext cx="229488" cy="236188"/>
          </a:xfrm>
          <a:custGeom>
            <a:avLst/>
            <a:gdLst>
              <a:gd name="T0" fmla="*/ 0 w 246"/>
              <a:gd name="T1" fmla="*/ 2147483646 h 253"/>
              <a:gd name="T2" fmla="*/ 2147483646 w 246"/>
              <a:gd name="T3" fmla="*/ 2147483646 h 253"/>
              <a:gd name="T4" fmla="*/ 2147483646 w 246"/>
              <a:gd name="T5" fmla="*/ 2147483646 h 253"/>
              <a:gd name="T6" fmla="*/ 2147483646 w 246"/>
              <a:gd name="T7" fmla="*/ 2147483646 h 253"/>
              <a:gd name="T8" fmla="*/ 2147483646 w 246"/>
              <a:gd name="T9" fmla="*/ 2147483646 h 253"/>
              <a:gd name="T10" fmla="*/ 2147483646 w 246"/>
              <a:gd name="T11" fmla="*/ 2147483646 h 253"/>
              <a:gd name="T12" fmla="*/ 2147483646 w 246"/>
              <a:gd name="T13" fmla="*/ 2147483646 h 253"/>
              <a:gd name="T14" fmla="*/ 2147483646 w 246"/>
              <a:gd name="T15" fmla="*/ 2147483646 h 253"/>
              <a:gd name="T16" fmla="*/ 2147483646 w 246"/>
              <a:gd name="T17" fmla="*/ 2147483646 h 253"/>
              <a:gd name="T18" fmla="*/ 2147483646 w 246"/>
              <a:gd name="T19" fmla="*/ 0 h 253"/>
              <a:gd name="T20" fmla="*/ 2147483646 w 246"/>
              <a:gd name="T21" fmla="*/ 2147483646 h 253"/>
              <a:gd name="T22" fmla="*/ 2147483646 w 246"/>
              <a:gd name="T23" fmla="*/ 2147483646 h 253"/>
              <a:gd name="T24" fmla="*/ 2147483646 w 246"/>
              <a:gd name="T25" fmla="*/ 2147483646 h 253"/>
              <a:gd name="T26" fmla="*/ 2147483646 w 246"/>
              <a:gd name="T27" fmla="*/ 2147483646 h 253"/>
              <a:gd name="T28" fmla="*/ 2147483646 w 246"/>
              <a:gd name="T29" fmla="*/ 2147483646 h 253"/>
              <a:gd name="T30" fmla="*/ 2147483646 w 246"/>
              <a:gd name="T31" fmla="*/ 2147483646 h 253"/>
              <a:gd name="T32" fmla="*/ 2147483646 w 246"/>
              <a:gd name="T33" fmla="*/ 2147483646 h 253"/>
              <a:gd name="T34" fmla="*/ 2147483646 w 246"/>
              <a:gd name="T35" fmla="*/ 2147483646 h 253"/>
              <a:gd name="T36" fmla="*/ 2147483646 w 246"/>
              <a:gd name="T37" fmla="*/ 2147483646 h 253"/>
              <a:gd name="T38" fmla="*/ 2147483646 w 246"/>
              <a:gd name="T39" fmla="*/ 2147483646 h 253"/>
              <a:gd name="T40" fmla="*/ 2147483646 w 246"/>
              <a:gd name="T41" fmla="*/ 2147483646 h 253"/>
              <a:gd name="T42" fmla="*/ 2147483646 w 246"/>
              <a:gd name="T43" fmla="*/ 2147483646 h 253"/>
              <a:gd name="T44" fmla="*/ 2147483646 w 246"/>
              <a:gd name="T45" fmla="*/ 2147483646 h 253"/>
              <a:gd name="T46" fmla="*/ 2147483646 w 246"/>
              <a:gd name="T47" fmla="*/ 2147483646 h 253"/>
              <a:gd name="T48" fmla="*/ 2147483646 w 246"/>
              <a:gd name="T49" fmla="*/ 2147483646 h 253"/>
              <a:gd name="T50" fmla="*/ 2147483646 w 246"/>
              <a:gd name="T51" fmla="*/ 2147483646 h 253"/>
              <a:gd name="T52" fmla="*/ 2147483646 w 246"/>
              <a:gd name="T53" fmla="*/ 2147483646 h 253"/>
              <a:gd name="T54" fmla="*/ 2147483646 w 246"/>
              <a:gd name="T55" fmla="*/ 2147483646 h 253"/>
              <a:gd name="T56" fmla="*/ 2147483646 w 246"/>
              <a:gd name="T57" fmla="*/ 2147483646 h 253"/>
              <a:gd name="T58" fmla="*/ 2147483646 w 246"/>
              <a:gd name="T59" fmla="*/ 2147483646 h 253"/>
              <a:gd name="T60" fmla="*/ 2147483646 w 246"/>
              <a:gd name="T61" fmla="*/ 2147483646 h 253"/>
              <a:gd name="T62" fmla="*/ 2147483646 w 246"/>
              <a:gd name="T63" fmla="*/ 2147483646 h 253"/>
              <a:gd name="T64" fmla="*/ 2147483646 w 246"/>
              <a:gd name="T65" fmla="*/ 2147483646 h 253"/>
              <a:gd name="T66" fmla="*/ 2147483646 w 246"/>
              <a:gd name="T67" fmla="*/ 2147483646 h 253"/>
              <a:gd name="T68" fmla="*/ 2147483646 w 246"/>
              <a:gd name="T69" fmla="*/ 2147483646 h 253"/>
              <a:gd name="T70" fmla="*/ 2147483646 w 246"/>
              <a:gd name="T71" fmla="*/ 2147483646 h 253"/>
              <a:gd name="T72" fmla="*/ 2147483646 w 246"/>
              <a:gd name="T73" fmla="*/ 2147483646 h 253"/>
              <a:gd name="T74" fmla="*/ 2147483646 w 246"/>
              <a:gd name="T75" fmla="*/ 2147483646 h 253"/>
              <a:gd name="T76" fmla="*/ 2147483646 w 246"/>
              <a:gd name="T77" fmla="*/ 2147483646 h 253"/>
              <a:gd name="T78" fmla="*/ 0 w 246"/>
              <a:gd name="T79" fmla="*/ 2147483646 h 253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46"/>
              <a:gd name="T121" fmla="*/ 0 h 253"/>
              <a:gd name="T122" fmla="*/ 246 w 246"/>
              <a:gd name="T123" fmla="*/ 253 h 253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46" h="253">
                <a:moveTo>
                  <a:pt x="0" y="193"/>
                </a:moveTo>
                <a:cubicBezTo>
                  <a:pt x="1" y="117"/>
                  <a:pt x="1" y="117"/>
                  <a:pt x="1" y="117"/>
                </a:cubicBezTo>
                <a:cubicBezTo>
                  <a:pt x="26" y="115"/>
                  <a:pt x="26" y="115"/>
                  <a:pt x="26" y="115"/>
                </a:cubicBezTo>
                <a:cubicBezTo>
                  <a:pt x="31" y="16"/>
                  <a:pt x="31" y="16"/>
                  <a:pt x="31" y="16"/>
                </a:cubicBezTo>
                <a:cubicBezTo>
                  <a:pt x="40" y="18"/>
                  <a:pt x="92" y="7"/>
                  <a:pt x="92" y="7"/>
                </a:cubicBezTo>
                <a:cubicBezTo>
                  <a:pt x="100" y="16"/>
                  <a:pt x="100" y="16"/>
                  <a:pt x="100" y="16"/>
                </a:cubicBezTo>
                <a:cubicBezTo>
                  <a:pt x="100" y="16"/>
                  <a:pt x="107" y="13"/>
                  <a:pt x="113" y="7"/>
                </a:cubicBezTo>
                <a:cubicBezTo>
                  <a:pt x="119" y="1"/>
                  <a:pt x="121" y="6"/>
                  <a:pt x="127" y="8"/>
                </a:cubicBezTo>
                <a:cubicBezTo>
                  <a:pt x="133" y="11"/>
                  <a:pt x="133" y="3"/>
                  <a:pt x="140" y="1"/>
                </a:cubicBezTo>
                <a:cubicBezTo>
                  <a:pt x="142" y="1"/>
                  <a:pt x="144" y="0"/>
                  <a:pt x="145" y="0"/>
                </a:cubicBezTo>
                <a:cubicBezTo>
                  <a:pt x="147" y="1"/>
                  <a:pt x="147" y="1"/>
                  <a:pt x="147" y="1"/>
                </a:cubicBezTo>
                <a:cubicBezTo>
                  <a:pt x="147" y="1"/>
                  <a:pt x="142" y="11"/>
                  <a:pt x="150" y="17"/>
                </a:cubicBezTo>
                <a:cubicBezTo>
                  <a:pt x="157" y="23"/>
                  <a:pt x="170" y="33"/>
                  <a:pt x="172" y="47"/>
                </a:cubicBezTo>
                <a:cubicBezTo>
                  <a:pt x="174" y="61"/>
                  <a:pt x="185" y="64"/>
                  <a:pt x="190" y="66"/>
                </a:cubicBezTo>
                <a:cubicBezTo>
                  <a:pt x="195" y="69"/>
                  <a:pt x="202" y="71"/>
                  <a:pt x="203" y="74"/>
                </a:cubicBezTo>
                <a:cubicBezTo>
                  <a:pt x="203" y="77"/>
                  <a:pt x="207" y="66"/>
                  <a:pt x="208" y="71"/>
                </a:cubicBezTo>
                <a:cubicBezTo>
                  <a:pt x="209" y="77"/>
                  <a:pt x="204" y="78"/>
                  <a:pt x="205" y="82"/>
                </a:cubicBezTo>
                <a:cubicBezTo>
                  <a:pt x="205" y="87"/>
                  <a:pt x="212" y="86"/>
                  <a:pt x="213" y="89"/>
                </a:cubicBezTo>
                <a:cubicBezTo>
                  <a:pt x="213" y="92"/>
                  <a:pt x="205" y="97"/>
                  <a:pt x="208" y="100"/>
                </a:cubicBezTo>
                <a:cubicBezTo>
                  <a:pt x="212" y="102"/>
                  <a:pt x="214" y="101"/>
                  <a:pt x="218" y="102"/>
                </a:cubicBezTo>
                <a:cubicBezTo>
                  <a:pt x="222" y="102"/>
                  <a:pt x="222" y="102"/>
                  <a:pt x="225" y="105"/>
                </a:cubicBezTo>
                <a:cubicBezTo>
                  <a:pt x="228" y="109"/>
                  <a:pt x="244" y="113"/>
                  <a:pt x="245" y="121"/>
                </a:cubicBezTo>
                <a:cubicBezTo>
                  <a:pt x="245" y="121"/>
                  <a:pt x="246" y="122"/>
                  <a:pt x="241" y="124"/>
                </a:cubicBezTo>
                <a:cubicBezTo>
                  <a:pt x="236" y="125"/>
                  <a:pt x="235" y="129"/>
                  <a:pt x="231" y="133"/>
                </a:cubicBezTo>
                <a:cubicBezTo>
                  <a:pt x="227" y="136"/>
                  <a:pt x="219" y="133"/>
                  <a:pt x="217" y="134"/>
                </a:cubicBezTo>
                <a:cubicBezTo>
                  <a:pt x="214" y="135"/>
                  <a:pt x="212" y="135"/>
                  <a:pt x="210" y="141"/>
                </a:cubicBezTo>
                <a:cubicBezTo>
                  <a:pt x="207" y="148"/>
                  <a:pt x="198" y="153"/>
                  <a:pt x="194" y="155"/>
                </a:cubicBezTo>
                <a:cubicBezTo>
                  <a:pt x="190" y="157"/>
                  <a:pt x="182" y="164"/>
                  <a:pt x="180" y="168"/>
                </a:cubicBezTo>
                <a:cubicBezTo>
                  <a:pt x="178" y="172"/>
                  <a:pt x="181" y="183"/>
                  <a:pt x="170" y="185"/>
                </a:cubicBezTo>
                <a:cubicBezTo>
                  <a:pt x="160" y="188"/>
                  <a:pt x="157" y="181"/>
                  <a:pt x="153" y="189"/>
                </a:cubicBezTo>
                <a:cubicBezTo>
                  <a:pt x="149" y="198"/>
                  <a:pt x="152" y="209"/>
                  <a:pt x="146" y="212"/>
                </a:cubicBezTo>
                <a:cubicBezTo>
                  <a:pt x="141" y="215"/>
                  <a:pt x="147" y="217"/>
                  <a:pt x="136" y="217"/>
                </a:cubicBezTo>
                <a:cubicBezTo>
                  <a:pt x="125" y="218"/>
                  <a:pt x="103" y="225"/>
                  <a:pt x="96" y="211"/>
                </a:cubicBezTo>
                <a:cubicBezTo>
                  <a:pt x="90" y="196"/>
                  <a:pt x="76" y="203"/>
                  <a:pt x="72" y="216"/>
                </a:cubicBezTo>
                <a:cubicBezTo>
                  <a:pt x="67" y="229"/>
                  <a:pt x="58" y="235"/>
                  <a:pt x="55" y="236"/>
                </a:cubicBezTo>
                <a:cubicBezTo>
                  <a:pt x="51" y="238"/>
                  <a:pt x="51" y="240"/>
                  <a:pt x="44" y="246"/>
                </a:cubicBezTo>
                <a:cubicBezTo>
                  <a:pt x="36" y="253"/>
                  <a:pt x="19" y="252"/>
                  <a:pt x="16" y="248"/>
                </a:cubicBezTo>
                <a:cubicBezTo>
                  <a:pt x="13" y="244"/>
                  <a:pt x="16" y="239"/>
                  <a:pt x="19" y="233"/>
                </a:cubicBezTo>
                <a:cubicBezTo>
                  <a:pt x="23" y="227"/>
                  <a:pt x="25" y="222"/>
                  <a:pt x="19" y="214"/>
                </a:cubicBezTo>
                <a:cubicBezTo>
                  <a:pt x="14" y="207"/>
                  <a:pt x="9" y="193"/>
                  <a:pt x="0" y="19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61" name="Freeform 697"/>
          <p:cNvSpPr>
            <a:spLocks/>
          </p:cNvSpPr>
          <p:nvPr userDrawn="1"/>
        </p:nvSpPr>
        <p:spPr bwMode="auto">
          <a:xfrm>
            <a:off x="5892679" y="5616056"/>
            <a:ext cx="393647" cy="329993"/>
          </a:xfrm>
          <a:custGeom>
            <a:avLst/>
            <a:gdLst>
              <a:gd name="T0" fmla="*/ 0 w 422"/>
              <a:gd name="T1" fmla="*/ 2147483646 h 355"/>
              <a:gd name="T2" fmla="*/ 2147483646 w 422"/>
              <a:gd name="T3" fmla="*/ 2147483646 h 355"/>
              <a:gd name="T4" fmla="*/ 2147483646 w 422"/>
              <a:gd name="T5" fmla="*/ 2147483646 h 355"/>
              <a:gd name="T6" fmla="*/ 2147483646 w 422"/>
              <a:gd name="T7" fmla="*/ 2147483646 h 355"/>
              <a:gd name="T8" fmla="*/ 2147483646 w 422"/>
              <a:gd name="T9" fmla="*/ 2147483646 h 355"/>
              <a:gd name="T10" fmla="*/ 2147483646 w 422"/>
              <a:gd name="T11" fmla="*/ 2147483646 h 355"/>
              <a:gd name="T12" fmla="*/ 2147483646 w 422"/>
              <a:gd name="T13" fmla="*/ 2147483646 h 355"/>
              <a:gd name="T14" fmla="*/ 2147483646 w 422"/>
              <a:gd name="T15" fmla="*/ 2147483646 h 355"/>
              <a:gd name="T16" fmla="*/ 2147483646 w 422"/>
              <a:gd name="T17" fmla="*/ 2147483646 h 355"/>
              <a:gd name="T18" fmla="*/ 2147483646 w 422"/>
              <a:gd name="T19" fmla="*/ 2147483646 h 355"/>
              <a:gd name="T20" fmla="*/ 2147483646 w 422"/>
              <a:gd name="T21" fmla="*/ 2147483646 h 355"/>
              <a:gd name="T22" fmla="*/ 2147483646 w 422"/>
              <a:gd name="T23" fmla="*/ 2147483646 h 355"/>
              <a:gd name="T24" fmla="*/ 2147483646 w 422"/>
              <a:gd name="T25" fmla="*/ 2147483646 h 355"/>
              <a:gd name="T26" fmla="*/ 2147483646 w 422"/>
              <a:gd name="T27" fmla="*/ 2147483646 h 355"/>
              <a:gd name="T28" fmla="*/ 2147483646 w 422"/>
              <a:gd name="T29" fmla="*/ 2147483646 h 355"/>
              <a:gd name="T30" fmla="*/ 2147483646 w 422"/>
              <a:gd name="T31" fmla="*/ 2147483646 h 355"/>
              <a:gd name="T32" fmla="*/ 2147483646 w 422"/>
              <a:gd name="T33" fmla="*/ 2147483646 h 355"/>
              <a:gd name="T34" fmla="*/ 2147483646 w 422"/>
              <a:gd name="T35" fmla="*/ 2147483646 h 355"/>
              <a:gd name="T36" fmla="*/ 2147483646 w 422"/>
              <a:gd name="T37" fmla="*/ 2147483646 h 355"/>
              <a:gd name="T38" fmla="*/ 2147483646 w 422"/>
              <a:gd name="T39" fmla="*/ 2147483646 h 355"/>
              <a:gd name="T40" fmla="*/ 2147483646 w 422"/>
              <a:gd name="T41" fmla="*/ 2147483646 h 355"/>
              <a:gd name="T42" fmla="*/ 2147483646 w 422"/>
              <a:gd name="T43" fmla="*/ 2147483646 h 355"/>
              <a:gd name="T44" fmla="*/ 2147483646 w 422"/>
              <a:gd name="T45" fmla="*/ 2147483646 h 355"/>
              <a:gd name="T46" fmla="*/ 2147483646 w 422"/>
              <a:gd name="T47" fmla="*/ 2147483646 h 355"/>
              <a:gd name="T48" fmla="*/ 2147483646 w 422"/>
              <a:gd name="T49" fmla="*/ 2147483646 h 355"/>
              <a:gd name="T50" fmla="*/ 2147483646 w 422"/>
              <a:gd name="T51" fmla="*/ 2147483646 h 355"/>
              <a:gd name="T52" fmla="*/ 2147483646 w 422"/>
              <a:gd name="T53" fmla="*/ 2147483646 h 355"/>
              <a:gd name="T54" fmla="*/ 2147483646 w 422"/>
              <a:gd name="T55" fmla="*/ 2147483646 h 355"/>
              <a:gd name="T56" fmla="*/ 2147483646 w 422"/>
              <a:gd name="T57" fmla="*/ 0 h 355"/>
              <a:gd name="T58" fmla="*/ 2147483646 w 422"/>
              <a:gd name="T59" fmla="*/ 2147483646 h 355"/>
              <a:gd name="T60" fmla="*/ 2147483646 w 422"/>
              <a:gd name="T61" fmla="*/ 2147483646 h 355"/>
              <a:gd name="T62" fmla="*/ 2147483646 w 422"/>
              <a:gd name="T63" fmla="*/ 2147483646 h 355"/>
              <a:gd name="T64" fmla="*/ 2147483646 w 422"/>
              <a:gd name="T65" fmla="*/ 2147483646 h 355"/>
              <a:gd name="T66" fmla="*/ 2147483646 w 422"/>
              <a:gd name="T67" fmla="*/ 2147483646 h 355"/>
              <a:gd name="T68" fmla="*/ 2147483646 w 422"/>
              <a:gd name="T69" fmla="*/ 2147483646 h 355"/>
              <a:gd name="T70" fmla="*/ 2147483646 w 422"/>
              <a:gd name="T71" fmla="*/ 2147483646 h 355"/>
              <a:gd name="T72" fmla="*/ 2147483646 w 422"/>
              <a:gd name="T73" fmla="*/ 2147483646 h 355"/>
              <a:gd name="T74" fmla="*/ 2147483646 w 422"/>
              <a:gd name="T75" fmla="*/ 2147483646 h 355"/>
              <a:gd name="T76" fmla="*/ 2147483646 w 422"/>
              <a:gd name="T77" fmla="*/ 2147483646 h 355"/>
              <a:gd name="T78" fmla="*/ 2147483646 w 422"/>
              <a:gd name="T79" fmla="*/ 2147483646 h 355"/>
              <a:gd name="T80" fmla="*/ 2147483646 w 422"/>
              <a:gd name="T81" fmla="*/ 2147483646 h 355"/>
              <a:gd name="T82" fmla="*/ 2147483646 w 422"/>
              <a:gd name="T83" fmla="*/ 2147483646 h 355"/>
              <a:gd name="T84" fmla="*/ 2147483646 w 422"/>
              <a:gd name="T85" fmla="*/ 2147483646 h 355"/>
              <a:gd name="T86" fmla="*/ 2147483646 w 422"/>
              <a:gd name="T87" fmla="*/ 2147483646 h 355"/>
              <a:gd name="T88" fmla="*/ 2147483646 w 422"/>
              <a:gd name="T89" fmla="*/ 2147483646 h 355"/>
              <a:gd name="T90" fmla="*/ 2147483646 w 422"/>
              <a:gd name="T91" fmla="*/ 2147483646 h 355"/>
              <a:gd name="T92" fmla="*/ 2147483646 w 422"/>
              <a:gd name="T93" fmla="*/ 2147483646 h 355"/>
              <a:gd name="T94" fmla="*/ 2147483646 w 422"/>
              <a:gd name="T95" fmla="*/ 2147483646 h 355"/>
              <a:gd name="T96" fmla="*/ 2147483646 w 422"/>
              <a:gd name="T97" fmla="*/ 2147483646 h 355"/>
              <a:gd name="T98" fmla="*/ 2147483646 w 422"/>
              <a:gd name="T99" fmla="*/ 2147483646 h 355"/>
              <a:gd name="T100" fmla="*/ 2147483646 w 422"/>
              <a:gd name="T101" fmla="*/ 2147483646 h 355"/>
              <a:gd name="T102" fmla="*/ 2147483646 w 422"/>
              <a:gd name="T103" fmla="*/ 2147483646 h 355"/>
              <a:gd name="T104" fmla="*/ 2147483646 w 422"/>
              <a:gd name="T105" fmla="*/ 2147483646 h 355"/>
              <a:gd name="T106" fmla="*/ 2147483646 w 422"/>
              <a:gd name="T107" fmla="*/ 2147483646 h 355"/>
              <a:gd name="T108" fmla="*/ 2147483646 w 422"/>
              <a:gd name="T109" fmla="*/ 2147483646 h 355"/>
              <a:gd name="T110" fmla="*/ 2147483646 w 422"/>
              <a:gd name="T111" fmla="*/ 2147483646 h 355"/>
              <a:gd name="T112" fmla="*/ 2147483646 w 422"/>
              <a:gd name="T113" fmla="*/ 2147483646 h 355"/>
              <a:gd name="T114" fmla="*/ 2147483646 w 422"/>
              <a:gd name="T115" fmla="*/ 2147483646 h 355"/>
              <a:gd name="T116" fmla="*/ 2147483646 w 422"/>
              <a:gd name="T117" fmla="*/ 2147483646 h 355"/>
              <a:gd name="T118" fmla="*/ 2147483646 w 422"/>
              <a:gd name="T119" fmla="*/ 2147483646 h 355"/>
              <a:gd name="T120" fmla="*/ 2147483646 w 422"/>
              <a:gd name="T121" fmla="*/ 2147483646 h 355"/>
              <a:gd name="T122" fmla="*/ 2147483646 w 422"/>
              <a:gd name="T123" fmla="*/ 2147483646 h 355"/>
              <a:gd name="T124" fmla="*/ 0 w 422"/>
              <a:gd name="T125" fmla="*/ 2147483646 h 3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22"/>
              <a:gd name="T190" fmla="*/ 0 h 355"/>
              <a:gd name="T191" fmla="*/ 422 w 422"/>
              <a:gd name="T192" fmla="*/ 355 h 35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22" h="355">
                <a:moveTo>
                  <a:pt x="0" y="177"/>
                </a:moveTo>
                <a:cubicBezTo>
                  <a:pt x="0" y="177"/>
                  <a:pt x="11" y="160"/>
                  <a:pt x="13" y="158"/>
                </a:cubicBezTo>
                <a:cubicBezTo>
                  <a:pt x="16" y="157"/>
                  <a:pt x="19" y="170"/>
                  <a:pt x="20" y="172"/>
                </a:cubicBezTo>
                <a:cubicBezTo>
                  <a:pt x="21" y="175"/>
                  <a:pt x="27" y="177"/>
                  <a:pt x="30" y="175"/>
                </a:cubicBezTo>
                <a:cubicBezTo>
                  <a:pt x="33" y="173"/>
                  <a:pt x="35" y="180"/>
                  <a:pt x="38" y="182"/>
                </a:cubicBezTo>
                <a:cubicBezTo>
                  <a:pt x="41" y="184"/>
                  <a:pt x="47" y="182"/>
                  <a:pt x="50" y="180"/>
                </a:cubicBezTo>
                <a:cubicBezTo>
                  <a:pt x="53" y="177"/>
                  <a:pt x="57" y="180"/>
                  <a:pt x="63" y="181"/>
                </a:cubicBezTo>
                <a:cubicBezTo>
                  <a:pt x="68" y="183"/>
                  <a:pt x="72" y="182"/>
                  <a:pt x="74" y="177"/>
                </a:cubicBezTo>
                <a:cubicBezTo>
                  <a:pt x="76" y="172"/>
                  <a:pt x="91" y="167"/>
                  <a:pt x="91" y="167"/>
                </a:cubicBezTo>
                <a:cubicBezTo>
                  <a:pt x="92" y="77"/>
                  <a:pt x="92" y="77"/>
                  <a:pt x="92" y="77"/>
                </a:cubicBezTo>
                <a:cubicBezTo>
                  <a:pt x="92" y="72"/>
                  <a:pt x="92" y="72"/>
                  <a:pt x="92" y="72"/>
                </a:cubicBezTo>
                <a:cubicBezTo>
                  <a:pt x="101" y="72"/>
                  <a:pt x="106" y="86"/>
                  <a:pt x="111" y="93"/>
                </a:cubicBezTo>
                <a:cubicBezTo>
                  <a:pt x="117" y="101"/>
                  <a:pt x="115" y="106"/>
                  <a:pt x="111" y="112"/>
                </a:cubicBezTo>
                <a:cubicBezTo>
                  <a:pt x="108" y="118"/>
                  <a:pt x="105" y="123"/>
                  <a:pt x="108" y="127"/>
                </a:cubicBezTo>
                <a:cubicBezTo>
                  <a:pt x="111" y="131"/>
                  <a:pt x="128" y="132"/>
                  <a:pt x="136" y="125"/>
                </a:cubicBezTo>
                <a:cubicBezTo>
                  <a:pt x="143" y="119"/>
                  <a:pt x="143" y="117"/>
                  <a:pt x="147" y="115"/>
                </a:cubicBezTo>
                <a:cubicBezTo>
                  <a:pt x="150" y="114"/>
                  <a:pt x="159" y="108"/>
                  <a:pt x="164" y="95"/>
                </a:cubicBezTo>
                <a:cubicBezTo>
                  <a:pt x="168" y="82"/>
                  <a:pt x="182" y="75"/>
                  <a:pt x="188" y="90"/>
                </a:cubicBezTo>
                <a:cubicBezTo>
                  <a:pt x="195" y="104"/>
                  <a:pt x="217" y="97"/>
                  <a:pt x="228" y="96"/>
                </a:cubicBezTo>
                <a:cubicBezTo>
                  <a:pt x="239" y="96"/>
                  <a:pt x="233" y="94"/>
                  <a:pt x="238" y="91"/>
                </a:cubicBezTo>
                <a:cubicBezTo>
                  <a:pt x="244" y="88"/>
                  <a:pt x="241" y="77"/>
                  <a:pt x="245" y="68"/>
                </a:cubicBezTo>
                <a:cubicBezTo>
                  <a:pt x="249" y="60"/>
                  <a:pt x="252" y="67"/>
                  <a:pt x="262" y="64"/>
                </a:cubicBezTo>
                <a:cubicBezTo>
                  <a:pt x="273" y="62"/>
                  <a:pt x="270" y="51"/>
                  <a:pt x="272" y="47"/>
                </a:cubicBezTo>
                <a:cubicBezTo>
                  <a:pt x="274" y="43"/>
                  <a:pt x="282" y="36"/>
                  <a:pt x="286" y="34"/>
                </a:cubicBezTo>
                <a:cubicBezTo>
                  <a:pt x="290" y="32"/>
                  <a:pt x="299" y="27"/>
                  <a:pt x="302" y="20"/>
                </a:cubicBezTo>
                <a:cubicBezTo>
                  <a:pt x="304" y="14"/>
                  <a:pt x="306" y="14"/>
                  <a:pt x="309" y="13"/>
                </a:cubicBezTo>
                <a:cubicBezTo>
                  <a:pt x="311" y="12"/>
                  <a:pt x="319" y="15"/>
                  <a:pt x="323" y="12"/>
                </a:cubicBezTo>
                <a:cubicBezTo>
                  <a:pt x="327" y="8"/>
                  <a:pt x="328" y="4"/>
                  <a:pt x="333" y="3"/>
                </a:cubicBezTo>
                <a:cubicBezTo>
                  <a:pt x="338" y="1"/>
                  <a:pt x="337" y="0"/>
                  <a:pt x="337" y="0"/>
                </a:cubicBezTo>
                <a:cubicBezTo>
                  <a:pt x="337" y="0"/>
                  <a:pt x="387" y="2"/>
                  <a:pt x="396" y="7"/>
                </a:cubicBezTo>
                <a:cubicBezTo>
                  <a:pt x="396" y="7"/>
                  <a:pt x="397" y="30"/>
                  <a:pt x="402" y="42"/>
                </a:cubicBezTo>
                <a:cubicBezTo>
                  <a:pt x="408" y="54"/>
                  <a:pt x="407" y="59"/>
                  <a:pt x="407" y="72"/>
                </a:cubicBezTo>
                <a:cubicBezTo>
                  <a:pt x="406" y="85"/>
                  <a:pt x="404" y="107"/>
                  <a:pt x="404" y="107"/>
                </a:cubicBezTo>
                <a:cubicBezTo>
                  <a:pt x="404" y="107"/>
                  <a:pt x="397" y="106"/>
                  <a:pt x="395" y="104"/>
                </a:cubicBezTo>
                <a:cubicBezTo>
                  <a:pt x="393" y="102"/>
                  <a:pt x="387" y="97"/>
                  <a:pt x="385" y="99"/>
                </a:cubicBezTo>
                <a:cubicBezTo>
                  <a:pt x="382" y="101"/>
                  <a:pt x="379" y="99"/>
                  <a:pt x="378" y="106"/>
                </a:cubicBezTo>
                <a:cubicBezTo>
                  <a:pt x="378" y="112"/>
                  <a:pt x="380" y="113"/>
                  <a:pt x="379" y="116"/>
                </a:cubicBezTo>
                <a:cubicBezTo>
                  <a:pt x="378" y="119"/>
                  <a:pt x="371" y="121"/>
                  <a:pt x="372" y="123"/>
                </a:cubicBezTo>
                <a:cubicBezTo>
                  <a:pt x="374" y="126"/>
                  <a:pt x="378" y="130"/>
                  <a:pt x="381" y="133"/>
                </a:cubicBezTo>
                <a:cubicBezTo>
                  <a:pt x="384" y="136"/>
                  <a:pt x="388" y="141"/>
                  <a:pt x="392" y="142"/>
                </a:cubicBezTo>
                <a:cubicBezTo>
                  <a:pt x="397" y="144"/>
                  <a:pt x="400" y="139"/>
                  <a:pt x="402" y="136"/>
                </a:cubicBezTo>
                <a:cubicBezTo>
                  <a:pt x="403" y="134"/>
                  <a:pt x="406" y="130"/>
                  <a:pt x="406" y="130"/>
                </a:cubicBezTo>
                <a:cubicBezTo>
                  <a:pt x="406" y="130"/>
                  <a:pt x="415" y="127"/>
                  <a:pt x="422" y="131"/>
                </a:cubicBezTo>
                <a:cubicBezTo>
                  <a:pt x="422" y="131"/>
                  <a:pt x="421" y="135"/>
                  <a:pt x="418" y="147"/>
                </a:cubicBezTo>
                <a:cubicBezTo>
                  <a:pt x="416" y="160"/>
                  <a:pt x="419" y="178"/>
                  <a:pt x="399" y="188"/>
                </a:cubicBezTo>
                <a:cubicBezTo>
                  <a:pt x="380" y="197"/>
                  <a:pt x="377" y="205"/>
                  <a:pt x="362" y="224"/>
                </a:cubicBezTo>
                <a:cubicBezTo>
                  <a:pt x="347" y="243"/>
                  <a:pt x="328" y="258"/>
                  <a:pt x="311" y="274"/>
                </a:cubicBezTo>
                <a:cubicBezTo>
                  <a:pt x="295" y="290"/>
                  <a:pt x="261" y="317"/>
                  <a:pt x="240" y="314"/>
                </a:cubicBezTo>
                <a:cubicBezTo>
                  <a:pt x="218" y="311"/>
                  <a:pt x="224" y="322"/>
                  <a:pt x="214" y="323"/>
                </a:cubicBezTo>
                <a:cubicBezTo>
                  <a:pt x="204" y="325"/>
                  <a:pt x="199" y="329"/>
                  <a:pt x="194" y="324"/>
                </a:cubicBezTo>
                <a:cubicBezTo>
                  <a:pt x="188" y="319"/>
                  <a:pt x="186" y="317"/>
                  <a:pt x="180" y="321"/>
                </a:cubicBezTo>
                <a:cubicBezTo>
                  <a:pt x="175" y="325"/>
                  <a:pt x="173" y="325"/>
                  <a:pt x="166" y="322"/>
                </a:cubicBezTo>
                <a:cubicBezTo>
                  <a:pt x="158" y="320"/>
                  <a:pt x="156" y="319"/>
                  <a:pt x="151" y="322"/>
                </a:cubicBezTo>
                <a:cubicBezTo>
                  <a:pt x="147" y="325"/>
                  <a:pt x="143" y="316"/>
                  <a:pt x="139" y="319"/>
                </a:cubicBezTo>
                <a:cubicBezTo>
                  <a:pt x="136" y="322"/>
                  <a:pt x="137" y="322"/>
                  <a:pt x="134" y="326"/>
                </a:cubicBezTo>
                <a:cubicBezTo>
                  <a:pt x="130" y="330"/>
                  <a:pt x="126" y="333"/>
                  <a:pt x="112" y="332"/>
                </a:cubicBezTo>
                <a:cubicBezTo>
                  <a:pt x="97" y="331"/>
                  <a:pt x="93" y="355"/>
                  <a:pt x="79" y="342"/>
                </a:cubicBezTo>
                <a:cubicBezTo>
                  <a:pt x="64" y="328"/>
                  <a:pt x="57" y="327"/>
                  <a:pt x="49" y="319"/>
                </a:cubicBezTo>
                <a:cubicBezTo>
                  <a:pt x="40" y="311"/>
                  <a:pt x="27" y="284"/>
                  <a:pt x="36" y="284"/>
                </a:cubicBezTo>
                <a:cubicBezTo>
                  <a:pt x="46" y="285"/>
                  <a:pt x="49" y="276"/>
                  <a:pt x="42" y="263"/>
                </a:cubicBezTo>
                <a:cubicBezTo>
                  <a:pt x="35" y="250"/>
                  <a:pt x="23" y="240"/>
                  <a:pt x="17" y="220"/>
                </a:cubicBezTo>
                <a:cubicBezTo>
                  <a:pt x="11" y="200"/>
                  <a:pt x="12" y="194"/>
                  <a:pt x="6" y="187"/>
                </a:cubicBezTo>
                <a:lnTo>
                  <a:pt x="0" y="177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62" name="Freeform 698"/>
          <p:cNvSpPr>
            <a:spLocks/>
          </p:cNvSpPr>
          <p:nvPr userDrawn="1"/>
        </p:nvSpPr>
        <p:spPr bwMode="auto">
          <a:xfrm>
            <a:off x="6239423" y="5706509"/>
            <a:ext cx="31827" cy="43552"/>
          </a:xfrm>
          <a:custGeom>
            <a:avLst/>
            <a:gdLst>
              <a:gd name="T0" fmla="*/ 2147483646 w 35"/>
              <a:gd name="T1" fmla="*/ 2147483646 h 47"/>
              <a:gd name="T2" fmla="*/ 2147483646 w 35"/>
              <a:gd name="T3" fmla="*/ 2147483646 h 47"/>
              <a:gd name="T4" fmla="*/ 2147483646 w 35"/>
              <a:gd name="T5" fmla="*/ 2147483646 h 47"/>
              <a:gd name="T6" fmla="*/ 2147483646 w 35"/>
              <a:gd name="T7" fmla="*/ 2147483646 h 47"/>
              <a:gd name="T8" fmla="*/ 2147483646 w 35"/>
              <a:gd name="T9" fmla="*/ 2147483646 h 47"/>
              <a:gd name="T10" fmla="*/ 2147483646 w 35"/>
              <a:gd name="T11" fmla="*/ 2147483646 h 47"/>
              <a:gd name="T12" fmla="*/ 2147483646 w 35"/>
              <a:gd name="T13" fmla="*/ 2147483646 h 47"/>
              <a:gd name="T14" fmla="*/ 2147483646 w 35"/>
              <a:gd name="T15" fmla="*/ 2147483646 h 47"/>
              <a:gd name="T16" fmla="*/ 2147483646 w 35"/>
              <a:gd name="T17" fmla="*/ 2147483646 h 47"/>
              <a:gd name="T18" fmla="*/ 2147483646 w 35"/>
              <a:gd name="T19" fmla="*/ 2147483646 h 47"/>
              <a:gd name="T20" fmla="*/ 2147483646 w 35"/>
              <a:gd name="T21" fmla="*/ 2147483646 h 4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5"/>
              <a:gd name="T34" fmla="*/ 0 h 47"/>
              <a:gd name="T35" fmla="*/ 35 w 35"/>
              <a:gd name="T36" fmla="*/ 47 h 4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5" h="47">
                <a:moveTo>
                  <a:pt x="35" y="33"/>
                </a:moveTo>
                <a:cubicBezTo>
                  <a:pt x="33" y="10"/>
                  <a:pt x="33" y="10"/>
                  <a:pt x="33" y="10"/>
                </a:cubicBezTo>
                <a:cubicBezTo>
                  <a:pt x="33" y="10"/>
                  <a:pt x="26" y="9"/>
                  <a:pt x="24" y="7"/>
                </a:cubicBezTo>
                <a:cubicBezTo>
                  <a:pt x="22" y="5"/>
                  <a:pt x="16" y="0"/>
                  <a:pt x="14" y="2"/>
                </a:cubicBezTo>
                <a:cubicBezTo>
                  <a:pt x="11" y="4"/>
                  <a:pt x="8" y="2"/>
                  <a:pt x="7" y="9"/>
                </a:cubicBezTo>
                <a:cubicBezTo>
                  <a:pt x="7" y="15"/>
                  <a:pt x="9" y="16"/>
                  <a:pt x="8" y="19"/>
                </a:cubicBezTo>
                <a:cubicBezTo>
                  <a:pt x="7" y="22"/>
                  <a:pt x="0" y="24"/>
                  <a:pt x="1" y="26"/>
                </a:cubicBezTo>
                <a:cubicBezTo>
                  <a:pt x="3" y="29"/>
                  <a:pt x="7" y="33"/>
                  <a:pt x="10" y="36"/>
                </a:cubicBezTo>
                <a:cubicBezTo>
                  <a:pt x="13" y="39"/>
                  <a:pt x="17" y="44"/>
                  <a:pt x="21" y="45"/>
                </a:cubicBezTo>
                <a:cubicBezTo>
                  <a:pt x="26" y="47"/>
                  <a:pt x="29" y="42"/>
                  <a:pt x="31" y="39"/>
                </a:cubicBezTo>
                <a:cubicBezTo>
                  <a:pt x="32" y="37"/>
                  <a:pt x="35" y="33"/>
                  <a:pt x="35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63" name="Freeform 699"/>
          <p:cNvSpPr>
            <a:spLocks/>
          </p:cNvSpPr>
          <p:nvPr userDrawn="1"/>
        </p:nvSpPr>
        <p:spPr bwMode="auto">
          <a:xfrm>
            <a:off x="6549316" y="5349716"/>
            <a:ext cx="204361" cy="366845"/>
          </a:xfrm>
          <a:custGeom>
            <a:avLst/>
            <a:gdLst>
              <a:gd name="T0" fmla="*/ 2147483646 w 219"/>
              <a:gd name="T1" fmla="*/ 2147483646 h 392"/>
              <a:gd name="T2" fmla="*/ 2147483646 w 219"/>
              <a:gd name="T3" fmla="*/ 2147483646 h 392"/>
              <a:gd name="T4" fmla="*/ 2147483646 w 219"/>
              <a:gd name="T5" fmla="*/ 2147483646 h 392"/>
              <a:gd name="T6" fmla="*/ 2147483646 w 219"/>
              <a:gd name="T7" fmla="*/ 2147483646 h 392"/>
              <a:gd name="T8" fmla="*/ 2147483646 w 219"/>
              <a:gd name="T9" fmla="*/ 2147483646 h 392"/>
              <a:gd name="T10" fmla="*/ 2147483646 w 219"/>
              <a:gd name="T11" fmla="*/ 2147483646 h 392"/>
              <a:gd name="T12" fmla="*/ 2147483646 w 219"/>
              <a:gd name="T13" fmla="*/ 2147483646 h 392"/>
              <a:gd name="T14" fmla="*/ 2147483646 w 219"/>
              <a:gd name="T15" fmla="*/ 2147483646 h 392"/>
              <a:gd name="T16" fmla="*/ 2147483646 w 219"/>
              <a:gd name="T17" fmla="*/ 2147483646 h 392"/>
              <a:gd name="T18" fmla="*/ 2147483646 w 219"/>
              <a:gd name="T19" fmla="*/ 2147483646 h 392"/>
              <a:gd name="T20" fmla="*/ 2147483646 w 219"/>
              <a:gd name="T21" fmla="*/ 2147483646 h 392"/>
              <a:gd name="T22" fmla="*/ 2147483646 w 219"/>
              <a:gd name="T23" fmla="*/ 2147483646 h 392"/>
              <a:gd name="T24" fmla="*/ 2147483646 w 219"/>
              <a:gd name="T25" fmla="*/ 2147483646 h 392"/>
              <a:gd name="T26" fmla="*/ 2147483646 w 219"/>
              <a:gd name="T27" fmla="*/ 2147483646 h 392"/>
              <a:gd name="T28" fmla="*/ 2147483646 w 219"/>
              <a:gd name="T29" fmla="*/ 2147483646 h 392"/>
              <a:gd name="T30" fmla="*/ 2147483646 w 219"/>
              <a:gd name="T31" fmla="*/ 2147483646 h 392"/>
              <a:gd name="T32" fmla="*/ 2147483646 w 219"/>
              <a:gd name="T33" fmla="*/ 2147483646 h 392"/>
              <a:gd name="T34" fmla="*/ 2147483646 w 219"/>
              <a:gd name="T35" fmla="*/ 2147483646 h 392"/>
              <a:gd name="T36" fmla="*/ 2147483646 w 219"/>
              <a:gd name="T37" fmla="*/ 2147483646 h 392"/>
              <a:gd name="T38" fmla="*/ 2147483646 w 219"/>
              <a:gd name="T39" fmla="*/ 2147483646 h 392"/>
              <a:gd name="T40" fmla="*/ 2147483646 w 219"/>
              <a:gd name="T41" fmla="*/ 2147483646 h 392"/>
              <a:gd name="T42" fmla="*/ 2147483646 w 219"/>
              <a:gd name="T43" fmla="*/ 2147483646 h 392"/>
              <a:gd name="T44" fmla="*/ 2147483646 w 219"/>
              <a:gd name="T45" fmla="*/ 2147483646 h 392"/>
              <a:gd name="T46" fmla="*/ 2147483646 w 219"/>
              <a:gd name="T47" fmla="*/ 2147483646 h 392"/>
              <a:gd name="T48" fmla="*/ 2147483646 w 219"/>
              <a:gd name="T49" fmla="*/ 2147483646 h 392"/>
              <a:gd name="T50" fmla="*/ 2147483646 w 219"/>
              <a:gd name="T51" fmla="*/ 2147483646 h 392"/>
              <a:gd name="T52" fmla="*/ 2147483646 w 219"/>
              <a:gd name="T53" fmla="*/ 2147483646 h 392"/>
              <a:gd name="T54" fmla="*/ 2147483646 w 219"/>
              <a:gd name="T55" fmla="*/ 2147483646 h 392"/>
              <a:gd name="T56" fmla="*/ 2147483646 w 219"/>
              <a:gd name="T57" fmla="*/ 2147483646 h 392"/>
              <a:gd name="T58" fmla="*/ 2147483646 w 219"/>
              <a:gd name="T59" fmla="*/ 0 h 392"/>
              <a:gd name="T60" fmla="*/ 2147483646 w 219"/>
              <a:gd name="T61" fmla="*/ 2147483646 h 392"/>
              <a:gd name="T62" fmla="*/ 2147483646 w 219"/>
              <a:gd name="T63" fmla="*/ 2147483646 h 392"/>
              <a:gd name="T64" fmla="*/ 2147483646 w 219"/>
              <a:gd name="T65" fmla="*/ 2147483646 h 392"/>
              <a:gd name="T66" fmla="*/ 2147483646 w 219"/>
              <a:gd name="T67" fmla="*/ 2147483646 h 392"/>
              <a:gd name="T68" fmla="*/ 2147483646 w 219"/>
              <a:gd name="T69" fmla="*/ 2147483646 h 392"/>
              <a:gd name="T70" fmla="*/ 2147483646 w 219"/>
              <a:gd name="T71" fmla="*/ 2147483646 h 392"/>
              <a:gd name="T72" fmla="*/ 2147483646 w 219"/>
              <a:gd name="T73" fmla="*/ 2147483646 h 392"/>
              <a:gd name="T74" fmla="*/ 2147483646 w 219"/>
              <a:gd name="T75" fmla="*/ 2147483646 h 392"/>
              <a:gd name="T76" fmla="*/ 2147483646 w 219"/>
              <a:gd name="T77" fmla="*/ 2147483646 h 392"/>
              <a:gd name="T78" fmla="*/ 2147483646 w 219"/>
              <a:gd name="T79" fmla="*/ 2147483646 h 392"/>
              <a:gd name="T80" fmla="*/ 2147483646 w 219"/>
              <a:gd name="T81" fmla="*/ 2147483646 h 392"/>
              <a:gd name="T82" fmla="*/ 2147483646 w 219"/>
              <a:gd name="T83" fmla="*/ 2147483646 h 392"/>
              <a:gd name="T84" fmla="*/ 2147483646 w 219"/>
              <a:gd name="T85" fmla="*/ 2147483646 h 392"/>
              <a:gd name="T86" fmla="*/ 2147483646 w 219"/>
              <a:gd name="T87" fmla="*/ 2147483646 h 392"/>
              <a:gd name="T88" fmla="*/ 2147483646 w 219"/>
              <a:gd name="T89" fmla="*/ 2147483646 h 392"/>
              <a:gd name="T90" fmla="*/ 2147483646 w 219"/>
              <a:gd name="T91" fmla="*/ 2147483646 h 392"/>
              <a:gd name="T92" fmla="*/ 2147483646 w 219"/>
              <a:gd name="T93" fmla="*/ 2147483646 h 392"/>
              <a:gd name="T94" fmla="*/ 2147483646 w 219"/>
              <a:gd name="T95" fmla="*/ 2147483646 h 392"/>
              <a:gd name="T96" fmla="*/ 2147483646 w 219"/>
              <a:gd name="T97" fmla="*/ 2147483646 h 392"/>
              <a:gd name="T98" fmla="*/ 2147483646 w 219"/>
              <a:gd name="T99" fmla="*/ 2147483646 h 392"/>
              <a:gd name="T100" fmla="*/ 2147483646 w 219"/>
              <a:gd name="T101" fmla="*/ 2147483646 h 392"/>
              <a:gd name="T102" fmla="*/ 2147483646 w 219"/>
              <a:gd name="T103" fmla="*/ 2147483646 h 392"/>
              <a:gd name="T104" fmla="*/ 2147483646 w 219"/>
              <a:gd name="T105" fmla="*/ 2147483646 h 392"/>
              <a:gd name="T106" fmla="*/ 2147483646 w 219"/>
              <a:gd name="T107" fmla="*/ 2147483646 h 392"/>
              <a:gd name="T108" fmla="*/ 2147483646 w 219"/>
              <a:gd name="T109" fmla="*/ 2147483646 h 392"/>
              <a:gd name="T110" fmla="*/ 2147483646 w 219"/>
              <a:gd name="T111" fmla="*/ 2147483646 h 3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19"/>
              <a:gd name="T169" fmla="*/ 0 h 392"/>
              <a:gd name="T170" fmla="*/ 219 w 219"/>
              <a:gd name="T171" fmla="*/ 392 h 39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19" h="392">
                <a:moveTo>
                  <a:pt x="63" y="122"/>
                </a:moveTo>
                <a:cubicBezTo>
                  <a:pt x="63" y="122"/>
                  <a:pt x="53" y="118"/>
                  <a:pt x="53" y="126"/>
                </a:cubicBezTo>
                <a:cubicBezTo>
                  <a:pt x="54" y="134"/>
                  <a:pt x="46" y="140"/>
                  <a:pt x="43" y="145"/>
                </a:cubicBezTo>
                <a:cubicBezTo>
                  <a:pt x="39" y="151"/>
                  <a:pt x="33" y="164"/>
                  <a:pt x="37" y="173"/>
                </a:cubicBezTo>
                <a:cubicBezTo>
                  <a:pt x="40" y="182"/>
                  <a:pt x="43" y="193"/>
                  <a:pt x="43" y="202"/>
                </a:cubicBezTo>
                <a:cubicBezTo>
                  <a:pt x="43" y="212"/>
                  <a:pt x="39" y="215"/>
                  <a:pt x="43" y="217"/>
                </a:cubicBezTo>
                <a:cubicBezTo>
                  <a:pt x="46" y="220"/>
                  <a:pt x="39" y="231"/>
                  <a:pt x="37" y="240"/>
                </a:cubicBezTo>
                <a:cubicBezTo>
                  <a:pt x="34" y="249"/>
                  <a:pt x="24" y="252"/>
                  <a:pt x="21" y="260"/>
                </a:cubicBezTo>
                <a:cubicBezTo>
                  <a:pt x="19" y="268"/>
                  <a:pt x="20" y="273"/>
                  <a:pt x="15" y="275"/>
                </a:cubicBezTo>
                <a:cubicBezTo>
                  <a:pt x="11" y="277"/>
                  <a:pt x="8" y="275"/>
                  <a:pt x="6" y="281"/>
                </a:cubicBezTo>
                <a:cubicBezTo>
                  <a:pt x="5" y="288"/>
                  <a:pt x="0" y="301"/>
                  <a:pt x="5" y="307"/>
                </a:cubicBezTo>
                <a:cubicBezTo>
                  <a:pt x="9" y="314"/>
                  <a:pt x="10" y="316"/>
                  <a:pt x="13" y="322"/>
                </a:cubicBezTo>
                <a:cubicBezTo>
                  <a:pt x="15" y="327"/>
                  <a:pt x="23" y="322"/>
                  <a:pt x="14" y="336"/>
                </a:cubicBezTo>
                <a:cubicBezTo>
                  <a:pt x="5" y="350"/>
                  <a:pt x="6" y="350"/>
                  <a:pt x="10" y="360"/>
                </a:cubicBezTo>
                <a:cubicBezTo>
                  <a:pt x="13" y="370"/>
                  <a:pt x="11" y="372"/>
                  <a:pt x="19" y="378"/>
                </a:cubicBezTo>
                <a:cubicBezTo>
                  <a:pt x="27" y="383"/>
                  <a:pt x="40" y="385"/>
                  <a:pt x="43" y="388"/>
                </a:cubicBezTo>
                <a:cubicBezTo>
                  <a:pt x="45" y="392"/>
                  <a:pt x="52" y="392"/>
                  <a:pt x="56" y="387"/>
                </a:cubicBezTo>
                <a:cubicBezTo>
                  <a:pt x="61" y="383"/>
                  <a:pt x="67" y="377"/>
                  <a:pt x="75" y="377"/>
                </a:cubicBezTo>
                <a:cubicBezTo>
                  <a:pt x="83" y="377"/>
                  <a:pt x="88" y="381"/>
                  <a:pt x="93" y="376"/>
                </a:cubicBezTo>
                <a:cubicBezTo>
                  <a:pt x="97" y="370"/>
                  <a:pt x="167" y="215"/>
                  <a:pt x="180" y="195"/>
                </a:cubicBezTo>
                <a:cubicBezTo>
                  <a:pt x="192" y="176"/>
                  <a:pt x="186" y="165"/>
                  <a:pt x="188" y="156"/>
                </a:cubicBezTo>
                <a:cubicBezTo>
                  <a:pt x="190" y="147"/>
                  <a:pt x="202" y="132"/>
                  <a:pt x="198" y="123"/>
                </a:cubicBezTo>
                <a:cubicBezTo>
                  <a:pt x="195" y="114"/>
                  <a:pt x="195" y="106"/>
                  <a:pt x="199" y="105"/>
                </a:cubicBezTo>
                <a:cubicBezTo>
                  <a:pt x="204" y="105"/>
                  <a:pt x="208" y="109"/>
                  <a:pt x="209" y="116"/>
                </a:cubicBezTo>
                <a:cubicBezTo>
                  <a:pt x="210" y="123"/>
                  <a:pt x="215" y="120"/>
                  <a:pt x="217" y="108"/>
                </a:cubicBezTo>
                <a:cubicBezTo>
                  <a:pt x="219" y="97"/>
                  <a:pt x="218" y="102"/>
                  <a:pt x="216" y="81"/>
                </a:cubicBezTo>
                <a:cubicBezTo>
                  <a:pt x="214" y="61"/>
                  <a:pt x="214" y="52"/>
                  <a:pt x="214" y="46"/>
                </a:cubicBezTo>
                <a:cubicBezTo>
                  <a:pt x="213" y="40"/>
                  <a:pt x="213" y="34"/>
                  <a:pt x="207" y="29"/>
                </a:cubicBezTo>
                <a:cubicBezTo>
                  <a:pt x="202" y="24"/>
                  <a:pt x="199" y="22"/>
                  <a:pt x="198" y="13"/>
                </a:cubicBezTo>
                <a:cubicBezTo>
                  <a:pt x="198" y="4"/>
                  <a:pt x="194" y="0"/>
                  <a:pt x="194" y="0"/>
                </a:cubicBezTo>
                <a:cubicBezTo>
                  <a:pt x="194" y="0"/>
                  <a:pt x="191" y="9"/>
                  <a:pt x="189" y="12"/>
                </a:cubicBezTo>
                <a:cubicBezTo>
                  <a:pt x="186" y="15"/>
                  <a:pt x="180" y="10"/>
                  <a:pt x="180" y="16"/>
                </a:cubicBezTo>
                <a:cubicBezTo>
                  <a:pt x="180" y="23"/>
                  <a:pt x="183" y="24"/>
                  <a:pt x="183" y="30"/>
                </a:cubicBezTo>
                <a:cubicBezTo>
                  <a:pt x="183" y="36"/>
                  <a:pt x="181" y="34"/>
                  <a:pt x="179" y="40"/>
                </a:cubicBezTo>
                <a:cubicBezTo>
                  <a:pt x="177" y="47"/>
                  <a:pt x="168" y="48"/>
                  <a:pt x="168" y="48"/>
                </a:cubicBezTo>
                <a:cubicBezTo>
                  <a:pt x="168" y="48"/>
                  <a:pt x="168" y="60"/>
                  <a:pt x="165" y="57"/>
                </a:cubicBezTo>
                <a:cubicBezTo>
                  <a:pt x="161" y="55"/>
                  <a:pt x="163" y="47"/>
                  <a:pt x="158" y="48"/>
                </a:cubicBezTo>
                <a:cubicBezTo>
                  <a:pt x="154" y="50"/>
                  <a:pt x="149" y="54"/>
                  <a:pt x="152" y="57"/>
                </a:cubicBezTo>
                <a:cubicBezTo>
                  <a:pt x="155" y="61"/>
                  <a:pt x="161" y="69"/>
                  <a:pt x="157" y="69"/>
                </a:cubicBezTo>
                <a:cubicBezTo>
                  <a:pt x="152" y="69"/>
                  <a:pt x="147" y="61"/>
                  <a:pt x="146" y="67"/>
                </a:cubicBezTo>
                <a:cubicBezTo>
                  <a:pt x="145" y="73"/>
                  <a:pt x="154" y="75"/>
                  <a:pt x="156" y="79"/>
                </a:cubicBezTo>
                <a:cubicBezTo>
                  <a:pt x="157" y="82"/>
                  <a:pt x="156" y="90"/>
                  <a:pt x="151" y="90"/>
                </a:cubicBezTo>
                <a:cubicBezTo>
                  <a:pt x="147" y="90"/>
                  <a:pt x="148" y="81"/>
                  <a:pt x="143" y="82"/>
                </a:cubicBezTo>
                <a:cubicBezTo>
                  <a:pt x="139" y="83"/>
                  <a:pt x="138" y="82"/>
                  <a:pt x="136" y="88"/>
                </a:cubicBezTo>
                <a:cubicBezTo>
                  <a:pt x="134" y="93"/>
                  <a:pt x="133" y="93"/>
                  <a:pt x="133" y="97"/>
                </a:cubicBezTo>
                <a:cubicBezTo>
                  <a:pt x="132" y="102"/>
                  <a:pt x="126" y="107"/>
                  <a:pt x="124" y="105"/>
                </a:cubicBezTo>
                <a:cubicBezTo>
                  <a:pt x="121" y="102"/>
                  <a:pt x="125" y="94"/>
                  <a:pt x="121" y="96"/>
                </a:cubicBezTo>
                <a:cubicBezTo>
                  <a:pt x="117" y="97"/>
                  <a:pt x="113" y="94"/>
                  <a:pt x="112" y="100"/>
                </a:cubicBezTo>
                <a:cubicBezTo>
                  <a:pt x="111" y="106"/>
                  <a:pt x="105" y="108"/>
                  <a:pt x="105" y="108"/>
                </a:cubicBezTo>
                <a:cubicBezTo>
                  <a:pt x="102" y="118"/>
                  <a:pt x="102" y="118"/>
                  <a:pt x="102" y="118"/>
                </a:cubicBezTo>
                <a:cubicBezTo>
                  <a:pt x="102" y="118"/>
                  <a:pt x="100" y="113"/>
                  <a:pt x="97" y="112"/>
                </a:cubicBezTo>
                <a:cubicBezTo>
                  <a:pt x="94" y="110"/>
                  <a:pt x="91" y="104"/>
                  <a:pt x="89" y="108"/>
                </a:cubicBezTo>
                <a:cubicBezTo>
                  <a:pt x="87" y="113"/>
                  <a:pt x="85" y="120"/>
                  <a:pt x="82" y="120"/>
                </a:cubicBezTo>
                <a:cubicBezTo>
                  <a:pt x="79" y="120"/>
                  <a:pt x="80" y="114"/>
                  <a:pt x="76" y="117"/>
                </a:cubicBezTo>
                <a:cubicBezTo>
                  <a:pt x="71" y="120"/>
                  <a:pt x="69" y="118"/>
                  <a:pt x="69" y="121"/>
                </a:cubicBezTo>
                <a:cubicBezTo>
                  <a:pt x="69" y="125"/>
                  <a:pt x="63" y="122"/>
                  <a:pt x="63" y="12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64" name="Freeform 700"/>
          <p:cNvSpPr>
            <a:spLocks/>
          </p:cNvSpPr>
          <p:nvPr userDrawn="1"/>
        </p:nvSpPr>
        <p:spPr bwMode="auto">
          <a:xfrm>
            <a:off x="6482311" y="5187231"/>
            <a:ext cx="16751" cy="18427"/>
          </a:xfrm>
          <a:custGeom>
            <a:avLst/>
            <a:gdLst>
              <a:gd name="T0" fmla="*/ 2147483646 w 18"/>
              <a:gd name="T1" fmla="*/ 0 h 19"/>
              <a:gd name="T2" fmla="*/ 2147483646 w 18"/>
              <a:gd name="T3" fmla="*/ 2147483646 h 19"/>
              <a:gd name="T4" fmla="*/ 2147483646 w 18"/>
              <a:gd name="T5" fmla="*/ 2147483646 h 19"/>
              <a:gd name="T6" fmla="*/ 2147483646 w 18"/>
              <a:gd name="T7" fmla="*/ 2147483646 h 19"/>
              <a:gd name="T8" fmla="*/ 2147483646 w 18"/>
              <a:gd name="T9" fmla="*/ 2147483646 h 19"/>
              <a:gd name="T10" fmla="*/ 2147483646 w 18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9"/>
              <a:gd name="T20" fmla="*/ 18 w 18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9">
                <a:moveTo>
                  <a:pt x="5" y="0"/>
                </a:moveTo>
                <a:cubicBezTo>
                  <a:pt x="0" y="3"/>
                  <a:pt x="0" y="9"/>
                  <a:pt x="3" y="12"/>
                </a:cubicBezTo>
                <a:cubicBezTo>
                  <a:pt x="5" y="15"/>
                  <a:pt x="8" y="19"/>
                  <a:pt x="11" y="18"/>
                </a:cubicBezTo>
                <a:cubicBezTo>
                  <a:pt x="15" y="18"/>
                  <a:pt x="18" y="12"/>
                  <a:pt x="18" y="10"/>
                </a:cubicBezTo>
                <a:cubicBezTo>
                  <a:pt x="18" y="9"/>
                  <a:pt x="17" y="4"/>
                  <a:pt x="14" y="4"/>
                </a:cubicBezTo>
                <a:cubicBezTo>
                  <a:pt x="11" y="4"/>
                  <a:pt x="5" y="0"/>
                  <a:pt x="5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65" name="Freeform 701"/>
          <p:cNvSpPr>
            <a:spLocks/>
          </p:cNvSpPr>
          <p:nvPr userDrawn="1"/>
        </p:nvSpPr>
        <p:spPr bwMode="auto">
          <a:xfrm>
            <a:off x="6494038" y="5162105"/>
            <a:ext cx="13401" cy="15075"/>
          </a:xfrm>
          <a:custGeom>
            <a:avLst/>
            <a:gdLst>
              <a:gd name="T0" fmla="*/ 2147483646 w 13"/>
              <a:gd name="T1" fmla="*/ 0 h 16"/>
              <a:gd name="T2" fmla="*/ 2147483646 w 13"/>
              <a:gd name="T3" fmla="*/ 2147483646 h 16"/>
              <a:gd name="T4" fmla="*/ 2147483646 w 13"/>
              <a:gd name="T5" fmla="*/ 2147483646 h 16"/>
              <a:gd name="T6" fmla="*/ 2147483646 w 13"/>
              <a:gd name="T7" fmla="*/ 2147483646 h 16"/>
              <a:gd name="T8" fmla="*/ 2147483646 w 13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16"/>
              <a:gd name="T17" fmla="*/ 13 w 13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16">
                <a:moveTo>
                  <a:pt x="8" y="0"/>
                </a:moveTo>
                <a:cubicBezTo>
                  <a:pt x="4" y="1"/>
                  <a:pt x="0" y="8"/>
                  <a:pt x="2" y="12"/>
                </a:cubicBezTo>
                <a:cubicBezTo>
                  <a:pt x="5" y="16"/>
                  <a:pt x="9" y="16"/>
                  <a:pt x="10" y="14"/>
                </a:cubicBezTo>
                <a:cubicBezTo>
                  <a:pt x="10" y="11"/>
                  <a:pt x="13" y="6"/>
                  <a:pt x="12" y="4"/>
                </a:cubicBezTo>
                <a:cubicBezTo>
                  <a:pt x="11" y="3"/>
                  <a:pt x="8" y="0"/>
                  <a:pt x="8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66" name="Freeform 702"/>
          <p:cNvSpPr>
            <a:spLocks/>
          </p:cNvSpPr>
          <p:nvPr userDrawn="1"/>
        </p:nvSpPr>
        <p:spPr bwMode="auto">
          <a:xfrm>
            <a:off x="6849158" y="5592604"/>
            <a:ext cx="13401" cy="18427"/>
          </a:xfrm>
          <a:custGeom>
            <a:avLst/>
            <a:gdLst>
              <a:gd name="T0" fmla="*/ 2147483646 w 15"/>
              <a:gd name="T1" fmla="*/ 2147483646 h 19"/>
              <a:gd name="T2" fmla="*/ 0 w 15"/>
              <a:gd name="T3" fmla="*/ 2147483646 h 19"/>
              <a:gd name="T4" fmla="*/ 2147483646 w 15"/>
              <a:gd name="T5" fmla="*/ 2147483646 h 19"/>
              <a:gd name="T6" fmla="*/ 2147483646 w 15"/>
              <a:gd name="T7" fmla="*/ 2147483646 h 19"/>
              <a:gd name="T8" fmla="*/ 2147483646 w 15"/>
              <a:gd name="T9" fmla="*/ 2147483646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"/>
              <a:gd name="T16" fmla="*/ 0 h 19"/>
              <a:gd name="T17" fmla="*/ 15 w 15"/>
              <a:gd name="T18" fmla="*/ 19 h 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" h="19">
                <a:moveTo>
                  <a:pt x="9" y="1"/>
                </a:moveTo>
                <a:cubicBezTo>
                  <a:pt x="5" y="2"/>
                  <a:pt x="0" y="0"/>
                  <a:pt x="0" y="7"/>
                </a:cubicBezTo>
                <a:cubicBezTo>
                  <a:pt x="0" y="14"/>
                  <a:pt x="3" y="17"/>
                  <a:pt x="5" y="18"/>
                </a:cubicBezTo>
                <a:cubicBezTo>
                  <a:pt x="8" y="19"/>
                  <a:pt x="13" y="16"/>
                  <a:pt x="14" y="13"/>
                </a:cubicBezTo>
                <a:cubicBezTo>
                  <a:pt x="15" y="11"/>
                  <a:pt x="9" y="1"/>
                  <a:pt x="9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67" name="Freeform 703"/>
          <p:cNvSpPr>
            <a:spLocks/>
          </p:cNvSpPr>
          <p:nvPr userDrawn="1"/>
        </p:nvSpPr>
        <p:spPr bwMode="auto">
          <a:xfrm>
            <a:off x="6899409" y="5577529"/>
            <a:ext cx="11725" cy="13401"/>
          </a:xfrm>
          <a:custGeom>
            <a:avLst/>
            <a:gdLst>
              <a:gd name="T0" fmla="*/ 2147483646 w 12"/>
              <a:gd name="T1" fmla="*/ 0 h 13"/>
              <a:gd name="T2" fmla="*/ 0 w 12"/>
              <a:gd name="T3" fmla="*/ 2147483646 h 13"/>
              <a:gd name="T4" fmla="*/ 2147483646 w 12"/>
              <a:gd name="T5" fmla="*/ 2147483646 h 13"/>
              <a:gd name="T6" fmla="*/ 2147483646 w 12"/>
              <a:gd name="T7" fmla="*/ 2147483646 h 13"/>
              <a:gd name="T8" fmla="*/ 2147483646 w 12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"/>
              <a:gd name="T16" fmla="*/ 0 h 13"/>
              <a:gd name="T17" fmla="*/ 12 w 12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" h="13">
                <a:moveTo>
                  <a:pt x="5" y="0"/>
                </a:moveTo>
                <a:cubicBezTo>
                  <a:pt x="2" y="0"/>
                  <a:pt x="0" y="0"/>
                  <a:pt x="0" y="6"/>
                </a:cubicBezTo>
                <a:cubicBezTo>
                  <a:pt x="1" y="11"/>
                  <a:pt x="5" y="13"/>
                  <a:pt x="7" y="13"/>
                </a:cubicBezTo>
                <a:cubicBezTo>
                  <a:pt x="9" y="12"/>
                  <a:pt x="12" y="6"/>
                  <a:pt x="12" y="6"/>
                </a:cubicBezTo>
                <a:lnTo>
                  <a:pt x="5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68" name="Freeform 704"/>
          <p:cNvSpPr>
            <a:spLocks/>
          </p:cNvSpPr>
          <p:nvPr userDrawn="1"/>
        </p:nvSpPr>
        <p:spPr bwMode="auto">
          <a:xfrm>
            <a:off x="4874223" y="4545671"/>
            <a:ext cx="15076" cy="11725"/>
          </a:xfrm>
          <a:custGeom>
            <a:avLst/>
            <a:gdLst>
              <a:gd name="T0" fmla="*/ 2147483646 w 17"/>
              <a:gd name="T1" fmla="*/ 0 h 12"/>
              <a:gd name="T2" fmla="*/ 2147483646 w 17"/>
              <a:gd name="T3" fmla="*/ 2147483646 h 12"/>
              <a:gd name="T4" fmla="*/ 2147483646 w 17"/>
              <a:gd name="T5" fmla="*/ 2147483646 h 12"/>
              <a:gd name="T6" fmla="*/ 2147483646 w 17"/>
              <a:gd name="T7" fmla="*/ 0 h 12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2"/>
              <a:gd name="T14" fmla="*/ 17 w 17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2">
                <a:moveTo>
                  <a:pt x="11" y="0"/>
                </a:moveTo>
                <a:cubicBezTo>
                  <a:pt x="7" y="1"/>
                  <a:pt x="0" y="5"/>
                  <a:pt x="6" y="9"/>
                </a:cubicBezTo>
                <a:cubicBezTo>
                  <a:pt x="12" y="12"/>
                  <a:pt x="17" y="6"/>
                  <a:pt x="17" y="6"/>
                </a:cubicBezTo>
                <a:lnTo>
                  <a:pt x="11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69" name="Freeform 705"/>
          <p:cNvSpPr>
            <a:spLocks/>
          </p:cNvSpPr>
          <p:nvPr userDrawn="1"/>
        </p:nvSpPr>
        <p:spPr bwMode="auto">
          <a:xfrm>
            <a:off x="4909400" y="4564097"/>
            <a:ext cx="10051" cy="8376"/>
          </a:xfrm>
          <a:custGeom>
            <a:avLst/>
            <a:gdLst>
              <a:gd name="T0" fmla="*/ 2147483646 w 11"/>
              <a:gd name="T1" fmla="*/ 0 h 8"/>
              <a:gd name="T2" fmla="*/ 2147483646 w 11"/>
              <a:gd name="T3" fmla="*/ 2147483646 h 8"/>
              <a:gd name="T4" fmla="*/ 2147483646 w 11"/>
              <a:gd name="T5" fmla="*/ 2147483646 h 8"/>
              <a:gd name="T6" fmla="*/ 2147483646 w 11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  <a:gd name="T12" fmla="*/ 0 w 11"/>
              <a:gd name="T13" fmla="*/ 0 h 8"/>
              <a:gd name="T14" fmla="*/ 11 w 11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" h="8">
                <a:moveTo>
                  <a:pt x="8" y="0"/>
                </a:moveTo>
                <a:cubicBezTo>
                  <a:pt x="6" y="0"/>
                  <a:pt x="0" y="4"/>
                  <a:pt x="4" y="6"/>
                </a:cubicBezTo>
                <a:cubicBezTo>
                  <a:pt x="8" y="8"/>
                  <a:pt x="11" y="4"/>
                  <a:pt x="11" y="4"/>
                </a:cubicBezTo>
                <a:lnTo>
                  <a:pt x="8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70" name="Freeform 706"/>
          <p:cNvSpPr>
            <a:spLocks/>
          </p:cNvSpPr>
          <p:nvPr userDrawn="1"/>
        </p:nvSpPr>
        <p:spPr bwMode="auto">
          <a:xfrm>
            <a:off x="6142268" y="5778540"/>
            <a:ext cx="63653" cy="56953"/>
          </a:xfrm>
          <a:custGeom>
            <a:avLst/>
            <a:gdLst>
              <a:gd name="T0" fmla="*/ 2147483646 w 69"/>
              <a:gd name="T1" fmla="*/ 2147483646 h 62"/>
              <a:gd name="T2" fmla="*/ 2147483646 w 69"/>
              <a:gd name="T3" fmla="*/ 2147483646 h 62"/>
              <a:gd name="T4" fmla="*/ 2147483646 w 69"/>
              <a:gd name="T5" fmla="*/ 2147483646 h 62"/>
              <a:gd name="T6" fmla="*/ 2147483646 w 69"/>
              <a:gd name="T7" fmla="*/ 2147483646 h 62"/>
              <a:gd name="T8" fmla="*/ 2147483646 w 69"/>
              <a:gd name="T9" fmla="*/ 2147483646 h 62"/>
              <a:gd name="T10" fmla="*/ 2147483646 w 69"/>
              <a:gd name="T11" fmla="*/ 2147483646 h 62"/>
              <a:gd name="T12" fmla="*/ 2147483646 w 69"/>
              <a:gd name="T13" fmla="*/ 2147483646 h 62"/>
              <a:gd name="T14" fmla="*/ 2147483646 w 69"/>
              <a:gd name="T15" fmla="*/ 2147483646 h 62"/>
              <a:gd name="T16" fmla="*/ 2147483646 w 69"/>
              <a:gd name="T17" fmla="*/ 2147483646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9"/>
              <a:gd name="T28" fmla="*/ 0 h 62"/>
              <a:gd name="T29" fmla="*/ 69 w 69"/>
              <a:gd name="T30" fmla="*/ 62 h 6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9" h="62">
                <a:moveTo>
                  <a:pt x="52" y="10"/>
                </a:moveTo>
                <a:cubicBezTo>
                  <a:pt x="48" y="3"/>
                  <a:pt x="48" y="0"/>
                  <a:pt x="36" y="3"/>
                </a:cubicBezTo>
                <a:cubicBezTo>
                  <a:pt x="25" y="6"/>
                  <a:pt x="6" y="16"/>
                  <a:pt x="7" y="20"/>
                </a:cubicBezTo>
                <a:cubicBezTo>
                  <a:pt x="8" y="24"/>
                  <a:pt x="2" y="29"/>
                  <a:pt x="1" y="32"/>
                </a:cubicBezTo>
                <a:cubicBezTo>
                  <a:pt x="0" y="35"/>
                  <a:pt x="3" y="48"/>
                  <a:pt x="8" y="55"/>
                </a:cubicBezTo>
                <a:cubicBezTo>
                  <a:pt x="14" y="61"/>
                  <a:pt x="23" y="62"/>
                  <a:pt x="31" y="53"/>
                </a:cubicBezTo>
                <a:cubicBezTo>
                  <a:pt x="38" y="44"/>
                  <a:pt x="45" y="49"/>
                  <a:pt x="52" y="44"/>
                </a:cubicBezTo>
                <a:cubicBezTo>
                  <a:pt x="59" y="39"/>
                  <a:pt x="69" y="30"/>
                  <a:pt x="66" y="26"/>
                </a:cubicBezTo>
                <a:cubicBezTo>
                  <a:pt x="64" y="22"/>
                  <a:pt x="52" y="10"/>
                  <a:pt x="52" y="1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71" name="Freeform 707"/>
          <p:cNvSpPr>
            <a:spLocks/>
          </p:cNvSpPr>
          <p:nvPr userDrawn="1"/>
        </p:nvSpPr>
        <p:spPr bwMode="auto">
          <a:xfrm>
            <a:off x="6293026" y="4068270"/>
            <a:ext cx="60303" cy="46903"/>
          </a:xfrm>
          <a:custGeom>
            <a:avLst/>
            <a:gdLst>
              <a:gd name="T0" fmla="*/ 2147483646 w 66"/>
              <a:gd name="T1" fmla="*/ 2147483646 h 49"/>
              <a:gd name="T2" fmla="*/ 2147483646 w 66"/>
              <a:gd name="T3" fmla="*/ 2147483646 h 49"/>
              <a:gd name="T4" fmla="*/ 2147483646 w 66"/>
              <a:gd name="T5" fmla="*/ 2147483646 h 49"/>
              <a:gd name="T6" fmla="*/ 2147483646 w 66"/>
              <a:gd name="T7" fmla="*/ 2147483646 h 49"/>
              <a:gd name="T8" fmla="*/ 2147483646 w 66"/>
              <a:gd name="T9" fmla="*/ 2147483646 h 49"/>
              <a:gd name="T10" fmla="*/ 2147483646 w 66"/>
              <a:gd name="T11" fmla="*/ 2147483646 h 49"/>
              <a:gd name="T12" fmla="*/ 2147483646 w 66"/>
              <a:gd name="T13" fmla="*/ 2147483646 h 49"/>
              <a:gd name="T14" fmla="*/ 2147483646 w 66"/>
              <a:gd name="T15" fmla="*/ 2147483646 h 49"/>
              <a:gd name="T16" fmla="*/ 2147483646 w 66"/>
              <a:gd name="T17" fmla="*/ 2147483646 h 49"/>
              <a:gd name="T18" fmla="*/ 2147483646 w 66"/>
              <a:gd name="T19" fmla="*/ 2147483646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6"/>
              <a:gd name="T31" fmla="*/ 0 h 49"/>
              <a:gd name="T32" fmla="*/ 66 w 66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6" h="49">
                <a:moveTo>
                  <a:pt x="25" y="21"/>
                </a:moveTo>
                <a:cubicBezTo>
                  <a:pt x="21" y="21"/>
                  <a:pt x="20" y="24"/>
                  <a:pt x="16" y="24"/>
                </a:cubicBezTo>
                <a:cubicBezTo>
                  <a:pt x="11" y="24"/>
                  <a:pt x="7" y="20"/>
                  <a:pt x="5" y="26"/>
                </a:cubicBezTo>
                <a:cubicBezTo>
                  <a:pt x="3" y="33"/>
                  <a:pt x="0" y="34"/>
                  <a:pt x="5" y="37"/>
                </a:cubicBezTo>
                <a:cubicBezTo>
                  <a:pt x="11" y="40"/>
                  <a:pt x="14" y="49"/>
                  <a:pt x="20" y="44"/>
                </a:cubicBezTo>
                <a:cubicBezTo>
                  <a:pt x="27" y="38"/>
                  <a:pt x="41" y="30"/>
                  <a:pt x="44" y="31"/>
                </a:cubicBezTo>
                <a:cubicBezTo>
                  <a:pt x="53" y="34"/>
                  <a:pt x="48" y="21"/>
                  <a:pt x="48" y="21"/>
                </a:cubicBezTo>
                <a:cubicBezTo>
                  <a:pt x="48" y="21"/>
                  <a:pt x="66" y="10"/>
                  <a:pt x="64" y="5"/>
                </a:cubicBezTo>
                <a:cubicBezTo>
                  <a:pt x="62" y="0"/>
                  <a:pt x="52" y="14"/>
                  <a:pt x="43" y="15"/>
                </a:cubicBezTo>
                <a:cubicBezTo>
                  <a:pt x="35" y="16"/>
                  <a:pt x="25" y="21"/>
                  <a:pt x="25" y="2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72" name="Freeform 708"/>
          <p:cNvSpPr>
            <a:spLocks/>
          </p:cNvSpPr>
          <p:nvPr userDrawn="1"/>
        </p:nvSpPr>
        <p:spPr bwMode="auto">
          <a:xfrm>
            <a:off x="6177444" y="1878924"/>
            <a:ext cx="3913016" cy="2038587"/>
          </a:xfrm>
          <a:custGeom>
            <a:avLst/>
            <a:gdLst>
              <a:gd name="T0" fmla="*/ 2147483646 w 4194"/>
              <a:gd name="T1" fmla="*/ 2147483646 h 2184"/>
              <a:gd name="T2" fmla="*/ 2147483646 w 4194"/>
              <a:gd name="T3" fmla="*/ 2147483646 h 2184"/>
              <a:gd name="T4" fmla="*/ 2147483646 w 4194"/>
              <a:gd name="T5" fmla="*/ 2147483646 h 2184"/>
              <a:gd name="T6" fmla="*/ 2147483646 w 4194"/>
              <a:gd name="T7" fmla="*/ 2147483646 h 2184"/>
              <a:gd name="T8" fmla="*/ 2147483646 w 4194"/>
              <a:gd name="T9" fmla="*/ 2147483646 h 2184"/>
              <a:gd name="T10" fmla="*/ 2147483646 w 4194"/>
              <a:gd name="T11" fmla="*/ 2147483646 h 2184"/>
              <a:gd name="T12" fmla="*/ 2147483646 w 4194"/>
              <a:gd name="T13" fmla="*/ 2147483646 h 2184"/>
              <a:gd name="T14" fmla="*/ 2147483646 w 4194"/>
              <a:gd name="T15" fmla="*/ 2147483646 h 2184"/>
              <a:gd name="T16" fmla="*/ 2147483646 w 4194"/>
              <a:gd name="T17" fmla="*/ 2147483646 h 2184"/>
              <a:gd name="T18" fmla="*/ 2147483646 w 4194"/>
              <a:gd name="T19" fmla="*/ 2147483646 h 2184"/>
              <a:gd name="T20" fmla="*/ 2147483646 w 4194"/>
              <a:gd name="T21" fmla="*/ 2147483646 h 2184"/>
              <a:gd name="T22" fmla="*/ 2147483646 w 4194"/>
              <a:gd name="T23" fmla="*/ 2147483646 h 2184"/>
              <a:gd name="T24" fmla="*/ 2147483646 w 4194"/>
              <a:gd name="T25" fmla="*/ 2147483646 h 2184"/>
              <a:gd name="T26" fmla="*/ 2147483646 w 4194"/>
              <a:gd name="T27" fmla="*/ 2147483646 h 2184"/>
              <a:gd name="T28" fmla="*/ 2147483646 w 4194"/>
              <a:gd name="T29" fmla="*/ 2147483646 h 2184"/>
              <a:gd name="T30" fmla="*/ 2147483646 w 4194"/>
              <a:gd name="T31" fmla="*/ 2147483646 h 2184"/>
              <a:gd name="T32" fmla="*/ 2147483646 w 4194"/>
              <a:gd name="T33" fmla="*/ 2147483646 h 2184"/>
              <a:gd name="T34" fmla="*/ 2147483646 w 4194"/>
              <a:gd name="T35" fmla="*/ 2147483646 h 2184"/>
              <a:gd name="T36" fmla="*/ 2147483646 w 4194"/>
              <a:gd name="T37" fmla="*/ 2147483646 h 2184"/>
              <a:gd name="T38" fmla="*/ 2147483646 w 4194"/>
              <a:gd name="T39" fmla="*/ 2147483646 h 2184"/>
              <a:gd name="T40" fmla="*/ 2147483646 w 4194"/>
              <a:gd name="T41" fmla="*/ 2147483646 h 2184"/>
              <a:gd name="T42" fmla="*/ 2147483646 w 4194"/>
              <a:gd name="T43" fmla="*/ 2147483646 h 2184"/>
              <a:gd name="T44" fmla="*/ 2147483646 w 4194"/>
              <a:gd name="T45" fmla="*/ 2147483646 h 2184"/>
              <a:gd name="T46" fmla="*/ 2147483646 w 4194"/>
              <a:gd name="T47" fmla="*/ 2147483646 h 2184"/>
              <a:gd name="T48" fmla="*/ 2147483646 w 4194"/>
              <a:gd name="T49" fmla="*/ 2147483646 h 2184"/>
              <a:gd name="T50" fmla="*/ 2147483646 w 4194"/>
              <a:gd name="T51" fmla="*/ 2147483646 h 2184"/>
              <a:gd name="T52" fmla="*/ 2147483646 w 4194"/>
              <a:gd name="T53" fmla="*/ 2147483646 h 2184"/>
              <a:gd name="T54" fmla="*/ 2147483646 w 4194"/>
              <a:gd name="T55" fmla="*/ 2147483646 h 2184"/>
              <a:gd name="T56" fmla="*/ 2147483646 w 4194"/>
              <a:gd name="T57" fmla="*/ 2147483646 h 2184"/>
              <a:gd name="T58" fmla="*/ 2147483646 w 4194"/>
              <a:gd name="T59" fmla="*/ 2147483646 h 2184"/>
              <a:gd name="T60" fmla="*/ 2147483646 w 4194"/>
              <a:gd name="T61" fmla="*/ 2147483646 h 2184"/>
              <a:gd name="T62" fmla="*/ 2147483646 w 4194"/>
              <a:gd name="T63" fmla="*/ 2147483646 h 2184"/>
              <a:gd name="T64" fmla="*/ 2147483646 w 4194"/>
              <a:gd name="T65" fmla="*/ 2147483646 h 2184"/>
              <a:gd name="T66" fmla="*/ 2147483646 w 4194"/>
              <a:gd name="T67" fmla="*/ 2147483646 h 2184"/>
              <a:gd name="T68" fmla="*/ 2147483646 w 4194"/>
              <a:gd name="T69" fmla="*/ 2147483646 h 2184"/>
              <a:gd name="T70" fmla="*/ 2147483646 w 4194"/>
              <a:gd name="T71" fmla="*/ 2147483646 h 2184"/>
              <a:gd name="T72" fmla="*/ 2147483646 w 4194"/>
              <a:gd name="T73" fmla="*/ 2147483646 h 2184"/>
              <a:gd name="T74" fmla="*/ 2147483646 w 4194"/>
              <a:gd name="T75" fmla="*/ 2147483646 h 2184"/>
              <a:gd name="T76" fmla="*/ 2147483646 w 4194"/>
              <a:gd name="T77" fmla="*/ 2147483646 h 2184"/>
              <a:gd name="T78" fmla="*/ 2147483646 w 4194"/>
              <a:gd name="T79" fmla="*/ 2147483646 h 2184"/>
              <a:gd name="T80" fmla="*/ 2147483646 w 4194"/>
              <a:gd name="T81" fmla="*/ 2147483646 h 2184"/>
              <a:gd name="T82" fmla="*/ 2147483646 w 4194"/>
              <a:gd name="T83" fmla="*/ 2147483646 h 2184"/>
              <a:gd name="T84" fmla="*/ 2147483646 w 4194"/>
              <a:gd name="T85" fmla="*/ 2147483646 h 2184"/>
              <a:gd name="T86" fmla="*/ 2147483646 w 4194"/>
              <a:gd name="T87" fmla="*/ 2147483646 h 2184"/>
              <a:gd name="T88" fmla="*/ 2147483646 w 4194"/>
              <a:gd name="T89" fmla="*/ 2147483646 h 2184"/>
              <a:gd name="T90" fmla="*/ 2147483646 w 4194"/>
              <a:gd name="T91" fmla="*/ 2147483646 h 2184"/>
              <a:gd name="T92" fmla="*/ 2147483646 w 4194"/>
              <a:gd name="T93" fmla="*/ 2147483646 h 2184"/>
              <a:gd name="T94" fmla="*/ 2147483646 w 4194"/>
              <a:gd name="T95" fmla="*/ 2147483646 h 2184"/>
              <a:gd name="T96" fmla="*/ 2147483646 w 4194"/>
              <a:gd name="T97" fmla="*/ 2147483646 h 2184"/>
              <a:gd name="T98" fmla="*/ 2147483646 w 4194"/>
              <a:gd name="T99" fmla="*/ 2147483646 h 2184"/>
              <a:gd name="T100" fmla="*/ 2147483646 w 4194"/>
              <a:gd name="T101" fmla="*/ 2147483646 h 2184"/>
              <a:gd name="T102" fmla="*/ 2147483646 w 4194"/>
              <a:gd name="T103" fmla="*/ 2147483646 h 2184"/>
              <a:gd name="T104" fmla="*/ 2147483646 w 4194"/>
              <a:gd name="T105" fmla="*/ 2147483646 h 2184"/>
              <a:gd name="T106" fmla="*/ 2147483646 w 4194"/>
              <a:gd name="T107" fmla="*/ 2147483646 h 2184"/>
              <a:gd name="T108" fmla="*/ 2147483646 w 4194"/>
              <a:gd name="T109" fmla="*/ 2147483646 h 2184"/>
              <a:gd name="T110" fmla="*/ 2147483646 w 4194"/>
              <a:gd name="T111" fmla="*/ 2147483646 h 2184"/>
              <a:gd name="T112" fmla="*/ 2147483646 w 4194"/>
              <a:gd name="T113" fmla="*/ 2147483646 h 2184"/>
              <a:gd name="T114" fmla="*/ 2147483646 w 4194"/>
              <a:gd name="T115" fmla="*/ 2147483646 h 2184"/>
              <a:gd name="T116" fmla="*/ 2147483646 w 4194"/>
              <a:gd name="T117" fmla="*/ 2147483646 h 2184"/>
              <a:gd name="T118" fmla="*/ 2147483646 w 4194"/>
              <a:gd name="T119" fmla="*/ 2147483646 h 218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194"/>
              <a:gd name="T181" fmla="*/ 0 h 2184"/>
              <a:gd name="T182" fmla="*/ 4194 w 4194"/>
              <a:gd name="T183" fmla="*/ 2184 h 218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194" h="2184">
                <a:moveTo>
                  <a:pt x="328" y="2092"/>
                </a:moveTo>
                <a:cubicBezTo>
                  <a:pt x="356" y="2083"/>
                  <a:pt x="394" y="2111"/>
                  <a:pt x="405" y="2112"/>
                </a:cubicBezTo>
                <a:cubicBezTo>
                  <a:pt x="417" y="2114"/>
                  <a:pt x="452" y="2122"/>
                  <a:pt x="472" y="2124"/>
                </a:cubicBezTo>
                <a:cubicBezTo>
                  <a:pt x="491" y="2125"/>
                  <a:pt x="482" y="2138"/>
                  <a:pt x="508" y="2161"/>
                </a:cubicBezTo>
                <a:cubicBezTo>
                  <a:pt x="534" y="2184"/>
                  <a:pt x="548" y="2171"/>
                  <a:pt x="540" y="2161"/>
                </a:cubicBezTo>
                <a:cubicBezTo>
                  <a:pt x="532" y="2151"/>
                  <a:pt x="534" y="2124"/>
                  <a:pt x="534" y="2124"/>
                </a:cubicBezTo>
                <a:cubicBezTo>
                  <a:pt x="534" y="2124"/>
                  <a:pt x="539" y="2104"/>
                  <a:pt x="527" y="2093"/>
                </a:cubicBezTo>
                <a:cubicBezTo>
                  <a:pt x="516" y="2081"/>
                  <a:pt x="517" y="2067"/>
                  <a:pt x="508" y="2049"/>
                </a:cubicBezTo>
                <a:cubicBezTo>
                  <a:pt x="498" y="2031"/>
                  <a:pt x="517" y="2013"/>
                  <a:pt x="521" y="1997"/>
                </a:cubicBezTo>
                <a:cubicBezTo>
                  <a:pt x="524" y="1980"/>
                  <a:pt x="532" y="2008"/>
                  <a:pt x="532" y="2008"/>
                </a:cubicBezTo>
                <a:cubicBezTo>
                  <a:pt x="532" y="2008"/>
                  <a:pt x="545" y="2008"/>
                  <a:pt x="552" y="1979"/>
                </a:cubicBezTo>
                <a:cubicBezTo>
                  <a:pt x="558" y="1950"/>
                  <a:pt x="550" y="1956"/>
                  <a:pt x="550" y="1956"/>
                </a:cubicBezTo>
                <a:cubicBezTo>
                  <a:pt x="550" y="1956"/>
                  <a:pt x="542" y="1946"/>
                  <a:pt x="527" y="1933"/>
                </a:cubicBezTo>
                <a:cubicBezTo>
                  <a:pt x="513" y="1920"/>
                  <a:pt x="501" y="1889"/>
                  <a:pt x="501" y="1889"/>
                </a:cubicBezTo>
                <a:cubicBezTo>
                  <a:pt x="501" y="1889"/>
                  <a:pt x="503" y="1871"/>
                  <a:pt x="527" y="1854"/>
                </a:cubicBezTo>
                <a:cubicBezTo>
                  <a:pt x="552" y="1836"/>
                  <a:pt x="558" y="1875"/>
                  <a:pt x="558" y="1875"/>
                </a:cubicBezTo>
                <a:cubicBezTo>
                  <a:pt x="558" y="1875"/>
                  <a:pt x="563" y="1870"/>
                  <a:pt x="555" y="1849"/>
                </a:cubicBezTo>
                <a:cubicBezTo>
                  <a:pt x="547" y="1828"/>
                  <a:pt x="574" y="1824"/>
                  <a:pt x="591" y="1811"/>
                </a:cubicBezTo>
                <a:cubicBezTo>
                  <a:pt x="607" y="1798"/>
                  <a:pt x="628" y="1787"/>
                  <a:pt x="654" y="1787"/>
                </a:cubicBezTo>
                <a:cubicBezTo>
                  <a:pt x="680" y="1787"/>
                  <a:pt x="674" y="1800"/>
                  <a:pt x="692" y="1810"/>
                </a:cubicBezTo>
                <a:cubicBezTo>
                  <a:pt x="709" y="1819"/>
                  <a:pt x="724" y="1829"/>
                  <a:pt x="724" y="1829"/>
                </a:cubicBezTo>
                <a:cubicBezTo>
                  <a:pt x="724" y="1829"/>
                  <a:pt x="742" y="1821"/>
                  <a:pt x="760" y="1800"/>
                </a:cubicBezTo>
                <a:cubicBezTo>
                  <a:pt x="778" y="1779"/>
                  <a:pt x="773" y="1813"/>
                  <a:pt x="779" y="1819"/>
                </a:cubicBezTo>
                <a:cubicBezTo>
                  <a:pt x="786" y="1826"/>
                  <a:pt x="802" y="1823"/>
                  <a:pt x="814" y="1810"/>
                </a:cubicBezTo>
                <a:cubicBezTo>
                  <a:pt x="825" y="1797"/>
                  <a:pt x="835" y="1813"/>
                  <a:pt x="835" y="1813"/>
                </a:cubicBezTo>
                <a:cubicBezTo>
                  <a:pt x="835" y="1813"/>
                  <a:pt x="857" y="1816"/>
                  <a:pt x="869" y="1815"/>
                </a:cubicBezTo>
                <a:cubicBezTo>
                  <a:pt x="880" y="1813"/>
                  <a:pt x="879" y="1808"/>
                  <a:pt x="879" y="1792"/>
                </a:cubicBezTo>
                <a:cubicBezTo>
                  <a:pt x="879" y="1775"/>
                  <a:pt x="857" y="1779"/>
                  <a:pt x="857" y="1779"/>
                </a:cubicBezTo>
                <a:cubicBezTo>
                  <a:pt x="857" y="1779"/>
                  <a:pt x="849" y="1751"/>
                  <a:pt x="853" y="1740"/>
                </a:cubicBezTo>
                <a:cubicBezTo>
                  <a:pt x="856" y="1728"/>
                  <a:pt x="879" y="1735"/>
                  <a:pt x="879" y="1735"/>
                </a:cubicBezTo>
                <a:cubicBezTo>
                  <a:pt x="884" y="1719"/>
                  <a:pt x="884" y="1719"/>
                  <a:pt x="884" y="1719"/>
                </a:cubicBezTo>
                <a:cubicBezTo>
                  <a:pt x="884" y="1719"/>
                  <a:pt x="884" y="1719"/>
                  <a:pt x="875" y="1686"/>
                </a:cubicBezTo>
                <a:cubicBezTo>
                  <a:pt x="867" y="1653"/>
                  <a:pt x="897" y="1679"/>
                  <a:pt x="923" y="1673"/>
                </a:cubicBezTo>
                <a:cubicBezTo>
                  <a:pt x="949" y="1666"/>
                  <a:pt x="963" y="1665"/>
                  <a:pt x="989" y="1662"/>
                </a:cubicBezTo>
                <a:cubicBezTo>
                  <a:pt x="1015" y="1658"/>
                  <a:pt x="1032" y="1657"/>
                  <a:pt x="1045" y="1644"/>
                </a:cubicBezTo>
                <a:cubicBezTo>
                  <a:pt x="1058" y="1631"/>
                  <a:pt x="1067" y="1640"/>
                  <a:pt x="1084" y="1637"/>
                </a:cubicBezTo>
                <a:cubicBezTo>
                  <a:pt x="1100" y="1634"/>
                  <a:pt x="1113" y="1631"/>
                  <a:pt x="1119" y="1652"/>
                </a:cubicBezTo>
                <a:cubicBezTo>
                  <a:pt x="1126" y="1673"/>
                  <a:pt x="1132" y="1666"/>
                  <a:pt x="1146" y="1665"/>
                </a:cubicBezTo>
                <a:cubicBezTo>
                  <a:pt x="1159" y="1663"/>
                  <a:pt x="1175" y="1675"/>
                  <a:pt x="1189" y="1684"/>
                </a:cubicBezTo>
                <a:cubicBezTo>
                  <a:pt x="1204" y="1694"/>
                  <a:pt x="1209" y="1694"/>
                  <a:pt x="1219" y="1694"/>
                </a:cubicBezTo>
                <a:cubicBezTo>
                  <a:pt x="1228" y="1694"/>
                  <a:pt x="1238" y="1679"/>
                  <a:pt x="1255" y="1663"/>
                </a:cubicBezTo>
                <a:cubicBezTo>
                  <a:pt x="1271" y="1647"/>
                  <a:pt x="1269" y="1662"/>
                  <a:pt x="1282" y="1662"/>
                </a:cubicBezTo>
                <a:cubicBezTo>
                  <a:pt x="1295" y="1662"/>
                  <a:pt x="1279" y="1684"/>
                  <a:pt x="1290" y="1704"/>
                </a:cubicBezTo>
                <a:cubicBezTo>
                  <a:pt x="1302" y="1723"/>
                  <a:pt x="1368" y="1826"/>
                  <a:pt x="1385" y="1826"/>
                </a:cubicBezTo>
                <a:cubicBezTo>
                  <a:pt x="1401" y="1826"/>
                  <a:pt x="1435" y="1823"/>
                  <a:pt x="1456" y="1826"/>
                </a:cubicBezTo>
                <a:cubicBezTo>
                  <a:pt x="1477" y="1829"/>
                  <a:pt x="1481" y="1854"/>
                  <a:pt x="1494" y="1860"/>
                </a:cubicBezTo>
                <a:cubicBezTo>
                  <a:pt x="1507" y="1867"/>
                  <a:pt x="1551" y="1871"/>
                  <a:pt x="1551" y="1871"/>
                </a:cubicBezTo>
                <a:cubicBezTo>
                  <a:pt x="1573" y="1852"/>
                  <a:pt x="1573" y="1852"/>
                  <a:pt x="1573" y="1852"/>
                </a:cubicBezTo>
                <a:cubicBezTo>
                  <a:pt x="1573" y="1852"/>
                  <a:pt x="1599" y="1852"/>
                  <a:pt x="1609" y="1842"/>
                </a:cubicBezTo>
                <a:cubicBezTo>
                  <a:pt x="1619" y="1832"/>
                  <a:pt x="1640" y="1811"/>
                  <a:pt x="1640" y="1811"/>
                </a:cubicBezTo>
                <a:cubicBezTo>
                  <a:pt x="1640" y="1811"/>
                  <a:pt x="1653" y="1815"/>
                  <a:pt x="1668" y="1823"/>
                </a:cubicBezTo>
                <a:cubicBezTo>
                  <a:pt x="1682" y="1831"/>
                  <a:pt x="1691" y="1818"/>
                  <a:pt x="1691" y="1818"/>
                </a:cubicBezTo>
                <a:cubicBezTo>
                  <a:pt x="1691" y="1818"/>
                  <a:pt x="1702" y="1821"/>
                  <a:pt x="1708" y="1824"/>
                </a:cubicBezTo>
                <a:cubicBezTo>
                  <a:pt x="1715" y="1828"/>
                  <a:pt x="1718" y="1842"/>
                  <a:pt x="1718" y="1842"/>
                </a:cubicBezTo>
                <a:cubicBezTo>
                  <a:pt x="1718" y="1842"/>
                  <a:pt x="1733" y="1844"/>
                  <a:pt x="1756" y="1850"/>
                </a:cubicBezTo>
                <a:cubicBezTo>
                  <a:pt x="1778" y="1857"/>
                  <a:pt x="1800" y="1858"/>
                  <a:pt x="1800" y="1858"/>
                </a:cubicBezTo>
                <a:cubicBezTo>
                  <a:pt x="1800" y="1858"/>
                  <a:pt x="1826" y="1858"/>
                  <a:pt x="1837" y="1847"/>
                </a:cubicBezTo>
                <a:cubicBezTo>
                  <a:pt x="1848" y="1836"/>
                  <a:pt x="1834" y="1826"/>
                  <a:pt x="1827" y="1816"/>
                </a:cubicBezTo>
                <a:cubicBezTo>
                  <a:pt x="1821" y="1806"/>
                  <a:pt x="1839" y="1764"/>
                  <a:pt x="1839" y="1764"/>
                </a:cubicBezTo>
                <a:cubicBezTo>
                  <a:pt x="1839" y="1764"/>
                  <a:pt x="1850" y="1756"/>
                  <a:pt x="1866" y="1761"/>
                </a:cubicBezTo>
                <a:cubicBezTo>
                  <a:pt x="1883" y="1766"/>
                  <a:pt x="1892" y="1759"/>
                  <a:pt x="1907" y="1774"/>
                </a:cubicBezTo>
                <a:cubicBezTo>
                  <a:pt x="1922" y="1788"/>
                  <a:pt x="1922" y="1813"/>
                  <a:pt x="1922" y="1813"/>
                </a:cubicBezTo>
                <a:cubicBezTo>
                  <a:pt x="1922" y="1813"/>
                  <a:pt x="1938" y="1829"/>
                  <a:pt x="1953" y="1837"/>
                </a:cubicBezTo>
                <a:cubicBezTo>
                  <a:pt x="1967" y="1845"/>
                  <a:pt x="1977" y="1837"/>
                  <a:pt x="2001" y="1824"/>
                </a:cubicBezTo>
                <a:cubicBezTo>
                  <a:pt x="2026" y="1811"/>
                  <a:pt x="2024" y="1824"/>
                  <a:pt x="2036" y="1824"/>
                </a:cubicBezTo>
                <a:cubicBezTo>
                  <a:pt x="2047" y="1824"/>
                  <a:pt x="2053" y="1845"/>
                  <a:pt x="2053" y="1845"/>
                </a:cubicBezTo>
                <a:cubicBezTo>
                  <a:pt x="2053" y="1845"/>
                  <a:pt x="2076" y="1857"/>
                  <a:pt x="2088" y="1865"/>
                </a:cubicBezTo>
                <a:cubicBezTo>
                  <a:pt x="2099" y="1873"/>
                  <a:pt x="2130" y="1868"/>
                  <a:pt x="2145" y="1870"/>
                </a:cubicBezTo>
                <a:cubicBezTo>
                  <a:pt x="2159" y="1871"/>
                  <a:pt x="2174" y="1870"/>
                  <a:pt x="2192" y="1860"/>
                </a:cubicBezTo>
                <a:cubicBezTo>
                  <a:pt x="2210" y="1850"/>
                  <a:pt x="2215" y="1842"/>
                  <a:pt x="2228" y="1847"/>
                </a:cubicBezTo>
                <a:cubicBezTo>
                  <a:pt x="2241" y="1852"/>
                  <a:pt x="2278" y="1850"/>
                  <a:pt x="2278" y="1850"/>
                </a:cubicBezTo>
                <a:cubicBezTo>
                  <a:pt x="2278" y="1850"/>
                  <a:pt x="2289" y="1871"/>
                  <a:pt x="2296" y="1876"/>
                </a:cubicBezTo>
                <a:cubicBezTo>
                  <a:pt x="2302" y="1881"/>
                  <a:pt x="2315" y="1871"/>
                  <a:pt x="2333" y="1870"/>
                </a:cubicBezTo>
                <a:cubicBezTo>
                  <a:pt x="2351" y="1868"/>
                  <a:pt x="2358" y="1831"/>
                  <a:pt x="2358" y="1831"/>
                </a:cubicBezTo>
                <a:cubicBezTo>
                  <a:pt x="2358" y="1831"/>
                  <a:pt x="2359" y="1816"/>
                  <a:pt x="2376" y="1802"/>
                </a:cubicBezTo>
                <a:cubicBezTo>
                  <a:pt x="2392" y="1787"/>
                  <a:pt x="2397" y="1764"/>
                  <a:pt x="2397" y="1764"/>
                </a:cubicBezTo>
                <a:cubicBezTo>
                  <a:pt x="2397" y="1764"/>
                  <a:pt x="2397" y="1745"/>
                  <a:pt x="2392" y="1735"/>
                </a:cubicBezTo>
                <a:cubicBezTo>
                  <a:pt x="2387" y="1725"/>
                  <a:pt x="2410" y="1704"/>
                  <a:pt x="2410" y="1704"/>
                </a:cubicBezTo>
                <a:cubicBezTo>
                  <a:pt x="2410" y="1704"/>
                  <a:pt x="2429" y="1702"/>
                  <a:pt x="2462" y="1692"/>
                </a:cubicBezTo>
                <a:cubicBezTo>
                  <a:pt x="2494" y="1683"/>
                  <a:pt x="2491" y="1704"/>
                  <a:pt x="2525" y="1717"/>
                </a:cubicBezTo>
                <a:cubicBezTo>
                  <a:pt x="2559" y="1730"/>
                  <a:pt x="2548" y="1751"/>
                  <a:pt x="2551" y="1771"/>
                </a:cubicBezTo>
                <a:cubicBezTo>
                  <a:pt x="2555" y="1790"/>
                  <a:pt x="2571" y="1837"/>
                  <a:pt x="2584" y="1854"/>
                </a:cubicBezTo>
                <a:cubicBezTo>
                  <a:pt x="2597" y="1870"/>
                  <a:pt x="2605" y="1865"/>
                  <a:pt x="2610" y="1873"/>
                </a:cubicBezTo>
                <a:cubicBezTo>
                  <a:pt x="2615" y="1881"/>
                  <a:pt x="2628" y="1881"/>
                  <a:pt x="2638" y="1876"/>
                </a:cubicBezTo>
                <a:cubicBezTo>
                  <a:pt x="2647" y="1871"/>
                  <a:pt x="2667" y="1896"/>
                  <a:pt x="2667" y="1896"/>
                </a:cubicBezTo>
                <a:cubicBezTo>
                  <a:pt x="2667" y="1896"/>
                  <a:pt x="2670" y="1924"/>
                  <a:pt x="2678" y="1930"/>
                </a:cubicBezTo>
                <a:cubicBezTo>
                  <a:pt x="2686" y="1937"/>
                  <a:pt x="2701" y="1940"/>
                  <a:pt x="2712" y="1935"/>
                </a:cubicBezTo>
                <a:cubicBezTo>
                  <a:pt x="2724" y="1930"/>
                  <a:pt x="2751" y="1911"/>
                  <a:pt x="2751" y="1911"/>
                </a:cubicBezTo>
                <a:cubicBezTo>
                  <a:pt x="2751" y="1911"/>
                  <a:pt x="2763" y="1920"/>
                  <a:pt x="2766" y="1930"/>
                </a:cubicBezTo>
                <a:cubicBezTo>
                  <a:pt x="2769" y="1940"/>
                  <a:pt x="2773" y="1948"/>
                  <a:pt x="2766" y="1956"/>
                </a:cubicBezTo>
                <a:cubicBezTo>
                  <a:pt x="2760" y="1964"/>
                  <a:pt x="2751" y="1979"/>
                  <a:pt x="2751" y="1979"/>
                </a:cubicBezTo>
                <a:cubicBezTo>
                  <a:pt x="2751" y="1979"/>
                  <a:pt x="2745" y="2007"/>
                  <a:pt x="2734" y="2023"/>
                </a:cubicBezTo>
                <a:cubicBezTo>
                  <a:pt x="2722" y="2039"/>
                  <a:pt x="2711" y="2044"/>
                  <a:pt x="2693" y="2033"/>
                </a:cubicBezTo>
                <a:cubicBezTo>
                  <a:pt x="2675" y="2021"/>
                  <a:pt x="2670" y="2042"/>
                  <a:pt x="2670" y="2059"/>
                </a:cubicBezTo>
                <a:cubicBezTo>
                  <a:pt x="2670" y="2075"/>
                  <a:pt x="2672" y="2101"/>
                  <a:pt x="2662" y="2107"/>
                </a:cubicBezTo>
                <a:cubicBezTo>
                  <a:pt x="2652" y="2114"/>
                  <a:pt x="2660" y="2137"/>
                  <a:pt x="2660" y="2132"/>
                </a:cubicBezTo>
                <a:cubicBezTo>
                  <a:pt x="2660" y="2127"/>
                  <a:pt x="2668" y="2121"/>
                  <a:pt x="2687" y="2117"/>
                </a:cubicBezTo>
                <a:cubicBezTo>
                  <a:pt x="2706" y="2113"/>
                  <a:pt x="2715" y="2128"/>
                  <a:pt x="2739" y="2119"/>
                </a:cubicBezTo>
                <a:cubicBezTo>
                  <a:pt x="2763" y="2109"/>
                  <a:pt x="2805" y="2070"/>
                  <a:pt x="2821" y="2040"/>
                </a:cubicBezTo>
                <a:cubicBezTo>
                  <a:pt x="2838" y="2011"/>
                  <a:pt x="2872" y="1966"/>
                  <a:pt x="2902" y="1930"/>
                </a:cubicBezTo>
                <a:cubicBezTo>
                  <a:pt x="2931" y="1895"/>
                  <a:pt x="2909" y="1878"/>
                  <a:pt x="2909" y="1865"/>
                </a:cubicBezTo>
                <a:cubicBezTo>
                  <a:pt x="2909" y="1852"/>
                  <a:pt x="2916" y="1811"/>
                  <a:pt x="2916" y="1811"/>
                </a:cubicBezTo>
                <a:cubicBezTo>
                  <a:pt x="2920" y="1762"/>
                  <a:pt x="2920" y="1762"/>
                  <a:pt x="2920" y="1762"/>
                </a:cubicBezTo>
                <a:cubicBezTo>
                  <a:pt x="2920" y="1762"/>
                  <a:pt x="2920" y="1749"/>
                  <a:pt x="2926" y="1729"/>
                </a:cubicBezTo>
                <a:cubicBezTo>
                  <a:pt x="2931" y="1708"/>
                  <a:pt x="2928" y="1712"/>
                  <a:pt x="2909" y="1692"/>
                </a:cubicBezTo>
                <a:cubicBezTo>
                  <a:pt x="2890" y="1671"/>
                  <a:pt x="2902" y="1677"/>
                  <a:pt x="2881" y="1662"/>
                </a:cubicBezTo>
                <a:cubicBezTo>
                  <a:pt x="2861" y="1647"/>
                  <a:pt x="2875" y="1669"/>
                  <a:pt x="2862" y="1680"/>
                </a:cubicBezTo>
                <a:cubicBezTo>
                  <a:pt x="2849" y="1692"/>
                  <a:pt x="2853" y="1695"/>
                  <a:pt x="2840" y="1695"/>
                </a:cubicBezTo>
                <a:cubicBezTo>
                  <a:pt x="2827" y="1695"/>
                  <a:pt x="2827" y="1697"/>
                  <a:pt x="2832" y="1677"/>
                </a:cubicBezTo>
                <a:cubicBezTo>
                  <a:pt x="2838" y="1656"/>
                  <a:pt x="2823" y="1637"/>
                  <a:pt x="2812" y="1639"/>
                </a:cubicBezTo>
                <a:cubicBezTo>
                  <a:pt x="2801" y="1641"/>
                  <a:pt x="2805" y="1658"/>
                  <a:pt x="2786" y="1645"/>
                </a:cubicBezTo>
                <a:cubicBezTo>
                  <a:pt x="2767" y="1632"/>
                  <a:pt x="2851" y="1563"/>
                  <a:pt x="2872" y="1524"/>
                </a:cubicBezTo>
                <a:cubicBezTo>
                  <a:pt x="2892" y="1485"/>
                  <a:pt x="2935" y="1462"/>
                  <a:pt x="2952" y="1434"/>
                </a:cubicBezTo>
                <a:cubicBezTo>
                  <a:pt x="2969" y="1406"/>
                  <a:pt x="3013" y="1427"/>
                  <a:pt x="3021" y="1425"/>
                </a:cubicBezTo>
                <a:cubicBezTo>
                  <a:pt x="3028" y="1423"/>
                  <a:pt x="3026" y="1442"/>
                  <a:pt x="3026" y="1442"/>
                </a:cubicBezTo>
                <a:cubicBezTo>
                  <a:pt x="3026" y="1442"/>
                  <a:pt x="3049" y="1451"/>
                  <a:pt x="3056" y="1445"/>
                </a:cubicBezTo>
                <a:cubicBezTo>
                  <a:pt x="3064" y="1440"/>
                  <a:pt x="3079" y="1438"/>
                  <a:pt x="3079" y="1438"/>
                </a:cubicBezTo>
                <a:cubicBezTo>
                  <a:pt x="3088" y="1447"/>
                  <a:pt x="3095" y="1438"/>
                  <a:pt x="3114" y="1432"/>
                </a:cubicBezTo>
                <a:cubicBezTo>
                  <a:pt x="3133" y="1427"/>
                  <a:pt x="3125" y="1425"/>
                  <a:pt x="3127" y="1416"/>
                </a:cubicBezTo>
                <a:cubicBezTo>
                  <a:pt x="3129" y="1406"/>
                  <a:pt x="3161" y="1421"/>
                  <a:pt x="3166" y="1419"/>
                </a:cubicBezTo>
                <a:cubicBezTo>
                  <a:pt x="3172" y="1417"/>
                  <a:pt x="3185" y="1427"/>
                  <a:pt x="3185" y="1427"/>
                </a:cubicBezTo>
                <a:cubicBezTo>
                  <a:pt x="3178" y="1447"/>
                  <a:pt x="3178" y="1447"/>
                  <a:pt x="3178" y="1447"/>
                </a:cubicBezTo>
                <a:cubicBezTo>
                  <a:pt x="3207" y="1438"/>
                  <a:pt x="3207" y="1438"/>
                  <a:pt x="3207" y="1438"/>
                </a:cubicBezTo>
                <a:cubicBezTo>
                  <a:pt x="3207" y="1438"/>
                  <a:pt x="3224" y="1438"/>
                  <a:pt x="3230" y="1438"/>
                </a:cubicBezTo>
                <a:cubicBezTo>
                  <a:pt x="3235" y="1438"/>
                  <a:pt x="3280" y="1440"/>
                  <a:pt x="3280" y="1440"/>
                </a:cubicBezTo>
                <a:cubicBezTo>
                  <a:pt x="3278" y="1419"/>
                  <a:pt x="3278" y="1419"/>
                  <a:pt x="3278" y="1419"/>
                </a:cubicBezTo>
                <a:cubicBezTo>
                  <a:pt x="3278" y="1419"/>
                  <a:pt x="3263" y="1417"/>
                  <a:pt x="3252" y="1408"/>
                </a:cubicBezTo>
                <a:cubicBezTo>
                  <a:pt x="3241" y="1399"/>
                  <a:pt x="3256" y="1391"/>
                  <a:pt x="3273" y="1376"/>
                </a:cubicBezTo>
                <a:cubicBezTo>
                  <a:pt x="3289" y="1361"/>
                  <a:pt x="3293" y="1360"/>
                  <a:pt x="3297" y="1341"/>
                </a:cubicBezTo>
                <a:cubicBezTo>
                  <a:pt x="3301" y="1322"/>
                  <a:pt x="3327" y="1315"/>
                  <a:pt x="3344" y="1296"/>
                </a:cubicBezTo>
                <a:cubicBezTo>
                  <a:pt x="3360" y="1278"/>
                  <a:pt x="3401" y="1287"/>
                  <a:pt x="3422" y="1298"/>
                </a:cubicBezTo>
                <a:cubicBezTo>
                  <a:pt x="3422" y="1298"/>
                  <a:pt x="3420" y="1309"/>
                  <a:pt x="3418" y="1315"/>
                </a:cubicBezTo>
                <a:cubicBezTo>
                  <a:pt x="3416" y="1320"/>
                  <a:pt x="3405" y="1332"/>
                  <a:pt x="3405" y="1332"/>
                </a:cubicBezTo>
                <a:cubicBezTo>
                  <a:pt x="3405" y="1332"/>
                  <a:pt x="3409" y="1343"/>
                  <a:pt x="3414" y="1352"/>
                </a:cubicBezTo>
                <a:cubicBezTo>
                  <a:pt x="3420" y="1361"/>
                  <a:pt x="3426" y="1360"/>
                  <a:pt x="3433" y="1358"/>
                </a:cubicBezTo>
                <a:cubicBezTo>
                  <a:pt x="3441" y="1356"/>
                  <a:pt x="3444" y="1341"/>
                  <a:pt x="3446" y="1335"/>
                </a:cubicBezTo>
                <a:cubicBezTo>
                  <a:pt x="3448" y="1330"/>
                  <a:pt x="3454" y="1313"/>
                  <a:pt x="3454" y="1313"/>
                </a:cubicBezTo>
                <a:cubicBezTo>
                  <a:pt x="3470" y="1315"/>
                  <a:pt x="3470" y="1315"/>
                  <a:pt x="3470" y="1315"/>
                </a:cubicBezTo>
                <a:cubicBezTo>
                  <a:pt x="3470" y="1315"/>
                  <a:pt x="3487" y="1302"/>
                  <a:pt x="3485" y="1294"/>
                </a:cubicBezTo>
                <a:cubicBezTo>
                  <a:pt x="3483" y="1287"/>
                  <a:pt x="3480" y="1279"/>
                  <a:pt x="3476" y="1268"/>
                </a:cubicBezTo>
                <a:cubicBezTo>
                  <a:pt x="3472" y="1257"/>
                  <a:pt x="3489" y="1255"/>
                  <a:pt x="3495" y="1248"/>
                </a:cubicBezTo>
                <a:cubicBezTo>
                  <a:pt x="3500" y="1240"/>
                  <a:pt x="3519" y="1242"/>
                  <a:pt x="3534" y="1242"/>
                </a:cubicBezTo>
                <a:cubicBezTo>
                  <a:pt x="3549" y="1242"/>
                  <a:pt x="3538" y="1259"/>
                  <a:pt x="3524" y="1263"/>
                </a:cubicBezTo>
                <a:cubicBezTo>
                  <a:pt x="3511" y="1266"/>
                  <a:pt x="3508" y="1281"/>
                  <a:pt x="3508" y="1307"/>
                </a:cubicBezTo>
                <a:cubicBezTo>
                  <a:pt x="3508" y="1333"/>
                  <a:pt x="3511" y="1322"/>
                  <a:pt x="3504" y="1328"/>
                </a:cubicBezTo>
                <a:cubicBezTo>
                  <a:pt x="3497" y="1333"/>
                  <a:pt x="3500" y="1335"/>
                  <a:pt x="3467" y="1367"/>
                </a:cubicBezTo>
                <a:cubicBezTo>
                  <a:pt x="3433" y="1399"/>
                  <a:pt x="3444" y="1393"/>
                  <a:pt x="3444" y="1393"/>
                </a:cubicBezTo>
                <a:cubicBezTo>
                  <a:pt x="3444" y="1393"/>
                  <a:pt x="3427" y="1408"/>
                  <a:pt x="3416" y="1421"/>
                </a:cubicBezTo>
                <a:cubicBezTo>
                  <a:pt x="3405" y="1434"/>
                  <a:pt x="3386" y="1449"/>
                  <a:pt x="3386" y="1449"/>
                </a:cubicBezTo>
                <a:cubicBezTo>
                  <a:pt x="3379" y="1466"/>
                  <a:pt x="3379" y="1466"/>
                  <a:pt x="3379" y="1466"/>
                </a:cubicBezTo>
                <a:cubicBezTo>
                  <a:pt x="3379" y="1466"/>
                  <a:pt x="3373" y="1471"/>
                  <a:pt x="3364" y="1470"/>
                </a:cubicBezTo>
                <a:cubicBezTo>
                  <a:pt x="3355" y="1468"/>
                  <a:pt x="3357" y="1483"/>
                  <a:pt x="3357" y="1483"/>
                </a:cubicBezTo>
                <a:cubicBezTo>
                  <a:pt x="3357" y="1483"/>
                  <a:pt x="3355" y="1498"/>
                  <a:pt x="3347" y="1496"/>
                </a:cubicBezTo>
                <a:cubicBezTo>
                  <a:pt x="3340" y="1494"/>
                  <a:pt x="3342" y="1503"/>
                  <a:pt x="3327" y="1516"/>
                </a:cubicBezTo>
                <a:cubicBezTo>
                  <a:pt x="3312" y="1529"/>
                  <a:pt x="3323" y="1529"/>
                  <a:pt x="3312" y="1548"/>
                </a:cubicBezTo>
                <a:cubicBezTo>
                  <a:pt x="3301" y="1567"/>
                  <a:pt x="3308" y="1563"/>
                  <a:pt x="3282" y="1589"/>
                </a:cubicBezTo>
                <a:cubicBezTo>
                  <a:pt x="3256" y="1615"/>
                  <a:pt x="3282" y="1600"/>
                  <a:pt x="3289" y="1613"/>
                </a:cubicBezTo>
                <a:cubicBezTo>
                  <a:pt x="3297" y="1626"/>
                  <a:pt x="3303" y="1671"/>
                  <a:pt x="3303" y="1671"/>
                </a:cubicBezTo>
                <a:cubicBezTo>
                  <a:pt x="3303" y="1671"/>
                  <a:pt x="3299" y="1697"/>
                  <a:pt x="3295" y="1712"/>
                </a:cubicBezTo>
                <a:cubicBezTo>
                  <a:pt x="3291" y="1727"/>
                  <a:pt x="3299" y="1744"/>
                  <a:pt x="3299" y="1744"/>
                </a:cubicBezTo>
                <a:cubicBezTo>
                  <a:pt x="3299" y="1744"/>
                  <a:pt x="3304" y="1762"/>
                  <a:pt x="3304" y="1790"/>
                </a:cubicBezTo>
                <a:cubicBezTo>
                  <a:pt x="3304" y="1818"/>
                  <a:pt x="3316" y="1830"/>
                  <a:pt x="3316" y="1830"/>
                </a:cubicBezTo>
                <a:cubicBezTo>
                  <a:pt x="3329" y="1820"/>
                  <a:pt x="3329" y="1820"/>
                  <a:pt x="3329" y="1820"/>
                </a:cubicBezTo>
                <a:cubicBezTo>
                  <a:pt x="3329" y="1820"/>
                  <a:pt x="3336" y="1817"/>
                  <a:pt x="3340" y="1787"/>
                </a:cubicBezTo>
                <a:cubicBezTo>
                  <a:pt x="3344" y="1757"/>
                  <a:pt x="3347" y="1787"/>
                  <a:pt x="3364" y="1777"/>
                </a:cubicBezTo>
                <a:cubicBezTo>
                  <a:pt x="3381" y="1768"/>
                  <a:pt x="3366" y="1772"/>
                  <a:pt x="3375" y="1748"/>
                </a:cubicBezTo>
                <a:cubicBezTo>
                  <a:pt x="3385" y="1723"/>
                  <a:pt x="3381" y="1721"/>
                  <a:pt x="3381" y="1721"/>
                </a:cubicBezTo>
                <a:cubicBezTo>
                  <a:pt x="3381" y="1721"/>
                  <a:pt x="3388" y="1716"/>
                  <a:pt x="3400" y="1718"/>
                </a:cubicBezTo>
                <a:cubicBezTo>
                  <a:pt x="3411" y="1720"/>
                  <a:pt x="3420" y="1716"/>
                  <a:pt x="3424" y="1703"/>
                </a:cubicBezTo>
                <a:cubicBezTo>
                  <a:pt x="3427" y="1690"/>
                  <a:pt x="3416" y="1692"/>
                  <a:pt x="3416" y="1692"/>
                </a:cubicBezTo>
                <a:cubicBezTo>
                  <a:pt x="3416" y="1692"/>
                  <a:pt x="3416" y="1686"/>
                  <a:pt x="3420" y="1673"/>
                </a:cubicBezTo>
                <a:cubicBezTo>
                  <a:pt x="3424" y="1660"/>
                  <a:pt x="3435" y="1667"/>
                  <a:pt x="3435" y="1667"/>
                </a:cubicBezTo>
                <a:cubicBezTo>
                  <a:pt x="3441" y="1669"/>
                  <a:pt x="3459" y="1665"/>
                  <a:pt x="3459" y="1665"/>
                </a:cubicBezTo>
                <a:cubicBezTo>
                  <a:pt x="3459" y="1665"/>
                  <a:pt x="3470" y="1654"/>
                  <a:pt x="3465" y="1649"/>
                </a:cubicBezTo>
                <a:cubicBezTo>
                  <a:pt x="3459" y="1643"/>
                  <a:pt x="3457" y="1643"/>
                  <a:pt x="3448" y="1639"/>
                </a:cubicBezTo>
                <a:cubicBezTo>
                  <a:pt x="3439" y="1636"/>
                  <a:pt x="3441" y="1630"/>
                  <a:pt x="3442" y="1617"/>
                </a:cubicBezTo>
                <a:cubicBezTo>
                  <a:pt x="3444" y="1604"/>
                  <a:pt x="3450" y="1611"/>
                  <a:pt x="3452" y="1602"/>
                </a:cubicBezTo>
                <a:cubicBezTo>
                  <a:pt x="3454" y="1593"/>
                  <a:pt x="3459" y="1572"/>
                  <a:pt x="3459" y="1572"/>
                </a:cubicBezTo>
                <a:cubicBezTo>
                  <a:pt x="3467" y="1583"/>
                  <a:pt x="3467" y="1583"/>
                  <a:pt x="3467" y="1583"/>
                </a:cubicBezTo>
                <a:cubicBezTo>
                  <a:pt x="3467" y="1583"/>
                  <a:pt x="3482" y="1585"/>
                  <a:pt x="3487" y="1572"/>
                </a:cubicBezTo>
                <a:cubicBezTo>
                  <a:pt x="3493" y="1559"/>
                  <a:pt x="3487" y="1572"/>
                  <a:pt x="3487" y="1561"/>
                </a:cubicBezTo>
                <a:cubicBezTo>
                  <a:pt x="3487" y="1550"/>
                  <a:pt x="3482" y="1552"/>
                  <a:pt x="3472" y="1542"/>
                </a:cubicBezTo>
                <a:cubicBezTo>
                  <a:pt x="3463" y="1533"/>
                  <a:pt x="3474" y="1535"/>
                  <a:pt x="3483" y="1518"/>
                </a:cubicBezTo>
                <a:cubicBezTo>
                  <a:pt x="3493" y="1501"/>
                  <a:pt x="3461" y="1507"/>
                  <a:pt x="3461" y="1507"/>
                </a:cubicBezTo>
                <a:cubicBezTo>
                  <a:pt x="3461" y="1507"/>
                  <a:pt x="3455" y="1505"/>
                  <a:pt x="3469" y="1470"/>
                </a:cubicBezTo>
                <a:cubicBezTo>
                  <a:pt x="3482" y="1434"/>
                  <a:pt x="3487" y="1447"/>
                  <a:pt x="3493" y="1427"/>
                </a:cubicBezTo>
                <a:cubicBezTo>
                  <a:pt x="3498" y="1406"/>
                  <a:pt x="3511" y="1397"/>
                  <a:pt x="3511" y="1397"/>
                </a:cubicBezTo>
                <a:cubicBezTo>
                  <a:pt x="3511" y="1397"/>
                  <a:pt x="3517" y="1401"/>
                  <a:pt x="3524" y="1410"/>
                </a:cubicBezTo>
                <a:cubicBezTo>
                  <a:pt x="3532" y="1419"/>
                  <a:pt x="3545" y="1404"/>
                  <a:pt x="3545" y="1404"/>
                </a:cubicBezTo>
                <a:cubicBezTo>
                  <a:pt x="3549" y="1384"/>
                  <a:pt x="3549" y="1384"/>
                  <a:pt x="3549" y="1384"/>
                </a:cubicBezTo>
                <a:cubicBezTo>
                  <a:pt x="3564" y="1373"/>
                  <a:pt x="3564" y="1373"/>
                  <a:pt x="3564" y="1373"/>
                </a:cubicBezTo>
                <a:cubicBezTo>
                  <a:pt x="3564" y="1373"/>
                  <a:pt x="3562" y="1397"/>
                  <a:pt x="3573" y="1406"/>
                </a:cubicBezTo>
                <a:cubicBezTo>
                  <a:pt x="3584" y="1416"/>
                  <a:pt x="3580" y="1395"/>
                  <a:pt x="3590" y="1376"/>
                </a:cubicBezTo>
                <a:cubicBezTo>
                  <a:pt x="3599" y="1358"/>
                  <a:pt x="3607" y="1367"/>
                  <a:pt x="3631" y="1361"/>
                </a:cubicBezTo>
                <a:cubicBezTo>
                  <a:pt x="3655" y="1356"/>
                  <a:pt x="3661" y="1365"/>
                  <a:pt x="3670" y="1384"/>
                </a:cubicBezTo>
                <a:cubicBezTo>
                  <a:pt x="3679" y="1402"/>
                  <a:pt x="3676" y="1414"/>
                  <a:pt x="3687" y="1376"/>
                </a:cubicBezTo>
                <a:cubicBezTo>
                  <a:pt x="3698" y="1339"/>
                  <a:pt x="3746" y="1322"/>
                  <a:pt x="3763" y="1304"/>
                </a:cubicBezTo>
                <a:cubicBezTo>
                  <a:pt x="3780" y="1285"/>
                  <a:pt x="3791" y="1283"/>
                  <a:pt x="3799" y="1274"/>
                </a:cubicBezTo>
                <a:cubicBezTo>
                  <a:pt x="3806" y="1264"/>
                  <a:pt x="3838" y="1255"/>
                  <a:pt x="3838" y="1255"/>
                </a:cubicBezTo>
                <a:cubicBezTo>
                  <a:pt x="3838" y="1255"/>
                  <a:pt x="3864" y="1259"/>
                  <a:pt x="3877" y="1255"/>
                </a:cubicBezTo>
                <a:cubicBezTo>
                  <a:pt x="3890" y="1251"/>
                  <a:pt x="3916" y="1251"/>
                  <a:pt x="3916" y="1251"/>
                </a:cubicBezTo>
                <a:cubicBezTo>
                  <a:pt x="3916" y="1251"/>
                  <a:pt x="3916" y="1235"/>
                  <a:pt x="3901" y="1223"/>
                </a:cubicBezTo>
                <a:cubicBezTo>
                  <a:pt x="3886" y="1212"/>
                  <a:pt x="3888" y="1223"/>
                  <a:pt x="3870" y="1210"/>
                </a:cubicBezTo>
                <a:cubicBezTo>
                  <a:pt x="3851" y="1197"/>
                  <a:pt x="3881" y="1190"/>
                  <a:pt x="3881" y="1190"/>
                </a:cubicBezTo>
                <a:cubicBezTo>
                  <a:pt x="3881" y="1190"/>
                  <a:pt x="3883" y="1179"/>
                  <a:pt x="3877" y="1169"/>
                </a:cubicBezTo>
                <a:cubicBezTo>
                  <a:pt x="3871" y="1160"/>
                  <a:pt x="3851" y="1147"/>
                  <a:pt x="3851" y="1147"/>
                </a:cubicBezTo>
                <a:cubicBezTo>
                  <a:pt x="3851" y="1147"/>
                  <a:pt x="3838" y="1139"/>
                  <a:pt x="3856" y="1112"/>
                </a:cubicBezTo>
                <a:cubicBezTo>
                  <a:pt x="3875" y="1084"/>
                  <a:pt x="3873" y="1136"/>
                  <a:pt x="3873" y="1136"/>
                </a:cubicBezTo>
                <a:cubicBezTo>
                  <a:pt x="3873" y="1136"/>
                  <a:pt x="3886" y="1134"/>
                  <a:pt x="3901" y="1126"/>
                </a:cubicBezTo>
                <a:cubicBezTo>
                  <a:pt x="3916" y="1119"/>
                  <a:pt x="3937" y="1102"/>
                  <a:pt x="3937" y="1102"/>
                </a:cubicBezTo>
                <a:cubicBezTo>
                  <a:pt x="3937" y="1070"/>
                  <a:pt x="3937" y="1070"/>
                  <a:pt x="3937" y="1070"/>
                </a:cubicBezTo>
                <a:cubicBezTo>
                  <a:pt x="3937" y="1070"/>
                  <a:pt x="3929" y="1054"/>
                  <a:pt x="3929" y="1039"/>
                </a:cubicBezTo>
                <a:cubicBezTo>
                  <a:pt x="3929" y="1024"/>
                  <a:pt x="3963" y="1026"/>
                  <a:pt x="3963" y="1026"/>
                </a:cubicBezTo>
                <a:cubicBezTo>
                  <a:pt x="3963" y="1026"/>
                  <a:pt x="3961" y="1046"/>
                  <a:pt x="3955" y="1065"/>
                </a:cubicBezTo>
                <a:cubicBezTo>
                  <a:pt x="3950" y="1084"/>
                  <a:pt x="3974" y="1080"/>
                  <a:pt x="3974" y="1080"/>
                </a:cubicBezTo>
                <a:cubicBezTo>
                  <a:pt x="4022" y="1069"/>
                  <a:pt x="4022" y="1069"/>
                  <a:pt x="4022" y="1069"/>
                </a:cubicBezTo>
                <a:cubicBezTo>
                  <a:pt x="4022" y="1085"/>
                  <a:pt x="4022" y="1085"/>
                  <a:pt x="4022" y="1085"/>
                </a:cubicBezTo>
                <a:cubicBezTo>
                  <a:pt x="4036" y="1119"/>
                  <a:pt x="4036" y="1119"/>
                  <a:pt x="4036" y="1119"/>
                </a:cubicBezTo>
                <a:cubicBezTo>
                  <a:pt x="4036" y="1119"/>
                  <a:pt x="4050" y="1121"/>
                  <a:pt x="4064" y="1115"/>
                </a:cubicBezTo>
                <a:cubicBezTo>
                  <a:pt x="4077" y="1110"/>
                  <a:pt x="4075" y="1130"/>
                  <a:pt x="4084" y="1143"/>
                </a:cubicBezTo>
                <a:cubicBezTo>
                  <a:pt x="4093" y="1156"/>
                  <a:pt x="4105" y="1151"/>
                  <a:pt x="4114" y="1138"/>
                </a:cubicBezTo>
                <a:cubicBezTo>
                  <a:pt x="4123" y="1125"/>
                  <a:pt x="4105" y="1130"/>
                  <a:pt x="4133" y="1110"/>
                </a:cubicBezTo>
                <a:cubicBezTo>
                  <a:pt x="4160" y="1089"/>
                  <a:pt x="4134" y="1097"/>
                  <a:pt x="4131" y="1069"/>
                </a:cubicBezTo>
                <a:cubicBezTo>
                  <a:pt x="4131" y="1069"/>
                  <a:pt x="4149" y="1082"/>
                  <a:pt x="4162" y="1074"/>
                </a:cubicBezTo>
                <a:cubicBezTo>
                  <a:pt x="4175" y="1067"/>
                  <a:pt x="4179" y="1070"/>
                  <a:pt x="4187" y="1050"/>
                </a:cubicBezTo>
                <a:cubicBezTo>
                  <a:pt x="4194" y="1029"/>
                  <a:pt x="4172" y="1035"/>
                  <a:pt x="4164" y="1020"/>
                </a:cubicBezTo>
                <a:cubicBezTo>
                  <a:pt x="4157" y="1005"/>
                  <a:pt x="4144" y="979"/>
                  <a:pt x="4144" y="979"/>
                </a:cubicBezTo>
                <a:cubicBezTo>
                  <a:pt x="4127" y="973"/>
                  <a:pt x="4127" y="973"/>
                  <a:pt x="4127" y="973"/>
                </a:cubicBezTo>
                <a:cubicBezTo>
                  <a:pt x="4101" y="966"/>
                  <a:pt x="4101" y="966"/>
                  <a:pt x="4101" y="966"/>
                </a:cubicBezTo>
                <a:cubicBezTo>
                  <a:pt x="4101" y="966"/>
                  <a:pt x="4095" y="966"/>
                  <a:pt x="4078" y="973"/>
                </a:cubicBezTo>
                <a:cubicBezTo>
                  <a:pt x="4062" y="981"/>
                  <a:pt x="4078" y="985"/>
                  <a:pt x="4082" y="994"/>
                </a:cubicBezTo>
                <a:cubicBezTo>
                  <a:pt x="4086" y="1003"/>
                  <a:pt x="4073" y="1007"/>
                  <a:pt x="4073" y="1007"/>
                </a:cubicBezTo>
                <a:cubicBezTo>
                  <a:pt x="4073" y="1007"/>
                  <a:pt x="4056" y="1007"/>
                  <a:pt x="4060" y="951"/>
                </a:cubicBezTo>
                <a:cubicBezTo>
                  <a:pt x="4064" y="895"/>
                  <a:pt x="4045" y="936"/>
                  <a:pt x="4045" y="936"/>
                </a:cubicBezTo>
                <a:cubicBezTo>
                  <a:pt x="4045" y="936"/>
                  <a:pt x="4034" y="929"/>
                  <a:pt x="4019" y="906"/>
                </a:cubicBezTo>
                <a:cubicBezTo>
                  <a:pt x="4004" y="884"/>
                  <a:pt x="3981" y="878"/>
                  <a:pt x="3981" y="878"/>
                </a:cubicBezTo>
                <a:cubicBezTo>
                  <a:pt x="3981" y="878"/>
                  <a:pt x="3959" y="871"/>
                  <a:pt x="3950" y="856"/>
                </a:cubicBezTo>
                <a:cubicBezTo>
                  <a:pt x="3940" y="841"/>
                  <a:pt x="3918" y="822"/>
                  <a:pt x="3918" y="822"/>
                </a:cubicBezTo>
                <a:cubicBezTo>
                  <a:pt x="3918" y="822"/>
                  <a:pt x="3899" y="824"/>
                  <a:pt x="3883" y="815"/>
                </a:cubicBezTo>
                <a:cubicBezTo>
                  <a:pt x="3866" y="806"/>
                  <a:pt x="3864" y="811"/>
                  <a:pt x="3843" y="787"/>
                </a:cubicBezTo>
                <a:cubicBezTo>
                  <a:pt x="3823" y="763"/>
                  <a:pt x="3791" y="776"/>
                  <a:pt x="3791" y="776"/>
                </a:cubicBezTo>
                <a:cubicBezTo>
                  <a:pt x="3791" y="776"/>
                  <a:pt x="3767" y="783"/>
                  <a:pt x="3748" y="778"/>
                </a:cubicBezTo>
                <a:cubicBezTo>
                  <a:pt x="3730" y="772"/>
                  <a:pt x="3722" y="780"/>
                  <a:pt x="3722" y="780"/>
                </a:cubicBezTo>
                <a:cubicBezTo>
                  <a:pt x="3722" y="780"/>
                  <a:pt x="3707" y="780"/>
                  <a:pt x="3694" y="766"/>
                </a:cubicBezTo>
                <a:cubicBezTo>
                  <a:pt x="3681" y="753"/>
                  <a:pt x="3681" y="772"/>
                  <a:pt x="3674" y="774"/>
                </a:cubicBezTo>
                <a:cubicBezTo>
                  <a:pt x="3666" y="776"/>
                  <a:pt x="3672" y="794"/>
                  <a:pt x="3672" y="794"/>
                </a:cubicBezTo>
                <a:cubicBezTo>
                  <a:pt x="3687" y="806"/>
                  <a:pt x="3687" y="806"/>
                  <a:pt x="3687" y="806"/>
                </a:cubicBezTo>
                <a:cubicBezTo>
                  <a:pt x="3690" y="837"/>
                  <a:pt x="3690" y="837"/>
                  <a:pt x="3690" y="837"/>
                </a:cubicBezTo>
                <a:cubicBezTo>
                  <a:pt x="3690" y="837"/>
                  <a:pt x="3683" y="850"/>
                  <a:pt x="3674" y="856"/>
                </a:cubicBezTo>
                <a:cubicBezTo>
                  <a:pt x="3664" y="862"/>
                  <a:pt x="3657" y="865"/>
                  <a:pt x="3648" y="856"/>
                </a:cubicBezTo>
                <a:cubicBezTo>
                  <a:pt x="3638" y="847"/>
                  <a:pt x="3636" y="845"/>
                  <a:pt x="3623" y="835"/>
                </a:cubicBezTo>
                <a:cubicBezTo>
                  <a:pt x="3610" y="826"/>
                  <a:pt x="3629" y="811"/>
                  <a:pt x="3629" y="811"/>
                </a:cubicBezTo>
                <a:cubicBezTo>
                  <a:pt x="3629" y="811"/>
                  <a:pt x="3627" y="793"/>
                  <a:pt x="3612" y="785"/>
                </a:cubicBezTo>
                <a:cubicBezTo>
                  <a:pt x="3597" y="778"/>
                  <a:pt x="3605" y="793"/>
                  <a:pt x="3599" y="807"/>
                </a:cubicBezTo>
                <a:cubicBezTo>
                  <a:pt x="3593" y="822"/>
                  <a:pt x="3569" y="796"/>
                  <a:pt x="3539" y="798"/>
                </a:cubicBezTo>
                <a:cubicBezTo>
                  <a:pt x="3510" y="800"/>
                  <a:pt x="3524" y="806"/>
                  <a:pt x="3510" y="791"/>
                </a:cubicBezTo>
                <a:cubicBezTo>
                  <a:pt x="3495" y="776"/>
                  <a:pt x="3502" y="796"/>
                  <a:pt x="3483" y="789"/>
                </a:cubicBezTo>
                <a:cubicBezTo>
                  <a:pt x="3465" y="781"/>
                  <a:pt x="3465" y="783"/>
                  <a:pt x="3465" y="783"/>
                </a:cubicBezTo>
                <a:cubicBezTo>
                  <a:pt x="3465" y="783"/>
                  <a:pt x="3455" y="789"/>
                  <a:pt x="3450" y="804"/>
                </a:cubicBezTo>
                <a:cubicBezTo>
                  <a:pt x="3444" y="819"/>
                  <a:pt x="3459" y="826"/>
                  <a:pt x="3459" y="826"/>
                </a:cubicBezTo>
                <a:cubicBezTo>
                  <a:pt x="3448" y="862"/>
                  <a:pt x="3448" y="862"/>
                  <a:pt x="3448" y="862"/>
                </a:cubicBezTo>
                <a:cubicBezTo>
                  <a:pt x="3448" y="862"/>
                  <a:pt x="3439" y="860"/>
                  <a:pt x="3429" y="824"/>
                </a:cubicBezTo>
                <a:cubicBezTo>
                  <a:pt x="3420" y="789"/>
                  <a:pt x="3422" y="809"/>
                  <a:pt x="3411" y="802"/>
                </a:cubicBezTo>
                <a:cubicBezTo>
                  <a:pt x="3400" y="794"/>
                  <a:pt x="3398" y="776"/>
                  <a:pt x="3407" y="748"/>
                </a:cubicBezTo>
                <a:cubicBezTo>
                  <a:pt x="3416" y="720"/>
                  <a:pt x="3403" y="718"/>
                  <a:pt x="3394" y="705"/>
                </a:cubicBezTo>
                <a:cubicBezTo>
                  <a:pt x="3385" y="692"/>
                  <a:pt x="3377" y="690"/>
                  <a:pt x="3362" y="690"/>
                </a:cubicBezTo>
                <a:cubicBezTo>
                  <a:pt x="3347" y="690"/>
                  <a:pt x="3312" y="692"/>
                  <a:pt x="3312" y="692"/>
                </a:cubicBezTo>
                <a:cubicBezTo>
                  <a:pt x="3312" y="692"/>
                  <a:pt x="3250" y="701"/>
                  <a:pt x="3235" y="699"/>
                </a:cubicBezTo>
                <a:cubicBezTo>
                  <a:pt x="3220" y="697"/>
                  <a:pt x="3204" y="703"/>
                  <a:pt x="3204" y="703"/>
                </a:cubicBezTo>
                <a:cubicBezTo>
                  <a:pt x="3204" y="703"/>
                  <a:pt x="3209" y="677"/>
                  <a:pt x="3204" y="669"/>
                </a:cubicBezTo>
                <a:cubicBezTo>
                  <a:pt x="3198" y="662"/>
                  <a:pt x="3181" y="664"/>
                  <a:pt x="3179" y="653"/>
                </a:cubicBezTo>
                <a:cubicBezTo>
                  <a:pt x="3178" y="641"/>
                  <a:pt x="3163" y="636"/>
                  <a:pt x="3148" y="632"/>
                </a:cubicBezTo>
                <a:cubicBezTo>
                  <a:pt x="3133" y="628"/>
                  <a:pt x="3122" y="617"/>
                  <a:pt x="3120" y="608"/>
                </a:cubicBezTo>
                <a:cubicBezTo>
                  <a:pt x="3118" y="599"/>
                  <a:pt x="3142" y="612"/>
                  <a:pt x="3142" y="612"/>
                </a:cubicBezTo>
                <a:cubicBezTo>
                  <a:pt x="3142" y="612"/>
                  <a:pt x="3144" y="604"/>
                  <a:pt x="3153" y="586"/>
                </a:cubicBezTo>
                <a:cubicBezTo>
                  <a:pt x="3163" y="567"/>
                  <a:pt x="3142" y="578"/>
                  <a:pt x="3118" y="561"/>
                </a:cubicBezTo>
                <a:cubicBezTo>
                  <a:pt x="3094" y="544"/>
                  <a:pt x="3077" y="584"/>
                  <a:pt x="3077" y="584"/>
                </a:cubicBezTo>
                <a:cubicBezTo>
                  <a:pt x="3077" y="584"/>
                  <a:pt x="3073" y="589"/>
                  <a:pt x="3066" y="608"/>
                </a:cubicBezTo>
                <a:cubicBezTo>
                  <a:pt x="3058" y="627"/>
                  <a:pt x="3054" y="617"/>
                  <a:pt x="3034" y="621"/>
                </a:cubicBezTo>
                <a:cubicBezTo>
                  <a:pt x="3013" y="625"/>
                  <a:pt x="3023" y="628"/>
                  <a:pt x="3010" y="617"/>
                </a:cubicBezTo>
                <a:cubicBezTo>
                  <a:pt x="2997" y="606"/>
                  <a:pt x="3021" y="602"/>
                  <a:pt x="3021" y="602"/>
                </a:cubicBezTo>
                <a:cubicBezTo>
                  <a:pt x="3038" y="589"/>
                  <a:pt x="3038" y="589"/>
                  <a:pt x="3038" y="589"/>
                </a:cubicBezTo>
                <a:cubicBezTo>
                  <a:pt x="3038" y="589"/>
                  <a:pt x="3045" y="576"/>
                  <a:pt x="3010" y="580"/>
                </a:cubicBezTo>
                <a:cubicBezTo>
                  <a:pt x="2974" y="584"/>
                  <a:pt x="2997" y="569"/>
                  <a:pt x="2997" y="569"/>
                </a:cubicBezTo>
                <a:cubicBezTo>
                  <a:pt x="2997" y="569"/>
                  <a:pt x="3008" y="559"/>
                  <a:pt x="3008" y="541"/>
                </a:cubicBezTo>
                <a:cubicBezTo>
                  <a:pt x="3008" y="522"/>
                  <a:pt x="2997" y="544"/>
                  <a:pt x="2991" y="531"/>
                </a:cubicBezTo>
                <a:cubicBezTo>
                  <a:pt x="2985" y="518"/>
                  <a:pt x="2972" y="539"/>
                  <a:pt x="2972" y="539"/>
                </a:cubicBezTo>
                <a:cubicBezTo>
                  <a:pt x="2972" y="539"/>
                  <a:pt x="2966" y="544"/>
                  <a:pt x="2954" y="533"/>
                </a:cubicBezTo>
                <a:cubicBezTo>
                  <a:pt x="2942" y="522"/>
                  <a:pt x="2918" y="522"/>
                  <a:pt x="2918" y="522"/>
                </a:cubicBezTo>
                <a:cubicBezTo>
                  <a:pt x="2918" y="522"/>
                  <a:pt x="2918" y="522"/>
                  <a:pt x="2918" y="535"/>
                </a:cubicBezTo>
                <a:cubicBezTo>
                  <a:pt x="2918" y="548"/>
                  <a:pt x="2907" y="559"/>
                  <a:pt x="2907" y="559"/>
                </a:cubicBezTo>
                <a:cubicBezTo>
                  <a:pt x="2907" y="559"/>
                  <a:pt x="2907" y="559"/>
                  <a:pt x="2903" y="543"/>
                </a:cubicBezTo>
                <a:cubicBezTo>
                  <a:pt x="2900" y="526"/>
                  <a:pt x="2881" y="546"/>
                  <a:pt x="2881" y="546"/>
                </a:cubicBezTo>
                <a:cubicBezTo>
                  <a:pt x="2881" y="546"/>
                  <a:pt x="2881" y="561"/>
                  <a:pt x="2896" y="572"/>
                </a:cubicBezTo>
                <a:cubicBezTo>
                  <a:pt x="2910" y="584"/>
                  <a:pt x="2909" y="576"/>
                  <a:pt x="2909" y="576"/>
                </a:cubicBezTo>
                <a:cubicBezTo>
                  <a:pt x="2909" y="576"/>
                  <a:pt x="2907" y="587"/>
                  <a:pt x="2894" y="584"/>
                </a:cubicBezTo>
                <a:cubicBezTo>
                  <a:pt x="2881" y="580"/>
                  <a:pt x="2888" y="604"/>
                  <a:pt x="2888" y="604"/>
                </a:cubicBezTo>
                <a:cubicBezTo>
                  <a:pt x="2888" y="604"/>
                  <a:pt x="2890" y="612"/>
                  <a:pt x="2898" y="619"/>
                </a:cubicBezTo>
                <a:cubicBezTo>
                  <a:pt x="2905" y="627"/>
                  <a:pt x="2894" y="641"/>
                  <a:pt x="2894" y="641"/>
                </a:cubicBezTo>
                <a:cubicBezTo>
                  <a:pt x="2894" y="641"/>
                  <a:pt x="2881" y="645"/>
                  <a:pt x="2875" y="628"/>
                </a:cubicBezTo>
                <a:cubicBezTo>
                  <a:pt x="2869" y="612"/>
                  <a:pt x="2860" y="623"/>
                  <a:pt x="2860" y="623"/>
                </a:cubicBezTo>
                <a:cubicBezTo>
                  <a:pt x="2860" y="623"/>
                  <a:pt x="2851" y="632"/>
                  <a:pt x="2855" y="638"/>
                </a:cubicBezTo>
                <a:cubicBezTo>
                  <a:pt x="2859" y="643"/>
                  <a:pt x="2859" y="653"/>
                  <a:pt x="2860" y="666"/>
                </a:cubicBezTo>
                <a:cubicBezTo>
                  <a:pt x="2862" y="679"/>
                  <a:pt x="2842" y="662"/>
                  <a:pt x="2827" y="638"/>
                </a:cubicBezTo>
                <a:cubicBezTo>
                  <a:pt x="2812" y="614"/>
                  <a:pt x="2803" y="627"/>
                  <a:pt x="2803" y="627"/>
                </a:cubicBezTo>
                <a:cubicBezTo>
                  <a:pt x="2777" y="612"/>
                  <a:pt x="2777" y="612"/>
                  <a:pt x="2777" y="612"/>
                </a:cubicBezTo>
                <a:cubicBezTo>
                  <a:pt x="2777" y="612"/>
                  <a:pt x="2773" y="623"/>
                  <a:pt x="2771" y="628"/>
                </a:cubicBezTo>
                <a:cubicBezTo>
                  <a:pt x="2769" y="634"/>
                  <a:pt x="2752" y="641"/>
                  <a:pt x="2752" y="641"/>
                </a:cubicBezTo>
                <a:cubicBezTo>
                  <a:pt x="2752" y="641"/>
                  <a:pt x="2741" y="649"/>
                  <a:pt x="2728" y="632"/>
                </a:cubicBezTo>
                <a:cubicBezTo>
                  <a:pt x="2715" y="615"/>
                  <a:pt x="2726" y="625"/>
                  <a:pt x="2721" y="614"/>
                </a:cubicBezTo>
                <a:cubicBezTo>
                  <a:pt x="2715" y="602"/>
                  <a:pt x="2717" y="602"/>
                  <a:pt x="2706" y="606"/>
                </a:cubicBezTo>
                <a:cubicBezTo>
                  <a:pt x="2694" y="610"/>
                  <a:pt x="2708" y="614"/>
                  <a:pt x="2704" y="621"/>
                </a:cubicBezTo>
                <a:cubicBezTo>
                  <a:pt x="2700" y="628"/>
                  <a:pt x="2700" y="640"/>
                  <a:pt x="2700" y="649"/>
                </a:cubicBezTo>
                <a:cubicBezTo>
                  <a:pt x="2700" y="658"/>
                  <a:pt x="2696" y="669"/>
                  <a:pt x="2693" y="688"/>
                </a:cubicBezTo>
                <a:cubicBezTo>
                  <a:pt x="2689" y="707"/>
                  <a:pt x="2678" y="716"/>
                  <a:pt x="2678" y="716"/>
                </a:cubicBezTo>
                <a:cubicBezTo>
                  <a:pt x="2681" y="699"/>
                  <a:pt x="2653" y="684"/>
                  <a:pt x="2637" y="668"/>
                </a:cubicBezTo>
                <a:cubicBezTo>
                  <a:pt x="2620" y="651"/>
                  <a:pt x="2629" y="660"/>
                  <a:pt x="2620" y="641"/>
                </a:cubicBezTo>
                <a:cubicBezTo>
                  <a:pt x="2611" y="623"/>
                  <a:pt x="2620" y="625"/>
                  <a:pt x="2611" y="614"/>
                </a:cubicBezTo>
                <a:cubicBezTo>
                  <a:pt x="2601" y="602"/>
                  <a:pt x="2605" y="612"/>
                  <a:pt x="2592" y="604"/>
                </a:cubicBezTo>
                <a:cubicBezTo>
                  <a:pt x="2579" y="597"/>
                  <a:pt x="2597" y="571"/>
                  <a:pt x="2597" y="571"/>
                </a:cubicBezTo>
                <a:cubicBezTo>
                  <a:pt x="2616" y="543"/>
                  <a:pt x="2616" y="543"/>
                  <a:pt x="2616" y="543"/>
                </a:cubicBezTo>
                <a:cubicBezTo>
                  <a:pt x="2616" y="543"/>
                  <a:pt x="2624" y="531"/>
                  <a:pt x="2618" y="507"/>
                </a:cubicBezTo>
                <a:cubicBezTo>
                  <a:pt x="2612" y="483"/>
                  <a:pt x="2603" y="492"/>
                  <a:pt x="2590" y="489"/>
                </a:cubicBezTo>
                <a:cubicBezTo>
                  <a:pt x="2577" y="485"/>
                  <a:pt x="2562" y="492"/>
                  <a:pt x="2534" y="464"/>
                </a:cubicBezTo>
                <a:cubicBezTo>
                  <a:pt x="2506" y="436"/>
                  <a:pt x="2514" y="438"/>
                  <a:pt x="2514" y="438"/>
                </a:cubicBezTo>
                <a:cubicBezTo>
                  <a:pt x="2491" y="431"/>
                  <a:pt x="2491" y="431"/>
                  <a:pt x="2491" y="431"/>
                </a:cubicBezTo>
                <a:cubicBezTo>
                  <a:pt x="2461" y="444"/>
                  <a:pt x="2461" y="444"/>
                  <a:pt x="2461" y="444"/>
                </a:cubicBezTo>
                <a:cubicBezTo>
                  <a:pt x="2461" y="444"/>
                  <a:pt x="2452" y="457"/>
                  <a:pt x="2458" y="472"/>
                </a:cubicBezTo>
                <a:cubicBezTo>
                  <a:pt x="2463" y="487"/>
                  <a:pt x="2458" y="483"/>
                  <a:pt x="2471" y="487"/>
                </a:cubicBezTo>
                <a:cubicBezTo>
                  <a:pt x="2484" y="490"/>
                  <a:pt x="2473" y="503"/>
                  <a:pt x="2473" y="503"/>
                </a:cubicBezTo>
                <a:cubicBezTo>
                  <a:pt x="2473" y="503"/>
                  <a:pt x="2467" y="513"/>
                  <a:pt x="2452" y="511"/>
                </a:cubicBezTo>
                <a:cubicBezTo>
                  <a:pt x="2437" y="509"/>
                  <a:pt x="2452" y="511"/>
                  <a:pt x="2439" y="505"/>
                </a:cubicBezTo>
                <a:cubicBezTo>
                  <a:pt x="2426" y="500"/>
                  <a:pt x="2424" y="515"/>
                  <a:pt x="2396" y="500"/>
                </a:cubicBezTo>
                <a:cubicBezTo>
                  <a:pt x="2368" y="485"/>
                  <a:pt x="2357" y="500"/>
                  <a:pt x="2357" y="500"/>
                </a:cubicBezTo>
                <a:cubicBezTo>
                  <a:pt x="2357" y="500"/>
                  <a:pt x="2338" y="498"/>
                  <a:pt x="2342" y="483"/>
                </a:cubicBezTo>
                <a:cubicBezTo>
                  <a:pt x="2346" y="468"/>
                  <a:pt x="2348" y="459"/>
                  <a:pt x="2348" y="459"/>
                </a:cubicBezTo>
                <a:cubicBezTo>
                  <a:pt x="2348" y="459"/>
                  <a:pt x="2331" y="461"/>
                  <a:pt x="2323" y="459"/>
                </a:cubicBezTo>
                <a:cubicBezTo>
                  <a:pt x="2316" y="457"/>
                  <a:pt x="2299" y="448"/>
                  <a:pt x="2290" y="438"/>
                </a:cubicBezTo>
                <a:cubicBezTo>
                  <a:pt x="2280" y="429"/>
                  <a:pt x="2265" y="440"/>
                  <a:pt x="2265" y="440"/>
                </a:cubicBezTo>
                <a:cubicBezTo>
                  <a:pt x="2243" y="455"/>
                  <a:pt x="2243" y="455"/>
                  <a:pt x="2243" y="455"/>
                </a:cubicBezTo>
                <a:cubicBezTo>
                  <a:pt x="2243" y="455"/>
                  <a:pt x="2232" y="466"/>
                  <a:pt x="2226" y="475"/>
                </a:cubicBezTo>
                <a:cubicBezTo>
                  <a:pt x="2221" y="485"/>
                  <a:pt x="2223" y="490"/>
                  <a:pt x="2223" y="490"/>
                </a:cubicBezTo>
                <a:cubicBezTo>
                  <a:pt x="2224" y="513"/>
                  <a:pt x="2224" y="513"/>
                  <a:pt x="2224" y="513"/>
                </a:cubicBezTo>
                <a:cubicBezTo>
                  <a:pt x="2211" y="515"/>
                  <a:pt x="2211" y="515"/>
                  <a:pt x="2211" y="515"/>
                </a:cubicBezTo>
                <a:cubicBezTo>
                  <a:pt x="2211" y="515"/>
                  <a:pt x="2202" y="505"/>
                  <a:pt x="2206" y="494"/>
                </a:cubicBezTo>
                <a:cubicBezTo>
                  <a:pt x="2210" y="483"/>
                  <a:pt x="2208" y="483"/>
                  <a:pt x="2208" y="474"/>
                </a:cubicBezTo>
                <a:cubicBezTo>
                  <a:pt x="2208" y="464"/>
                  <a:pt x="2196" y="446"/>
                  <a:pt x="2200" y="451"/>
                </a:cubicBezTo>
                <a:cubicBezTo>
                  <a:pt x="2204" y="457"/>
                  <a:pt x="2176" y="453"/>
                  <a:pt x="2167" y="449"/>
                </a:cubicBezTo>
                <a:cubicBezTo>
                  <a:pt x="2157" y="446"/>
                  <a:pt x="2159" y="429"/>
                  <a:pt x="2159" y="429"/>
                </a:cubicBezTo>
                <a:cubicBezTo>
                  <a:pt x="2159" y="429"/>
                  <a:pt x="2150" y="427"/>
                  <a:pt x="2144" y="420"/>
                </a:cubicBezTo>
                <a:cubicBezTo>
                  <a:pt x="2139" y="412"/>
                  <a:pt x="2129" y="423"/>
                  <a:pt x="2129" y="423"/>
                </a:cubicBezTo>
                <a:cubicBezTo>
                  <a:pt x="2129" y="423"/>
                  <a:pt x="2127" y="429"/>
                  <a:pt x="2131" y="446"/>
                </a:cubicBezTo>
                <a:cubicBezTo>
                  <a:pt x="2134" y="457"/>
                  <a:pt x="2146" y="448"/>
                  <a:pt x="2146" y="448"/>
                </a:cubicBezTo>
                <a:cubicBezTo>
                  <a:pt x="2146" y="448"/>
                  <a:pt x="2139" y="453"/>
                  <a:pt x="2131" y="455"/>
                </a:cubicBezTo>
                <a:cubicBezTo>
                  <a:pt x="2124" y="457"/>
                  <a:pt x="2122" y="470"/>
                  <a:pt x="2099" y="474"/>
                </a:cubicBezTo>
                <a:cubicBezTo>
                  <a:pt x="2077" y="477"/>
                  <a:pt x="2090" y="487"/>
                  <a:pt x="2083" y="490"/>
                </a:cubicBezTo>
                <a:cubicBezTo>
                  <a:pt x="2075" y="494"/>
                  <a:pt x="2070" y="500"/>
                  <a:pt x="2068" y="492"/>
                </a:cubicBezTo>
                <a:cubicBezTo>
                  <a:pt x="2066" y="485"/>
                  <a:pt x="2057" y="500"/>
                  <a:pt x="2036" y="509"/>
                </a:cubicBezTo>
                <a:cubicBezTo>
                  <a:pt x="2016" y="518"/>
                  <a:pt x="2027" y="526"/>
                  <a:pt x="2016" y="528"/>
                </a:cubicBezTo>
                <a:cubicBezTo>
                  <a:pt x="2004" y="530"/>
                  <a:pt x="2003" y="535"/>
                  <a:pt x="1997" y="546"/>
                </a:cubicBezTo>
                <a:cubicBezTo>
                  <a:pt x="1991" y="558"/>
                  <a:pt x="1982" y="563"/>
                  <a:pt x="1973" y="571"/>
                </a:cubicBezTo>
                <a:cubicBezTo>
                  <a:pt x="1963" y="578"/>
                  <a:pt x="1947" y="586"/>
                  <a:pt x="1939" y="571"/>
                </a:cubicBezTo>
                <a:cubicBezTo>
                  <a:pt x="1932" y="556"/>
                  <a:pt x="1948" y="559"/>
                  <a:pt x="1948" y="559"/>
                </a:cubicBezTo>
                <a:cubicBezTo>
                  <a:pt x="1948" y="559"/>
                  <a:pt x="1958" y="546"/>
                  <a:pt x="1965" y="543"/>
                </a:cubicBezTo>
                <a:cubicBezTo>
                  <a:pt x="1973" y="539"/>
                  <a:pt x="1976" y="530"/>
                  <a:pt x="1982" y="518"/>
                </a:cubicBezTo>
                <a:cubicBezTo>
                  <a:pt x="1988" y="507"/>
                  <a:pt x="1999" y="507"/>
                  <a:pt x="1999" y="507"/>
                </a:cubicBezTo>
                <a:cubicBezTo>
                  <a:pt x="2010" y="494"/>
                  <a:pt x="2010" y="494"/>
                  <a:pt x="2010" y="494"/>
                </a:cubicBezTo>
                <a:cubicBezTo>
                  <a:pt x="2030" y="481"/>
                  <a:pt x="2030" y="481"/>
                  <a:pt x="2030" y="481"/>
                </a:cubicBezTo>
                <a:cubicBezTo>
                  <a:pt x="2030" y="481"/>
                  <a:pt x="2045" y="474"/>
                  <a:pt x="2053" y="464"/>
                </a:cubicBezTo>
                <a:cubicBezTo>
                  <a:pt x="2060" y="455"/>
                  <a:pt x="2057" y="457"/>
                  <a:pt x="2062" y="453"/>
                </a:cubicBezTo>
                <a:cubicBezTo>
                  <a:pt x="2068" y="449"/>
                  <a:pt x="2077" y="433"/>
                  <a:pt x="2077" y="433"/>
                </a:cubicBezTo>
                <a:cubicBezTo>
                  <a:pt x="2077" y="433"/>
                  <a:pt x="2079" y="420"/>
                  <a:pt x="2088" y="416"/>
                </a:cubicBezTo>
                <a:cubicBezTo>
                  <a:pt x="2098" y="412"/>
                  <a:pt x="2105" y="408"/>
                  <a:pt x="2105" y="399"/>
                </a:cubicBezTo>
                <a:cubicBezTo>
                  <a:pt x="2105" y="390"/>
                  <a:pt x="2124" y="369"/>
                  <a:pt x="2124" y="369"/>
                </a:cubicBezTo>
                <a:cubicBezTo>
                  <a:pt x="2124" y="369"/>
                  <a:pt x="2150" y="356"/>
                  <a:pt x="2170" y="349"/>
                </a:cubicBezTo>
                <a:cubicBezTo>
                  <a:pt x="2191" y="341"/>
                  <a:pt x="2187" y="336"/>
                  <a:pt x="2195" y="317"/>
                </a:cubicBezTo>
                <a:cubicBezTo>
                  <a:pt x="2202" y="298"/>
                  <a:pt x="2208" y="309"/>
                  <a:pt x="2208" y="309"/>
                </a:cubicBezTo>
                <a:cubicBezTo>
                  <a:pt x="2208" y="309"/>
                  <a:pt x="2213" y="293"/>
                  <a:pt x="2215" y="283"/>
                </a:cubicBezTo>
                <a:cubicBezTo>
                  <a:pt x="2217" y="274"/>
                  <a:pt x="2210" y="263"/>
                  <a:pt x="2210" y="263"/>
                </a:cubicBezTo>
                <a:cubicBezTo>
                  <a:pt x="2210" y="263"/>
                  <a:pt x="2204" y="263"/>
                  <a:pt x="2196" y="257"/>
                </a:cubicBezTo>
                <a:cubicBezTo>
                  <a:pt x="2189" y="252"/>
                  <a:pt x="2187" y="240"/>
                  <a:pt x="2193" y="227"/>
                </a:cubicBezTo>
                <a:cubicBezTo>
                  <a:pt x="2198" y="214"/>
                  <a:pt x="2198" y="237"/>
                  <a:pt x="2206" y="242"/>
                </a:cubicBezTo>
                <a:cubicBezTo>
                  <a:pt x="2213" y="248"/>
                  <a:pt x="2210" y="222"/>
                  <a:pt x="2210" y="222"/>
                </a:cubicBezTo>
                <a:cubicBezTo>
                  <a:pt x="2217" y="188"/>
                  <a:pt x="2217" y="188"/>
                  <a:pt x="2217" y="188"/>
                </a:cubicBezTo>
                <a:cubicBezTo>
                  <a:pt x="2217" y="188"/>
                  <a:pt x="2204" y="177"/>
                  <a:pt x="2191" y="168"/>
                </a:cubicBezTo>
                <a:cubicBezTo>
                  <a:pt x="2178" y="158"/>
                  <a:pt x="2187" y="158"/>
                  <a:pt x="2187" y="147"/>
                </a:cubicBezTo>
                <a:cubicBezTo>
                  <a:pt x="2187" y="136"/>
                  <a:pt x="2176" y="121"/>
                  <a:pt x="2157" y="112"/>
                </a:cubicBezTo>
                <a:cubicBezTo>
                  <a:pt x="2139" y="102"/>
                  <a:pt x="2113" y="97"/>
                  <a:pt x="2113" y="97"/>
                </a:cubicBezTo>
                <a:cubicBezTo>
                  <a:pt x="2092" y="106"/>
                  <a:pt x="2092" y="106"/>
                  <a:pt x="2092" y="106"/>
                </a:cubicBezTo>
                <a:cubicBezTo>
                  <a:pt x="2079" y="125"/>
                  <a:pt x="2079" y="125"/>
                  <a:pt x="2079" y="125"/>
                </a:cubicBezTo>
                <a:cubicBezTo>
                  <a:pt x="2079" y="125"/>
                  <a:pt x="2070" y="142"/>
                  <a:pt x="2060" y="143"/>
                </a:cubicBezTo>
                <a:cubicBezTo>
                  <a:pt x="2051" y="145"/>
                  <a:pt x="2038" y="147"/>
                  <a:pt x="2038" y="147"/>
                </a:cubicBezTo>
                <a:cubicBezTo>
                  <a:pt x="2038" y="147"/>
                  <a:pt x="2027" y="155"/>
                  <a:pt x="2047" y="130"/>
                </a:cubicBezTo>
                <a:cubicBezTo>
                  <a:pt x="2068" y="106"/>
                  <a:pt x="2058" y="114"/>
                  <a:pt x="2057" y="102"/>
                </a:cubicBezTo>
                <a:cubicBezTo>
                  <a:pt x="2055" y="91"/>
                  <a:pt x="2010" y="89"/>
                  <a:pt x="2010" y="89"/>
                </a:cubicBezTo>
                <a:cubicBezTo>
                  <a:pt x="1989" y="73"/>
                  <a:pt x="1989" y="73"/>
                  <a:pt x="1989" y="73"/>
                </a:cubicBezTo>
                <a:cubicBezTo>
                  <a:pt x="1989" y="73"/>
                  <a:pt x="1993" y="58"/>
                  <a:pt x="1984" y="52"/>
                </a:cubicBezTo>
                <a:cubicBezTo>
                  <a:pt x="1975" y="46"/>
                  <a:pt x="2003" y="48"/>
                  <a:pt x="2010" y="32"/>
                </a:cubicBezTo>
                <a:cubicBezTo>
                  <a:pt x="2017" y="15"/>
                  <a:pt x="1988" y="24"/>
                  <a:pt x="1988" y="24"/>
                </a:cubicBezTo>
                <a:cubicBezTo>
                  <a:pt x="1988" y="24"/>
                  <a:pt x="1993" y="7"/>
                  <a:pt x="1984" y="4"/>
                </a:cubicBezTo>
                <a:cubicBezTo>
                  <a:pt x="1975" y="0"/>
                  <a:pt x="1967" y="11"/>
                  <a:pt x="1960" y="20"/>
                </a:cubicBezTo>
                <a:cubicBezTo>
                  <a:pt x="1952" y="30"/>
                  <a:pt x="1928" y="46"/>
                  <a:pt x="1915" y="60"/>
                </a:cubicBezTo>
                <a:cubicBezTo>
                  <a:pt x="1902" y="73"/>
                  <a:pt x="1907" y="86"/>
                  <a:pt x="1907" y="86"/>
                </a:cubicBezTo>
                <a:cubicBezTo>
                  <a:pt x="1907" y="86"/>
                  <a:pt x="1902" y="99"/>
                  <a:pt x="1907" y="106"/>
                </a:cubicBezTo>
                <a:cubicBezTo>
                  <a:pt x="1913" y="114"/>
                  <a:pt x="1909" y="138"/>
                  <a:pt x="1909" y="138"/>
                </a:cubicBezTo>
                <a:cubicBezTo>
                  <a:pt x="1909" y="138"/>
                  <a:pt x="1906" y="145"/>
                  <a:pt x="1892" y="138"/>
                </a:cubicBezTo>
                <a:cubicBezTo>
                  <a:pt x="1879" y="130"/>
                  <a:pt x="1883" y="143"/>
                  <a:pt x="1872" y="138"/>
                </a:cubicBezTo>
                <a:cubicBezTo>
                  <a:pt x="1861" y="132"/>
                  <a:pt x="1859" y="134"/>
                  <a:pt x="1850" y="132"/>
                </a:cubicBezTo>
                <a:cubicBezTo>
                  <a:pt x="1840" y="130"/>
                  <a:pt x="1825" y="140"/>
                  <a:pt x="1825" y="140"/>
                </a:cubicBezTo>
                <a:cubicBezTo>
                  <a:pt x="1833" y="155"/>
                  <a:pt x="1833" y="155"/>
                  <a:pt x="1833" y="155"/>
                </a:cubicBezTo>
                <a:cubicBezTo>
                  <a:pt x="1848" y="168"/>
                  <a:pt x="1848" y="168"/>
                  <a:pt x="1848" y="168"/>
                </a:cubicBezTo>
                <a:cubicBezTo>
                  <a:pt x="1848" y="168"/>
                  <a:pt x="1857" y="179"/>
                  <a:pt x="1863" y="183"/>
                </a:cubicBezTo>
                <a:cubicBezTo>
                  <a:pt x="1868" y="186"/>
                  <a:pt x="1872" y="196"/>
                  <a:pt x="1872" y="207"/>
                </a:cubicBezTo>
                <a:cubicBezTo>
                  <a:pt x="1872" y="218"/>
                  <a:pt x="1855" y="233"/>
                  <a:pt x="1848" y="229"/>
                </a:cubicBezTo>
                <a:cubicBezTo>
                  <a:pt x="1840" y="226"/>
                  <a:pt x="1844" y="226"/>
                  <a:pt x="1848" y="216"/>
                </a:cubicBezTo>
                <a:cubicBezTo>
                  <a:pt x="1851" y="207"/>
                  <a:pt x="1848" y="188"/>
                  <a:pt x="1846" y="183"/>
                </a:cubicBezTo>
                <a:cubicBezTo>
                  <a:pt x="1844" y="177"/>
                  <a:pt x="1837" y="177"/>
                  <a:pt x="1822" y="171"/>
                </a:cubicBezTo>
                <a:cubicBezTo>
                  <a:pt x="1807" y="166"/>
                  <a:pt x="1810" y="179"/>
                  <a:pt x="1805" y="188"/>
                </a:cubicBezTo>
                <a:cubicBezTo>
                  <a:pt x="1799" y="198"/>
                  <a:pt x="1799" y="201"/>
                  <a:pt x="1790" y="203"/>
                </a:cubicBezTo>
                <a:cubicBezTo>
                  <a:pt x="1781" y="205"/>
                  <a:pt x="1784" y="214"/>
                  <a:pt x="1766" y="224"/>
                </a:cubicBezTo>
                <a:cubicBezTo>
                  <a:pt x="1747" y="233"/>
                  <a:pt x="1756" y="231"/>
                  <a:pt x="1751" y="216"/>
                </a:cubicBezTo>
                <a:cubicBezTo>
                  <a:pt x="1751" y="216"/>
                  <a:pt x="1775" y="177"/>
                  <a:pt x="1762" y="171"/>
                </a:cubicBezTo>
                <a:cubicBezTo>
                  <a:pt x="1749" y="166"/>
                  <a:pt x="1756" y="177"/>
                  <a:pt x="1740" y="175"/>
                </a:cubicBezTo>
                <a:cubicBezTo>
                  <a:pt x="1723" y="173"/>
                  <a:pt x="1723" y="175"/>
                  <a:pt x="1723" y="175"/>
                </a:cubicBezTo>
                <a:cubicBezTo>
                  <a:pt x="1695" y="188"/>
                  <a:pt x="1695" y="188"/>
                  <a:pt x="1695" y="188"/>
                </a:cubicBezTo>
                <a:cubicBezTo>
                  <a:pt x="1689" y="201"/>
                  <a:pt x="1689" y="201"/>
                  <a:pt x="1689" y="201"/>
                </a:cubicBezTo>
                <a:cubicBezTo>
                  <a:pt x="1702" y="203"/>
                  <a:pt x="1702" y="203"/>
                  <a:pt x="1702" y="203"/>
                </a:cubicBezTo>
                <a:cubicBezTo>
                  <a:pt x="1710" y="214"/>
                  <a:pt x="1710" y="214"/>
                  <a:pt x="1710" y="214"/>
                </a:cubicBezTo>
                <a:cubicBezTo>
                  <a:pt x="1710" y="214"/>
                  <a:pt x="1706" y="224"/>
                  <a:pt x="1697" y="224"/>
                </a:cubicBezTo>
                <a:cubicBezTo>
                  <a:pt x="1687" y="224"/>
                  <a:pt x="1689" y="231"/>
                  <a:pt x="1680" y="229"/>
                </a:cubicBezTo>
                <a:cubicBezTo>
                  <a:pt x="1670" y="227"/>
                  <a:pt x="1665" y="242"/>
                  <a:pt x="1657" y="250"/>
                </a:cubicBezTo>
                <a:cubicBezTo>
                  <a:pt x="1650" y="257"/>
                  <a:pt x="1631" y="274"/>
                  <a:pt x="1631" y="274"/>
                </a:cubicBezTo>
                <a:cubicBezTo>
                  <a:pt x="1631" y="274"/>
                  <a:pt x="1607" y="280"/>
                  <a:pt x="1600" y="289"/>
                </a:cubicBezTo>
                <a:cubicBezTo>
                  <a:pt x="1592" y="298"/>
                  <a:pt x="1588" y="304"/>
                  <a:pt x="1588" y="304"/>
                </a:cubicBezTo>
                <a:cubicBezTo>
                  <a:pt x="1588" y="304"/>
                  <a:pt x="1572" y="313"/>
                  <a:pt x="1564" y="300"/>
                </a:cubicBezTo>
                <a:cubicBezTo>
                  <a:pt x="1557" y="287"/>
                  <a:pt x="1551" y="298"/>
                  <a:pt x="1551" y="298"/>
                </a:cubicBezTo>
                <a:cubicBezTo>
                  <a:pt x="1551" y="298"/>
                  <a:pt x="1546" y="313"/>
                  <a:pt x="1551" y="311"/>
                </a:cubicBezTo>
                <a:cubicBezTo>
                  <a:pt x="1557" y="309"/>
                  <a:pt x="1560" y="319"/>
                  <a:pt x="1562" y="324"/>
                </a:cubicBezTo>
                <a:cubicBezTo>
                  <a:pt x="1564" y="330"/>
                  <a:pt x="1544" y="328"/>
                  <a:pt x="1544" y="328"/>
                </a:cubicBezTo>
                <a:cubicBezTo>
                  <a:pt x="1544" y="328"/>
                  <a:pt x="1544" y="328"/>
                  <a:pt x="1534" y="319"/>
                </a:cubicBezTo>
                <a:cubicBezTo>
                  <a:pt x="1525" y="309"/>
                  <a:pt x="1516" y="324"/>
                  <a:pt x="1516" y="324"/>
                </a:cubicBezTo>
                <a:cubicBezTo>
                  <a:pt x="1516" y="324"/>
                  <a:pt x="1516" y="324"/>
                  <a:pt x="1508" y="332"/>
                </a:cubicBezTo>
                <a:cubicBezTo>
                  <a:pt x="1501" y="339"/>
                  <a:pt x="1518" y="349"/>
                  <a:pt x="1518" y="349"/>
                </a:cubicBezTo>
                <a:cubicBezTo>
                  <a:pt x="1518" y="349"/>
                  <a:pt x="1525" y="347"/>
                  <a:pt x="1531" y="345"/>
                </a:cubicBezTo>
                <a:cubicBezTo>
                  <a:pt x="1536" y="343"/>
                  <a:pt x="1542" y="354"/>
                  <a:pt x="1546" y="362"/>
                </a:cubicBezTo>
                <a:cubicBezTo>
                  <a:pt x="1549" y="369"/>
                  <a:pt x="1544" y="373"/>
                  <a:pt x="1523" y="364"/>
                </a:cubicBezTo>
                <a:cubicBezTo>
                  <a:pt x="1503" y="354"/>
                  <a:pt x="1516" y="377"/>
                  <a:pt x="1519" y="386"/>
                </a:cubicBezTo>
                <a:cubicBezTo>
                  <a:pt x="1523" y="395"/>
                  <a:pt x="1529" y="401"/>
                  <a:pt x="1536" y="405"/>
                </a:cubicBezTo>
                <a:cubicBezTo>
                  <a:pt x="1544" y="408"/>
                  <a:pt x="1551" y="423"/>
                  <a:pt x="1551" y="423"/>
                </a:cubicBezTo>
                <a:cubicBezTo>
                  <a:pt x="1551" y="423"/>
                  <a:pt x="1551" y="438"/>
                  <a:pt x="1549" y="446"/>
                </a:cubicBezTo>
                <a:cubicBezTo>
                  <a:pt x="1547" y="453"/>
                  <a:pt x="1547" y="457"/>
                  <a:pt x="1538" y="461"/>
                </a:cubicBezTo>
                <a:cubicBezTo>
                  <a:pt x="1529" y="464"/>
                  <a:pt x="1519" y="468"/>
                  <a:pt x="1519" y="468"/>
                </a:cubicBezTo>
                <a:cubicBezTo>
                  <a:pt x="1519" y="468"/>
                  <a:pt x="1516" y="462"/>
                  <a:pt x="1523" y="442"/>
                </a:cubicBezTo>
                <a:cubicBezTo>
                  <a:pt x="1531" y="421"/>
                  <a:pt x="1516" y="429"/>
                  <a:pt x="1516" y="429"/>
                </a:cubicBezTo>
                <a:cubicBezTo>
                  <a:pt x="1516" y="429"/>
                  <a:pt x="1505" y="429"/>
                  <a:pt x="1490" y="427"/>
                </a:cubicBezTo>
                <a:cubicBezTo>
                  <a:pt x="1475" y="425"/>
                  <a:pt x="1482" y="436"/>
                  <a:pt x="1462" y="421"/>
                </a:cubicBezTo>
                <a:cubicBezTo>
                  <a:pt x="1441" y="406"/>
                  <a:pt x="1439" y="429"/>
                  <a:pt x="1439" y="429"/>
                </a:cubicBezTo>
                <a:cubicBezTo>
                  <a:pt x="1439" y="429"/>
                  <a:pt x="1430" y="442"/>
                  <a:pt x="1417" y="436"/>
                </a:cubicBezTo>
                <a:cubicBezTo>
                  <a:pt x="1404" y="431"/>
                  <a:pt x="1402" y="433"/>
                  <a:pt x="1402" y="433"/>
                </a:cubicBezTo>
                <a:cubicBezTo>
                  <a:pt x="1402" y="433"/>
                  <a:pt x="1394" y="442"/>
                  <a:pt x="1385" y="444"/>
                </a:cubicBezTo>
                <a:cubicBezTo>
                  <a:pt x="1376" y="446"/>
                  <a:pt x="1376" y="453"/>
                  <a:pt x="1376" y="475"/>
                </a:cubicBezTo>
                <a:cubicBezTo>
                  <a:pt x="1376" y="498"/>
                  <a:pt x="1387" y="492"/>
                  <a:pt x="1387" y="492"/>
                </a:cubicBezTo>
                <a:cubicBezTo>
                  <a:pt x="1387" y="492"/>
                  <a:pt x="1389" y="505"/>
                  <a:pt x="1372" y="511"/>
                </a:cubicBezTo>
                <a:cubicBezTo>
                  <a:pt x="1355" y="517"/>
                  <a:pt x="1376" y="533"/>
                  <a:pt x="1383" y="539"/>
                </a:cubicBezTo>
                <a:cubicBezTo>
                  <a:pt x="1391" y="544"/>
                  <a:pt x="1430" y="572"/>
                  <a:pt x="1430" y="572"/>
                </a:cubicBezTo>
                <a:cubicBezTo>
                  <a:pt x="1456" y="604"/>
                  <a:pt x="1456" y="604"/>
                  <a:pt x="1456" y="604"/>
                </a:cubicBezTo>
                <a:cubicBezTo>
                  <a:pt x="1456" y="604"/>
                  <a:pt x="1462" y="619"/>
                  <a:pt x="1460" y="628"/>
                </a:cubicBezTo>
                <a:cubicBezTo>
                  <a:pt x="1458" y="638"/>
                  <a:pt x="1443" y="651"/>
                  <a:pt x="1443" y="651"/>
                </a:cubicBezTo>
                <a:cubicBezTo>
                  <a:pt x="1441" y="677"/>
                  <a:pt x="1441" y="677"/>
                  <a:pt x="1441" y="677"/>
                </a:cubicBezTo>
                <a:cubicBezTo>
                  <a:pt x="1450" y="703"/>
                  <a:pt x="1450" y="703"/>
                  <a:pt x="1450" y="703"/>
                </a:cubicBezTo>
                <a:cubicBezTo>
                  <a:pt x="1450" y="703"/>
                  <a:pt x="1452" y="720"/>
                  <a:pt x="1449" y="729"/>
                </a:cubicBezTo>
                <a:cubicBezTo>
                  <a:pt x="1445" y="738"/>
                  <a:pt x="1447" y="750"/>
                  <a:pt x="1436" y="752"/>
                </a:cubicBezTo>
                <a:cubicBezTo>
                  <a:pt x="1424" y="753"/>
                  <a:pt x="1415" y="738"/>
                  <a:pt x="1415" y="738"/>
                </a:cubicBezTo>
                <a:cubicBezTo>
                  <a:pt x="1424" y="725"/>
                  <a:pt x="1424" y="725"/>
                  <a:pt x="1424" y="725"/>
                </a:cubicBezTo>
                <a:cubicBezTo>
                  <a:pt x="1424" y="725"/>
                  <a:pt x="1428" y="718"/>
                  <a:pt x="1428" y="699"/>
                </a:cubicBezTo>
                <a:cubicBezTo>
                  <a:pt x="1428" y="681"/>
                  <a:pt x="1428" y="699"/>
                  <a:pt x="1419" y="699"/>
                </a:cubicBezTo>
                <a:cubicBezTo>
                  <a:pt x="1409" y="699"/>
                  <a:pt x="1417" y="707"/>
                  <a:pt x="1415" y="714"/>
                </a:cubicBezTo>
                <a:cubicBezTo>
                  <a:pt x="1413" y="722"/>
                  <a:pt x="1409" y="725"/>
                  <a:pt x="1406" y="709"/>
                </a:cubicBezTo>
                <a:cubicBezTo>
                  <a:pt x="1402" y="692"/>
                  <a:pt x="1413" y="694"/>
                  <a:pt x="1415" y="671"/>
                </a:cubicBezTo>
                <a:cubicBezTo>
                  <a:pt x="1417" y="649"/>
                  <a:pt x="1406" y="643"/>
                  <a:pt x="1406" y="643"/>
                </a:cubicBezTo>
                <a:cubicBezTo>
                  <a:pt x="1426" y="628"/>
                  <a:pt x="1426" y="628"/>
                  <a:pt x="1426" y="628"/>
                </a:cubicBezTo>
                <a:cubicBezTo>
                  <a:pt x="1426" y="628"/>
                  <a:pt x="1432" y="617"/>
                  <a:pt x="1426" y="604"/>
                </a:cubicBezTo>
                <a:cubicBezTo>
                  <a:pt x="1421" y="591"/>
                  <a:pt x="1421" y="602"/>
                  <a:pt x="1413" y="606"/>
                </a:cubicBezTo>
                <a:cubicBezTo>
                  <a:pt x="1406" y="610"/>
                  <a:pt x="1404" y="610"/>
                  <a:pt x="1394" y="610"/>
                </a:cubicBezTo>
                <a:cubicBezTo>
                  <a:pt x="1385" y="610"/>
                  <a:pt x="1385" y="614"/>
                  <a:pt x="1376" y="610"/>
                </a:cubicBezTo>
                <a:cubicBezTo>
                  <a:pt x="1366" y="606"/>
                  <a:pt x="1366" y="599"/>
                  <a:pt x="1365" y="580"/>
                </a:cubicBezTo>
                <a:cubicBezTo>
                  <a:pt x="1363" y="561"/>
                  <a:pt x="1344" y="571"/>
                  <a:pt x="1344" y="571"/>
                </a:cubicBezTo>
                <a:cubicBezTo>
                  <a:pt x="1325" y="541"/>
                  <a:pt x="1325" y="541"/>
                  <a:pt x="1325" y="541"/>
                </a:cubicBezTo>
                <a:cubicBezTo>
                  <a:pt x="1325" y="541"/>
                  <a:pt x="1320" y="544"/>
                  <a:pt x="1309" y="546"/>
                </a:cubicBezTo>
                <a:cubicBezTo>
                  <a:pt x="1297" y="548"/>
                  <a:pt x="1297" y="561"/>
                  <a:pt x="1297" y="561"/>
                </a:cubicBezTo>
                <a:cubicBezTo>
                  <a:pt x="1312" y="574"/>
                  <a:pt x="1312" y="574"/>
                  <a:pt x="1312" y="574"/>
                </a:cubicBezTo>
                <a:cubicBezTo>
                  <a:pt x="1312" y="574"/>
                  <a:pt x="1314" y="584"/>
                  <a:pt x="1307" y="593"/>
                </a:cubicBezTo>
                <a:cubicBezTo>
                  <a:pt x="1299" y="602"/>
                  <a:pt x="1290" y="606"/>
                  <a:pt x="1290" y="606"/>
                </a:cubicBezTo>
                <a:cubicBezTo>
                  <a:pt x="1290" y="606"/>
                  <a:pt x="1290" y="606"/>
                  <a:pt x="1281" y="595"/>
                </a:cubicBezTo>
                <a:cubicBezTo>
                  <a:pt x="1271" y="584"/>
                  <a:pt x="1271" y="597"/>
                  <a:pt x="1262" y="612"/>
                </a:cubicBezTo>
                <a:cubicBezTo>
                  <a:pt x="1253" y="627"/>
                  <a:pt x="1277" y="628"/>
                  <a:pt x="1277" y="628"/>
                </a:cubicBezTo>
                <a:cubicBezTo>
                  <a:pt x="1277" y="628"/>
                  <a:pt x="1292" y="643"/>
                  <a:pt x="1299" y="645"/>
                </a:cubicBezTo>
                <a:cubicBezTo>
                  <a:pt x="1307" y="647"/>
                  <a:pt x="1314" y="658"/>
                  <a:pt x="1320" y="660"/>
                </a:cubicBezTo>
                <a:cubicBezTo>
                  <a:pt x="1325" y="662"/>
                  <a:pt x="1324" y="679"/>
                  <a:pt x="1314" y="679"/>
                </a:cubicBezTo>
                <a:cubicBezTo>
                  <a:pt x="1305" y="679"/>
                  <a:pt x="1292" y="677"/>
                  <a:pt x="1292" y="677"/>
                </a:cubicBezTo>
                <a:cubicBezTo>
                  <a:pt x="1292" y="677"/>
                  <a:pt x="1288" y="668"/>
                  <a:pt x="1273" y="653"/>
                </a:cubicBezTo>
                <a:cubicBezTo>
                  <a:pt x="1258" y="638"/>
                  <a:pt x="1262" y="656"/>
                  <a:pt x="1251" y="649"/>
                </a:cubicBezTo>
                <a:cubicBezTo>
                  <a:pt x="1240" y="641"/>
                  <a:pt x="1242" y="653"/>
                  <a:pt x="1238" y="641"/>
                </a:cubicBezTo>
                <a:cubicBezTo>
                  <a:pt x="1234" y="630"/>
                  <a:pt x="1242" y="619"/>
                  <a:pt x="1243" y="606"/>
                </a:cubicBezTo>
                <a:cubicBezTo>
                  <a:pt x="1245" y="593"/>
                  <a:pt x="1243" y="584"/>
                  <a:pt x="1242" y="567"/>
                </a:cubicBezTo>
                <a:cubicBezTo>
                  <a:pt x="1240" y="550"/>
                  <a:pt x="1243" y="548"/>
                  <a:pt x="1242" y="539"/>
                </a:cubicBezTo>
                <a:cubicBezTo>
                  <a:pt x="1240" y="530"/>
                  <a:pt x="1234" y="528"/>
                  <a:pt x="1234" y="528"/>
                </a:cubicBezTo>
                <a:cubicBezTo>
                  <a:pt x="1234" y="528"/>
                  <a:pt x="1227" y="518"/>
                  <a:pt x="1221" y="515"/>
                </a:cubicBezTo>
                <a:cubicBezTo>
                  <a:pt x="1215" y="511"/>
                  <a:pt x="1217" y="507"/>
                  <a:pt x="1215" y="494"/>
                </a:cubicBezTo>
                <a:cubicBezTo>
                  <a:pt x="1214" y="481"/>
                  <a:pt x="1200" y="500"/>
                  <a:pt x="1200" y="500"/>
                </a:cubicBezTo>
                <a:cubicBezTo>
                  <a:pt x="1214" y="518"/>
                  <a:pt x="1214" y="518"/>
                  <a:pt x="1214" y="518"/>
                </a:cubicBezTo>
                <a:cubicBezTo>
                  <a:pt x="1214" y="518"/>
                  <a:pt x="1227" y="531"/>
                  <a:pt x="1227" y="537"/>
                </a:cubicBezTo>
                <a:cubicBezTo>
                  <a:pt x="1227" y="543"/>
                  <a:pt x="1221" y="563"/>
                  <a:pt x="1219" y="571"/>
                </a:cubicBezTo>
                <a:cubicBezTo>
                  <a:pt x="1217" y="578"/>
                  <a:pt x="1199" y="602"/>
                  <a:pt x="1193" y="608"/>
                </a:cubicBezTo>
                <a:cubicBezTo>
                  <a:pt x="1187" y="614"/>
                  <a:pt x="1182" y="633"/>
                  <a:pt x="1182" y="633"/>
                </a:cubicBezTo>
                <a:cubicBezTo>
                  <a:pt x="1182" y="653"/>
                  <a:pt x="1182" y="653"/>
                  <a:pt x="1182" y="653"/>
                </a:cubicBezTo>
                <a:cubicBezTo>
                  <a:pt x="1182" y="653"/>
                  <a:pt x="1182" y="664"/>
                  <a:pt x="1182" y="669"/>
                </a:cubicBezTo>
                <a:cubicBezTo>
                  <a:pt x="1182" y="674"/>
                  <a:pt x="1195" y="690"/>
                  <a:pt x="1195" y="690"/>
                </a:cubicBezTo>
                <a:cubicBezTo>
                  <a:pt x="1195" y="690"/>
                  <a:pt x="1197" y="702"/>
                  <a:pt x="1201" y="702"/>
                </a:cubicBezTo>
                <a:cubicBezTo>
                  <a:pt x="1206" y="702"/>
                  <a:pt x="1206" y="710"/>
                  <a:pt x="1206" y="715"/>
                </a:cubicBezTo>
                <a:cubicBezTo>
                  <a:pt x="1206" y="720"/>
                  <a:pt x="1193" y="732"/>
                  <a:pt x="1193" y="732"/>
                </a:cubicBezTo>
                <a:cubicBezTo>
                  <a:pt x="1195" y="737"/>
                  <a:pt x="1193" y="742"/>
                  <a:pt x="1189" y="742"/>
                </a:cubicBezTo>
                <a:cubicBezTo>
                  <a:pt x="1184" y="742"/>
                  <a:pt x="1185" y="759"/>
                  <a:pt x="1185" y="759"/>
                </a:cubicBezTo>
                <a:cubicBezTo>
                  <a:pt x="1190" y="773"/>
                  <a:pt x="1190" y="773"/>
                  <a:pt x="1190" y="773"/>
                </a:cubicBezTo>
                <a:cubicBezTo>
                  <a:pt x="1197" y="788"/>
                  <a:pt x="1197" y="788"/>
                  <a:pt x="1197" y="788"/>
                </a:cubicBezTo>
                <a:cubicBezTo>
                  <a:pt x="1197" y="788"/>
                  <a:pt x="1192" y="797"/>
                  <a:pt x="1189" y="807"/>
                </a:cubicBezTo>
                <a:cubicBezTo>
                  <a:pt x="1185" y="816"/>
                  <a:pt x="1193" y="826"/>
                  <a:pt x="1204" y="829"/>
                </a:cubicBezTo>
                <a:cubicBezTo>
                  <a:pt x="1215" y="832"/>
                  <a:pt x="1227" y="827"/>
                  <a:pt x="1238" y="824"/>
                </a:cubicBezTo>
                <a:cubicBezTo>
                  <a:pt x="1249" y="821"/>
                  <a:pt x="1255" y="832"/>
                  <a:pt x="1277" y="837"/>
                </a:cubicBezTo>
                <a:cubicBezTo>
                  <a:pt x="1299" y="841"/>
                  <a:pt x="1296" y="865"/>
                  <a:pt x="1299" y="878"/>
                </a:cubicBezTo>
                <a:cubicBezTo>
                  <a:pt x="1302" y="890"/>
                  <a:pt x="1304" y="892"/>
                  <a:pt x="1299" y="897"/>
                </a:cubicBezTo>
                <a:cubicBezTo>
                  <a:pt x="1294" y="901"/>
                  <a:pt x="1305" y="917"/>
                  <a:pt x="1305" y="917"/>
                </a:cubicBezTo>
                <a:cubicBezTo>
                  <a:pt x="1320" y="919"/>
                  <a:pt x="1320" y="919"/>
                  <a:pt x="1320" y="919"/>
                </a:cubicBezTo>
                <a:cubicBezTo>
                  <a:pt x="1320" y="919"/>
                  <a:pt x="1332" y="920"/>
                  <a:pt x="1337" y="919"/>
                </a:cubicBezTo>
                <a:cubicBezTo>
                  <a:pt x="1342" y="917"/>
                  <a:pt x="1343" y="933"/>
                  <a:pt x="1343" y="933"/>
                </a:cubicBezTo>
                <a:cubicBezTo>
                  <a:pt x="1343" y="933"/>
                  <a:pt x="1337" y="950"/>
                  <a:pt x="1329" y="944"/>
                </a:cubicBezTo>
                <a:cubicBezTo>
                  <a:pt x="1321" y="938"/>
                  <a:pt x="1321" y="934"/>
                  <a:pt x="1316" y="933"/>
                </a:cubicBezTo>
                <a:cubicBezTo>
                  <a:pt x="1312" y="931"/>
                  <a:pt x="1310" y="942"/>
                  <a:pt x="1310" y="942"/>
                </a:cubicBezTo>
                <a:cubicBezTo>
                  <a:pt x="1305" y="966"/>
                  <a:pt x="1305" y="966"/>
                  <a:pt x="1305" y="966"/>
                </a:cubicBezTo>
                <a:cubicBezTo>
                  <a:pt x="1305" y="966"/>
                  <a:pt x="1304" y="969"/>
                  <a:pt x="1298" y="960"/>
                </a:cubicBezTo>
                <a:cubicBezTo>
                  <a:pt x="1291" y="950"/>
                  <a:pt x="1288" y="934"/>
                  <a:pt x="1288" y="934"/>
                </a:cubicBezTo>
                <a:cubicBezTo>
                  <a:pt x="1288" y="934"/>
                  <a:pt x="1288" y="934"/>
                  <a:pt x="1279" y="928"/>
                </a:cubicBezTo>
                <a:cubicBezTo>
                  <a:pt x="1269" y="922"/>
                  <a:pt x="1285" y="906"/>
                  <a:pt x="1285" y="906"/>
                </a:cubicBezTo>
                <a:cubicBezTo>
                  <a:pt x="1285" y="906"/>
                  <a:pt x="1280" y="903"/>
                  <a:pt x="1271" y="892"/>
                </a:cubicBezTo>
                <a:cubicBezTo>
                  <a:pt x="1261" y="881"/>
                  <a:pt x="1269" y="881"/>
                  <a:pt x="1274" y="860"/>
                </a:cubicBezTo>
                <a:cubicBezTo>
                  <a:pt x="1279" y="840"/>
                  <a:pt x="1258" y="846"/>
                  <a:pt x="1258" y="846"/>
                </a:cubicBezTo>
                <a:cubicBezTo>
                  <a:pt x="1258" y="846"/>
                  <a:pt x="1253" y="848"/>
                  <a:pt x="1227" y="857"/>
                </a:cubicBezTo>
                <a:cubicBezTo>
                  <a:pt x="1200" y="867"/>
                  <a:pt x="1230" y="868"/>
                  <a:pt x="1222" y="868"/>
                </a:cubicBezTo>
                <a:cubicBezTo>
                  <a:pt x="1214" y="868"/>
                  <a:pt x="1220" y="890"/>
                  <a:pt x="1220" y="890"/>
                </a:cubicBezTo>
                <a:cubicBezTo>
                  <a:pt x="1220" y="890"/>
                  <a:pt x="1227" y="904"/>
                  <a:pt x="1223" y="917"/>
                </a:cubicBezTo>
                <a:cubicBezTo>
                  <a:pt x="1220" y="930"/>
                  <a:pt x="1220" y="923"/>
                  <a:pt x="1209" y="922"/>
                </a:cubicBezTo>
                <a:cubicBezTo>
                  <a:pt x="1198" y="920"/>
                  <a:pt x="1203" y="931"/>
                  <a:pt x="1204" y="941"/>
                </a:cubicBezTo>
                <a:cubicBezTo>
                  <a:pt x="1206" y="950"/>
                  <a:pt x="1185" y="982"/>
                  <a:pt x="1185" y="982"/>
                </a:cubicBezTo>
                <a:cubicBezTo>
                  <a:pt x="1173" y="988"/>
                  <a:pt x="1173" y="988"/>
                  <a:pt x="1173" y="988"/>
                </a:cubicBezTo>
                <a:cubicBezTo>
                  <a:pt x="1171" y="1013"/>
                  <a:pt x="1171" y="1013"/>
                  <a:pt x="1171" y="1013"/>
                </a:cubicBezTo>
                <a:cubicBezTo>
                  <a:pt x="1171" y="1013"/>
                  <a:pt x="1182" y="1032"/>
                  <a:pt x="1181" y="1039"/>
                </a:cubicBezTo>
                <a:cubicBezTo>
                  <a:pt x="1179" y="1045"/>
                  <a:pt x="1187" y="1056"/>
                  <a:pt x="1187" y="1056"/>
                </a:cubicBezTo>
                <a:cubicBezTo>
                  <a:pt x="1187" y="1056"/>
                  <a:pt x="1185" y="1069"/>
                  <a:pt x="1182" y="1073"/>
                </a:cubicBezTo>
                <a:cubicBezTo>
                  <a:pt x="1179" y="1078"/>
                  <a:pt x="1168" y="1075"/>
                  <a:pt x="1168" y="1059"/>
                </a:cubicBezTo>
                <a:cubicBezTo>
                  <a:pt x="1168" y="1043"/>
                  <a:pt x="1162" y="1054"/>
                  <a:pt x="1151" y="1034"/>
                </a:cubicBezTo>
                <a:cubicBezTo>
                  <a:pt x="1140" y="1013"/>
                  <a:pt x="1143" y="1028"/>
                  <a:pt x="1135" y="1012"/>
                </a:cubicBezTo>
                <a:cubicBezTo>
                  <a:pt x="1127" y="996"/>
                  <a:pt x="1122" y="1023"/>
                  <a:pt x="1122" y="1023"/>
                </a:cubicBezTo>
                <a:cubicBezTo>
                  <a:pt x="1116" y="1010"/>
                  <a:pt x="1116" y="1010"/>
                  <a:pt x="1116" y="1010"/>
                </a:cubicBezTo>
                <a:cubicBezTo>
                  <a:pt x="1116" y="1010"/>
                  <a:pt x="1114" y="1018"/>
                  <a:pt x="1105" y="1021"/>
                </a:cubicBezTo>
                <a:cubicBezTo>
                  <a:pt x="1095" y="1024"/>
                  <a:pt x="1107" y="1015"/>
                  <a:pt x="1107" y="1004"/>
                </a:cubicBezTo>
                <a:cubicBezTo>
                  <a:pt x="1107" y="993"/>
                  <a:pt x="1097" y="1004"/>
                  <a:pt x="1092" y="1004"/>
                </a:cubicBezTo>
                <a:cubicBezTo>
                  <a:pt x="1088" y="1004"/>
                  <a:pt x="1083" y="1007"/>
                  <a:pt x="1081" y="1002"/>
                </a:cubicBezTo>
                <a:cubicBezTo>
                  <a:pt x="1080" y="998"/>
                  <a:pt x="1067" y="980"/>
                  <a:pt x="1067" y="980"/>
                </a:cubicBezTo>
                <a:cubicBezTo>
                  <a:pt x="1078" y="976"/>
                  <a:pt x="1078" y="976"/>
                  <a:pt x="1078" y="976"/>
                </a:cubicBezTo>
                <a:cubicBezTo>
                  <a:pt x="1094" y="979"/>
                  <a:pt x="1094" y="979"/>
                  <a:pt x="1094" y="979"/>
                </a:cubicBezTo>
                <a:cubicBezTo>
                  <a:pt x="1103" y="972"/>
                  <a:pt x="1103" y="972"/>
                  <a:pt x="1103" y="972"/>
                </a:cubicBezTo>
                <a:cubicBezTo>
                  <a:pt x="1113" y="987"/>
                  <a:pt x="1113" y="987"/>
                  <a:pt x="1113" y="987"/>
                </a:cubicBezTo>
                <a:cubicBezTo>
                  <a:pt x="1113" y="987"/>
                  <a:pt x="1124" y="993"/>
                  <a:pt x="1130" y="987"/>
                </a:cubicBezTo>
                <a:cubicBezTo>
                  <a:pt x="1137" y="980"/>
                  <a:pt x="1130" y="974"/>
                  <a:pt x="1137" y="966"/>
                </a:cubicBezTo>
                <a:cubicBezTo>
                  <a:pt x="1143" y="958"/>
                  <a:pt x="1163" y="952"/>
                  <a:pt x="1174" y="923"/>
                </a:cubicBezTo>
                <a:cubicBezTo>
                  <a:pt x="1185" y="895"/>
                  <a:pt x="1178" y="870"/>
                  <a:pt x="1178" y="870"/>
                </a:cubicBezTo>
                <a:cubicBezTo>
                  <a:pt x="1178" y="870"/>
                  <a:pt x="1176" y="860"/>
                  <a:pt x="1168" y="846"/>
                </a:cubicBezTo>
                <a:cubicBezTo>
                  <a:pt x="1160" y="832"/>
                  <a:pt x="1165" y="832"/>
                  <a:pt x="1157" y="799"/>
                </a:cubicBezTo>
                <a:cubicBezTo>
                  <a:pt x="1149" y="766"/>
                  <a:pt x="1160" y="778"/>
                  <a:pt x="1162" y="747"/>
                </a:cubicBezTo>
                <a:cubicBezTo>
                  <a:pt x="1163" y="715"/>
                  <a:pt x="1171" y="724"/>
                  <a:pt x="1170" y="710"/>
                </a:cubicBezTo>
                <a:cubicBezTo>
                  <a:pt x="1168" y="696"/>
                  <a:pt x="1170" y="698"/>
                  <a:pt x="1165" y="679"/>
                </a:cubicBezTo>
                <a:cubicBezTo>
                  <a:pt x="1160" y="660"/>
                  <a:pt x="1152" y="647"/>
                  <a:pt x="1152" y="647"/>
                </a:cubicBezTo>
                <a:cubicBezTo>
                  <a:pt x="1152" y="647"/>
                  <a:pt x="1146" y="636"/>
                  <a:pt x="1138" y="633"/>
                </a:cubicBezTo>
                <a:cubicBezTo>
                  <a:pt x="1130" y="630"/>
                  <a:pt x="1127" y="627"/>
                  <a:pt x="1133" y="616"/>
                </a:cubicBezTo>
                <a:cubicBezTo>
                  <a:pt x="1140" y="605"/>
                  <a:pt x="1146" y="603"/>
                  <a:pt x="1152" y="595"/>
                </a:cubicBezTo>
                <a:cubicBezTo>
                  <a:pt x="1159" y="587"/>
                  <a:pt x="1148" y="562"/>
                  <a:pt x="1148" y="562"/>
                </a:cubicBezTo>
                <a:cubicBezTo>
                  <a:pt x="1148" y="562"/>
                  <a:pt x="1155" y="537"/>
                  <a:pt x="1154" y="519"/>
                </a:cubicBezTo>
                <a:cubicBezTo>
                  <a:pt x="1152" y="502"/>
                  <a:pt x="1148" y="516"/>
                  <a:pt x="1127" y="508"/>
                </a:cubicBezTo>
                <a:cubicBezTo>
                  <a:pt x="1107" y="500"/>
                  <a:pt x="1119" y="507"/>
                  <a:pt x="1107" y="502"/>
                </a:cubicBezTo>
                <a:cubicBezTo>
                  <a:pt x="1094" y="497"/>
                  <a:pt x="1099" y="505"/>
                  <a:pt x="1069" y="538"/>
                </a:cubicBezTo>
                <a:cubicBezTo>
                  <a:pt x="1039" y="571"/>
                  <a:pt x="1072" y="551"/>
                  <a:pt x="1062" y="559"/>
                </a:cubicBezTo>
                <a:cubicBezTo>
                  <a:pt x="1053" y="567"/>
                  <a:pt x="1058" y="565"/>
                  <a:pt x="1064" y="573"/>
                </a:cubicBezTo>
                <a:cubicBezTo>
                  <a:pt x="1070" y="581"/>
                  <a:pt x="1064" y="586"/>
                  <a:pt x="1058" y="597"/>
                </a:cubicBezTo>
                <a:cubicBezTo>
                  <a:pt x="1051" y="608"/>
                  <a:pt x="1051" y="619"/>
                  <a:pt x="1051" y="619"/>
                </a:cubicBezTo>
                <a:cubicBezTo>
                  <a:pt x="1051" y="619"/>
                  <a:pt x="1048" y="633"/>
                  <a:pt x="1029" y="639"/>
                </a:cubicBezTo>
                <a:cubicBezTo>
                  <a:pt x="1010" y="646"/>
                  <a:pt x="1013" y="655"/>
                  <a:pt x="1013" y="655"/>
                </a:cubicBezTo>
                <a:cubicBezTo>
                  <a:pt x="1010" y="687"/>
                  <a:pt x="1010" y="687"/>
                  <a:pt x="1010" y="687"/>
                </a:cubicBezTo>
                <a:cubicBezTo>
                  <a:pt x="1010" y="687"/>
                  <a:pt x="1017" y="690"/>
                  <a:pt x="1018" y="694"/>
                </a:cubicBezTo>
                <a:cubicBezTo>
                  <a:pt x="1020" y="699"/>
                  <a:pt x="1012" y="721"/>
                  <a:pt x="1018" y="723"/>
                </a:cubicBezTo>
                <a:cubicBezTo>
                  <a:pt x="1024" y="724"/>
                  <a:pt x="1020" y="731"/>
                  <a:pt x="1021" y="740"/>
                </a:cubicBezTo>
                <a:cubicBezTo>
                  <a:pt x="1023" y="750"/>
                  <a:pt x="1017" y="754"/>
                  <a:pt x="1017" y="754"/>
                </a:cubicBezTo>
                <a:cubicBezTo>
                  <a:pt x="1015" y="773"/>
                  <a:pt x="1015" y="773"/>
                  <a:pt x="1015" y="773"/>
                </a:cubicBezTo>
                <a:cubicBezTo>
                  <a:pt x="1015" y="789"/>
                  <a:pt x="1015" y="789"/>
                  <a:pt x="1015" y="789"/>
                </a:cubicBezTo>
                <a:cubicBezTo>
                  <a:pt x="1015" y="789"/>
                  <a:pt x="1028" y="796"/>
                  <a:pt x="1043" y="784"/>
                </a:cubicBezTo>
                <a:cubicBezTo>
                  <a:pt x="1059" y="773"/>
                  <a:pt x="1043" y="794"/>
                  <a:pt x="1040" y="807"/>
                </a:cubicBezTo>
                <a:cubicBezTo>
                  <a:pt x="1040" y="807"/>
                  <a:pt x="1043" y="822"/>
                  <a:pt x="1045" y="827"/>
                </a:cubicBezTo>
                <a:cubicBezTo>
                  <a:pt x="1047" y="832"/>
                  <a:pt x="1056" y="843"/>
                  <a:pt x="1061" y="844"/>
                </a:cubicBezTo>
                <a:cubicBezTo>
                  <a:pt x="1065" y="846"/>
                  <a:pt x="1080" y="860"/>
                  <a:pt x="1080" y="860"/>
                </a:cubicBezTo>
                <a:cubicBezTo>
                  <a:pt x="1072" y="851"/>
                  <a:pt x="1065" y="857"/>
                  <a:pt x="1065" y="857"/>
                </a:cubicBezTo>
                <a:cubicBezTo>
                  <a:pt x="1065" y="857"/>
                  <a:pt x="1061" y="865"/>
                  <a:pt x="1056" y="879"/>
                </a:cubicBezTo>
                <a:cubicBezTo>
                  <a:pt x="1051" y="893"/>
                  <a:pt x="1039" y="874"/>
                  <a:pt x="1039" y="874"/>
                </a:cubicBezTo>
                <a:cubicBezTo>
                  <a:pt x="1023" y="854"/>
                  <a:pt x="1023" y="854"/>
                  <a:pt x="1023" y="854"/>
                </a:cubicBezTo>
                <a:cubicBezTo>
                  <a:pt x="1023" y="854"/>
                  <a:pt x="1010" y="848"/>
                  <a:pt x="999" y="843"/>
                </a:cubicBezTo>
                <a:cubicBezTo>
                  <a:pt x="988" y="838"/>
                  <a:pt x="991" y="843"/>
                  <a:pt x="988" y="827"/>
                </a:cubicBezTo>
                <a:cubicBezTo>
                  <a:pt x="985" y="811"/>
                  <a:pt x="982" y="832"/>
                  <a:pt x="975" y="830"/>
                </a:cubicBezTo>
                <a:cubicBezTo>
                  <a:pt x="969" y="829"/>
                  <a:pt x="963" y="835"/>
                  <a:pt x="964" y="824"/>
                </a:cubicBezTo>
                <a:cubicBezTo>
                  <a:pt x="966" y="813"/>
                  <a:pt x="968" y="819"/>
                  <a:pt x="966" y="807"/>
                </a:cubicBezTo>
                <a:cubicBezTo>
                  <a:pt x="964" y="794"/>
                  <a:pt x="952" y="792"/>
                  <a:pt x="933" y="791"/>
                </a:cubicBezTo>
                <a:cubicBezTo>
                  <a:pt x="914" y="789"/>
                  <a:pt x="920" y="786"/>
                  <a:pt x="914" y="770"/>
                </a:cubicBezTo>
                <a:cubicBezTo>
                  <a:pt x="908" y="754"/>
                  <a:pt x="892" y="773"/>
                  <a:pt x="876" y="772"/>
                </a:cubicBezTo>
                <a:cubicBezTo>
                  <a:pt x="860" y="770"/>
                  <a:pt x="867" y="777"/>
                  <a:pt x="852" y="781"/>
                </a:cubicBezTo>
                <a:cubicBezTo>
                  <a:pt x="838" y="786"/>
                  <a:pt x="851" y="789"/>
                  <a:pt x="851" y="819"/>
                </a:cubicBezTo>
                <a:cubicBezTo>
                  <a:pt x="851" y="849"/>
                  <a:pt x="867" y="833"/>
                  <a:pt x="862" y="838"/>
                </a:cubicBezTo>
                <a:cubicBezTo>
                  <a:pt x="857" y="843"/>
                  <a:pt x="857" y="851"/>
                  <a:pt x="835" y="856"/>
                </a:cubicBezTo>
                <a:cubicBezTo>
                  <a:pt x="813" y="860"/>
                  <a:pt x="827" y="874"/>
                  <a:pt x="816" y="878"/>
                </a:cubicBezTo>
                <a:cubicBezTo>
                  <a:pt x="805" y="881"/>
                  <a:pt x="816" y="852"/>
                  <a:pt x="814" y="837"/>
                </a:cubicBezTo>
                <a:cubicBezTo>
                  <a:pt x="813" y="821"/>
                  <a:pt x="803" y="835"/>
                  <a:pt x="794" y="841"/>
                </a:cubicBezTo>
                <a:cubicBezTo>
                  <a:pt x="784" y="848"/>
                  <a:pt x="777" y="851"/>
                  <a:pt x="764" y="860"/>
                </a:cubicBezTo>
                <a:cubicBezTo>
                  <a:pt x="751" y="870"/>
                  <a:pt x="748" y="862"/>
                  <a:pt x="748" y="862"/>
                </a:cubicBezTo>
                <a:cubicBezTo>
                  <a:pt x="721" y="863"/>
                  <a:pt x="721" y="863"/>
                  <a:pt x="721" y="863"/>
                </a:cubicBezTo>
                <a:cubicBezTo>
                  <a:pt x="721" y="863"/>
                  <a:pt x="723" y="873"/>
                  <a:pt x="718" y="881"/>
                </a:cubicBezTo>
                <a:cubicBezTo>
                  <a:pt x="713" y="889"/>
                  <a:pt x="712" y="890"/>
                  <a:pt x="691" y="897"/>
                </a:cubicBezTo>
                <a:cubicBezTo>
                  <a:pt x="671" y="903"/>
                  <a:pt x="680" y="912"/>
                  <a:pt x="668" y="920"/>
                </a:cubicBezTo>
                <a:cubicBezTo>
                  <a:pt x="655" y="928"/>
                  <a:pt x="661" y="920"/>
                  <a:pt x="682" y="893"/>
                </a:cubicBezTo>
                <a:cubicBezTo>
                  <a:pt x="702" y="867"/>
                  <a:pt x="685" y="878"/>
                  <a:pt x="687" y="859"/>
                </a:cubicBezTo>
                <a:cubicBezTo>
                  <a:pt x="688" y="840"/>
                  <a:pt x="690" y="838"/>
                  <a:pt x="679" y="835"/>
                </a:cubicBezTo>
                <a:cubicBezTo>
                  <a:pt x="668" y="832"/>
                  <a:pt x="679" y="835"/>
                  <a:pt x="668" y="835"/>
                </a:cubicBezTo>
                <a:cubicBezTo>
                  <a:pt x="657" y="835"/>
                  <a:pt x="658" y="851"/>
                  <a:pt x="658" y="851"/>
                </a:cubicBezTo>
                <a:cubicBezTo>
                  <a:pt x="658" y="851"/>
                  <a:pt x="657" y="857"/>
                  <a:pt x="641" y="860"/>
                </a:cubicBezTo>
                <a:cubicBezTo>
                  <a:pt x="625" y="863"/>
                  <a:pt x="636" y="871"/>
                  <a:pt x="614" y="863"/>
                </a:cubicBezTo>
                <a:cubicBezTo>
                  <a:pt x="592" y="856"/>
                  <a:pt x="601" y="874"/>
                  <a:pt x="586" y="892"/>
                </a:cubicBezTo>
                <a:cubicBezTo>
                  <a:pt x="570" y="909"/>
                  <a:pt x="559" y="904"/>
                  <a:pt x="559" y="904"/>
                </a:cubicBezTo>
                <a:cubicBezTo>
                  <a:pt x="559" y="904"/>
                  <a:pt x="556" y="909"/>
                  <a:pt x="541" y="909"/>
                </a:cubicBezTo>
                <a:cubicBezTo>
                  <a:pt x="527" y="909"/>
                  <a:pt x="540" y="920"/>
                  <a:pt x="526" y="925"/>
                </a:cubicBezTo>
                <a:cubicBezTo>
                  <a:pt x="511" y="930"/>
                  <a:pt x="527" y="938"/>
                  <a:pt x="524" y="949"/>
                </a:cubicBezTo>
                <a:cubicBezTo>
                  <a:pt x="521" y="960"/>
                  <a:pt x="521" y="972"/>
                  <a:pt x="500" y="972"/>
                </a:cubicBezTo>
                <a:cubicBezTo>
                  <a:pt x="480" y="972"/>
                  <a:pt x="500" y="972"/>
                  <a:pt x="492" y="968"/>
                </a:cubicBezTo>
                <a:cubicBezTo>
                  <a:pt x="484" y="963"/>
                  <a:pt x="481" y="971"/>
                  <a:pt x="481" y="960"/>
                </a:cubicBezTo>
                <a:cubicBezTo>
                  <a:pt x="481" y="949"/>
                  <a:pt x="481" y="952"/>
                  <a:pt x="477" y="944"/>
                </a:cubicBezTo>
                <a:cubicBezTo>
                  <a:pt x="472" y="936"/>
                  <a:pt x="467" y="938"/>
                  <a:pt x="462" y="925"/>
                </a:cubicBezTo>
                <a:cubicBezTo>
                  <a:pt x="458" y="912"/>
                  <a:pt x="469" y="923"/>
                  <a:pt x="478" y="922"/>
                </a:cubicBezTo>
                <a:cubicBezTo>
                  <a:pt x="488" y="920"/>
                  <a:pt x="492" y="920"/>
                  <a:pt x="510" y="911"/>
                </a:cubicBezTo>
                <a:cubicBezTo>
                  <a:pt x="527" y="901"/>
                  <a:pt x="507" y="892"/>
                  <a:pt x="491" y="881"/>
                </a:cubicBezTo>
                <a:cubicBezTo>
                  <a:pt x="475" y="870"/>
                  <a:pt x="491" y="874"/>
                  <a:pt x="478" y="863"/>
                </a:cubicBezTo>
                <a:cubicBezTo>
                  <a:pt x="466" y="852"/>
                  <a:pt x="462" y="862"/>
                  <a:pt x="456" y="865"/>
                </a:cubicBezTo>
                <a:cubicBezTo>
                  <a:pt x="450" y="868"/>
                  <a:pt x="440" y="856"/>
                  <a:pt x="426" y="851"/>
                </a:cubicBezTo>
                <a:cubicBezTo>
                  <a:pt x="412" y="846"/>
                  <a:pt x="409" y="856"/>
                  <a:pt x="420" y="865"/>
                </a:cubicBezTo>
                <a:cubicBezTo>
                  <a:pt x="431" y="874"/>
                  <a:pt x="428" y="871"/>
                  <a:pt x="434" y="893"/>
                </a:cubicBezTo>
                <a:cubicBezTo>
                  <a:pt x="440" y="916"/>
                  <a:pt x="436" y="909"/>
                  <a:pt x="431" y="917"/>
                </a:cubicBezTo>
                <a:cubicBezTo>
                  <a:pt x="426" y="925"/>
                  <a:pt x="429" y="938"/>
                  <a:pt x="448" y="957"/>
                </a:cubicBezTo>
                <a:cubicBezTo>
                  <a:pt x="467" y="976"/>
                  <a:pt x="448" y="966"/>
                  <a:pt x="447" y="985"/>
                </a:cubicBezTo>
                <a:cubicBezTo>
                  <a:pt x="445" y="1004"/>
                  <a:pt x="451" y="999"/>
                  <a:pt x="439" y="1028"/>
                </a:cubicBezTo>
                <a:cubicBezTo>
                  <a:pt x="426" y="1056"/>
                  <a:pt x="439" y="1043"/>
                  <a:pt x="426" y="1050"/>
                </a:cubicBezTo>
                <a:cubicBezTo>
                  <a:pt x="413" y="1056"/>
                  <a:pt x="417" y="1050"/>
                  <a:pt x="415" y="1028"/>
                </a:cubicBezTo>
                <a:cubicBezTo>
                  <a:pt x="413" y="1006"/>
                  <a:pt x="412" y="1018"/>
                  <a:pt x="398" y="1017"/>
                </a:cubicBezTo>
                <a:cubicBezTo>
                  <a:pt x="383" y="1015"/>
                  <a:pt x="398" y="1017"/>
                  <a:pt x="390" y="1006"/>
                </a:cubicBezTo>
                <a:cubicBezTo>
                  <a:pt x="382" y="994"/>
                  <a:pt x="385" y="1015"/>
                  <a:pt x="377" y="1024"/>
                </a:cubicBezTo>
                <a:cubicBezTo>
                  <a:pt x="369" y="1034"/>
                  <a:pt x="353" y="1047"/>
                  <a:pt x="339" y="1051"/>
                </a:cubicBezTo>
                <a:cubicBezTo>
                  <a:pt x="325" y="1056"/>
                  <a:pt x="335" y="1059"/>
                  <a:pt x="328" y="1067"/>
                </a:cubicBezTo>
                <a:cubicBezTo>
                  <a:pt x="322" y="1075"/>
                  <a:pt x="330" y="1078"/>
                  <a:pt x="325" y="1084"/>
                </a:cubicBezTo>
                <a:cubicBezTo>
                  <a:pt x="320" y="1091"/>
                  <a:pt x="331" y="1094"/>
                  <a:pt x="342" y="1100"/>
                </a:cubicBezTo>
                <a:cubicBezTo>
                  <a:pt x="353" y="1107"/>
                  <a:pt x="347" y="1113"/>
                  <a:pt x="333" y="1119"/>
                </a:cubicBezTo>
                <a:cubicBezTo>
                  <a:pt x="319" y="1125"/>
                  <a:pt x="327" y="1129"/>
                  <a:pt x="311" y="1118"/>
                </a:cubicBezTo>
                <a:cubicBezTo>
                  <a:pt x="295" y="1107"/>
                  <a:pt x="303" y="1127"/>
                  <a:pt x="292" y="1125"/>
                </a:cubicBezTo>
                <a:cubicBezTo>
                  <a:pt x="281" y="1124"/>
                  <a:pt x="287" y="1122"/>
                  <a:pt x="281" y="1111"/>
                </a:cubicBezTo>
                <a:cubicBezTo>
                  <a:pt x="275" y="1100"/>
                  <a:pt x="265" y="1114"/>
                  <a:pt x="257" y="1111"/>
                </a:cubicBezTo>
                <a:cubicBezTo>
                  <a:pt x="249" y="1108"/>
                  <a:pt x="251" y="1137"/>
                  <a:pt x="259" y="1132"/>
                </a:cubicBezTo>
                <a:cubicBezTo>
                  <a:pt x="267" y="1127"/>
                  <a:pt x="276" y="1151"/>
                  <a:pt x="276" y="1151"/>
                </a:cubicBezTo>
                <a:cubicBezTo>
                  <a:pt x="276" y="1151"/>
                  <a:pt x="273" y="1159"/>
                  <a:pt x="263" y="1165"/>
                </a:cubicBezTo>
                <a:cubicBezTo>
                  <a:pt x="254" y="1171"/>
                  <a:pt x="245" y="1165"/>
                  <a:pt x="232" y="1148"/>
                </a:cubicBezTo>
                <a:cubicBezTo>
                  <a:pt x="219" y="1130"/>
                  <a:pt x="210" y="1138"/>
                  <a:pt x="200" y="1122"/>
                </a:cubicBezTo>
                <a:cubicBezTo>
                  <a:pt x="191" y="1107"/>
                  <a:pt x="189" y="1116"/>
                  <a:pt x="177" y="1108"/>
                </a:cubicBezTo>
                <a:cubicBezTo>
                  <a:pt x="165" y="1100"/>
                  <a:pt x="185" y="1080"/>
                  <a:pt x="177" y="1070"/>
                </a:cubicBezTo>
                <a:cubicBezTo>
                  <a:pt x="170" y="1061"/>
                  <a:pt x="183" y="1061"/>
                  <a:pt x="183" y="1061"/>
                </a:cubicBezTo>
                <a:cubicBezTo>
                  <a:pt x="183" y="1061"/>
                  <a:pt x="191" y="1059"/>
                  <a:pt x="199" y="1047"/>
                </a:cubicBezTo>
                <a:cubicBezTo>
                  <a:pt x="207" y="1034"/>
                  <a:pt x="196" y="1040"/>
                  <a:pt x="185" y="1037"/>
                </a:cubicBezTo>
                <a:cubicBezTo>
                  <a:pt x="173" y="1034"/>
                  <a:pt x="185" y="1024"/>
                  <a:pt x="172" y="1015"/>
                </a:cubicBezTo>
                <a:cubicBezTo>
                  <a:pt x="159" y="1006"/>
                  <a:pt x="153" y="1012"/>
                  <a:pt x="143" y="998"/>
                </a:cubicBezTo>
                <a:cubicBezTo>
                  <a:pt x="134" y="983"/>
                  <a:pt x="137" y="998"/>
                  <a:pt x="129" y="999"/>
                </a:cubicBezTo>
                <a:cubicBezTo>
                  <a:pt x="121" y="1001"/>
                  <a:pt x="117" y="999"/>
                  <a:pt x="106" y="991"/>
                </a:cubicBezTo>
                <a:cubicBezTo>
                  <a:pt x="95" y="983"/>
                  <a:pt x="110" y="990"/>
                  <a:pt x="118" y="988"/>
                </a:cubicBezTo>
                <a:cubicBezTo>
                  <a:pt x="126" y="987"/>
                  <a:pt x="121" y="982"/>
                  <a:pt x="110" y="977"/>
                </a:cubicBezTo>
                <a:cubicBezTo>
                  <a:pt x="99" y="972"/>
                  <a:pt x="113" y="963"/>
                  <a:pt x="118" y="958"/>
                </a:cubicBezTo>
                <a:cubicBezTo>
                  <a:pt x="123" y="953"/>
                  <a:pt x="129" y="969"/>
                  <a:pt x="139" y="976"/>
                </a:cubicBezTo>
                <a:cubicBezTo>
                  <a:pt x="148" y="982"/>
                  <a:pt x="170" y="991"/>
                  <a:pt x="191" y="994"/>
                </a:cubicBezTo>
                <a:cubicBezTo>
                  <a:pt x="211" y="998"/>
                  <a:pt x="256" y="1024"/>
                  <a:pt x="287" y="1029"/>
                </a:cubicBezTo>
                <a:cubicBezTo>
                  <a:pt x="319" y="1034"/>
                  <a:pt x="335" y="999"/>
                  <a:pt x="352" y="969"/>
                </a:cubicBezTo>
                <a:cubicBezTo>
                  <a:pt x="369" y="939"/>
                  <a:pt x="357" y="933"/>
                  <a:pt x="347" y="922"/>
                </a:cubicBezTo>
                <a:cubicBezTo>
                  <a:pt x="338" y="911"/>
                  <a:pt x="328" y="897"/>
                  <a:pt x="314" y="881"/>
                </a:cubicBezTo>
                <a:cubicBezTo>
                  <a:pt x="300" y="865"/>
                  <a:pt x="292" y="865"/>
                  <a:pt x="279" y="849"/>
                </a:cubicBezTo>
                <a:cubicBezTo>
                  <a:pt x="267" y="833"/>
                  <a:pt x="270" y="846"/>
                  <a:pt x="246" y="846"/>
                </a:cubicBezTo>
                <a:cubicBezTo>
                  <a:pt x="222" y="846"/>
                  <a:pt x="232" y="844"/>
                  <a:pt x="233" y="833"/>
                </a:cubicBezTo>
                <a:cubicBezTo>
                  <a:pt x="235" y="822"/>
                  <a:pt x="230" y="826"/>
                  <a:pt x="221" y="824"/>
                </a:cubicBezTo>
                <a:cubicBezTo>
                  <a:pt x="211" y="822"/>
                  <a:pt x="205" y="810"/>
                  <a:pt x="183" y="811"/>
                </a:cubicBezTo>
                <a:cubicBezTo>
                  <a:pt x="161" y="813"/>
                  <a:pt x="177" y="821"/>
                  <a:pt x="159" y="816"/>
                </a:cubicBezTo>
                <a:cubicBezTo>
                  <a:pt x="141" y="811"/>
                  <a:pt x="156" y="827"/>
                  <a:pt x="147" y="833"/>
                </a:cubicBezTo>
                <a:cubicBezTo>
                  <a:pt x="137" y="840"/>
                  <a:pt x="137" y="833"/>
                  <a:pt x="137" y="824"/>
                </a:cubicBezTo>
                <a:cubicBezTo>
                  <a:pt x="137" y="815"/>
                  <a:pt x="140" y="809"/>
                  <a:pt x="139" y="801"/>
                </a:cubicBezTo>
                <a:cubicBezTo>
                  <a:pt x="139" y="799"/>
                  <a:pt x="139" y="799"/>
                  <a:pt x="139" y="799"/>
                </a:cubicBezTo>
                <a:cubicBezTo>
                  <a:pt x="137" y="789"/>
                  <a:pt x="126" y="797"/>
                  <a:pt x="115" y="797"/>
                </a:cubicBezTo>
                <a:cubicBezTo>
                  <a:pt x="108" y="797"/>
                  <a:pt x="108" y="773"/>
                  <a:pt x="104" y="758"/>
                </a:cubicBezTo>
                <a:cubicBezTo>
                  <a:pt x="103" y="758"/>
                  <a:pt x="103" y="758"/>
                  <a:pt x="103" y="758"/>
                </a:cubicBezTo>
                <a:cubicBezTo>
                  <a:pt x="102" y="762"/>
                  <a:pt x="95" y="767"/>
                  <a:pt x="95" y="765"/>
                </a:cubicBezTo>
                <a:cubicBezTo>
                  <a:pt x="94" y="762"/>
                  <a:pt x="98" y="760"/>
                  <a:pt x="94" y="755"/>
                </a:cubicBezTo>
                <a:cubicBezTo>
                  <a:pt x="90" y="749"/>
                  <a:pt x="90" y="756"/>
                  <a:pt x="88" y="756"/>
                </a:cubicBezTo>
                <a:cubicBezTo>
                  <a:pt x="85" y="756"/>
                  <a:pt x="83" y="756"/>
                  <a:pt x="80" y="754"/>
                </a:cubicBezTo>
                <a:cubicBezTo>
                  <a:pt x="80" y="754"/>
                  <a:pt x="80" y="754"/>
                  <a:pt x="80" y="754"/>
                </a:cubicBezTo>
                <a:cubicBezTo>
                  <a:pt x="77" y="768"/>
                  <a:pt x="77" y="774"/>
                  <a:pt x="64" y="780"/>
                </a:cubicBezTo>
                <a:cubicBezTo>
                  <a:pt x="59" y="783"/>
                  <a:pt x="53" y="784"/>
                  <a:pt x="47" y="787"/>
                </a:cubicBezTo>
                <a:cubicBezTo>
                  <a:pt x="38" y="791"/>
                  <a:pt x="38" y="794"/>
                  <a:pt x="34" y="798"/>
                </a:cubicBezTo>
                <a:cubicBezTo>
                  <a:pt x="31" y="802"/>
                  <a:pt x="29" y="804"/>
                  <a:pt x="25" y="807"/>
                </a:cubicBezTo>
                <a:cubicBezTo>
                  <a:pt x="19" y="812"/>
                  <a:pt x="15" y="815"/>
                  <a:pt x="10" y="822"/>
                </a:cubicBezTo>
                <a:cubicBezTo>
                  <a:pt x="2" y="833"/>
                  <a:pt x="5" y="840"/>
                  <a:pt x="6" y="854"/>
                </a:cubicBezTo>
                <a:cubicBezTo>
                  <a:pt x="18" y="861"/>
                  <a:pt x="42" y="885"/>
                  <a:pt x="49" y="898"/>
                </a:cubicBezTo>
                <a:cubicBezTo>
                  <a:pt x="55" y="908"/>
                  <a:pt x="51" y="909"/>
                  <a:pt x="44" y="921"/>
                </a:cubicBezTo>
                <a:cubicBezTo>
                  <a:pt x="40" y="928"/>
                  <a:pt x="36" y="934"/>
                  <a:pt x="38" y="942"/>
                </a:cubicBezTo>
                <a:cubicBezTo>
                  <a:pt x="9" y="954"/>
                  <a:pt x="50" y="1005"/>
                  <a:pt x="56" y="1022"/>
                </a:cubicBezTo>
                <a:cubicBezTo>
                  <a:pt x="60" y="1035"/>
                  <a:pt x="57" y="1028"/>
                  <a:pt x="53" y="1041"/>
                </a:cubicBezTo>
                <a:cubicBezTo>
                  <a:pt x="51" y="1048"/>
                  <a:pt x="54" y="1050"/>
                  <a:pt x="51" y="1057"/>
                </a:cubicBezTo>
                <a:cubicBezTo>
                  <a:pt x="48" y="1066"/>
                  <a:pt x="45" y="1066"/>
                  <a:pt x="44" y="1075"/>
                </a:cubicBezTo>
                <a:cubicBezTo>
                  <a:pt x="44" y="1084"/>
                  <a:pt x="46" y="1094"/>
                  <a:pt x="46" y="1103"/>
                </a:cubicBezTo>
                <a:cubicBezTo>
                  <a:pt x="50" y="1105"/>
                  <a:pt x="55" y="1106"/>
                  <a:pt x="60" y="1105"/>
                </a:cubicBezTo>
                <a:cubicBezTo>
                  <a:pt x="63" y="1115"/>
                  <a:pt x="61" y="1119"/>
                  <a:pt x="55" y="1126"/>
                </a:cubicBezTo>
                <a:cubicBezTo>
                  <a:pt x="58" y="1126"/>
                  <a:pt x="60" y="1128"/>
                  <a:pt x="64" y="1129"/>
                </a:cubicBezTo>
                <a:cubicBezTo>
                  <a:pt x="64" y="1135"/>
                  <a:pt x="65" y="1136"/>
                  <a:pt x="69" y="1140"/>
                </a:cubicBezTo>
                <a:cubicBezTo>
                  <a:pt x="62" y="1144"/>
                  <a:pt x="58" y="1151"/>
                  <a:pt x="64" y="1157"/>
                </a:cubicBezTo>
                <a:cubicBezTo>
                  <a:pt x="60" y="1159"/>
                  <a:pt x="58" y="1162"/>
                  <a:pt x="55" y="1165"/>
                </a:cubicBezTo>
                <a:cubicBezTo>
                  <a:pt x="58" y="1170"/>
                  <a:pt x="67" y="1171"/>
                  <a:pt x="67" y="1179"/>
                </a:cubicBezTo>
                <a:cubicBezTo>
                  <a:pt x="79" y="1186"/>
                  <a:pt x="89" y="1191"/>
                  <a:pt x="94" y="1205"/>
                </a:cubicBezTo>
                <a:cubicBezTo>
                  <a:pt x="99" y="1221"/>
                  <a:pt x="89" y="1234"/>
                  <a:pt x="80" y="1247"/>
                </a:cubicBezTo>
                <a:cubicBezTo>
                  <a:pt x="72" y="1258"/>
                  <a:pt x="62" y="1271"/>
                  <a:pt x="52" y="1279"/>
                </a:cubicBezTo>
                <a:cubicBezTo>
                  <a:pt x="45" y="1286"/>
                  <a:pt x="23" y="1291"/>
                  <a:pt x="32" y="1304"/>
                </a:cubicBezTo>
                <a:cubicBezTo>
                  <a:pt x="20" y="1309"/>
                  <a:pt x="4" y="1325"/>
                  <a:pt x="0" y="1338"/>
                </a:cubicBezTo>
                <a:cubicBezTo>
                  <a:pt x="0" y="1339"/>
                  <a:pt x="0" y="1339"/>
                  <a:pt x="0" y="1339"/>
                </a:cubicBezTo>
                <a:cubicBezTo>
                  <a:pt x="1" y="1338"/>
                  <a:pt x="2" y="1338"/>
                  <a:pt x="3" y="1337"/>
                </a:cubicBezTo>
                <a:cubicBezTo>
                  <a:pt x="8" y="1335"/>
                  <a:pt x="5" y="1339"/>
                  <a:pt x="7" y="1342"/>
                </a:cubicBezTo>
                <a:cubicBezTo>
                  <a:pt x="10" y="1346"/>
                  <a:pt x="13" y="1343"/>
                  <a:pt x="14" y="1338"/>
                </a:cubicBezTo>
                <a:cubicBezTo>
                  <a:pt x="14" y="1333"/>
                  <a:pt x="16" y="1339"/>
                  <a:pt x="19" y="1336"/>
                </a:cubicBezTo>
                <a:cubicBezTo>
                  <a:pt x="23" y="1333"/>
                  <a:pt x="23" y="1333"/>
                  <a:pt x="27" y="1330"/>
                </a:cubicBezTo>
                <a:cubicBezTo>
                  <a:pt x="31" y="1328"/>
                  <a:pt x="27" y="1334"/>
                  <a:pt x="27" y="1339"/>
                </a:cubicBezTo>
                <a:cubicBezTo>
                  <a:pt x="27" y="1344"/>
                  <a:pt x="29" y="1346"/>
                  <a:pt x="26" y="1344"/>
                </a:cubicBezTo>
                <a:cubicBezTo>
                  <a:pt x="22" y="1341"/>
                  <a:pt x="21" y="1344"/>
                  <a:pt x="20" y="1347"/>
                </a:cubicBezTo>
                <a:cubicBezTo>
                  <a:pt x="19" y="1350"/>
                  <a:pt x="22" y="1350"/>
                  <a:pt x="27" y="1352"/>
                </a:cubicBezTo>
                <a:cubicBezTo>
                  <a:pt x="32" y="1354"/>
                  <a:pt x="31" y="1355"/>
                  <a:pt x="33" y="1360"/>
                </a:cubicBezTo>
                <a:cubicBezTo>
                  <a:pt x="35" y="1364"/>
                  <a:pt x="37" y="1362"/>
                  <a:pt x="44" y="1359"/>
                </a:cubicBezTo>
                <a:cubicBezTo>
                  <a:pt x="51" y="1356"/>
                  <a:pt x="50" y="1360"/>
                  <a:pt x="54" y="1358"/>
                </a:cubicBezTo>
                <a:cubicBezTo>
                  <a:pt x="58" y="1356"/>
                  <a:pt x="60" y="1362"/>
                  <a:pt x="63" y="1362"/>
                </a:cubicBezTo>
                <a:cubicBezTo>
                  <a:pt x="66" y="1361"/>
                  <a:pt x="69" y="1369"/>
                  <a:pt x="69" y="1372"/>
                </a:cubicBezTo>
                <a:cubicBezTo>
                  <a:pt x="68" y="1374"/>
                  <a:pt x="66" y="1372"/>
                  <a:pt x="60" y="1370"/>
                </a:cubicBezTo>
                <a:cubicBezTo>
                  <a:pt x="55" y="1368"/>
                  <a:pt x="58" y="1371"/>
                  <a:pt x="54" y="1372"/>
                </a:cubicBezTo>
                <a:cubicBezTo>
                  <a:pt x="50" y="1373"/>
                  <a:pt x="50" y="1371"/>
                  <a:pt x="43" y="1369"/>
                </a:cubicBezTo>
                <a:cubicBezTo>
                  <a:pt x="36" y="1367"/>
                  <a:pt x="42" y="1373"/>
                  <a:pt x="36" y="1374"/>
                </a:cubicBezTo>
                <a:cubicBezTo>
                  <a:pt x="31" y="1374"/>
                  <a:pt x="33" y="1379"/>
                  <a:pt x="30" y="1377"/>
                </a:cubicBezTo>
                <a:cubicBezTo>
                  <a:pt x="27" y="1374"/>
                  <a:pt x="27" y="1377"/>
                  <a:pt x="21" y="1381"/>
                </a:cubicBezTo>
                <a:cubicBezTo>
                  <a:pt x="15" y="1385"/>
                  <a:pt x="16" y="1384"/>
                  <a:pt x="14" y="1382"/>
                </a:cubicBezTo>
                <a:cubicBezTo>
                  <a:pt x="11" y="1380"/>
                  <a:pt x="13" y="1382"/>
                  <a:pt x="11" y="1383"/>
                </a:cubicBezTo>
                <a:cubicBezTo>
                  <a:pt x="9" y="1384"/>
                  <a:pt x="8" y="1384"/>
                  <a:pt x="10" y="1387"/>
                </a:cubicBezTo>
                <a:cubicBezTo>
                  <a:pt x="11" y="1390"/>
                  <a:pt x="11" y="1391"/>
                  <a:pt x="10" y="1394"/>
                </a:cubicBezTo>
                <a:cubicBezTo>
                  <a:pt x="8" y="1396"/>
                  <a:pt x="8" y="1396"/>
                  <a:pt x="6" y="1397"/>
                </a:cubicBezTo>
                <a:cubicBezTo>
                  <a:pt x="6" y="1398"/>
                  <a:pt x="6" y="1398"/>
                  <a:pt x="6" y="1398"/>
                </a:cubicBezTo>
                <a:cubicBezTo>
                  <a:pt x="10" y="1403"/>
                  <a:pt x="12" y="1407"/>
                  <a:pt x="10" y="1413"/>
                </a:cubicBezTo>
                <a:cubicBezTo>
                  <a:pt x="9" y="1415"/>
                  <a:pt x="8" y="1417"/>
                  <a:pt x="7" y="1419"/>
                </a:cubicBezTo>
                <a:cubicBezTo>
                  <a:pt x="7" y="1420"/>
                  <a:pt x="6" y="1421"/>
                  <a:pt x="6" y="1422"/>
                </a:cubicBezTo>
                <a:cubicBezTo>
                  <a:pt x="6" y="1423"/>
                  <a:pt x="6" y="1423"/>
                  <a:pt x="6" y="1423"/>
                </a:cubicBezTo>
                <a:cubicBezTo>
                  <a:pt x="7" y="1426"/>
                  <a:pt x="7" y="1430"/>
                  <a:pt x="8" y="1433"/>
                </a:cubicBezTo>
                <a:cubicBezTo>
                  <a:pt x="10" y="1438"/>
                  <a:pt x="10" y="1440"/>
                  <a:pt x="8" y="1442"/>
                </a:cubicBezTo>
                <a:cubicBezTo>
                  <a:pt x="6" y="1444"/>
                  <a:pt x="6" y="1448"/>
                  <a:pt x="6" y="1449"/>
                </a:cubicBezTo>
                <a:cubicBezTo>
                  <a:pt x="7" y="1451"/>
                  <a:pt x="9" y="1454"/>
                  <a:pt x="11" y="1454"/>
                </a:cubicBezTo>
                <a:cubicBezTo>
                  <a:pt x="13" y="1455"/>
                  <a:pt x="14" y="1461"/>
                  <a:pt x="15" y="1463"/>
                </a:cubicBezTo>
                <a:cubicBezTo>
                  <a:pt x="16" y="1464"/>
                  <a:pt x="15" y="1467"/>
                  <a:pt x="13" y="1467"/>
                </a:cubicBezTo>
                <a:cubicBezTo>
                  <a:pt x="13" y="1468"/>
                  <a:pt x="13" y="1468"/>
                  <a:pt x="13" y="1468"/>
                </a:cubicBezTo>
                <a:cubicBezTo>
                  <a:pt x="19" y="1473"/>
                  <a:pt x="12" y="1494"/>
                  <a:pt x="15" y="1500"/>
                </a:cubicBezTo>
                <a:cubicBezTo>
                  <a:pt x="17" y="1506"/>
                  <a:pt x="17" y="1516"/>
                  <a:pt x="21" y="1520"/>
                </a:cubicBezTo>
                <a:cubicBezTo>
                  <a:pt x="17" y="1526"/>
                  <a:pt x="10" y="1526"/>
                  <a:pt x="8" y="1534"/>
                </a:cubicBezTo>
                <a:cubicBezTo>
                  <a:pt x="6" y="1543"/>
                  <a:pt x="11" y="1552"/>
                  <a:pt x="16" y="1559"/>
                </a:cubicBezTo>
                <a:cubicBezTo>
                  <a:pt x="14" y="1560"/>
                  <a:pt x="14" y="1560"/>
                  <a:pt x="14" y="1560"/>
                </a:cubicBezTo>
                <a:cubicBezTo>
                  <a:pt x="19" y="1561"/>
                  <a:pt x="21" y="1564"/>
                  <a:pt x="27" y="1568"/>
                </a:cubicBezTo>
                <a:cubicBezTo>
                  <a:pt x="29" y="1564"/>
                  <a:pt x="33" y="1562"/>
                  <a:pt x="37" y="1560"/>
                </a:cubicBezTo>
                <a:cubicBezTo>
                  <a:pt x="47" y="1568"/>
                  <a:pt x="50" y="1569"/>
                  <a:pt x="55" y="1583"/>
                </a:cubicBezTo>
                <a:cubicBezTo>
                  <a:pt x="90" y="1560"/>
                  <a:pt x="84" y="1600"/>
                  <a:pt x="88" y="1625"/>
                </a:cubicBezTo>
                <a:cubicBezTo>
                  <a:pt x="90" y="1635"/>
                  <a:pt x="93" y="1662"/>
                  <a:pt x="102" y="1667"/>
                </a:cubicBezTo>
                <a:cubicBezTo>
                  <a:pt x="107" y="1670"/>
                  <a:pt x="116" y="1666"/>
                  <a:pt x="122" y="1670"/>
                </a:cubicBezTo>
                <a:cubicBezTo>
                  <a:pt x="126" y="1673"/>
                  <a:pt x="121" y="1681"/>
                  <a:pt x="133" y="1680"/>
                </a:cubicBezTo>
                <a:cubicBezTo>
                  <a:pt x="133" y="1681"/>
                  <a:pt x="133" y="1682"/>
                  <a:pt x="134" y="1683"/>
                </a:cubicBezTo>
                <a:cubicBezTo>
                  <a:pt x="126" y="1694"/>
                  <a:pt x="111" y="1703"/>
                  <a:pt x="99" y="1708"/>
                </a:cubicBezTo>
                <a:cubicBezTo>
                  <a:pt x="102" y="1717"/>
                  <a:pt x="98" y="1732"/>
                  <a:pt x="107" y="1736"/>
                </a:cubicBezTo>
                <a:cubicBezTo>
                  <a:pt x="106" y="1739"/>
                  <a:pt x="108" y="1740"/>
                  <a:pt x="108" y="1742"/>
                </a:cubicBezTo>
                <a:cubicBezTo>
                  <a:pt x="108" y="1744"/>
                  <a:pt x="108" y="1744"/>
                  <a:pt x="108" y="1744"/>
                </a:cubicBezTo>
                <a:cubicBezTo>
                  <a:pt x="111" y="1744"/>
                  <a:pt x="114" y="1744"/>
                  <a:pt x="117" y="1743"/>
                </a:cubicBezTo>
                <a:cubicBezTo>
                  <a:pt x="128" y="1741"/>
                  <a:pt x="131" y="1734"/>
                  <a:pt x="141" y="1745"/>
                </a:cubicBezTo>
                <a:cubicBezTo>
                  <a:pt x="145" y="1736"/>
                  <a:pt x="159" y="1734"/>
                  <a:pt x="167" y="1735"/>
                </a:cubicBezTo>
                <a:cubicBezTo>
                  <a:pt x="168" y="1743"/>
                  <a:pt x="163" y="1766"/>
                  <a:pt x="169" y="1772"/>
                </a:cubicBezTo>
                <a:cubicBezTo>
                  <a:pt x="175" y="1778"/>
                  <a:pt x="193" y="1774"/>
                  <a:pt x="201" y="1780"/>
                </a:cubicBezTo>
                <a:cubicBezTo>
                  <a:pt x="197" y="1794"/>
                  <a:pt x="209" y="1804"/>
                  <a:pt x="210" y="1820"/>
                </a:cubicBezTo>
                <a:cubicBezTo>
                  <a:pt x="219" y="1816"/>
                  <a:pt x="224" y="1819"/>
                  <a:pt x="232" y="1818"/>
                </a:cubicBezTo>
                <a:cubicBezTo>
                  <a:pt x="245" y="1817"/>
                  <a:pt x="244" y="1811"/>
                  <a:pt x="253" y="1819"/>
                </a:cubicBezTo>
                <a:cubicBezTo>
                  <a:pt x="255" y="1820"/>
                  <a:pt x="253" y="1827"/>
                  <a:pt x="257" y="1829"/>
                </a:cubicBezTo>
                <a:cubicBezTo>
                  <a:pt x="261" y="1831"/>
                  <a:pt x="265" y="1825"/>
                  <a:pt x="269" y="1825"/>
                </a:cubicBezTo>
                <a:cubicBezTo>
                  <a:pt x="276" y="1826"/>
                  <a:pt x="283" y="1830"/>
                  <a:pt x="289" y="1832"/>
                </a:cubicBezTo>
                <a:cubicBezTo>
                  <a:pt x="289" y="1837"/>
                  <a:pt x="288" y="1842"/>
                  <a:pt x="288" y="1847"/>
                </a:cubicBezTo>
                <a:cubicBezTo>
                  <a:pt x="297" y="1847"/>
                  <a:pt x="315" y="1845"/>
                  <a:pt x="320" y="1856"/>
                </a:cubicBezTo>
                <a:cubicBezTo>
                  <a:pt x="324" y="1863"/>
                  <a:pt x="316" y="1877"/>
                  <a:pt x="315" y="1884"/>
                </a:cubicBezTo>
                <a:cubicBezTo>
                  <a:pt x="316" y="1885"/>
                  <a:pt x="318" y="1885"/>
                  <a:pt x="320" y="1885"/>
                </a:cubicBezTo>
                <a:cubicBezTo>
                  <a:pt x="320" y="1886"/>
                  <a:pt x="321" y="1888"/>
                  <a:pt x="321" y="1889"/>
                </a:cubicBezTo>
                <a:cubicBezTo>
                  <a:pt x="315" y="1896"/>
                  <a:pt x="323" y="1901"/>
                  <a:pt x="320" y="1908"/>
                </a:cubicBezTo>
                <a:cubicBezTo>
                  <a:pt x="317" y="1916"/>
                  <a:pt x="308" y="1917"/>
                  <a:pt x="306" y="1926"/>
                </a:cubicBezTo>
                <a:cubicBezTo>
                  <a:pt x="291" y="1919"/>
                  <a:pt x="284" y="1931"/>
                  <a:pt x="275" y="1941"/>
                </a:cubicBezTo>
                <a:cubicBezTo>
                  <a:pt x="276" y="1942"/>
                  <a:pt x="276" y="1942"/>
                  <a:pt x="276" y="1942"/>
                </a:cubicBezTo>
                <a:cubicBezTo>
                  <a:pt x="277" y="1941"/>
                  <a:pt x="278" y="1940"/>
                  <a:pt x="281" y="1942"/>
                </a:cubicBezTo>
                <a:cubicBezTo>
                  <a:pt x="287" y="1947"/>
                  <a:pt x="286" y="1947"/>
                  <a:pt x="292" y="1945"/>
                </a:cubicBezTo>
                <a:cubicBezTo>
                  <a:pt x="299" y="1944"/>
                  <a:pt x="304" y="1942"/>
                  <a:pt x="305" y="1944"/>
                </a:cubicBezTo>
                <a:cubicBezTo>
                  <a:pt x="307" y="1945"/>
                  <a:pt x="303" y="1949"/>
                  <a:pt x="288" y="1958"/>
                </a:cubicBezTo>
                <a:cubicBezTo>
                  <a:pt x="273" y="1966"/>
                  <a:pt x="274" y="1966"/>
                  <a:pt x="268" y="1966"/>
                </a:cubicBezTo>
                <a:cubicBezTo>
                  <a:pt x="262" y="1966"/>
                  <a:pt x="258" y="1961"/>
                  <a:pt x="262" y="1966"/>
                </a:cubicBezTo>
                <a:cubicBezTo>
                  <a:pt x="266" y="1972"/>
                  <a:pt x="269" y="1975"/>
                  <a:pt x="273" y="1977"/>
                </a:cubicBezTo>
                <a:cubicBezTo>
                  <a:pt x="278" y="1980"/>
                  <a:pt x="269" y="1988"/>
                  <a:pt x="275" y="1988"/>
                </a:cubicBezTo>
                <a:cubicBezTo>
                  <a:pt x="282" y="1988"/>
                  <a:pt x="287" y="1991"/>
                  <a:pt x="287" y="1991"/>
                </a:cubicBezTo>
                <a:cubicBezTo>
                  <a:pt x="287" y="1991"/>
                  <a:pt x="289" y="1992"/>
                  <a:pt x="283" y="1992"/>
                </a:cubicBezTo>
                <a:cubicBezTo>
                  <a:pt x="277" y="1993"/>
                  <a:pt x="269" y="1993"/>
                  <a:pt x="269" y="1993"/>
                </a:cubicBezTo>
                <a:cubicBezTo>
                  <a:pt x="264" y="1995"/>
                  <a:pt x="264" y="1995"/>
                  <a:pt x="264" y="1995"/>
                </a:cubicBezTo>
                <a:cubicBezTo>
                  <a:pt x="264" y="1995"/>
                  <a:pt x="261" y="1988"/>
                  <a:pt x="260" y="1994"/>
                </a:cubicBezTo>
                <a:cubicBezTo>
                  <a:pt x="260" y="2000"/>
                  <a:pt x="254" y="2015"/>
                  <a:pt x="254" y="2015"/>
                </a:cubicBezTo>
                <a:cubicBezTo>
                  <a:pt x="254" y="2015"/>
                  <a:pt x="249" y="2020"/>
                  <a:pt x="248" y="2018"/>
                </a:cubicBezTo>
                <a:cubicBezTo>
                  <a:pt x="247" y="2016"/>
                  <a:pt x="247" y="2017"/>
                  <a:pt x="244" y="2015"/>
                </a:cubicBezTo>
                <a:cubicBezTo>
                  <a:pt x="242" y="2014"/>
                  <a:pt x="245" y="2015"/>
                  <a:pt x="242" y="2014"/>
                </a:cubicBezTo>
                <a:cubicBezTo>
                  <a:pt x="239" y="2014"/>
                  <a:pt x="236" y="2015"/>
                  <a:pt x="239" y="2020"/>
                </a:cubicBezTo>
                <a:cubicBezTo>
                  <a:pt x="243" y="2025"/>
                  <a:pt x="249" y="2026"/>
                  <a:pt x="249" y="2028"/>
                </a:cubicBezTo>
                <a:cubicBezTo>
                  <a:pt x="250" y="2031"/>
                  <a:pt x="246" y="2036"/>
                  <a:pt x="251" y="2038"/>
                </a:cubicBezTo>
                <a:cubicBezTo>
                  <a:pt x="256" y="2041"/>
                  <a:pt x="252" y="2046"/>
                  <a:pt x="259" y="2045"/>
                </a:cubicBezTo>
                <a:cubicBezTo>
                  <a:pt x="265" y="2045"/>
                  <a:pt x="263" y="2035"/>
                  <a:pt x="269" y="2041"/>
                </a:cubicBezTo>
                <a:cubicBezTo>
                  <a:pt x="274" y="2046"/>
                  <a:pt x="274" y="2048"/>
                  <a:pt x="277" y="2051"/>
                </a:cubicBezTo>
                <a:cubicBezTo>
                  <a:pt x="279" y="2054"/>
                  <a:pt x="286" y="2053"/>
                  <a:pt x="288" y="2055"/>
                </a:cubicBezTo>
                <a:cubicBezTo>
                  <a:pt x="291" y="2058"/>
                  <a:pt x="294" y="2059"/>
                  <a:pt x="298" y="2062"/>
                </a:cubicBezTo>
                <a:cubicBezTo>
                  <a:pt x="301" y="2065"/>
                  <a:pt x="312" y="2076"/>
                  <a:pt x="314" y="2080"/>
                </a:cubicBezTo>
                <a:cubicBezTo>
                  <a:pt x="316" y="2083"/>
                  <a:pt x="320" y="2085"/>
                  <a:pt x="322" y="2086"/>
                </a:cubicBezTo>
                <a:cubicBezTo>
                  <a:pt x="323" y="2087"/>
                  <a:pt x="324" y="2089"/>
                  <a:pt x="325" y="2091"/>
                </a:cubicBezTo>
                <a:cubicBezTo>
                  <a:pt x="325" y="2092"/>
                  <a:pt x="325" y="2092"/>
                  <a:pt x="325" y="2092"/>
                </a:cubicBezTo>
                <a:lnTo>
                  <a:pt x="328" y="209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73" name="Freeform 709"/>
          <p:cNvSpPr>
            <a:spLocks/>
          </p:cNvSpPr>
          <p:nvPr userDrawn="1"/>
        </p:nvSpPr>
        <p:spPr bwMode="auto">
          <a:xfrm>
            <a:off x="6137242" y="3868934"/>
            <a:ext cx="465676" cy="206036"/>
          </a:xfrm>
          <a:custGeom>
            <a:avLst/>
            <a:gdLst>
              <a:gd name="T0" fmla="*/ 2147483646 w 498"/>
              <a:gd name="T1" fmla="*/ 2147483646 h 222"/>
              <a:gd name="T2" fmla="*/ 2147483646 w 498"/>
              <a:gd name="T3" fmla="*/ 2147483646 h 222"/>
              <a:gd name="T4" fmla="*/ 2147483646 w 498"/>
              <a:gd name="T5" fmla="*/ 2147483646 h 222"/>
              <a:gd name="T6" fmla="*/ 2147483646 w 498"/>
              <a:gd name="T7" fmla="*/ 2147483646 h 222"/>
              <a:gd name="T8" fmla="*/ 2147483646 w 498"/>
              <a:gd name="T9" fmla="*/ 2147483646 h 222"/>
              <a:gd name="T10" fmla="*/ 2147483646 w 498"/>
              <a:gd name="T11" fmla="*/ 2147483646 h 222"/>
              <a:gd name="T12" fmla="*/ 2147483646 w 498"/>
              <a:gd name="T13" fmla="*/ 2147483646 h 222"/>
              <a:gd name="T14" fmla="*/ 2147483646 w 498"/>
              <a:gd name="T15" fmla="*/ 2147483646 h 222"/>
              <a:gd name="T16" fmla="*/ 2147483646 w 498"/>
              <a:gd name="T17" fmla="*/ 2147483646 h 222"/>
              <a:gd name="T18" fmla="*/ 2147483646 w 498"/>
              <a:gd name="T19" fmla="*/ 2147483646 h 222"/>
              <a:gd name="T20" fmla="*/ 2147483646 w 498"/>
              <a:gd name="T21" fmla="*/ 2147483646 h 222"/>
              <a:gd name="T22" fmla="*/ 2147483646 w 498"/>
              <a:gd name="T23" fmla="*/ 2147483646 h 222"/>
              <a:gd name="T24" fmla="*/ 2147483646 w 498"/>
              <a:gd name="T25" fmla="*/ 2147483646 h 222"/>
              <a:gd name="T26" fmla="*/ 2147483646 w 498"/>
              <a:gd name="T27" fmla="*/ 2147483646 h 222"/>
              <a:gd name="T28" fmla="*/ 2147483646 w 498"/>
              <a:gd name="T29" fmla="*/ 2147483646 h 222"/>
              <a:gd name="T30" fmla="*/ 2147483646 w 498"/>
              <a:gd name="T31" fmla="*/ 2147483646 h 222"/>
              <a:gd name="T32" fmla="*/ 2147483646 w 498"/>
              <a:gd name="T33" fmla="*/ 2147483646 h 222"/>
              <a:gd name="T34" fmla="*/ 2147483646 w 498"/>
              <a:gd name="T35" fmla="*/ 2147483646 h 222"/>
              <a:gd name="T36" fmla="*/ 2147483646 w 498"/>
              <a:gd name="T37" fmla="*/ 2147483646 h 222"/>
              <a:gd name="T38" fmla="*/ 2147483646 w 498"/>
              <a:gd name="T39" fmla="*/ 2147483646 h 222"/>
              <a:gd name="T40" fmla="*/ 2147483646 w 498"/>
              <a:gd name="T41" fmla="*/ 2147483646 h 222"/>
              <a:gd name="T42" fmla="*/ 2147483646 w 498"/>
              <a:gd name="T43" fmla="*/ 2147483646 h 222"/>
              <a:gd name="T44" fmla="*/ 2147483646 w 498"/>
              <a:gd name="T45" fmla="*/ 2147483646 h 222"/>
              <a:gd name="T46" fmla="*/ 2147483646 w 498"/>
              <a:gd name="T47" fmla="*/ 2147483646 h 222"/>
              <a:gd name="T48" fmla="*/ 2147483646 w 498"/>
              <a:gd name="T49" fmla="*/ 2147483646 h 222"/>
              <a:gd name="T50" fmla="*/ 2147483646 w 498"/>
              <a:gd name="T51" fmla="*/ 2147483646 h 222"/>
              <a:gd name="T52" fmla="*/ 2147483646 w 498"/>
              <a:gd name="T53" fmla="*/ 2147483646 h 222"/>
              <a:gd name="T54" fmla="*/ 2147483646 w 498"/>
              <a:gd name="T55" fmla="*/ 2147483646 h 222"/>
              <a:gd name="T56" fmla="*/ 2147483646 w 498"/>
              <a:gd name="T57" fmla="*/ 2147483646 h 222"/>
              <a:gd name="T58" fmla="*/ 2147483646 w 498"/>
              <a:gd name="T59" fmla="*/ 2147483646 h 222"/>
              <a:gd name="T60" fmla="*/ 2147483646 w 498"/>
              <a:gd name="T61" fmla="*/ 2147483646 h 222"/>
              <a:gd name="T62" fmla="*/ 2147483646 w 498"/>
              <a:gd name="T63" fmla="*/ 2147483646 h 222"/>
              <a:gd name="T64" fmla="*/ 2147483646 w 498"/>
              <a:gd name="T65" fmla="*/ 2147483646 h 222"/>
              <a:gd name="T66" fmla="*/ 2147483646 w 498"/>
              <a:gd name="T67" fmla="*/ 2147483646 h 222"/>
              <a:gd name="T68" fmla="*/ 2147483646 w 498"/>
              <a:gd name="T69" fmla="*/ 2147483646 h 222"/>
              <a:gd name="T70" fmla="*/ 2147483646 w 498"/>
              <a:gd name="T71" fmla="*/ 2147483646 h 222"/>
              <a:gd name="T72" fmla="*/ 2147483646 w 498"/>
              <a:gd name="T73" fmla="*/ 2147483646 h 222"/>
              <a:gd name="T74" fmla="*/ 2147483646 w 498"/>
              <a:gd name="T75" fmla="*/ 2147483646 h 222"/>
              <a:gd name="T76" fmla="*/ 2147483646 w 498"/>
              <a:gd name="T77" fmla="*/ 2147483646 h 222"/>
              <a:gd name="T78" fmla="*/ 2147483646 w 498"/>
              <a:gd name="T79" fmla="*/ 2147483646 h 222"/>
              <a:gd name="T80" fmla="*/ 2147483646 w 498"/>
              <a:gd name="T81" fmla="*/ 2147483646 h 222"/>
              <a:gd name="T82" fmla="*/ 2147483646 w 498"/>
              <a:gd name="T83" fmla="*/ 2147483646 h 222"/>
              <a:gd name="T84" fmla="*/ 2147483646 w 498"/>
              <a:gd name="T85" fmla="*/ 2147483646 h 222"/>
              <a:gd name="T86" fmla="*/ 2147483646 w 498"/>
              <a:gd name="T87" fmla="*/ 2147483646 h 222"/>
              <a:gd name="T88" fmla="*/ 2147483646 w 498"/>
              <a:gd name="T89" fmla="*/ 2147483646 h 222"/>
              <a:gd name="T90" fmla="*/ 2147483646 w 498"/>
              <a:gd name="T91" fmla="*/ 2147483646 h 222"/>
              <a:gd name="T92" fmla="*/ 2147483646 w 498"/>
              <a:gd name="T93" fmla="*/ 2147483646 h 222"/>
              <a:gd name="T94" fmla="*/ 2147483646 w 498"/>
              <a:gd name="T95" fmla="*/ 2147483646 h 222"/>
              <a:gd name="T96" fmla="*/ 2147483646 w 498"/>
              <a:gd name="T97" fmla="*/ 2147483646 h 222"/>
              <a:gd name="T98" fmla="*/ 2147483646 w 498"/>
              <a:gd name="T99" fmla="*/ 2147483646 h 222"/>
              <a:gd name="T100" fmla="*/ 2147483646 w 498"/>
              <a:gd name="T101" fmla="*/ 2147483646 h 222"/>
              <a:gd name="T102" fmla="*/ 2147483646 w 498"/>
              <a:gd name="T103" fmla="*/ 2147483646 h 222"/>
              <a:gd name="T104" fmla="*/ 2147483646 w 498"/>
              <a:gd name="T105" fmla="*/ 2147483646 h 22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98"/>
              <a:gd name="T160" fmla="*/ 0 h 222"/>
              <a:gd name="T161" fmla="*/ 498 w 498"/>
              <a:gd name="T162" fmla="*/ 222 h 22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98" h="222">
                <a:moveTo>
                  <a:pt x="398" y="35"/>
                </a:moveTo>
                <a:cubicBezTo>
                  <a:pt x="405" y="46"/>
                  <a:pt x="427" y="50"/>
                  <a:pt x="437" y="49"/>
                </a:cubicBezTo>
                <a:cubicBezTo>
                  <a:pt x="437" y="49"/>
                  <a:pt x="450" y="71"/>
                  <a:pt x="457" y="75"/>
                </a:cubicBezTo>
                <a:cubicBezTo>
                  <a:pt x="463" y="78"/>
                  <a:pt x="468" y="86"/>
                  <a:pt x="468" y="97"/>
                </a:cubicBezTo>
                <a:cubicBezTo>
                  <a:pt x="469" y="107"/>
                  <a:pt x="472" y="114"/>
                  <a:pt x="478" y="114"/>
                </a:cubicBezTo>
                <a:cubicBezTo>
                  <a:pt x="484" y="115"/>
                  <a:pt x="487" y="108"/>
                  <a:pt x="497" y="112"/>
                </a:cubicBezTo>
                <a:cubicBezTo>
                  <a:pt x="497" y="112"/>
                  <a:pt x="485" y="126"/>
                  <a:pt x="480" y="127"/>
                </a:cubicBezTo>
                <a:cubicBezTo>
                  <a:pt x="475" y="128"/>
                  <a:pt x="475" y="136"/>
                  <a:pt x="486" y="150"/>
                </a:cubicBezTo>
                <a:cubicBezTo>
                  <a:pt x="498" y="163"/>
                  <a:pt x="491" y="190"/>
                  <a:pt x="487" y="186"/>
                </a:cubicBezTo>
                <a:cubicBezTo>
                  <a:pt x="483" y="182"/>
                  <a:pt x="460" y="189"/>
                  <a:pt x="453" y="182"/>
                </a:cubicBezTo>
                <a:cubicBezTo>
                  <a:pt x="446" y="175"/>
                  <a:pt x="441" y="182"/>
                  <a:pt x="429" y="183"/>
                </a:cubicBezTo>
                <a:cubicBezTo>
                  <a:pt x="417" y="185"/>
                  <a:pt x="407" y="191"/>
                  <a:pt x="399" y="189"/>
                </a:cubicBezTo>
                <a:cubicBezTo>
                  <a:pt x="390" y="186"/>
                  <a:pt x="361" y="192"/>
                  <a:pt x="344" y="192"/>
                </a:cubicBezTo>
                <a:cubicBezTo>
                  <a:pt x="327" y="192"/>
                  <a:pt x="328" y="204"/>
                  <a:pt x="316" y="195"/>
                </a:cubicBezTo>
                <a:cubicBezTo>
                  <a:pt x="303" y="186"/>
                  <a:pt x="307" y="199"/>
                  <a:pt x="299" y="203"/>
                </a:cubicBezTo>
                <a:cubicBezTo>
                  <a:pt x="291" y="207"/>
                  <a:pt x="284" y="216"/>
                  <a:pt x="277" y="219"/>
                </a:cubicBezTo>
                <a:cubicBezTo>
                  <a:pt x="270" y="222"/>
                  <a:pt x="270" y="211"/>
                  <a:pt x="270" y="204"/>
                </a:cubicBezTo>
                <a:cubicBezTo>
                  <a:pt x="270" y="197"/>
                  <a:pt x="253" y="190"/>
                  <a:pt x="247" y="189"/>
                </a:cubicBezTo>
                <a:cubicBezTo>
                  <a:pt x="243" y="188"/>
                  <a:pt x="245" y="188"/>
                  <a:pt x="244" y="191"/>
                </a:cubicBezTo>
                <a:cubicBezTo>
                  <a:pt x="242" y="193"/>
                  <a:pt x="240" y="191"/>
                  <a:pt x="240" y="191"/>
                </a:cubicBezTo>
                <a:cubicBezTo>
                  <a:pt x="239" y="190"/>
                  <a:pt x="238" y="188"/>
                  <a:pt x="234" y="185"/>
                </a:cubicBezTo>
                <a:cubicBezTo>
                  <a:pt x="226" y="179"/>
                  <a:pt x="231" y="186"/>
                  <a:pt x="226" y="188"/>
                </a:cubicBezTo>
                <a:cubicBezTo>
                  <a:pt x="220" y="191"/>
                  <a:pt x="218" y="198"/>
                  <a:pt x="211" y="202"/>
                </a:cubicBezTo>
                <a:cubicBezTo>
                  <a:pt x="205" y="206"/>
                  <a:pt x="191" y="210"/>
                  <a:pt x="185" y="212"/>
                </a:cubicBezTo>
                <a:cubicBezTo>
                  <a:pt x="179" y="214"/>
                  <a:pt x="175" y="213"/>
                  <a:pt x="176" y="211"/>
                </a:cubicBezTo>
                <a:cubicBezTo>
                  <a:pt x="177" y="209"/>
                  <a:pt x="171" y="203"/>
                  <a:pt x="164" y="199"/>
                </a:cubicBezTo>
                <a:cubicBezTo>
                  <a:pt x="157" y="196"/>
                  <a:pt x="154" y="191"/>
                  <a:pt x="145" y="186"/>
                </a:cubicBezTo>
                <a:cubicBezTo>
                  <a:pt x="137" y="182"/>
                  <a:pt x="138" y="184"/>
                  <a:pt x="133" y="189"/>
                </a:cubicBezTo>
                <a:cubicBezTo>
                  <a:pt x="128" y="194"/>
                  <a:pt x="131" y="198"/>
                  <a:pt x="127" y="199"/>
                </a:cubicBezTo>
                <a:cubicBezTo>
                  <a:pt x="123" y="201"/>
                  <a:pt x="119" y="200"/>
                  <a:pt x="118" y="203"/>
                </a:cubicBezTo>
                <a:cubicBezTo>
                  <a:pt x="117" y="206"/>
                  <a:pt x="101" y="210"/>
                  <a:pt x="97" y="209"/>
                </a:cubicBezTo>
                <a:cubicBezTo>
                  <a:pt x="92" y="208"/>
                  <a:pt x="87" y="200"/>
                  <a:pt x="86" y="195"/>
                </a:cubicBezTo>
                <a:cubicBezTo>
                  <a:pt x="86" y="191"/>
                  <a:pt x="86" y="191"/>
                  <a:pt x="82" y="188"/>
                </a:cubicBezTo>
                <a:cubicBezTo>
                  <a:pt x="79" y="185"/>
                  <a:pt x="82" y="192"/>
                  <a:pt x="81" y="196"/>
                </a:cubicBezTo>
                <a:cubicBezTo>
                  <a:pt x="80" y="200"/>
                  <a:pt x="63" y="193"/>
                  <a:pt x="60" y="188"/>
                </a:cubicBezTo>
                <a:cubicBezTo>
                  <a:pt x="58" y="183"/>
                  <a:pt x="67" y="179"/>
                  <a:pt x="64" y="178"/>
                </a:cubicBezTo>
                <a:cubicBezTo>
                  <a:pt x="62" y="177"/>
                  <a:pt x="59" y="178"/>
                  <a:pt x="54" y="181"/>
                </a:cubicBezTo>
                <a:cubicBezTo>
                  <a:pt x="48" y="185"/>
                  <a:pt x="52" y="186"/>
                  <a:pt x="48" y="186"/>
                </a:cubicBezTo>
                <a:cubicBezTo>
                  <a:pt x="44" y="186"/>
                  <a:pt x="41" y="186"/>
                  <a:pt x="37" y="182"/>
                </a:cubicBezTo>
                <a:cubicBezTo>
                  <a:pt x="37" y="182"/>
                  <a:pt x="39" y="170"/>
                  <a:pt x="38" y="165"/>
                </a:cubicBezTo>
                <a:cubicBezTo>
                  <a:pt x="37" y="161"/>
                  <a:pt x="42" y="161"/>
                  <a:pt x="38" y="160"/>
                </a:cubicBezTo>
                <a:cubicBezTo>
                  <a:pt x="34" y="159"/>
                  <a:pt x="38" y="153"/>
                  <a:pt x="34" y="147"/>
                </a:cubicBezTo>
                <a:cubicBezTo>
                  <a:pt x="30" y="141"/>
                  <a:pt x="30" y="146"/>
                  <a:pt x="26" y="149"/>
                </a:cubicBezTo>
                <a:cubicBezTo>
                  <a:pt x="21" y="152"/>
                  <a:pt x="22" y="146"/>
                  <a:pt x="23" y="141"/>
                </a:cubicBezTo>
                <a:cubicBezTo>
                  <a:pt x="23" y="136"/>
                  <a:pt x="18" y="139"/>
                  <a:pt x="14" y="138"/>
                </a:cubicBezTo>
                <a:cubicBezTo>
                  <a:pt x="10" y="137"/>
                  <a:pt x="16" y="137"/>
                  <a:pt x="12" y="134"/>
                </a:cubicBezTo>
                <a:cubicBezTo>
                  <a:pt x="9" y="131"/>
                  <a:pt x="24" y="133"/>
                  <a:pt x="23" y="133"/>
                </a:cubicBezTo>
                <a:cubicBezTo>
                  <a:pt x="21" y="132"/>
                  <a:pt x="25" y="125"/>
                  <a:pt x="25" y="125"/>
                </a:cubicBezTo>
                <a:cubicBezTo>
                  <a:pt x="25" y="125"/>
                  <a:pt x="34" y="118"/>
                  <a:pt x="32" y="117"/>
                </a:cubicBezTo>
                <a:cubicBezTo>
                  <a:pt x="29" y="116"/>
                  <a:pt x="29" y="119"/>
                  <a:pt x="25" y="118"/>
                </a:cubicBezTo>
                <a:cubicBezTo>
                  <a:pt x="21" y="116"/>
                  <a:pt x="29" y="113"/>
                  <a:pt x="29" y="110"/>
                </a:cubicBezTo>
                <a:cubicBezTo>
                  <a:pt x="28" y="107"/>
                  <a:pt x="25" y="109"/>
                  <a:pt x="21" y="106"/>
                </a:cubicBezTo>
                <a:cubicBezTo>
                  <a:pt x="18" y="102"/>
                  <a:pt x="26" y="105"/>
                  <a:pt x="26" y="105"/>
                </a:cubicBezTo>
                <a:cubicBezTo>
                  <a:pt x="33" y="98"/>
                  <a:pt x="33" y="98"/>
                  <a:pt x="33" y="98"/>
                </a:cubicBezTo>
                <a:cubicBezTo>
                  <a:pt x="33" y="98"/>
                  <a:pt x="28" y="95"/>
                  <a:pt x="25" y="98"/>
                </a:cubicBezTo>
                <a:cubicBezTo>
                  <a:pt x="22" y="100"/>
                  <a:pt x="22" y="98"/>
                  <a:pt x="19" y="97"/>
                </a:cubicBezTo>
                <a:cubicBezTo>
                  <a:pt x="16" y="95"/>
                  <a:pt x="15" y="100"/>
                  <a:pt x="10" y="100"/>
                </a:cubicBezTo>
                <a:cubicBezTo>
                  <a:pt x="5" y="100"/>
                  <a:pt x="9" y="98"/>
                  <a:pt x="6" y="94"/>
                </a:cubicBezTo>
                <a:cubicBezTo>
                  <a:pt x="3" y="89"/>
                  <a:pt x="8" y="88"/>
                  <a:pt x="11" y="87"/>
                </a:cubicBezTo>
                <a:cubicBezTo>
                  <a:pt x="14" y="85"/>
                  <a:pt x="15" y="82"/>
                  <a:pt x="18" y="76"/>
                </a:cubicBezTo>
                <a:cubicBezTo>
                  <a:pt x="21" y="70"/>
                  <a:pt x="25" y="71"/>
                  <a:pt x="25" y="67"/>
                </a:cubicBezTo>
                <a:cubicBezTo>
                  <a:pt x="25" y="62"/>
                  <a:pt x="29" y="67"/>
                  <a:pt x="32" y="66"/>
                </a:cubicBezTo>
                <a:cubicBezTo>
                  <a:pt x="34" y="64"/>
                  <a:pt x="36" y="68"/>
                  <a:pt x="44" y="70"/>
                </a:cubicBezTo>
                <a:cubicBezTo>
                  <a:pt x="53" y="72"/>
                  <a:pt x="46" y="64"/>
                  <a:pt x="42" y="60"/>
                </a:cubicBezTo>
                <a:cubicBezTo>
                  <a:pt x="37" y="56"/>
                  <a:pt x="45" y="59"/>
                  <a:pt x="48" y="60"/>
                </a:cubicBezTo>
                <a:cubicBezTo>
                  <a:pt x="51" y="60"/>
                  <a:pt x="50" y="61"/>
                  <a:pt x="57" y="66"/>
                </a:cubicBezTo>
                <a:cubicBezTo>
                  <a:pt x="64" y="70"/>
                  <a:pt x="67" y="64"/>
                  <a:pt x="69" y="65"/>
                </a:cubicBezTo>
                <a:cubicBezTo>
                  <a:pt x="72" y="66"/>
                  <a:pt x="79" y="66"/>
                  <a:pt x="80" y="66"/>
                </a:cubicBezTo>
                <a:cubicBezTo>
                  <a:pt x="82" y="65"/>
                  <a:pt x="79" y="62"/>
                  <a:pt x="76" y="60"/>
                </a:cubicBezTo>
                <a:cubicBezTo>
                  <a:pt x="72" y="59"/>
                  <a:pt x="75" y="58"/>
                  <a:pt x="84" y="57"/>
                </a:cubicBezTo>
                <a:cubicBezTo>
                  <a:pt x="92" y="57"/>
                  <a:pt x="92" y="54"/>
                  <a:pt x="90" y="53"/>
                </a:cubicBezTo>
                <a:cubicBezTo>
                  <a:pt x="89" y="52"/>
                  <a:pt x="87" y="49"/>
                  <a:pt x="84" y="47"/>
                </a:cubicBezTo>
                <a:cubicBezTo>
                  <a:pt x="81" y="45"/>
                  <a:pt x="79" y="46"/>
                  <a:pt x="73" y="47"/>
                </a:cubicBezTo>
                <a:cubicBezTo>
                  <a:pt x="68" y="47"/>
                  <a:pt x="68" y="45"/>
                  <a:pt x="60" y="41"/>
                </a:cubicBezTo>
                <a:cubicBezTo>
                  <a:pt x="53" y="38"/>
                  <a:pt x="51" y="40"/>
                  <a:pt x="46" y="43"/>
                </a:cubicBezTo>
                <a:cubicBezTo>
                  <a:pt x="41" y="46"/>
                  <a:pt x="45" y="52"/>
                  <a:pt x="40" y="54"/>
                </a:cubicBezTo>
                <a:cubicBezTo>
                  <a:pt x="34" y="56"/>
                  <a:pt x="40" y="54"/>
                  <a:pt x="33" y="53"/>
                </a:cubicBezTo>
                <a:cubicBezTo>
                  <a:pt x="26" y="53"/>
                  <a:pt x="29" y="57"/>
                  <a:pt x="24" y="64"/>
                </a:cubicBezTo>
                <a:cubicBezTo>
                  <a:pt x="20" y="70"/>
                  <a:pt x="17" y="74"/>
                  <a:pt x="8" y="76"/>
                </a:cubicBezTo>
                <a:cubicBezTo>
                  <a:pt x="0" y="78"/>
                  <a:pt x="8" y="74"/>
                  <a:pt x="9" y="70"/>
                </a:cubicBezTo>
                <a:cubicBezTo>
                  <a:pt x="10" y="66"/>
                  <a:pt x="19" y="61"/>
                  <a:pt x="20" y="59"/>
                </a:cubicBezTo>
                <a:cubicBezTo>
                  <a:pt x="21" y="57"/>
                  <a:pt x="15" y="58"/>
                  <a:pt x="8" y="53"/>
                </a:cubicBezTo>
                <a:cubicBezTo>
                  <a:pt x="9" y="52"/>
                  <a:pt x="9" y="52"/>
                  <a:pt x="9" y="52"/>
                </a:cubicBezTo>
                <a:cubicBezTo>
                  <a:pt x="12" y="45"/>
                  <a:pt x="17" y="40"/>
                  <a:pt x="20" y="32"/>
                </a:cubicBezTo>
                <a:cubicBezTo>
                  <a:pt x="21" y="28"/>
                  <a:pt x="22" y="24"/>
                  <a:pt x="21" y="20"/>
                </a:cubicBezTo>
                <a:cubicBezTo>
                  <a:pt x="20" y="17"/>
                  <a:pt x="17" y="12"/>
                  <a:pt x="18" y="9"/>
                </a:cubicBezTo>
                <a:cubicBezTo>
                  <a:pt x="20" y="8"/>
                  <a:pt x="20" y="8"/>
                  <a:pt x="20" y="8"/>
                </a:cubicBezTo>
                <a:cubicBezTo>
                  <a:pt x="29" y="4"/>
                  <a:pt x="42" y="11"/>
                  <a:pt x="52" y="10"/>
                </a:cubicBezTo>
                <a:cubicBezTo>
                  <a:pt x="53" y="9"/>
                  <a:pt x="53" y="9"/>
                  <a:pt x="53" y="9"/>
                </a:cubicBezTo>
                <a:cubicBezTo>
                  <a:pt x="55" y="15"/>
                  <a:pt x="63" y="23"/>
                  <a:pt x="66" y="27"/>
                </a:cubicBezTo>
                <a:cubicBezTo>
                  <a:pt x="68" y="32"/>
                  <a:pt x="78" y="35"/>
                  <a:pt x="90" y="38"/>
                </a:cubicBezTo>
                <a:cubicBezTo>
                  <a:pt x="102" y="42"/>
                  <a:pt x="133" y="43"/>
                  <a:pt x="137" y="39"/>
                </a:cubicBezTo>
                <a:cubicBezTo>
                  <a:pt x="142" y="34"/>
                  <a:pt x="145" y="30"/>
                  <a:pt x="153" y="22"/>
                </a:cubicBezTo>
                <a:cubicBezTo>
                  <a:pt x="160" y="15"/>
                  <a:pt x="165" y="22"/>
                  <a:pt x="170" y="19"/>
                </a:cubicBezTo>
                <a:cubicBezTo>
                  <a:pt x="175" y="15"/>
                  <a:pt x="179" y="13"/>
                  <a:pt x="185" y="9"/>
                </a:cubicBezTo>
                <a:cubicBezTo>
                  <a:pt x="191" y="5"/>
                  <a:pt x="196" y="8"/>
                  <a:pt x="213" y="9"/>
                </a:cubicBezTo>
                <a:cubicBezTo>
                  <a:pt x="231" y="9"/>
                  <a:pt x="231" y="8"/>
                  <a:pt x="236" y="4"/>
                </a:cubicBezTo>
                <a:cubicBezTo>
                  <a:pt x="241" y="0"/>
                  <a:pt x="239" y="6"/>
                  <a:pt x="240" y="10"/>
                </a:cubicBezTo>
                <a:cubicBezTo>
                  <a:pt x="241" y="14"/>
                  <a:pt x="244" y="16"/>
                  <a:pt x="245" y="19"/>
                </a:cubicBezTo>
                <a:cubicBezTo>
                  <a:pt x="246" y="21"/>
                  <a:pt x="254" y="21"/>
                  <a:pt x="258" y="18"/>
                </a:cubicBezTo>
                <a:cubicBezTo>
                  <a:pt x="262" y="14"/>
                  <a:pt x="267" y="26"/>
                  <a:pt x="269" y="30"/>
                </a:cubicBezTo>
                <a:cubicBezTo>
                  <a:pt x="271" y="34"/>
                  <a:pt x="285" y="31"/>
                  <a:pt x="296" y="40"/>
                </a:cubicBezTo>
                <a:cubicBezTo>
                  <a:pt x="306" y="49"/>
                  <a:pt x="322" y="49"/>
                  <a:pt x="340" y="41"/>
                </a:cubicBezTo>
                <a:cubicBezTo>
                  <a:pt x="358" y="33"/>
                  <a:pt x="349" y="41"/>
                  <a:pt x="353" y="40"/>
                </a:cubicBezTo>
                <a:cubicBezTo>
                  <a:pt x="358" y="39"/>
                  <a:pt x="366" y="41"/>
                  <a:pt x="370" y="43"/>
                </a:cubicBezTo>
                <a:cubicBezTo>
                  <a:pt x="374" y="45"/>
                  <a:pt x="377" y="41"/>
                  <a:pt x="384" y="35"/>
                </a:cubicBezTo>
                <a:cubicBezTo>
                  <a:pt x="391" y="28"/>
                  <a:pt x="398" y="35"/>
                  <a:pt x="398" y="3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74" name="Freeform 710"/>
          <p:cNvSpPr>
            <a:spLocks/>
          </p:cNvSpPr>
          <p:nvPr userDrawn="1"/>
        </p:nvSpPr>
        <p:spPr bwMode="auto">
          <a:xfrm>
            <a:off x="6214297" y="3902437"/>
            <a:ext cx="3351" cy="8375"/>
          </a:xfrm>
          <a:custGeom>
            <a:avLst/>
            <a:gdLst>
              <a:gd name="T0" fmla="*/ 0 w 2"/>
              <a:gd name="T1" fmla="*/ 2147483646 h 5"/>
              <a:gd name="T2" fmla="*/ 2147483646 w 2"/>
              <a:gd name="T3" fmla="*/ 0 h 5"/>
              <a:gd name="T4" fmla="*/ 0 w 2"/>
              <a:gd name="T5" fmla="*/ 2147483646 h 5"/>
              <a:gd name="T6" fmla="*/ 0 60000 65536"/>
              <a:gd name="T7" fmla="*/ 0 60000 65536"/>
              <a:gd name="T8" fmla="*/ 0 60000 65536"/>
              <a:gd name="T9" fmla="*/ 0 w 2"/>
              <a:gd name="T10" fmla="*/ 0 h 5"/>
              <a:gd name="T11" fmla="*/ 2 w 2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5">
                <a:moveTo>
                  <a:pt x="0" y="5"/>
                </a:moveTo>
                <a:lnTo>
                  <a:pt x="2" y="0"/>
                </a:lnTo>
                <a:lnTo>
                  <a:pt x="0" y="5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75" name="Line 711"/>
          <p:cNvSpPr>
            <a:spLocks noChangeShapeType="1"/>
          </p:cNvSpPr>
          <p:nvPr userDrawn="1"/>
        </p:nvSpPr>
        <p:spPr bwMode="auto">
          <a:xfrm flipV="1">
            <a:off x="6214297" y="3902437"/>
            <a:ext cx="3351" cy="8375"/>
          </a:xfrm>
          <a:prstGeom prst="line">
            <a:avLst/>
          </a:prstGeom>
          <a:noFill/>
          <a:ln w="3175" cap="rnd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76" name="Freeform 712"/>
          <p:cNvSpPr>
            <a:spLocks/>
          </p:cNvSpPr>
          <p:nvPr userDrawn="1"/>
        </p:nvSpPr>
        <p:spPr bwMode="auto">
          <a:xfrm>
            <a:off x="5736896" y="2034707"/>
            <a:ext cx="204361" cy="227812"/>
          </a:xfrm>
          <a:custGeom>
            <a:avLst/>
            <a:gdLst>
              <a:gd name="T0" fmla="*/ 2147483646 w 218"/>
              <a:gd name="T1" fmla="*/ 2147483646 h 244"/>
              <a:gd name="T2" fmla="*/ 2147483646 w 218"/>
              <a:gd name="T3" fmla="*/ 2147483646 h 244"/>
              <a:gd name="T4" fmla="*/ 2147483646 w 218"/>
              <a:gd name="T5" fmla="*/ 2147483646 h 244"/>
              <a:gd name="T6" fmla="*/ 0 w 218"/>
              <a:gd name="T7" fmla="*/ 2147483646 h 244"/>
              <a:gd name="T8" fmla="*/ 2147483646 w 218"/>
              <a:gd name="T9" fmla="*/ 2147483646 h 244"/>
              <a:gd name="T10" fmla="*/ 2147483646 w 218"/>
              <a:gd name="T11" fmla="*/ 2147483646 h 244"/>
              <a:gd name="T12" fmla="*/ 2147483646 w 218"/>
              <a:gd name="T13" fmla="*/ 2147483646 h 244"/>
              <a:gd name="T14" fmla="*/ 2147483646 w 218"/>
              <a:gd name="T15" fmla="*/ 2147483646 h 244"/>
              <a:gd name="T16" fmla="*/ 2147483646 w 218"/>
              <a:gd name="T17" fmla="*/ 2147483646 h 244"/>
              <a:gd name="T18" fmla="*/ 2147483646 w 218"/>
              <a:gd name="T19" fmla="*/ 2147483646 h 244"/>
              <a:gd name="T20" fmla="*/ 2147483646 w 218"/>
              <a:gd name="T21" fmla="*/ 2147483646 h 244"/>
              <a:gd name="T22" fmla="*/ 2147483646 w 218"/>
              <a:gd name="T23" fmla="*/ 2147483646 h 244"/>
              <a:gd name="T24" fmla="*/ 2147483646 w 218"/>
              <a:gd name="T25" fmla="*/ 2147483646 h 244"/>
              <a:gd name="T26" fmla="*/ 2147483646 w 218"/>
              <a:gd name="T27" fmla="*/ 2147483646 h 244"/>
              <a:gd name="T28" fmla="*/ 2147483646 w 218"/>
              <a:gd name="T29" fmla="*/ 2147483646 h 244"/>
              <a:gd name="T30" fmla="*/ 2147483646 w 218"/>
              <a:gd name="T31" fmla="*/ 2147483646 h 244"/>
              <a:gd name="T32" fmla="*/ 2147483646 w 218"/>
              <a:gd name="T33" fmla="*/ 2147483646 h 244"/>
              <a:gd name="T34" fmla="*/ 2147483646 w 218"/>
              <a:gd name="T35" fmla="*/ 2147483646 h 244"/>
              <a:gd name="T36" fmla="*/ 2147483646 w 218"/>
              <a:gd name="T37" fmla="*/ 2147483646 h 244"/>
              <a:gd name="T38" fmla="*/ 2147483646 w 218"/>
              <a:gd name="T39" fmla="*/ 2147483646 h 24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18"/>
              <a:gd name="T61" fmla="*/ 0 h 244"/>
              <a:gd name="T62" fmla="*/ 218 w 218"/>
              <a:gd name="T63" fmla="*/ 244 h 24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18" h="244">
                <a:moveTo>
                  <a:pt x="122" y="32"/>
                </a:moveTo>
                <a:cubicBezTo>
                  <a:pt x="125" y="48"/>
                  <a:pt x="74" y="85"/>
                  <a:pt x="74" y="85"/>
                </a:cubicBezTo>
                <a:cubicBezTo>
                  <a:pt x="74" y="85"/>
                  <a:pt x="42" y="111"/>
                  <a:pt x="37" y="95"/>
                </a:cubicBezTo>
                <a:cubicBezTo>
                  <a:pt x="32" y="79"/>
                  <a:pt x="0" y="64"/>
                  <a:pt x="0" y="95"/>
                </a:cubicBezTo>
                <a:cubicBezTo>
                  <a:pt x="0" y="127"/>
                  <a:pt x="26" y="138"/>
                  <a:pt x="26" y="138"/>
                </a:cubicBezTo>
                <a:cubicBezTo>
                  <a:pt x="42" y="175"/>
                  <a:pt x="11" y="170"/>
                  <a:pt x="42" y="175"/>
                </a:cubicBezTo>
                <a:cubicBezTo>
                  <a:pt x="74" y="180"/>
                  <a:pt x="85" y="122"/>
                  <a:pt x="85" y="154"/>
                </a:cubicBezTo>
                <a:cubicBezTo>
                  <a:pt x="85" y="186"/>
                  <a:pt x="26" y="212"/>
                  <a:pt x="26" y="212"/>
                </a:cubicBezTo>
                <a:cubicBezTo>
                  <a:pt x="74" y="228"/>
                  <a:pt x="74" y="228"/>
                  <a:pt x="74" y="228"/>
                </a:cubicBezTo>
                <a:cubicBezTo>
                  <a:pt x="111" y="233"/>
                  <a:pt x="127" y="196"/>
                  <a:pt x="127" y="196"/>
                </a:cubicBezTo>
                <a:cubicBezTo>
                  <a:pt x="127" y="196"/>
                  <a:pt x="149" y="143"/>
                  <a:pt x="149" y="191"/>
                </a:cubicBezTo>
                <a:cubicBezTo>
                  <a:pt x="149" y="239"/>
                  <a:pt x="154" y="244"/>
                  <a:pt x="170" y="233"/>
                </a:cubicBezTo>
                <a:cubicBezTo>
                  <a:pt x="186" y="223"/>
                  <a:pt x="191" y="186"/>
                  <a:pt x="191" y="186"/>
                </a:cubicBezTo>
                <a:cubicBezTo>
                  <a:pt x="186" y="148"/>
                  <a:pt x="186" y="148"/>
                  <a:pt x="186" y="148"/>
                </a:cubicBezTo>
                <a:cubicBezTo>
                  <a:pt x="170" y="111"/>
                  <a:pt x="170" y="111"/>
                  <a:pt x="170" y="111"/>
                </a:cubicBezTo>
                <a:cubicBezTo>
                  <a:pt x="170" y="111"/>
                  <a:pt x="207" y="69"/>
                  <a:pt x="186" y="74"/>
                </a:cubicBezTo>
                <a:cubicBezTo>
                  <a:pt x="164" y="79"/>
                  <a:pt x="133" y="74"/>
                  <a:pt x="149" y="69"/>
                </a:cubicBezTo>
                <a:cubicBezTo>
                  <a:pt x="164" y="64"/>
                  <a:pt x="207" y="48"/>
                  <a:pt x="207" y="48"/>
                </a:cubicBezTo>
                <a:cubicBezTo>
                  <a:pt x="207" y="48"/>
                  <a:pt x="218" y="0"/>
                  <a:pt x="202" y="5"/>
                </a:cubicBezTo>
                <a:cubicBezTo>
                  <a:pt x="186" y="10"/>
                  <a:pt x="117" y="0"/>
                  <a:pt x="122" y="3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77" name="Freeform 713"/>
          <p:cNvSpPr>
            <a:spLocks/>
          </p:cNvSpPr>
          <p:nvPr userDrawn="1"/>
        </p:nvSpPr>
        <p:spPr bwMode="auto">
          <a:xfrm>
            <a:off x="5959684" y="1979429"/>
            <a:ext cx="204361" cy="222787"/>
          </a:xfrm>
          <a:custGeom>
            <a:avLst/>
            <a:gdLst>
              <a:gd name="T0" fmla="*/ 2147483646 w 218"/>
              <a:gd name="T1" fmla="*/ 2147483646 h 239"/>
              <a:gd name="T2" fmla="*/ 2147483646 w 218"/>
              <a:gd name="T3" fmla="*/ 2147483646 h 239"/>
              <a:gd name="T4" fmla="*/ 2147483646 w 218"/>
              <a:gd name="T5" fmla="*/ 2147483646 h 239"/>
              <a:gd name="T6" fmla="*/ 2147483646 w 218"/>
              <a:gd name="T7" fmla="*/ 2147483646 h 239"/>
              <a:gd name="T8" fmla="*/ 2147483646 w 218"/>
              <a:gd name="T9" fmla="*/ 2147483646 h 239"/>
              <a:gd name="T10" fmla="*/ 2147483646 w 218"/>
              <a:gd name="T11" fmla="*/ 2147483646 h 239"/>
              <a:gd name="T12" fmla="*/ 2147483646 w 218"/>
              <a:gd name="T13" fmla="*/ 2147483646 h 239"/>
              <a:gd name="T14" fmla="*/ 2147483646 w 218"/>
              <a:gd name="T15" fmla="*/ 2147483646 h 239"/>
              <a:gd name="T16" fmla="*/ 2147483646 w 218"/>
              <a:gd name="T17" fmla="*/ 2147483646 h 239"/>
              <a:gd name="T18" fmla="*/ 2147483646 w 218"/>
              <a:gd name="T19" fmla="*/ 2147483646 h 239"/>
              <a:gd name="T20" fmla="*/ 2147483646 w 218"/>
              <a:gd name="T21" fmla="*/ 2147483646 h 239"/>
              <a:gd name="T22" fmla="*/ 2147483646 w 218"/>
              <a:gd name="T23" fmla="*/ 2147483646 h 239"/>
              <a:gd name="T24" fmla="*/ 2147483646 w 218"/>
              <a:gd name="T25" fmla="*/ 2147483646 h 239"/>
              <a:gd name="T26" fmla="*/ 2147483646 w 218"/>
              <a:gd name="T27" fmla="*/ 2147483646 h 239"/>
              <a:gd name="T28" fmla="*/ 2147483646 w 218"/>
              <a:gd name="T29" fmla="*/ 2147483646 h 23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18"/>
              <a:gd name="T46" fmla="*/ 0 h 239"/>
              <a:gd name="T47" fmla="*/ 218 w 218"/>
              <a:gd name="T48" fmla="*/ 239 h 23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18" h="239">
                <a:moveTo>
                  <a:pt x="42" y="64"/>
                </a:moveTo>
                <a:cubicBezTo>
                  <a:pt x="26" y="75"/>
                  <a:pt x="7" y="95"/>
                  <a:pt x="5" y="112"/>
                </a:cubicBezTo>
                <a:cubicBezTo>
                  <a:pt x="0" y="154"/>
                  <a:pt x="48" y="138"/>
                  <a:pt x="48" y="138"/>
                </a:cubicBezTo>
                <a:cubicBezTo>
                  <a:pt x="10" y="192"/>
                  <a:pt x="10" y="192"/>
                  <a:pt x="10" y="192"/>
                </a:cubicBezTo>
                <a:cubicBezTo>
                  <a:pt x="64" y="229"/>
                  <a:pt x="64" y="229"/>
                  <a:pt x="64" y="229"/>
                </a:cubicBezTo>
                <a:cubicBezTo>
                  <a:pt x="64" y="229"/>
                  <a:pt x="58" y="186"/>
                  <a:pt x="106" y="213"/>
                </a:cubicBezTo>
                <a:cubicBezTo>
                  <a:pt x="154" y="239"/>
                  <a:pt x="175" y="197"/>
                  <a:pt x="175" y="197"/>
                </a:cubicBezTo>
                <a:cubicBezTo>
                  <a:pt x="175" y="197"/>
                  <a:pt x="95" y="149"/>
                  <a:pt x="133" y="149"/>
                </a:cubicBezTo>
                <a:cubicBezTo>
                  <a:pt x="170" y="149"/>
                  <a:pt x="191" y="138"/>
                  <a:pt x="191" y="138"/>
                </a:cubicBezTo>
                <a:cubicBezTo>
                  <a:pt x="191" y="138"/>
                  <a:pt x="218" y="85"/>
                  <a:pt x="191" y="96"/>
                </a:cubicBezTo>
                <a:cubicBezTo>
                  <a:pt x="164" y="107"/>
                  <a:pt x="196" y="101"/>
                  <a:pt x="164" y="107"/>
                </a:cubicBezTo>
                <a:cubicBezTo>
                  <a:pt x="133" y="112"/>
                  <a:pt x="101" y="96"/>
                  <a:pt x="122" y="75"/>
                </a:cubicBezTo>
                <a:cubicBezTo>
                  <a:pt x="143" y="54"/>
                  <a:pt x="180" y="0"/>
                  <a:pt x="143" y="22"/>
                </a:cubicBezTo>
                <a:cubicBezTo>
                  <a:pt x="106" y="43"/>
                  <a:pt x="127" y="32"/>
                  <a:pt x="106" y="43"/>
                </a:cubicBezTo>
                <a:cubicBezTo>
                  <a:pt x="85" y="54"/>
                  <a:pt x="42" y="64"/>
                  <a:pt x="42" y="6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78" name="Freeform 714"/>
          <p:cNvSpPr>
            <a:spLocks/>
          </p:cNvSpPr>
          <p:nvPr userDrawn="1"/>
        </p:nvSpPr>
        <p:spPr bwMode="auto">
          <a:xfrm>
            <a:off x="5944607" y="2187141"/>
            <a:ext cx="80404" cy="95480"/>
          </a:xfrm>
          <a:custGeom>
            <a:avLst/>
            <a:gdLst>
              <a:gd name="T0" fmla="*/ 0 w 85"/>
              <a:gd name="T1" fmla="*/ 2147483646 h 101"/>
              <a:gd name="T2" fmla="*/ 2147483646 w 85"/>
              <a:gd name="T3" fmla="*/ 2147483646 h 101"/>
              <a:gd name="T4" fmla="*/ 2147483646 w 85"/>
              <a:gd name="T5" fmla="*/ 2147483646 h 101"/>
              <a:gd name="T6" fmla="*/ 2147483646 w 85"/>
              <a:gd name="T7" fmla="*/ 2147483646 h 101"/>
              <a:gd name="T8" fmla="*/ 2147483646 w 85"/>
              <a:gd name="T9" fmla="*/ 2147483646 h 101"/>
              <a:gd name="T10" fmla="*/ 2147483646 w 85"/>
              <a:gd name="T11" fmla="*/ 2147483646 h 101"/>
              <a:gd name="T12" fmla="*/ 0 w 85"/>
              <a:gd name="T13" fmla="*/ 2147483646 h 1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"/>
              <a:gd name="T22" fmla="*/ 0 h 101"/>
              <a:gd name="T23" fmla="*/ 85 w 85"/>
              <a:gd name="T24" fmla="*/ 101 h 10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5" h="101">
                <a:moveTo>
                  <a:pt x="0" y="32"/>
                </a:moveTo>
                <a:cubicBezTo>
                  <a:pt x="5" y="96"/>
                  <a:pt x="5" y="96"/>
                  <a:pt x="5" y="96"/>
                </a:cubicBezTo>
                <a:cubicBezTo>
                  <a:pt x="42" y="101"/>
                  <a:pt x="42" y="101"/>
                  <a:pt x="42" y="101"/>
                </a:cubicBezTo>
                <a:cubicBezTo>
                  <a:pt x="74" y="80"/>
                  <a:pt x="85" y="64"/>
                  <a:pt x="85" y="64"/>
                </a:cubicBezTo>
                <a:cubicBezTo>
                  <a:pt x="85" y="64"/>
                  <a:pt x="63" y="58"/>
                  <a:pt x="53" y="38"/>
                </a:cubicBezTo>
                <a:cubicBezTo>
                  <a:pt x="37" y="6"/>
                  <a:pt x="74" y="11"/>
                  <a:pt x="37" y="6"/>
                </a:cubicBezTo>
                <a:cubicBezTo>
                  <a:pt x="0" y="0"/>
                  <a:pt x="0" y="32"/>
                  <a:pt x="0" y="3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79" name="Freeform 715"/>
          <p:cNvSpPr>
            <a:spLocks/>
          </p:cNvSpPr>
          <p:nvPr userDrawn="1"/>
        </p:nvSpPr>
        <p:spPr bwMode="auto">
          <a:xfrm>
            <a:off x="3882569" y="2135214"/>
            <a:ext cx="1093836" cy="938052"/>
          </a:xfrm>
          <a:custGeom>
            <a:avLst/>
            <a:gdLst>
              <a:gd name="T0" fmla="*/ 2147483646 w 1173"/>
              <a:gd name="T1" fmla="*/ 2147483646 h 1005"/>
              <a:gd name="T2" fmla="*/ 2147483646 w 1173"/>
              <a:gd name="T3" fmla="*/ 2147483646 h 1005"/>
              <a:gd name="T4" fmla="*/ 2147483646 w 1173"/>
              <a:gd name="T5" fmla="*/ 2147483646 h 1005"/>
              <a:gd name="T6" fmla="*/ 2147483646 w 1173"/>
              <a:gd name="T7" fmla="*/ 2147483646 h 1005"/>
              <a:gd name="T8" fmla="*/ 2147483646 w 1173"/>
              <a:gd name="T9" fmla="*/ 2147483646 h 1005"/>
              <a:gd name="T10" fmla="*/ 2147483646 w 1173"/>
              <a:gd name="T11" fmla="*/ 2147483646 h 1005"/>
              <a:gd name="T12" fmla="*/ 2147483646 w 1173"/>
              <a:gd name="T13" fmla="*/ 2147483646 h 1005"/>
              <a:gd name="T14" fmla="*/ 2147483646 w 1173"/>
              <a:gd name="T15" fmla="*/ 2147483646 h 1005"/>
              <a:gd name="T16" fmla="*/ 2147483646 w 1173"/>
              <a:gd name="T17" fmla="*/ 2147483646 h 1005"/>
              <a:gd name="T18" fmla="*/ 2147483646 w 1173"/>
              <a:gd name="T19" fmla="*/ 2147483646 h 1005"/>
              <a:gd name="T20" fmla="*/ 2147483646 w 1173"/>
              <a:gd name="T21" fmla="*/ 2147483646 h 1005"/>
              <a:gd name="T22" fmla="*/ 2147483646 w 1173"/>
              <a:gd name="T23" fmla="*/ 2147483646 h 1005"/>
              <a:gd name="T24" fmla="*/ 2147483646 w 1173"/>
              <a:gd name="T25" fmla="*/ 2147483646 h 1005"/>
              <a:gd name="T26" fmla="*/ 2147483646 w 1173"/>
              <a:gd name="T27" fmla="*/ 2147483646 h 1005"/>
              <a:gd name="T28" fmla="*/ 2147483646 w 1173"/>
              <a:gd name="T29" fmla="*/ 2147483646 h 1005"/>
              <a:gd name="T30" fmla="*/ 2147483646 w 1173"/>
              <a:gd name="T31" fmla="*/ 2147483646 h 1005"/>
              <a:gd name="T32" fmla="*/ 2147483646 w 1173"/>
              <a:gd name="T33" fmla="*/ 2147483646 h 1005"/>
              <a:gd name="T34" fmla="*/ 2147483646 w 1173"/>
              <a:gd name="T35" fmla="*/ 2147483646 h 1005"/>
              <a:gd name="T36" fmla="*/ 2147483646 w 1173"/>
              <a:gd name="T37" fmla="*/ 2147483646 h 1005"/>
              <a:gd name="T38" fmla="*/ 2147483646 w 1173"/>
              <a:gd name="T39" fmla="*/ 2147483646 h 1005"/>
              <a:gd name="T40" fmla="*/ 2147483646 w 1173"/>
              <a:gd name="T41" fmla="*/ 2147483646 h 1005"/>
              <a:gd name="T42" fmla="*/ 2147483646 w 1173"/>
              <a:gd name="T43" fmla="*/ 2147483646 h 1005"/>
              <a:gd name="T44" fmla="*/ 2147483646 w 1173"/>
              <a:gd name="T45" fmla="*/ 2147483646 h 1005"/>
              <a:gd name="T46" fmla="*/ 2147483646 w 1173"/>
              <a:gd name="T47" fmla="*/ 2147483646 h 1005"/>
              <a:gd name="T48" fmla="*/ 2147483646 w 1173"/>
              <a:gd name="T49" fmla="*/ 2147483646 h 1005"/>
              <a:gd name="T50" fmla="*/ 2147483646 w 1173"/>
              <a:gd name="T51" fmla="*/ 2147483646 h 1005"/>
              <a:gd name="T52" fmla="*/ 2147483646 w 1173"/>
              <a:gd name="T53" fmla="*/ 2147483646 h 1005"/>
              <a:gd name="T54" fmla="*/ 2147483646 w 1173"/>
              <a:gd name="T55" fmla="*/ 2147483646 h 1005"/>
              <a:gd name="T56" fmla="*/ 2147483646 w 1173"/>
              <a:gd name="T57" fmla="*/ 2147483646 h 1005"/>
              <a:gd name="T58" fmla="*/ 2147483646 w 1173"/>
              <a:gd name="T59" fmla="*/ 2147483646 h 1005"/>
              <a:gd name="T60" fmla="*/ 2147483646 w 1173"/>
              <a:gd name="T61" fmla="*/ 2147483646 h 1005"/>
              <a:gd name="T62" fmla="*/ 2147483646 w 1173"/>
              <a:gd name="T63" fmla="*/ 2147483646 h 1005"/>
              <a:gd name="T64" fmla="*/ 2147483646 w 1173"/>
              <a:gd name="T65" fmla="*/ 2147483646 h 1005"/>
              <a:gd name="T66" fmla="*/ 2147483646 w 1173"/>
              <a:gd name="T67" fmla="*/ 2147483646 h 1005"/>
              <a:gd name="T68" fmla="*/ 2147483646 w 1173"/>
              <a:gd name="T69" fmla="*/ 2147483646 h 1005"/>
              <a:gd name="T70" fmla="*/ 2147483646 w 1173"/>
              <a:gd name="T71" fmla="*/ 2147483646 h 1005"/>
              <a:gd name="T72" fmla="*/ 2147483646 w 1173"/>
              <a:gd name="T73" fmla="*/ 2147483646 h 1005"/>
              <a:gd name="T74" fmla="*/ 2147483646 w 1173"/>
              <a:gd name="T75" fmla="*/ 2147483646 h 1005"/>
              <a:gd name="T76" fmla="*/ 2147483646 w 1173"/>
              <a:gd name="T77" fmla="*/ 2147483646 h 1005"/>
              <a:gd name="T78" fmla="*/ 2147483646 w 1173"/>
              <a:gd name="T79" fmla="*/ 2147483646 h 1005"/>
              <a:gd name="T80" fmla="*/ 2147483646 w 1173"/>
              <a:gd name="T81" fmla="*/ 2147483646 h 1005"/>
              <a:gd name="T82" fmla="*/ 2147483646 w 1173"/>
              <a:gd name="T83" fmla="*/ 2147483646 h 1005"/>
              <a:gd name="T84" fmla="*/ 2147483646 w 1173"/>
              <a:gd name="T85" fmla="*/ 2147483646 h 1005"/>
              <a:gd name="T86" fmla="*/ 2147483646 w 1173"/>
              <a:gd name="T87" fmla="*/ 2147483646 h 1005"/>
              <a:gd name="T88" fmla="*/ 2147483646 w 1173"/>
              <a:gd name="T89" fmla="*/ 2147483646 h 1005"/>
              <a:gd name="T90" fmla="*/ 2147483646 w 1173"/>
              <a:gd name="T91" fmla="*/ 2147483646 h 1005"/>
              <a:gd name="T92" fmla="*/ 2147483646 w 1173"/>
              <a:gd name="T93" fmla="*/ 2147483646 h 1005"/>
              <a:gd name="T94" fmla="*/ 2147483646 w 1173"/>
              <a:gd name="T95" fmla="*/ 2147483646 h 1005"/>
              <a:gd name="T96" fmla="*/ 2147483646 w 1173"/>
              <a:gd name="T97" fmla="*/ 2147483646 h 1005"/>
              <a:gd name="T98" fmla="*/ 2147483646 w 1173"/>
              <a:gd name="T99" fmla="*/ 2147483646 h 1005"/>
              <a:gd name="T100" fmla="*/ 2147483646 w 1173"/>
              <a:gd name="T101" fmla="*/ 2147483646 h 1005"/>
              <a:gd name="T102" fmla="*/ 2147483646 w 1173"/>
              <a:gd name="T103" fmla="*/ 2147483646 h 1005"/>
              <a:gd name="T104" fmla="*/ 2147483646 w 1173"/>
              <a:gd name="T105" fmla="*/ 2147483646 h 1005"/>
              <a:gd name="T106" fmla="*/ 2147483646 w 1173"/>
              <a:gd name="T107" fmla="*/ 2147483646 h 1005"/>
              <a:gd name="T108" fmla="*/ 2147483646 w 1173"/>
              <a:gd name="T109" fmla="*/ 2147483646 h 1005"/>
              <a:gd name="T110" fmla="*/ 2147483646 w 1173"/>
              <a:gd name="T111" fmla="*/ 2147483646 h 1005"/>
              <a:gd name="T112" fmla="*/ 2147483646 w 1173"/>
              <a:gd name="T113" fmla="*/ 2147483646 h 1005"/>
              <a:gd name="T114" fmla="*/ 2147483646 w 1173"/>
              <a:gd name="T115" fmla="*/ 2147483646 h 1005"/>
              <a:gd name="T116" fmla="*/ 2147483646 w 1173"/>
              <a:gd name="T117" fmla="*/ 2147483646 h 1005"/>
              <a:gd name="T118" fmla="*/ 2147483646 w 1173"/>
              <a:gd name="T119" fmla="*/ 2147483646 h 100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173"/>
              <a:gd name="T181" fmla="*/ 0 h 1005"/>
              <a:gd name="T182" fmla="*/ 1173 w 1173"/>
              <a:gd name="T183" fmla="*/ 1005 h 1005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173" h="1005">
                <a:moveTo>
                  <a:pt x="488" y="61"/>
                </a:moveTo>
                <a:cubicBezTo>
                  <a:pt x="481" y="57"/>
                  <a:pt x="490" y="36"/>
                  <a:pt x="490" y="36"/>
                </a:cubicBezTo>
                <a:cubicBezTo>
                  <a:pt x="490" y="36"/>
                  <a:pt x="495" y="15"/>
                  <a:pt x="488" y="16"/>
                </a:cubicBezTo>
                <a:cubicBezTo>
                  <a:pt x="474" y="18"/>
                  <a:pt x="472" y="3"/>
                  <a:pt x="468" y="11"/>
                </a:cubicBezTo>
                <a:cubicBezTo>
                  <a:pt x="461" y="25"/>
                  <a:pt x="449" y="27"/>
                  <a:pt x="449" y="27"/>
                </a:cubicBezTo>
                <a:cubicBezTo>
                  <a:pt x="434" y="25"/>
                  <a:pt x="434" y="11"/>
                  <a:pt x="427" y="16"/>
                </a:cubicBezTo>
                <a:cubicBezTo>
                  <a:pt x="420" y="20"/>
                  <a:pt x="407" y="6"/>
                  <a:pt x="404" y="16"/>
                </a:cubicBezTo>
                <a:cubicBezTo>
                  <a:pt x="400" y="32"/>
                  <a:pt x="379" y="23"/>
                  <a:pt x="379" y="23"/>
                </a:cubicBezTo>
                <a:cubicBezTo>
                  <a:pt x="379" y="23"/>
                  <a:pt x="361" y="45"/>
                  <a:pt x="354" y="41"/>
                </a:cubicBezTo>
                <a:cubicBezTo>
                  <a:pt x="347" y="36"/>
                  <a:pt x="350" y="16"/>
                  <a:pt x="343" y="25"/>
                </a:cubicBezTo>
                <a:cubicBezTo>
                  <a:pt x="336" y="34"/>
                  <a:pt x="329" y="45"/>
                  <a:pt x="329" y="45"/>
                </a:cubicBezTo>
                <a:cubicBezTo>
                  <a:pt x="329" y="45"/>
                  <a:pt x="338" y="59"/>
                  <a:pt x="331" y="61"/>
                </a:cubicBezTo>
                <a:cubicBezTo>
                  <a:pt x="318" y="68"/>
                  <a:pt x="318" y="68"/>
                  <a:pt x="318" y="68"/>
                </a:cubicBezTo>
                <a:cubicBezTo>
                  <a:pt x="318" y="68"/>
                  <a:pt x="317" y="53"/>
                  <a:pt x="311" y="50"/>
                </a:cubicBezTo>
                <a:cubicBezTo>
                  <a:pt x="295" y="41"/>
                  <a:pt x="300" y="23"/>
                  <a:pt x="293" y="34"/>
                </a:cubicBezTo>
                <a:cubicBezTo>
                  <a:pt x="286" y="45"/>
                  <a:pt x="293" y="43"/>
                  <a:pt x="293" y="52"/>
                </a:cubicBezTo>
                <a:cubicBezTo>
                  <a:pt x="293" y="61"/>
                  <a:pt x="279" y="63"/>
                  <a:pt x="279" y="63"/>
                </a:cubicBezTo>
                <a:cubicBezTo>
                  <a:pt x="279" y="63"/>
                  <a:pt x="263" y="82"/>
                  <a:pt x="252" y="77"/>
                </a:cubicBezTo>
                <a:cubicBezTo>
                  <a:pt x="241" y="73"/>
                  <a:pt x="241" y="61"/>
                  <a:pt x="234" y="75"/>
                </a:cubicBezTo>
                <a:cubicBezTo>
                  <a:pt x="227" y="88"/>
                  <a:pt x="213" y="88"/>
                  <a:pt x="204" y="86"/>
                </a:cubicBezTo>
                <a:cubicBezTo>
                  <a:pt x="195" y="84"/>
                  <a:pt x="191" y="77"/>
                  <a:pt x="186" y="88"/>
                </a:cubicBezTo>
                <a:cubicBezTo>
                  <a:pt x="182" y="100"/>
                  <a:pt x="170" y="77"/>
                  <a:pt x="168" y="84"/>
                </a:cubicBezTo>
                <a:cubicBezTo>
                  <a:pt x="166" y="91"/>
                  <a:pt x="168" y="101"/>
                  <a:pt x="159" y="104"/>
                </a:cubicBezTo>
                <a:cubicBezTo>
                  <a:pt x="143" y="111"/>
                  <a:pt x="136" y="107"/>
                  <a:pt x="139" y="118"/>
                </a:cubicBezTo>
                <a:cubicBezTo>
                  <a:pt x="141" y="129"/>
                  <a:pt x="145" y="111"/>
                  <a:pt x="152" y="122"/>
                </a:cubicBezTo>
                <a:cubicBezTo>
                  <a:pt x="159" y="134"/>
                  <a:pt x="157" y="132"/>
                  <a:pt x="166" y="127"/>
                </a:cubicBezTo>
                <a:cubicBezTo>
                  <a:pt x="175" y="122"/>
                  <a:pt x="184" y="109"/>
                  <a:pt x="186" y="122"/>
                </a:cubicBezTo>
                <a:cubicBezTo>
                  <a:pt x="189" y="136"/>
                  <a:pt x="193" y="118"/>
                  <a:pt x="202" y="127"/>
                </a:cubicBezTo>
                <a:cubicBezTo>
                  <a:pt x="211" y="136"/>
                  <a:pt x="225" y="127"/>
                  <a:pt x="220" y="141"/>
                </a:cubicBezTo>
                <a:cubicBezTo>
                  <a:pt x="216" y="154"/>
                  <a:pt x="227" y="147"/>
                  <a:pt x="213" y="168"/>
                </a:cubicBezTo>
                <a:cubicBezTo>
                  <a:pt x="200" y="188"/>
                  <a:pt x="193" y="154"/>
                  <a:pt x="182" y="181"/>
                </a:cubicBezTo>
                <a:cubicBezTo>
                  <a:pt x="170" y="209"/>
                  <a:pt x="186" y="227"/>
                  <a:pt x="157" y="202"/>
                </a:cubicBezTo>
                <a:cubicBezTo>
                  <a:pt x="127" y="177"/>
                  <a:pt x="98" y="184"/>
                  <a:pt x="84" y="195"/>
                </a:cubicBezTo>
                <a:cubicBezTo>
                  <a:pt x="71" y="206"/>
                  <a:pt x="71" y="218"/>
                  <a:pt x="59" y="218"/>
                </a:cubicBezTo>
                <a:cubicBezTo>
                  <a:pt x="48" y="218"/>
                  <a:pt x="57" y="188"/>
                  <a:pt x="43" y="204"/>
                </a:cubicBezTo>
                <a:cubicBezTo>
                  <a:pt x="30" y="220"/>
                  <a:pt x="30" y="216"/>
                  <a:pt x="16" y="216"/>
                </a:cubicBezTo>
                <a:cubicBezTo>
                  <a:pt x="2" y="216"/>
                  <a:pt x="5" y="193"/>
                  <a:pt x="2" y="216"/>
                </a:cubicBezTo>
                <a:cubicBezTo>
                  <a:pt x="0" y="238"/>
                  <a:pt x="12" y="240"/>
                  <a:pt x="23" y="243"/>
                </a:cubicBezTo>
                <a:cubicBezTo>
                  <a:pt x="34" y="245"/>
                  <a:pt x="55" y="225"/>
                  <a:pt x="46" y="247"/>
                </a:cubicBezTo>
                <a:cubicBezTo>
                  <a:pt x="36" y="270"/>
                  <a:pt x="89" y="229"/>
                  <a:pt x="91" y="240"/>
                </a:cubicBezTo>
                <a:cubicBezTo>
                  <a:pt x="93" y="252"/>
                  <a:pt x="100" y="234"/>
                  <a:pt x="105" y="250"/>
                </a:cubicBezTo>
                <a:cubicBezTo>
                  <a:pt x="109" y="265"/>
                  <a:pt x="105" y="254"/>
                  <a:pt x="130" y="261"/>
                </a:cubicBezTo>
                <a:cubicBezTo>
                  <a:pt x="154" y="268"/>
                  <a:pt x="164" y="279"/>
                  <a:pt x="164" y="279"/>
                </a:cubicBezTo>
                <a:cubicBezTo>
                  <a:pt x="164" y="279"/>
                  <a:pt x="154" y="288"/>
                  <a:pt x="132" y="290"/>
                </a:cubicBezTo>
                <a:cubicBezTo>
                  <a:pt x="109" y="293"/>
                  <a:pt x="100" y="281"/>
                  <a:pt x="86" y="288"/>
                </a:cubicBezTo>
                <a:cubicBezTo>
                  <a:pt x="73" y="295"/>
                  <a:pt x="59" y="304"/>
                  <a:pt x="50" y="306"/>
                </a:cubicBezTo>
                <a:cubicBezTo>
                  <a:pt x="41" y="309"/>
                  <a:pt x="43" y="279"/>
                  <a:pt x="32" y="293"/>
                </a:cubicBezTo>
                <a:cubicBezTo>
                  <a:pt x="21" y="306"/>
                  <a:pt x="21" y="315"/>
                  <a:pt x="34" y="318"/>
                </a:cubicBezTo>
                <a:cubicBezTo>
                  <a:pt x="48" y="320"/>
                  <a:pt x="48" y="302"/>
                  <a:pt x="55" y="320"/>
                </a:cubicBezTo>
                <a:cubicBezTo>
                  <a:pt x="61" y="338"/>
                  <a:pt x="64" y="327"/>
                  <a:pt x="80" y="322"/>
                </a:cubicBezTo>
                <a:cubicBezTo>
                  <a:pt x="95" y="318"/>
                  <a:pt x="95" y="288"/>
                  <a:pt x="116" y="306"/>
                </a:cubicBezTo>
                <a:cubicBezTo>
                  <a:pt x="136" y="324"/>
                  <a:pt x="127" y="318"/>
                  <a:pt x="132" y="331"/>
                </a:cubicBezTo>
                <a:cubicBezTo>
                  <a:pt x="136" y="345"/>
                  <a:pt x="132" y="331"/>
                  <a:pt x="161" y="331"/>
                </a:cubicBezTo>
                <a:cubicBezTo>
                  <a:pt x="191" y="331"/>
                  <a:pt x="193" y="318"/>
                  <a:pt x="200" y="324"/>
                </a:cubicBezTo>
                <a:cubicBezTo>
                  <a:pt x="207" y="331"/>
                  <a:pt x="200" y="306"/>
                  <a:pt x="220" y="318"/>
                </a:cubicBezTo>
                <a:cubicBezTo>
                  <a:pt x="241" y="329"/>
                  <a:pt x="277" y="331"/>
                  <a:pt x="277" y="331"/>
                </a:cubicBezTo>
                <a:cubicBezTo>
                  <a:pt x="277" y="331"/>
                  <a:pt x="279" y="343"/>
                  <a:pt x="288" y="334"/>
                </a:cubicBezTo>
                <a:cubicBezTo>
                  <a:pt x="297" y="324"/>
                  <a:pt x="318" y="329"/>
                  <a:pt x="316" y="338"/>
                </a:cubicBezTo>
                <a:cubicBezTo>
                  <a:pt x="313" y="347"/>
                  <a:pt x="329" y="340"/>
                  <a:pt x="329" y="340"/>
                </a:cubicBezTo>
                <a:cubicBezTo>
                  <a:pt x="329" y="340"/>
                  <a:pt x="347" y="343"/>
                  <a:pt x="352" y="354"/>
                </a:cubicBezTo>
                <a:cubicBezTo>
                  <a:pt x="356" y="365"/>
                  <a:pt x="377" y="349"/>
                  <a:pt x="375" y="368"/>
                </a:cubicBezTo>
                <a:cubicBezTo>
                  <a:pt x="372" y="386"/>
                  <a:pt x="388" y="372"/>
                  <a:pt x="395" y="383"/>
                </a:cubicBezTo>
                <a:cubicBezTo>
                  <a:pt x="402" y="395"/>
                  <a:pt x="422" y="386"/>
                  <a:pt x="420" y="406"/>
                </a:cubicBezTo>
                <a:cubicBezTo>
                  <a:pt x="418" y="427"/>
                  <a:pt x="434" y="431"/>
                  <a:pt x="434" y="447"/>
                </a:cubicBezTo>
                <a:cubicBezTo>
                  <a:pt x="434" y="463"/>
                  <a:pt x="470" y="431"/>
                  <a:pt x="479" y="449"/>
                </a:cubicBezTo>
                <a:cubicBezTo>
                  <a:pt x="488" y="467"/>
                  <a:pt x="495" y="479"/>
                  <a:pt x="477" y="488"/>
                </a:cubicBezTo>
                <a:cubicBezTo>
                  <a:pt x="459" y="497"/>
                  <a:pt x="443" y="483"/>
                  <a:pt x="447" y="499"/>
                </a:cubicBezTo>
                <a:cubicBezTo>
                  <a:pt x="452" y="515"/>
                  <a:pt x="470" y="495"/>
                  <a:pt x="472" y="511"/>
                </a:cubicBezTo>
                <a:cubicBezTo>
                  <a:pt x="474" y="526"/>
                  <a:pt x="454" y="538"/>
                  <a:pt x="459" y="545"/>
                </a:cubicBezTo>
                <a:cubicBezTo>
                  <a:pt x="463" y="551"/>
                  <a:pt x="452" y="540"/>
                  <a:pt x="472" y="549"/>
                </a:cubicBezTo>
                <a:cubicBezTo>
                  <a:pt x="493" y="558"/>
                  <a:pt x="529" y="535"/>
                  <a:pt x="520" y="565"/>
                </a:cubicBezTo>
                <a:cubicBezTo>
                  <a:pt x="511" y="594"/>
                  <a:pt x="518" y="583"/>
                  <a:pt x="540" y="590"/>
                </a:cubicBezTo>
                <a:cubicBezTo>
                  <a:pt x="563" y="597"/>
                  <a:pt x="577" y="590"/>
                  <a:pt x="574" y="610"/>
                </a:cubicBezTo>
                <a:cubicBezTo>
                  <a:pt x="572" y="631"/>
                  <a:pt x="579" y="665"/>
                  <a:pt x="579" y="665"/>
                </a:cubicBezTo>
                <a:cubicBezTo>
                  <a:pt x="579" y="665"/>
                  <a:pt x="554" y="647"/>
                  <a:pt x="543" y="642"/>
                </a:cubicBezTo>
                <a:cubicBezTo>
                  <a:pt x="531" y="638"/>
                  <a:pt x="522" y="619"/>
                  <a:pt x="511" y="629"/>
                </a:cubicBezTo>
                <a:cubicBezTo>
                  <a:pt x="499" y="638"/>
                  <a:pt x="470" y="638"/>
                  <a:pt x="470" y="638"/>
                </a:cubicBezTo>
                <a:cubicBezTo>
                  <a:pt x="470" y="638"/>
                  <a:pt x="447" y="651"/>
                  <a:pt x="461" y="656"/>
                </a:cubicBezTo>
                <a:cubicBezTo>
                  <a:pt x="474" y="660"/>
                  <a:pt x="488" y="642"/>
                  <a:pt x="497" y="663"/>
                </a:cubicBezTo>
                <a:cubicBezTo>
                  <a:pt x="506" y="683"/>
                  <a:pt x="520" y="649"/>
                  <a:pt x="531" y="665"/>
                </a:cubicBezTo>
                <a:cubicBezTo>
                  <a:pt x="543" y="681"/>
                  <a:pt x="545" y="678"/>
                  <a:pt x="556" y="681"/>
                </a:cubicBezTo>
                <a:cubicBezTo>
                  <a:pt x="567" y="683"/>
                  <a:pt x="567" y="665"/>
                  <a:pt x="574" y="683"/>
                </a:cubicBezTo>
                <a:cubicBezTo>
                  <a:pt x="581" y="701"/>
                  <a:pt x="586" y="681"/>
                  <a:pt x="581" y="701"/>
                </a:cubicBezTo>
                <a:cubicBezTo>
                  <a:pt x="577" y="722"/>
                  <a:pt x="590" y="742"/>
                  <a:pt x="583" y="751"/>
                </a:cubicBezTo>
                <a:cubicBezTo>
                  <a:pt x="577" y="760"/>
                  <a:pt x="579" y="762"/>
                  <a:pt x="565" y="765"/>
                </a:cubicBezTo>
                <a:cubicBezTo>
                  <a:pt x="552" y="767"/>
                  <a:pt x="561" y="747"/>
                  <a:pt x="552" y="767"/>
                </a:cubicBezTo>
                <a:cubicBezTo>
                  <a:pt x="543" y="787"/>
                  <a:pt x="536" y="781"/>
                  <a:pt x="524" y="783"/>
                </a:cubicBezTo>
                <a:cubicBezTo>
                  <a:pt x="513" y="785"/>
                  <a:pt x="499" y="790"/>
                  <a:pt x="508" y="799"/>
                </a:cubicBezTo>
                <a:cubicBezTo>
                  <a:pt x="518" y="808"/>
                  <a:pt x="533" y="792"/>
                  <a:pt x="529" y="806"/>
                </a:cubicBezTo>
                <a:cubicBezTo>
                  <a:pt x="524" y="819"/>
                  <a:pt x="490" y="821"/>
                  <a:pt x="508" y="826"/>
                </a:cubicBezTo>
                <a:cubicBezTo>
                  <a:pt x="527" y="830"/>
                  <a:pt x="538" y="812"/>
                  <a:pt x="545" y="821"/>
                </a:cubicBezTo>
                <a:cubicBezTo>
                  <a:pt x="552" y="830"/>
                  <a:pt x="524" y="851"/>
                  <a:pt x="524" y="851"/>
                </a:cubicBezTo>
                <a:cubicBezTo>
                  <a:pt x="518" y="871"/>
                  <a:pt x="527" y="855"/>
                  <a:pt x="529" y="871"/>
                </a:cubicBezTo>
                <a:cubicBezTo>
                  <a:pt x="531" y="887"/>
                  <a:pt x="511" y="894"/>
                  <a:pt x="522" y="905"/>
                </a:cubicBezTo>
                <a:cubicBezTo>
                  <a:pt x="533" y="917"/>
                  <a:pt x="533" y="880"/>
                  <a:pt x="549" y="896"/>
                </a:cubicBezTo>
                <a:cubicBezTo>
                  <a:pt x="565" y="912"/>
                  <a:pt x="561" y="939"/>
                  <a:pt x="561" y="939"/>
                </a:cubicBezTo>
                <a:cubicBezTo>
                  <a:pt x="561" y="939"/>
                  <a:pt x="590" y="917"/>
                  <a:pt x="586" y="942"/>
                </a:cubicBezTo>
                <a:cubicBezTo>
                  <a:pt x="581" y="967"/>
                  <a:pt x="561" y="976"/>
                  <a:pt x="554" y="971"/>
                </a:cubicBezTo>
                <a:cubicBezTo>
                  <a:pt x="547" y="967"/>
                  <a:pt x="563" y="1005"/>
                  <a:pt x="572" y="1001"/>
                </a:cubicBezTo>
                <a:cubicBezTo>
                  <a:pt x="581" y="996"/>
                  <a:pt x="613" y="976"/>
                  <a:pt x="615" y="985"/>
                </a:cubicBezTo>
                <a:cubicBezTo>
                  <a:pt x="617" y="994"/>
                  <a:pt x="629" y="992"/>
                  <a:pt x="645" y="987"/>
                </a:cubicBezTo>
                <a:cubicBezTo>
                  <a:pt x="661" y="983"/>
                  <a:pt x="670" y="958"/>
                  <a:pt x="697" y="953"/>
                </a:cubicBezTo>
                <a:cubicBezTo>
                  <a:pt x="724" y="948"/>
                  <a:pt x="767" y="926"/>
                  <a:pt x="765" y="912"/>
                </a:cubicBezTo>
                <a:cubicBezTo>
                  <a:pt x="763" y="899"/>
                  <a:pt x="729" y="876"/>
                  <a:pt x="779" y="878"/>
                </a:cubicBezTo>
                <a:cubicBezTo>
                  <a:pt x="828" y="880"/>
                  <a:pt x="860" y="860"/>
                  <a:pt x="862" y="849"/>
                </a:cubicBezTo>
                <a:cubicBezTo>
                  <a:pt x="865" y="837"/>
                  <a:pt x="856" y="830"/>
                  <a:pt x="858" y="817"/>
                </a:cubicBezTo>
                <a:cubicBezTo>
                  <a:pt x="860" y="803"/>
                  <a:pt x="892" y="810"/>
                  <a:pt x="892" y="810"/>
                </a:cubicBezTo>
                <a:cubicBezTo>
                  <a:pt x="892" y="810"/>
                  <a:pt x="908" y="762"/>
                  <a:pt x="917" y="776"/>
                </a:cubicBezTo>
                <a:cubicBezTo>
                  <a:pt x="926" y="790"/>
                  <a:pt x="951" y="769"/>
                  <a:pt x="942" y="765"/>
                </a:cubicBezTo>
                <a:cubicBezTo>
                  <a:pt x="933" y="760"/>
                  <a:pt x="924" y="742"/>
                  <a:pt x="951" y="749"/>
                </a:cubicBezTo>
                <a:cubicBezTo>
                  <a:pt x="978" y="756"/>
                  <a:pt x="1015" y="731"/>
                  <a:pt x="1015" y="731"/>
                </a:cubicBezTo>
                <a:cubicBezTo>
                  <a:pt x="1015" y="731"/>
                  <a:pt x="958" y="703"/>
                  <a:pt x="1012" y="706"/>
                </a:cubicBezTo>
                <a:cubicBezTo>
                  <a:pt x="1067" y="708"/>
                  <a:pt x="1069" y="697"/>
                  <a:pt x="1078" y="699"/>
                </a:cubicBezTo>
                <a:cubicBezTo>
                  <a:pt x="1087" y="701"/>
                  <a:pt x="1087" y="676"/>
                  <a:pt x="1053" y="667"/>
                </a:cubicBezTo>
                <a:cubicBezTo>
                  <a:pt x="1019" y="658"/>
                  <a:pt x="1015" y="660"/>
                  <a:pt x="992" y="660"/>
                </a:cubicBezTo>
                <a:cubicBezTo>
                  <a:pt x="969" y="660"/>
                  <a:pt x="949" y="644"/>
                  <a:pt x="956" y="633"/>
                </a:cubicBezTo>
                <a:cubicBezTo>
                  <a:pt x="962" y="622"/>
                  <a:pt x="1028" y="601"/>
                  <a:pt x="1005" y="592"/>
                </a:cubicBezTo>
                <a:cubicBezTo>
                  <a:pt x="983" y="583"/>
                  <a:pt x="965" y="560"/>
                  <a:pt x="985" y="563"/>
                </a:cubicBezTo>
                <a:cubicBezTo>
                  <a:pt x="1005" y="565"/>
                  <a:pt x="1044" y="565"/>
                  <a:pt x="1028" y="558"/>
                </a:cubicBezTo>
                <a:cubicBezTo>
                  <a:pt x="1012" y="551"/>
                  <a:pt x="994" y="545"/>
                  <a:pt x="1001" y="545"/>
                </a:cubicBezTo>
                <a:cubicBezTo>
                  <a:pt x="1008" y="545"/>
                  <a:pt x="1044" y="547"/>
                  <a:pt x="1024" y="538"/>
                </a:cubicBezTo>
                <a:cubicBezTo>
                  <a:pt x="1003" y="529"/>
                  <a:pt x="1005" y="524"/>
                  <a:pt x="994" y="531"/>
                </a:cubicBezTo>
                <a:cubicBezTo>
                  <a:pt x="983" y="538"/>
                  <a:pt x="980" y="524"/>
                  <a:pt x="974" y="520"/>
                </a:cubicBezTo>
                <a:cubicBezTo>
                  <a:pt x="967" y="515"/>
                  <a:pt x="974" y="508"/>
                  <a:pt x="983" y="506"/>
                </a:cubicBezTo>
                <a:cubicBezTo>
                  <a:pt x="992" y="504"/>
                  <a:pt x="1019" y="488"/>
                  <a:pt x="1030" y="506"/>
                </a:cubicBezTo>
                <a:cubicBezTo>
                  <a:pt x="1042" y="524"/>
                  <a:pt x="1055" y="513"/>
                  <a:pt x="1062" y="531"/>
                </a:cubicBezTo>
                <a:cubicBezTo>
                  <a:pt x="1069" y="549"/>
                  <a:pt x="1071" y="570"/>
                  <a:pt x="1071" y="570"/>
                </a:cubicBezTo>
                <a:cubicBezTo>
                  <a:pt x="1071" y="570"/>
                  <a:pt x="1092" y="592"/>
                  <a:pt x="1094" y="574"/>
                </a:cubicBezTo>
                <a:cubicBezTo>
                  <a:pt x="1096" y="556"/>
                  <a:pt x="1103" y="556"/>
                  <a:pt x="1094" y="545"/>
                </a:cubicBezTo>
                <a:cubicBezTo>
                  <a:pt x="1085" y="533"/>
                  <a:pt x="1080" y="515"/>
                  <a:pt x="1080" y="515"/>
                </a:cubicBezTo>
                <a:cubicBezTo>
                  <a:pt x="1080" y="515"/>
                  <a:pt x="1080" y="499"/>
                  <a:pt x="1064" y="499"/>
                </a:cubicBezTo>
                <a:cubicBezTo>
                  <a:pt x="1049" y="499"/>
                  <a:pt x="1067" y="481"/>
                  <a:pt x="1046" y="479"/>
                </a:cubicBezTo>
                <a:cubicBezTo>
                  <a:pt x="1026" y="476"/>
                  <a:pt x="1037" y="465"/>
                  <a:pt x="1021" y="470"/>
                </a:cubicBezTo>
                <a:cubicBezTo>
                  <a:pt x="1005" y="474"/>
                  <a:pt x="1069" y="447"/>
                  <a:pt x="1058" y="431"/>
                </a:cubicBezTo>
                <a:cubicBezTo>
                  <a:pt x="1046" y="415"/>
                  <a:pt x="1026" y="408"/>
                  <a:pt x="1051" y="402"/>
                </a:cubicBezTo>
                <a:cubicBezTo>
                  <a:pt x="1076" y="395"/>
                  <a:pt x="1092" y="402"/>
                  <a:pt x="1089" y="395"/>
                </a:cubicBezTo>
                <a:cubicBezTo>
                  <a:pt x="1087" y="388"/>
                  <a:pt x="1076" y="374"/>
                  <a:pt x="1076" y="374"/>
                </a:cubicBezTo>
                <a:cubicBezTo>
                  <a:pt x="1062" y="368"/>
                  <a:pt x="1026" y="370"/>
                  <a:pt x="1026" y="363"/>
                </a:cubicBezTo>
                <a:cubicBezTo>
                  <a:pt x="1026" y="356"/>
                  <a:pt x="1024" y="347"/>
                  <a:pt x="1046" y="338"/>
                </a:cubicBezTo>
                <a:cubicBezTo>
                  <a:pt x="1069" y="329"/>
                  <a:pt x="1058" y="320"/>
                  <a:pt x="1083" y="320"/>
                </a:cubicBezTo>
                <a:cubicBezTo>
                  <a:pt x="1108" y="320"/>
                  <a:pt x="1155" y="290"/>
                  <a:pt x="1133" y="286"/>
                </a:cubicBezTo>
                <a:cubicBezTo>
                  <a:pt x="1110" y="281"/>
                  <a:pt x="1108" y="256"/>
                  <a:pt x="1128" y="261"/>
                </a:cubicBezTo>
                <a:cubicBezTo>
                  <a:pt x="1148" y="265"/>
                  <a:pt x="1173" y="238"/>
                  <a:pt x="1157" y="236"/>
                </a:cubicBezTo>
                <a:cubicBezTo>
                  <a:pt x="1142" y="234"/>
                  <a:pt x="1130" y="222"/>
                  <a:pt x="1117" y="234"/>
                </a:cubicBezTo>
                <a:cubicBezTo>
                  <a:pt x="1103" y="245"/>
                  <a:pt x="1108" y="252"/>
                  <a:pt x="1094" y="256"/>
                </a:cubicBezTo>
                <a:cubicBezTo>
                  <a:pt x="1080" y="261"/>
                  <a:pt x="1087" y="240"/>
                  <a:pt x="1078" y="254"/>
                </a:cubicBezTo>
                <a:cubicBezTo>
                  <a:pt x="1069" y="268"/>
                  <a:pt x="1071" y="275"/>
                  <a:pt x="1053" y="277"/>
                </a:cubicBezTo>
                <a:cubicBezTo>
                  <a:pt x="1035" y="279"/>
                  <a:pt x="1035" y="256"/>
                  <a:pt x="1028" y="263"/>
                </a:cubicBezTo>
                <a:cubicBezTo>
                  <a:pt x="1021" y="270"/>
                  <a:pt x="1012" y="247"/>
                  <a:pt x="1035" y="240"/>
                </a:cubicBezTo>
                <a:cubicBezTo>
                  <a:pt x="1058" y="234"/>
                  <a:pt x="1085" y="206"/>
                  <a:pt x="1098" y="213"/>
                </a:cubicBezTo>
                <a:cubicBezTo>
                  <a:pt x="1112" y="220"/>
                  <a:pt x="1114" y="204"/>
                  <a:pt x="1128" y="206"/>
                </a:cubicBezTo>
                <a:cubicBezTo>
                  <a:pt x="1142" y="209"/>
                  <a:pt x="1162" y="206"/>
                  <a:pt x="1162" y="206"/>
                </a:cubicBezTo>
                <a:cubicBezTo>
                  <a:pt x="1139" y="191"/>
                  <a:pt x="1148" y="172"/>
                  <a:pt x="1130" y="177"/>
                </a:cubicBezTo>
                <a:cubicBezTo>
                  <a:pt x="1112" y="181"/>
                  <a:pt x="1110" y="170"/>
                  <a:pt x="1094" y="181"/>
                </a:cubicBezTo>
                <a:cubicBezTo>
                  <a:pt x="1078" y="193"/>
                  <a:pt x="1067" y="193"/>
                  <a:pt x="1042" y="186"/>
                </a:cubicBezTo>
                <a:cubicBezTo>
                  <a:pt x="1017" y="179"/>
                  <a:pt x="1044" y="161"/>
                  <a:pt x="1017" y="179"/>
                </a:cubicBezTo>
                <a:cubicBezTo>
                  <a:pt x="990" y="197"/>
                  <a:pt x="971" y="193"/>
                  <a:pt x="965" y="179"/>
                </a:cubicBezTo>
                <a:cubicBezTo>
                  <a:pt x="958" y="166"/>
                  <a:pt x="933" y="141"/>
                  <a:pt x="933" y="141"/>
                </a:cubicBezTo>
                <a:cubicBezTo>
                  <a:pt x="933" y="141"/>
                  <a:pt x="962" y="122"/>
                  <a:pt x="978" y="125"/>
                </a:cubicBezTo>
                <a:cubicBezTo>
                  <a:pt x="994" y="127"/>
                  <a:pt x="1001" y="111"/>
                  <a:pt x="1021" y="111"/>
                </a:cubicBezTo>
                <a:cubicBezTo>
                  <a:pt x="1042" y="111"/>
                  <a:pt x="1069" y="107"/>
                  <a:pt x="1074" y="98"/>
                </a:cubicBezTo>
                <a:cubicBezTo>
                  <a:pt x="1078" y="88"/>
                  <a:pt x="1083" y="68"/>
                  <a:pt x="1062" y="75"/>
                </a:cubicBezTo>
                <a:cubicBezTo>
                  <a:pt x="1042" y="82"/>
                  <a:pt x="1024" y="77"/>
                  <a:pt x="1005" y="86"/>
                </a:cubicBezTo>
                <a:cubicBezTo>
                  <a:pt x="987" y="95"/>
                  <a:pt x="980" y="57"/>
                  <a:pt x="971" y="79"/>
                </a:cubicBezTo>
                <a:cubicBezTo>
                  <a:pt x="962" y="102"/>
                  <a:pt x="935" y="109"/>
                  <a:pt x="931" y="98"/>
                </a:cubicBezTo>
                <a:cubicBezTo>
                  <a:pt x="926" y="86"/>
                  <a:pt x="917" y="93"/>
                  <a:pt x="908" y="95"/>
                </a:cubicBezTo>
                <a:cubicBezTo>
                  <a:pt x="899" y="98"/>
                  <a:pt x="883" y="75"/>
                  <a:pt x="883" y="75"/>
                </a:cubicBezTo>
                <a:cubicBezTo>
                  <a:pt x="883" y="75"/>
                  <a:pt x="838" y="68"/>
                  <a:pt x="822" y="77"/>
                </a:cubicBezTo>
                <a:cubicBezTo>
                  <a:pt x="806" y="86"/>
                  <a:pt x="794" y="73"/>
                  <a:pt x="788" y="59"/>
                </a:cubicBezTo>
                <a:cubicBezTo>
                  <a:pt x="781" y="45"/>
                  <a:pt x="788" y="2"/>
                  <a:pt x="774" y="32"/>
                </a:cubicBezTo>
                <a:cubicBezTo>
                  <a:pt x="760" y="61"/>
                  <a:pt x="783" y="68"/>
                  <a:pt x="765" y="73"/>
                </a:cubicBezTo>
                <a:cubicBezTo>
                  <a:pt x="747" y="77"/>
                  <a:pt x="733" y="57"/>
                  <a:pt x="722" y="59"/>
                </a:cubicBezTo>
                <a:cubicBezTo>
                  <a:pt x="710" y="61"/>
                  <a:pt x="697" y="50"/>
                  <a:pt x="688" y="52"/>
                </a:cubicBezTo>
                <a:cubicBezTo>
                  <a:pt x="679" y="54"/>
                  <a:pt x="674" y="39"/>
                  <a:pt x="674" y="39"/>
                </a:cubicBezTo>
                <a:cubicBezTo>
                  <a:pt x="674" y="39"/>
                  <a:pt x="645" y="18"/>
                  <a:pt x="633" y="18"/>
                </a:cubicBezTo>
                <a:cubicBezTo>
                  <a:pt x="622" y="18"/>
                  <a:pt x="606" y="0"/>
                  <a:pt x="613" y="18"/>
                </a:cubicBezTo>
                <a:cubicBezTo>
                  <a:pt x="620" y="36"/>
                  <a:pt x="647" y="43"/>
                  <a:pt x="629" y="57"/>
                </a:cubicBezTo>
                <a:cubicBezTo>
                  <a:pt x="611" y="70"/>
                  <a:pt x="588" y="45"/>
                  <a:pt x="579" y="54"/>
                </a:cubicBezTo>
                <a:cubicBezTo>
                  <a:pt x="570" y="63"/>
                  <a:pt x="549" y="66"/>
                  <a:pt x="545" y="57"/>
                </a:cubicBezTo>
                <a:cubicBezTo>
                  <a:pt x="540" y="48"/>
                  <a:pt x="565" y="27"/>
                  <a:pt x="549" y="23"/>
                </a:cubicBezTo>
                <a:cubicBezTo>
                  <a:pt x="533" y="18"/>
                  <a:pt x="520" y="18"/>
                  <a:pt x="518" y="29"/>
                </a:cubicBezTo>
                <a:cubicBezTo>
                  <a:pt x="515" y="41"/>
                  <a:pt x="488" y="61"/>
                  <a:pt x="488" y="6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80" name="Freeform 729"/>
          <p:cNvSpPr>
            <a:spLocks/>
          </p:cNvSpPr>
          <p:nvPr userDrawn="1"/>
        </p:nvSpPr>
        <p:spPr bwMode="auto">
          <a:xfrm>
            <a:off x="9641536" y="6234165"/>
            <a:ext cx="5025" cy="5025"/>
          </a:xfrm>
          <a:custGeom>
            <a:avLst/>
            <a:gdLst>
              <a:gd name="T0" fmla="*/ 2147483646 w 5"/>
              <a:gd name="T1" fmla="*/ 2147483646 h 7"/>
              <a:gd name="T2" fmla="*/ 2147483646 w 5"/>
              <a:gd name="T3" fmla="*/ 2147483646 h 7"/>
              <a:gd name="T4" fmla="*/ 0 w 5"/>
              <a:gd name="T5" fmla="*/ 2147483646 h 7"/>
              <a:gd name="T6" fmla="*/ 2147483646 w 5"/>
              <a:gd name="T7" fmla="*/ 2147483646 h 7"/>
              <a:gd name="T8" fmla="*/ 2147483646 w 5"/>
              <a:gd name="T9" fmla="*/ 2147483646 h 7"/>
              <a:gd name="T10" fmla="*/ 2147483646 w 5"/>
              <a:gd name="T11" fmla="*/ 2147483646 h 7"/>
              <a:gd name="T12" fmla="*/ 2147483646 w 5"/>
              <a:gd name="T13" fmla="*/ 2147483646 h 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7"/>
              <a:gd name="T23" fmla="*/ 5 w 5"/>
              <a:gd name="T24" fmla="*/ 7 h 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7">
                <a:moveTo>
                  <a:pt x="5" y="1"/>
                </a:moveTo>
                <a:cubicBezTo>
                  <a:pt x="4" y="0"/>
                  <a:pt x="3" y="1"/>
                  <a:pt x="2" y="1"/>
                </a:cubicBezTo>
                <a:cubicBezTo>
                  <a:pt x="1" y="2"/>
                  <a:pt x="0" y="0"/>
                  <a:pt x="0" y="3"/>
                </a:cubicBezTo>
                <a:cubicBezTo>
                  <a:pt x="0" y="7"/>
                  <a:pt x="0" y="7"/>
                  <a:pt x="2" y="7"/>
                </a:cubicBezTo>
                <a:cubicBezTo>
                  <a:pt x="3" y="7"/>
                  <a:pt x="4" y="4"/>
                  <a:pt x="4" y="4"/>
                </a:cubicBezTo>
                <a:cubicBezTo>
                  <a:pt x="4" y="4"/>
                  <a:pt x="5" y="3"/>
                  <a:pt x="5" y="2"/>
                </a:cubicBezTo>
                <a:cubicBezTo>
                  <a:pt x="5" y="2"/>
                  <a:pt x="5" y="1"/>
                  <a:pt x="5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81" name="Freeform 730"/>
          <p:cNvSpPr>
            <a:spLocks/>
          </p:cNvSpPr>
          <p:nvPr userDrawn="1"/>
        </p:nvSpPr>
        <p:spPr bwMode="auto">
          <a:xfrm>
            <a:off x="9646562" y="6244215"/>
            <a:ext cx="8375" cy="6700"/>
          </a:xfrm>
          <a:custGeom>
            <a:avLst/>
            <a:gdLst>
              <a:gd name="T0" fmla="*/ 2147483646 w 9"/>
              <a:gd name="T1" fmla="*/ 2147483646 h 7"/>
              <a:gd name="T2" fmla="*/ 2147483646 w 9"/>
              <a:gd name="T3" fmla="*/ 2147483646 h 7"/>
              <a:gd name="T4" fmla="*/ 2147483646 w 9"/>
              <a:gd name="T5" fmla="*/ 2147483646 h 7"/>
              <a:gd name="T6" fmla="*/ 2147483646 w 9"/>
              <a:gd name="T7" fmla="*/ 2147483646 h 7"/>
              <a:gd name="T8" fmla="*/ 2147483646 w 9"/>
              <a:gd name="T9" fmla="*/ 2147483646 h 7"/>
              <a:gd name="T10" fmla="*/ 2147483646 w 9"/>
              <a:gd name="T11" fmla="*/ 2147483646 h 7"/>
              <a:gd name="T12" fmla="*/ 2147483646 w 9"/>
              <a:gd name="T13" fmla="*/ 2147483646 h 7"/>
              <a:gd name="T14" fmla="*/ 2147483646 w 9"/>
              <a:gd name="T15" fmla="*/ 0 h 7"/>
              <a:gd name="T16" fmla="*/ 2147483646 w 9"/>
              <a:gd name="T17" fmla="*/ 2147483646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7"/>
              <a:gd name="T29" fmla="*/ 9 w 9"/>
              <a:gd name="T30" fmla="*/ 7 h 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7">
                <a:moveTo>
                  <a:pt x="4" y="1"/>
                </a:moveTo>
                <a:cubicBezTo>
                  <a:pt x="3" y="0"/>
                  <a:pt x="0" y="0"/>
                  <a:pt x="1" y="1"/>
                </a:cubicBezTo>
                <a:cubicBezTo>
                  <a:pt x="2" y="3"/>
                  <a:pt x="2" y="4"/>
                  <a:pt x="3" y="4"/>
                </a:cubicBezTo>
                <a:cubicBezTo>
                  <a:pt x="4" y="5"/>
                  <a:pt x="5" y="4"/>
                  <a:pt x="5" y="5"/>
                </a:cubicBezTo>
                <a:cubicBezTo>
                  <a:pt x="5" y="6"/>
                  <a:pt x="4" y="7"/>
                  <a:pt x="5" y="7"/>
                </a:cubicBezTo>
                <a:cubicBezTo>
                  <a:pt x="6" y="7"/>
                  <a:pt x="7" y="6"/>
                  <a:pt x="7" y="5"/>
                </a:cubicBezTo>
                <a:cubicBezTo>
                  <a:pt x="8" y="5"/>
                  <a:pt x="9" y="1"/>
                  <a:pt x="9" y="1"/>
                </a:cubicBezTo>
                <a:cubicBezTo>
                  <a:pt x="9" y="1"/>
                  <a:pt x="8" y="0"/>
                  <a:pt x="8" y="0"/>
                </a:cubicBezTo>
                <a:cubicBezTo>
                  <a:pt x="7" y="0"/>
                  <a:pt x="4" y="1"/>
                  <a:pt x="4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82" name="Freeform 731"/>
          <p:cNvSpPr>
            <a:spLocks/>
          </p:cNvSpPr>
          <p:nvPr userDrawn="1"/>
        </p:nvSpPr>
        <p:spPr bwMode="auto">
          <a:xfrm>
            <a:off x="9693465" y="6059955"/>
            <a:ext cx="8375" cy="10051"/>
          </a:xfrm>
          <a:custGeom>
            <a:avLst/>
            <a:gdLst>
              <a:gd name="T0" fmla="*/ 2147483646 w 9"/>
              <a:gd name="T1" fmla="*/ 0 h 11"/>
              <a:gd name="T2" fmla="*/ 2147483646 w 9"/>
              <a:gd name="T3" fmla="*/ 2147483646 h 11"/>
              <a:gd name="T4" fmla="*/ 2147483646 w 9"/>
              <a:gd name="T5" fmla="*/ 2147483646 h 11"/>
              <a:gd name="T6" fmla="*/ 2147483646 w 9"/>
              <a:gd name="T7" fmla="*/ 2147483646 h 11"/>
              <a:gd name="T8" fmla="*/ 2147483646 w 9"/>
              <a:gd name="T9" fmla="*/ 2147483646 h 11"/>
              <a:gd name="T10" fmla="*/ 2147483646 w 9"/>
              <a:gd name="T11" fmla="*/ 2147483646 h 11"/>
              <a:gd name="T12" fmla="*/ 2147483646 w 9"/>
              <a:gd name="T13" fmla="*/ 2147483646 h 11"/>
              <a:gd name="T14" fmla="*/ 2147483646 w 9"/>
              <a:gd name="T15" fmla="*/ 2147483646 h 11"/>
              <a:gd name="T16" fmla="*/ 2147483646 w 9"/>
              <a:gd name="T17" fmla="*/ 0 h 1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11"/>
              <a:gd name="T29" fmla="*/ 9 w 9"/>
              <a:gd name="T30" fmla="*/ 11 h 1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11">
                <a:moveTo>
                  <a:pt x="4" y="0"/>
                </a:moveTo>
                <a:cubicBezTo>
                  <a:pt x="3" y="0"/>
                  <a:pt x="3" y="2"/>
                  <a:pt x="3" y="3"/>
                </a:cubicBezTo>
                <a:cubicBezTo>
                  <a:pt x="3" y="4"/>
                  <a:pt x="0" y="3"/>
                  <a:pt x="1" y="5"/>
                </a:cubicBezTo>
                <a:cubicBezTo>
                  <a:pt x="2" y="7"/>
                  <a:pt x="5" y="8"/>
                  <a:pt x="6" y="9"/>
                </a:cubicBezTo>
                <a:cubicBezTo>
                  <a:pt x="7" y="10"/>
                  <a:pt x="6" y="11"/>
                  <a:pt x="8" y="11"/>
                </a:cubicBezTo>
                <a:cubicBezTo>
                  <a:pt x="9" y="11"/>
                  <a:pt x="8" y="9"/>
                  <a:pt x="8" y="7"/>
                </a:cubicBezTo>
                <a:cubicBezTo>
                  <a:pt x="8" y="5"/>
                  <a:pt x="8" y="4"/>
                  <a:pt x="8" y="3"/>
                </a:cubicBezTo>
                <a:cubicBezTo>
                  <a:pt x="8" y="3"/>
                  <a:pt x="5" y="0"/>
                  <a:pt x="5" y="1"/>
                </a:cubicBezTo>
                <a:cubicBezTo>
                  <a:pt x="5" y="1"/>
                  <a:pt x="4" y="0"/>
                  <a:pt x="4" y="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83" name="Freeform 732"/>
          <p:cNvSpPr>
            <a:spLocks/>
          </p:cNvSpPr>
          <p:nvPr userDrawn="1"/>
        </p:nvSpPr>
        <p:spPr bwMode="auto">
          <a:xfrm>
            <a:off x="9683414" y="6085082"/>
            <a:ext cx="8375" cy="3351"/>
          </a:xfrm>
          <a:custGeom>
            <a:avLst/>
            <a:gdLst>
              <a:gd name="T0" fmla="*/ 2147483646 w 9"/>
              <a:gd name="T1" fmla="*/ 2147483646 h 4"/>
              <a:gd name="T2" fmla="*/ 2147483646 w 9"/>
              <a:gd name="T3" fmla="*/ 2147483646 h 4"/>
              <a:gd name="T4" fmla="*/ 2147483646 w 9"/>
              <a:gd name="T5" fmla="*/ 2147483646 h 4"/>
              <a:gd name="T6" fmla="*/ 2147483646 w 9"/>
              <a:gd name="T7" fmla="*/ 0 h 4"/>
              <a:gd name="T8" fmla="*/ 2147483646 w 9"/>
              <a:gd name="T9" fmla="*/ 2147483646 h 4"/>
              <a:gd name="T10" fmla="*/ 2147483646 w 9"/>
              <a:gd name="T11" fmla="*/ 2147483646 h 4"/>
              <a:gd name="T12" fmla="*/ 2147483646 w 9"/>
              <a:gd name="T13" fmla="*/ 2147483646 h 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4"/>
              <a:gd name="T23" fmla="*/ 9 w 9"/>
              <a:gd name="T24" fmla="*/ 4 h 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4">
                <a:moveTo>
                  <a:pt x="1" y="1"/>
                </a:moveTo>
                <a:cubicBezTo>
                  <a:pt x="0" y="2"/>
                  <a:pt x="1" y="3"/>
                  <a:pt x="3" y="4"/>
                </a:cubicBezTo>
                <a:cubicBezTo>
                  <a:pt x="4" y="4"/>
                  <a:pt x="5" y="4"/>
                  <a:pt x="6" y="3"/>
                </a:cubicBezTo>
                <a:cubicBezTo>
                  <a:pt x="7" y="2"/>
                  <a:pt x="9" y="1"/>
                  <a:pt x="8" y="0"/>
                </a:cubicBezTo>
                <a:cubicBezTo>
                  <a:pt x="8" y="0"/>
                  <a:pt x="6" y="1"/>
                  <a:pt x="5" y="1"/>
                </a:cubicBezTo>
                <a:cubicBezTo>
                  <a:pt x="4" y="1"/>
                  <a:pt x="3" y="3"/>
                  <a:pt x="3" y="2"/>
                </a:cubicBezTo>
                <a:cubicBezTo>
                  <a:pt x="3" y="1"/>
                  <a:pt x="2" y="1"/>
                  <a:pt x="1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84" name="Freeform 733"/>
          <p:cNvSpPr>
            <a:spLocks noEditPoints="1"/>
          </p:cNvSpPr>
          <p:nvPr userDrawn="1"/>
        </p:nvSpPr>
        <p:spPr bwMode="auto">
          <a:xfrm>
            <a:off x="9442201" y="6224114"/>
            <a:ext cx="214412" cy="232837"/>
          </a:xfrm>
          <a:custGeom>
            <a:avLst/>
            <a:gdLst>
              <a:gd name="T0" fmla="*/ 2147483646 w 230"/>
              <a:gd name="T1" fmla="*/ 2147483646 h 250"/>
              <a:gd name="T2" fmla="*/ 2147483646 w 230"/>
              <a:gd name="T3" fmla="*/ 2147483646 h 250"/>
              <a:gd name="T4" fmla="*/ 2147483646 w 230"/>
              <a:gd name="T5" fmla="*/ 2147483646 h 250"/>
              <a:gd name="T6" fmla="*/ 2147483646 w 230"/>
              <a:gd name="T7" fmla="*/ 2147483646 h 250"/>
              <a:gd name="T8" fmla="*/ 2147483646 w 230"/>
              <a:gd name="T9" fmla="*/ 2147483646 h 250"/>
              <a:gd name="T10" fmla="*/ 2147483646 w 230"/>
              <a:gd name="T11" fmla="*/ 2147483646 h 250"/>
              <a:gd name="T12" fmla="*/ 2147483646 w 230"/>
              <a:gd name="T13" fmla="*/ 2147483646 h 250"/>
              <a:gd name="T14" fmla="*/ 2147483646 w 230"/>
              <a:gd name="T15" fmla="*/ 2147483646 h 250"/>
              <a:gd name="T16" fmla="*/ 2147483646 w 230"/>
              <a:gd name="T17" fmla="*/ 2147483646 h 250"/>
              <a:gd name="T18" fmla="*/ 2147483646 w 230"/>
              <a:gd name="T19" fmla="*/ 2147483646 h 250"/>
              <a:gd name="T20" fmla="*/ 2147483646 w 230"/>
              <a:gd name="T21" fmla="*/ 2147483646 h 250"/>
              <a:gd name="T22" fmla="*/ 2147483646 w 230"/>
              <a:gd name="T23" fmla="*/ 2147483646 h 250"/>
              <a:gd name="T24" fmla="*/ 2147483646 w 230"/>
              <a:gd name="T25" fmla="*/ 2147483646 h 250"/>
              <a:gd name="T26" fmla="*/ 2147483646 w 230"/>
              <a:gd name="T27" fmla="*/ 2147483646 h 250"/>
              <a:gd name="T28" fmla="*/ 2147483646 w 230"/>
              <a:gd name="T29" fmla="*/ 2147483646 h 250"/>
              <a:gd name="T30" fmla="*/ 2147483646 w 230"/>
              <a:gd name="T31" fmla="*/ 2147483646 h 250"/>
              <a:gd name="T32" fmla="*/ 2147483646 w 230"/>
              <a:gd name="T33" fmla="*/ 2147483646 h 250"/>
              <a:gd name="T34" fmla="*/ 2147483646 w 230"/>
              <a:gd name="T35" fmla="*/ 2147483646 h 250"/>
              <a:gd name="T36" fmla="*/ 2147483646 w 230"/>
              <a:gd name="T37" fmla="*/ 2147483646 h 250"/>
              <a:gd name="T38" fmla="*/ 2147483646 w 230"/>
              <a:gd name="T39" fmla="*/ 2147483646 h 250"/>
              <a:gd name="T40" fmla="*/ 2147483646 w 230"/>
              <a:gd name="T41" fmla="*/ 2147483646 h 250"/>
              <a:gd name="T42" fmla="*/ 2147483646 w 230"/>
              <a:gd name="T43" fmla="*/ 2147483646 h 250"/>
              <a:gd name="T44" fmla="*/ 2147483646 w 230"/>
              <a:gd name="T45" fmla="*/ 2147483646 h 250"/>
              <a:gd name="T46" fmla="*/ 2147483646 w 230"/>
              <a:gd name="T47" fmla="*/ 2147483646 h 250"/>
              <a:gd name="T48" fmla="*/ 2147483646 w 230"/>
              <a:gd name="T49" fmla="*/ 2147483646 h 250"/>
              <a:gd name="T50" fmla="*/ 2147483646 w 230"/>
              <a:gd name="T51" fmla="*/ 2147483646 h 250"/>
              <a:gd name="T52" fmla="*/ 2147483646 w 230"/>
              <a:gd name="T53" fmla="*/ 2147483646 h 250"/>
              <a:gd name="T54" fmla="*/ 2147483646 w 230"/>
              <a:gd name="T55" fmla="*/ 2147483646 h 250"/>
              <a:gd name="T56" fmla="*/ 2147483646 w 230"/>
              <a:gd name="T57" fmla="*/ 2147483646 h 250"/>
              <a:gd name="T58" fmla="*/ 2147483646 w 230"/>
              <a:gd name="T59" fmla="*/ 2147483646 h 250"/>
              <a:gd name="T60" fmla="*/ 2147483646 w 230"/>
              <a:gd name="T61" fmla="*/ 2147483646 h 250"/>
              <a:gd name="T62" fmla="*/ 2147483646 w 230"/>
              <a:gd name="T63" fmla="*/ 2147483646 h 250"/>
              <a:gd name="T64" fmla="*/ 2147483646 w 230"/>
              <a:gd name="T65" fmla="*/ 2147483646 h 250"/>
              <a:gd name="T66" fmla="*/ 2147483646 w 230"/>
              <a:gd name="T67" fmla="*/ 2147483646 h 250"/>
              <a:gd name="T68" fmla="*/ 2147483646 w 230"/>
              <a:gd name="T69" fmla="*/ 2147483646 h 250"/>
              <a:gd name="T70" fmla="*/ 2147483646 w 230"/>
              <a:gd name="T71" fmla="*/ 2147483646 h 250"/>
              <a:gd name="T72" fmla="*/ 2147483646 w 230"/>
              <a:gd name="T73" fmla="*/ 2147483646 h 250"/>
              <a:gd name="T74" fmla="*/ 2147483646 w 230"/>
              <a:gd name="T75" fmla="*/ 2147483646 h 250"/>
              <a:gd name="T76" fmla="*/ 2147483646 w 230"/>
              <a:gd name="T77" fmla="*/ 2147483646 h 250"/>
              <a:gd name="T78" fmla="*/ 2147483646 w 230"/>
              <a:gd name="T79" fmla="*/ 2147483646 h 250"/>
              <a:gd name="T80" fmla="*/ 2147483646 w 230"/>
              <a:gd name="T81" fmla="*/ 2147483646 h 250"/>
              <a:gd name="T82" fmla="*/ 2147483646 w 230"/>
              <a:gd name="T83" fmla="*/ 2147483646 h 250"/>
              <a:gd name="T84" fmla="*/ 2147483646 w 230"/>
              <a:gd name="T85" fmla="*/ 2147483646 h 250"/>
              <a:gd name="T86" fmla="*/ 2147483646 w 230"/>
              <a:gd name="T87" fmla="*/ 2147483646 h 250"/>
              <a:gd name="T88" fmla="*/ 2147483646 w 230"/>
              <a:gd name="T89" fmla="*/ 2147483646 h 250"/>
              <a:gd name="T90" fmla="*/ 2147483646 w 230"/>
              <a:gd name="T91" fmla="*/ 2147483646 h 250"/>
              <a:gd name="T92" fmla="*/ 2147483646 w 230"/>
              <a:gd name="T93" fmla="*/ 2147483646 h 250"/>
              <a:gd name="T94" fmla="*/ 2147483646 w 230"/>
              <a:gd name="T95" fmla="*/ 2147483646 h 250"/>
              <a:gd name="T96" fmla="*/ 2147483646 w 230"/>
              <a:gd name="T97" fmla="*/ 2147483646 h 250"/>
              <a:gd name="T98" fmla="*/ 2147483646 w 230"/>
              <a:gd name="T99" fmla="*/ 2147483646 h 250"/>
              <a:gd name="T100" fmla="*/ 2147483646 w 230"/>
              <a:gd name="T101" fmla="*/ 2147483646 h 250"/>
              <a:gd name="T102" fmla="*/ 2147483646 w 230"/>
              <a:gd name="T103" fmla="*/ 2147483646 h 250"/>
              <a:gd name="T104" fmla="*/ 2147483646 w 230"/>
              <a:gd name="T105" fmla="*/ 2147483646 h 250"/>
              <a:gd name="T106" fmla="*/ 2147483646 w 230"/>
              <a:gd name="T107" fmla="*/ 2147483646 h 250"/>
              <a:gd name="T108" fmla="*/ 2147483646 w 230"/>
              <a:gd name="T109" fmla="*/ 2147483646 h 250"/>
              <a:gd name="T110" fmla="*/ 2147483646 w 230"/>
              <a:gd name="T111" fmla="*/ 2147483646 h 250"/>
              <a:gd name="T112" fmla="*/ 2147483646 w 230"/>
              <a:gd name="T113" fmla="*/ 2147483646 h 250"/>
              <a:gd name="T114" fmla="*/ 2147483646 w 230"/>
              <a:gd name="T115" fmla="*/ 2147483646 h 25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30"/>
              <a:gd name="T175" fmla="*/ 0 h 250"/>
              <a:gd name="T176" fmla="*/ 230 w 230"/>
              <a:gd name="T177" fmla="*/ 250 h 25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30" h="250">
                <a:moveTo>
                  <a:pt x="227" y="31"/>
                </a:moveTo>
                <a:cubicBezTo>
                  <a:pt x="226" y="30"/>
                  <a:pt x="225" y="32"/>
                  <a:pt x="223" y="31"/>
                </a:cubicBezTo>
                <a:cubicBezTo>
                  <a:pt x="222" y="31"/>
                  <a:pt x="221" y="32"/>
                  <a:pt x="220" y="31"/>
                </a:cubicBezTo>
                <a:cubicBezTo>
                  <a:pt x="219" y="31"/>
                  <a:pt x="222" y="29"/>
                  <a:pt x="222" y="28"/>
                </a:cubicBezTo>
                <a:cubicBezTo>
                  <a:pt x="223" y="27"/>
                  <a:pt x="220" y="28"/>
                  <a:pt x="219" y="29"/>
                </a:cubicBezTo>
                <a:cubicBezTo>
                  <a:pt x="217" y="29"/>
                  <a:pt x="218" y="30"/>
                  <a:pt x="216" y="31"/>
                </a:cubicBezTo>
                <a:cubicBezTo>
                  <a:pt x="215" y="32"/>
                  <a:pt x="214" y="32"/>
                  <a:pt x="213" y="32"/>
                </a:cubicBezTo>
                <a:cubicBezTo>
                  <a:pt x="211" y="31"/>
                  <a:pt x="213" y="31"/>
                  <a:pt x="214" y="29"/>
                </a:cubicBezTo>
                <a:cubicBezTo>
                  <a:pt x="216" y="28"/>
                  <a:pt x="215" y="29"/>
                  <a:pt x="215" y="27"/>
                </a:cubicBezTo>
                <a:cubicBezTo>
                  <a:pt x="215" y="26"/>
                  <a:pt x="216" y="26"/>
                  <a:pt x="215" y="24"/>
                </a:cubicBezTo>
                <a:cubicBezTo>
                  <a:pt x="215" y="23"/>
                  <a:pt x="214" y="26"/>
                  <a:pt x="212" y="25"/>
                </a:cubicBezTo>
                <a:cubicBezTo>
                  <a:pt x="210" y="24"/>
                  <a:pt x="212" y="23"/>
                  <a:pt x="215" y="22"/>
                </a:cubicBezTo>
                <a:cubicBezTo>
                  <a:pt x="216" y="21"/>
                  <a:pt x="215" y="18"/>
                  <a:pt x="213" y="20"/>
                </a:cubicBezTo>
                <a:cubicBezTo>
                  <a:pt x="211" y="21"/>
                  <a:pt x="212" y="20"/>
                  <a:pt x="211" y="21"/>
                </a:cubicBezTo>
                <a:cubicBezTo>
                  <a:pt x="209" y="22"/>
                  <a:pt x="210" y="23"/>
                  <a:pt x="209" y="24"/>
                </a:cubicBezTo>
                <a:cubicBezTo>
                  <a:pt x="208" y="26"/>
                  <a:pt x="208" y="23"/>
                  <a:pt x="207" y="23"/>
                </a:cubicBezTo>
                <a:cubicBezTo>
                  <a:pt x="206" y="24"/>
                  <a:pt x="204" y="24"/>
                  <a:pt x="204" y="27"/>
                </a:cubicBezTo>
                <a:cubicBezTo>
                  <a:pt x="204" y="29"/>
                  <a:pt x="204" y="29"/>
                  <a:pt x="202" y="27"/>
                </a:cubicBezTo>
                <a:cubicBezTo>
                  <a:pt x="199" y="26"/>
                  <a:pt x="200" y="27"/>
                  <a:pt x="198" y="29"/>
                </a:cubicBezTo>
                <a:cubicBezTo>
                  <a:pt x="197" y="31"/>
                  <a:pt x="197" y="30"/>
                  <a:pt x="195" y="32"/>
                </a:cubicBezTo>
                <a:cubicBezTo>
                  <a:pt x="194" y="34"/>
                  <a:pt x="194" y="33"/>
                  <a:pt x="194" y="31"/>
                </a:cubicBezTo>
                <a:cubicBezTo>
                  <a:pt x="194" y="29"/>
                  <a:pt x="191" y="28"/>
                  <a:pt x="189" y="27"/>
                </a:cubicBezTo>
                <a:cubicBezTo>
                  <a:pt x="187" y="25"/>
                  <a:pt x="189" y="22"/>
                  <a:pt x="191" y="19"/>
                </a:cubicBezTo>
                <a:cubicBezTo>
                  <a:pt x="193" y="17"/>
                  <a:pt x="191" y="16"/>
                  <a:pt x="190" y="15"/>
                </a:cubicBezTo>
                <a:cubicBezTo>
                  <a:pt x="189" y="15"/>
                  <a:pt x="190" y="12"/>
                  <a:pt x="189" y="12"/>
                </a:cubicBezTo>
                <a:cubicBezTo>
                  <a:pt x="188" y="11"/>
                  <a:pt x="187" y="12"/>
                  <a:pt x="186" y="13"/>
                </a:cubicBezTo>
                <a:cubicBezTo>
                  <a:pt x="184" y="14"/>
                  <a:pt x="182" y="11"/>
                  <a:pt x="180" y="9"/>
                </a:cubicBezTo>
                <a:cubicBezTo>
                  <a:pt x="178" y="8"/>
                  <a:pt x="179" y="6"/>
                  <a:pt x="180" y="4"/>
                </a:cubicBezTo>
                <a:cubicBezTo>
                  <a:pt x="180" y="2"/>
                  <a:pt x="180" y="2"/>
                  <a:pt x="184" y="1"/>
                </a:cubicBezTo>
                <a:cubicBezTo>
                  <a:pt x="187" y="1"/>
                  <a:pt x="188" y="2"/>
                  <a:pt x="187" y="1"/>
                </a:cubicBezTo>
                <a:cubicBezTo>
                  <a:pt x="186" y="0"/>
                  <a:pt x="183" y="0"/>
                  <a:pt x="180" y="0"/>
                </a:cubicBezTo>
                <a:cubicBezTo>
                  <a:pt x="177" y="0"/>
                  <a:pt x="177" y="0"/>
                  <a:pt x="177" y="2"/>
                </a:cubicBezTo>
                <a:cubicBezTo>
                  <a:pt x="177" y="4"/>
                  <a:pt x="177" y="5"/>
                  <a:pt x="175" y="4"/>
                </a:cubicBezTo>
                <a:cubicBezTo>
                  <a:pt x="172" y="3"/>
                  <a:pt x="172" y="6"/>
                  <a:pt x="168" y="9"/>
                </a:cubicBezTo>
                <a:cubicBezTo>
                  <a:pt x="164" y="12"/>
                  <a:pt x="164" y="13"/>
                  <a:pt x="162" y="15"/>
                </a:cubicBezTo>
                <a:cubicBezTo>
                  <a:pt x="160" y="17"/>
                  <a:pt x="161" y="18"/>
                  <a:pt x="162" y="20"/>
                </a:cubicBezTo>
                <a:cubicBezTo>
                  <a:pt x="162" y="20"/>
                  <a:pt x="162" y="23"/>
                  <a:pt x="162" y="24"/>
                </a:cubicBezTo>
                <a:cubicBezTo>
                  <a:pt x="161" y="26"/>
                  <a:pt x="161" y="27"/>
                  <a:pt x="162" y="29"/>
                </a:cubicBezTo>
                <a:cubicBezTo>
                  <a:pt x="163" y="31"/>
                  <a:pt x="162" y="33"/>
                  <a:pt x="161" y="35"/>
                </a:cubicBezTo>
                <a:cubicBezTo>
                  <a:pt x="160" y="37"/>
                  <a:pt x="158" y="37"/>
                  <a:pt x="156" y="41"/>
                </a:cubicBezTo>
                <a:cubicBezTo>
                  <a:pt x="155" y="44"/>
                  <a:pt x="153" y="46"/>
                  <a:pt x="150" y="49"/>
                </a:cubicBezTo>
                <a:cubicBezTo>
                  <a:pt x="146" y="51"/>
                  <a:pt x="144" y="48"/>
                  <a:pt x="143" y="49"/>
                </a:cubicBezTo>
                <a:cubicBezTo>
                  <a:pt x="141" y="49"/>
                  <a:pt x="142" y="50"/>
                  <a:pt x="142" y="51"/>
                </a:cubicBezTo>
                <a:cubicBezTo>
                  <a:pt x="143" y="53"/>
                  <a:pt x="142" y="54"/>
                  <a:pt x="140" y="55"/>
                </a:cubicBezTo>
                <a:cubicBezTo>
                  <a:pt x="139" y="55"/>
                  <a:pt x="140" y="58"/>
                  <a:pt x="139" y="63"/>
                </a:cubicBezTo>
                <a:cubicBezTo>
                  <a:pt x="137" y="67"/>
                  <a:pt x="138" y="67"/>
                  <a:pt x="138" y="70"/>
                </a:cubicBezTo>
                <a:cubicBezTo>
                  <a:pt x="138" y="74"/>
                  <a:pt x="133" y="80"/>
                  <a:pt x="132" y="83"/>
                </a:cubicBezTo>
                <a:cubicBezTo>
                  <a:pt x="130" y="85"/>
                  <a:pt x="130" y="86"/>
                  <a:pt x="126" y="91"/>
                </a:cubicBezTo>
                <a:cubicBezTo>
                  <a:pt x="122" y="96"/>
                  <a:pt x="121" y="96"/>
                  <a:pt x="118" y="98"/>
                </a:cubicBezTo>
                <a:cubicBezTo>
                  <a:pt x="114" y="100"/>
                  <a:pt x="113" y="101"/>
                  <a:pt x="111" y="102"/>
                </a:cubicBezTo>
                <a:cubicBezTo>
                  <a:pt x="109" y="104"/>
                  <a:pt x="109" y="105"/>
                  <a:pt x="106" y="104"/>
                </a:cubicBezTo>
                <a:cubicBezTo>
                  <a:pt x="104" y="104"/>
                  <a:pt x="106" y="106"/>
                  <a:pt x="105" y="108"/>
                </a:cubicBezTo>
                <a:cubicBezTo>
                  <a:pt x="105" y="109"/>
                  <a:pt x="103" y="110"/>
                  <a:pt x="101" y="112"/>
                </a:cubicBezTo>
                <a:cubicBezTo>
                  <a:pt x="99" y="114"/>
                  <a:pt x="99" y="115"/>
                  <a:pt x="96" y="116"/>
                </a:cubicBezTo>
                <a:cubicBezTo>
                  <a:pt x="93" y="116"/>
                  <a:pt x="93" y="116"/>
                  <a:pt x="92" y="120"/>
                </a:cubicBezTo>
                <a:cubicBezTo>
                  <a:pt x="90" y="123"/>
                  <a:pt x="84" y="127"/>
                  <a:pt x="81" y="127"/>
                </a:cubicBezTo>
                <a:cubicBezTo>
                  <a:pt x="78" y="127"/>
                  <a:pt x="72" y="135"/>
                  <a:pt x="72" y="135"/>
                </a:cubicBezTo>
                <a:cubicBezTo>
                  <a:pt x="72" y="135"/>
                  <a:pt x="70" y="137"/>
                  <a:pt x="69" y="137"/>
                </a:cubicBezTo>
                <a:cubicBezTo>
                  <a:pt x="69" y="138"/>
                  <a:pt x="67" y="139"/>
                  <a:pt x="66" y="140"/>
                </a:cubicBezTo>
                <a:cubicBezTo>
                  <a:pt x="64" y="141"/>
                  <a:pt x="64" y="141"/>
                  <a:pt x="61" y="141"/>
                </a:cubicBezTo>
                <a:cubicBezTo>
                  <a:pt x="59" y="141"/>
                  <a:pt x="60" y="140"/>
                  <a:pt x="59" y="139"/>
                </a:cubicBezTo>
                <a:cubicBezTo>
                  <a:pt x="58" y="138"/>
                  <a:pt x="58" y="140"/>
                  <a:pt x="57" y="140"/>
                </a:cubicBezTo>
                <a:cubicBezTo>
                  <a:pt x="56" y="140"/>
                  <a:pt x="54" y="140"/>
                  <a:pt x="54" y="140"/>
                </a:cubicBezTo>
                <a:cubicBezTo>
                  <a:pt x="54" y="140"/>
                  <a:pt x="53" y="140"/>
                  <a:pt x="52" y="142"/>
                </a:cubicBezTo>
                <a:cubicBezTo>
                  <a:pt x="51" y="145"/>
                  <a:pt x="51" y="144"/>
                  <a:pt x="51" y="146"/>
                </a:cubicBezTo>
                <a:cubicBezTo>
                  <a:pt x="50" y="147"/>
                  <a:pt x="50" y="148"/>
                  <a:pt x="48" y="148"/>
                </a:cubicBezTo>
                <a:cubicBezTo>
                  <a:pt x="47" y="149"/>
                  <a:pt x="45" y="150"/>
                  <a:pt x="46" y="151"/>
                </a:cubicBezTo>
                <a:cubicBezTo>
                  <a:pt x="46" y="152"/>
                  <a:pt x="46" y="153"/>
                  <a:pt x="46" y="153"/>
                </a:cubicBezTo>
                <a:cubicBezTo>
                  <a:pt x="45" y="153"/>
                  <a:pt x="45" y="155"/>
                  <a:pt x="44" y="156"/>
                </a:cubicBezTo>
                <a:cubicBezTo>
                  <a:pt x="43" y="157"/>
                  <a:pt x="42" y="156"/>
                  <a:pt x="41" y="157"/>
                </a:cubicBezTo>
                <a:cubicBezTo>
                  <a:pt x="40" y="158"/>
                  <a:pt x="39" y="159"/>
                  <a:pt x="38" y="161"/>
                </a:cubicBezTo>
                <a:cubicBezTo>
                  <a:pt x="37" y="163"/>
                  <a:pt x="37" y="165"/>
                  <a:pt x="39" y="166"/>
                </a:cubicBezTo>
                <a:cubicBezTo>
                  <a:pt x="42" y="168"/>
                  <a:pt x="41" y="169"/>
                  <a:pt x="41" y="169"/>
                </a:cubicBezTo>
                <a:cubicBezTo>
                  <a:pt x="41" y="169"/>
                  <a:pt x="38" y="168"/>
                  <a:pt x="38" y="167"/>
                </a:cubicBezTo>
                <a:cubicBezTo>
                  <a:pt x="37" y="166"/>
                  <a:pt x="37" y="165"/>
                  <a:pt x="36" y="165"/>
                </a:cubicBezTo>
                <a:cubicBezTo>
                  <a:pt x="34" y="165"/>
                  <a:pt x="35" y="167"/>
                  <a:pt x="33" y="166"/>
                </a:cubicBezTo>
                <a:cubicBezTo>
                  <a:pt x="31" y="165"/>
                  <a:pt x="31" y="168"/>
                  <a:pt x="31" y="169"/>
                </a:cubicBezTo>
                <a:cubicBezTo>
                  <a:pt x="31" y="171"/>
                  <a:pt x="29" y="172"/>
                  <a:pt x="29" y="172"/>
                </a:cubicBezTo>
                <a:cubicBezTo>
                  <a:pt x="29" y="172"/>
                  <a:pt x="28" y="174"/>
                  <a:pt x="27" y="175"/>
                </a:cubicBezTo>
                <a:cubicBezTo>
                  <a:pt x="27" y="175"/>
                  <a:pt x="26" y="177"/>
                  <a:pt x="24" y="177"/>
                </a:cubicBezTo>
                <a:cubicBezTo>
                  <a:pt x="23" y="178"/>
                  <a:pt x="21" y="181"/>
                  <a:pt x="21" y="181"/>
                </a:cubicBezTo>
                <a:cubicBezTo>
                  <a:pt x="21" y="181"/>
                  <a:pt x="19" y="185"/>
                  <a:pt x="19" y="186"/>
                </a:cubicBezTo>
                <a:cubicBezTo>
                  <a:pt x="19" y="187"/>
                  <a:pt x="19" y="188"/>
                  <a:pt x="18" y="187"/>
                </a:cubicBezTo>
                <a:cubicBezTo>
                  <a:pt x="17" y="186"/>
                  <a:pt x="17" y="187"/>
                  <a:pt x="16" y="186"/>
                </a:cubicBezTo>
                <a:cubicBezTo>
                  <a:pt x="16" y="185"/>
                  <a:pt x="15" y="187"/>
                  <a:pt x="14" y="188"/>
                </a:cubicBezTo>
                <a:cubicBezTo>
                  <a:pt x="14" y="189"/>
                  <a:pt x="15" y="192"/>
                  <a:pt x="15" y="193"/>
                </a:cubicBezTo>
                <a:cubicBezTo>
                  <a:pt x="16" y="193"/>
                  <a:pt x="17" y="194"/>
                  <a:pt x="18" y="193"/>
                </a:cubicBezTo>
                <a:cubicBezTo>
                  <a:pt x="19" y="193"/>
                  <a:pt x="19" y="194"/>
                  <a:pt x="20" y="193"/>
                </a:cubicBezTo>
                <a:cubicBezTo>
                  <a:pt x="21" y="193"/>
                  <a:pt x="22" y="195"/>
                  <a:pt x="22" y="195"/>
                </a:cubicBezTo>
                <a:cubicBezTo>
                  <a:pt x="22" y="195"/>
                  <a:pt x="21" y="198"/>
                  <a:pt x="20" y="197"/>
                </a:cubicBezTo>
                <a:cubicBezTo>
                  <a:pt x="19" y="197"/>
                  <a:pt x="19" y="196"/>
                  <a:pt x="17" y="195"/>
                </a:cubicBezTo>
                <a:cubicBezTo>
                  <a:pt x="16" y="194"/>
                  <a:pt x="17" y="196"/>
                  <a:pt x="18" y="196"/>
                </a:cubicBezTo>
                <a:cubicBezTo>
                  <a:pt x="19" y="197"/>
                  <a:pt x="18" y="200"/>
                  <a:pt x="18" y="200"/>
                </a:cubicBezTo>
                <a:cubicBezTo>
                  <a:pt x="18" y="200"/>
                  <a:pt x="18" y="200"/>
                  <a:pt x="17" y="199"/>
                </a:cubicBezTo>
                <a:cubicBezTo>
                  <a:pt x="16" y="197"/>
                  <a:pt x="15" y="197"/>
                  <a:pt x="15" y="197"/>
                </a:cubicBezTo>
                <a:cubicBezTo>
                  <a:pt x="15" y="196"/>
                  <a:pt x="14" y="195"/>
                  <a:pt x="12" y="195"/>
                </a:cubicBezTo>
                <a:cubicBezTo>
                  <a:pt x="11" y="194"/>
                  <a:pt x="11" y="195"/>
                  <a:pt x="11" y="196"/>
                </a:cubicBezTo>
                <a:cubicBezTo>
                  <a:pt x="10" y="197"/>
                  <a:pt x="9" y="198"/>
                  <a:pt x="9" y="199"/>
                </a:cubicBezTo>
                <a:cubicBezTo>
                  <a:pt x="8" y="200"/>
                  <a:pt x="9" y="200"/>
                  <a:pt x="9" y="200"/>
                </a:cubicBezTo>
                <a:cubicBezTo>
                  <a:pt x="9" y="200"/>
                  <a:pt x="8" y="201"/>
                  <a:pt x="7" y="202"/>
                </a:cubicBezTo>
                <a:cubicBezTo>
                  <a:pt x="6" y="203"/>
                  <a:pt x="7" y="204"/>
                  <a:pt x="7" y="204"/>
                </a:cubicBezTo>
                <a:cubicBezTo>
                  <a:pt x="8" y="203"/>
                  <a:pt x="9" y="204"/>
                  <a:pt x="8" y="205"/>
                </a:cubicBezTo>
                <a:cubicBezTo>
                  <a:pt x="8" y="205"/>
                  <a:pt x="9" y="207"/>
                  <a:pt x="11" y="206"/>
                </a:cubicBezTo>
                <a:cubicBezTo>
                  <a:pt x="12" y="205"/>
                  <a:pt x="12" y="207"/>
                  <a:pt x="12" y="207"/>
                </a:cubicBezTo>
                <a:cubicBezTo>
                  <a:pt x="12" y="207"/>
                  <a:pt x="11" y="209"/>
                  <a:pt x="10" y="208"/>
                </a:cubicBezTo>
                <a:cubicBezTo>
                  <a:pt x="9" y="207"/>
                  <a:pt x="8" y="210"/>
                  <a:pt x="8" y="211"/>
                </a:cubicBezTo>
                <a:cubicBezTo>
                  <a:pt x="8" y="212"/>
                  <a:pt x="9" y="212"/>
                  <a:pt x="10" y="211"/>
                </a:cubicBezTo>
                <a:cubicBezTo>
                  <a:pt x="11" y="211"/>
                  <a:pt x="11" y="211"/>
                  <a:pt x="12" y="211"/>
                </a:cubicBezTo>
                <a:cubicBezTo>
                  <a:pt x="12" y="211"/>
                  <a:pt x="12" y="213"/>
                  <a:pt x="10" y="213"/>
                </a:cubicBezTo>
                <a:cubicBezTo>
                  <a:pt x="8" y="214"/>
                  <a:pt x="9" y="215"/>
                  <a:pt x="7" y="214"/>
                </a:cubicBezTo>
                <a:cubicBezTo>
                  <a:pt x="4" y="213"/>
                  <a:pt x="5" y="216"/>
                  <a:pt x="2" y="215"/>
                </a:cubicBezTo>
                <a:cubicBezTo>
                  <a:pt x="0" y="215"/>
                  <a:pt x="0" y="216"/>
                  <a:pt x="0" y="217"/>
                </a:cubicBezTo>
                <a:cubicBezTo>
                  <a:pt x="0" y="218"/>
                  <a:pt x="0" y="219"/>
                  <a:pt x="1" y="221"/>
                </a:cubicBezTo>
                <a:cubicBezTo>
                  <a:pt x="1" y="223"/>
                  <a:pt x="1" y="223"/>
                  <a:pt x="2" y="224"/>
                </a:cubicBezTo>
                <a:cubicBezTo>
                  <a:pt x="3" y="224"/>
                  <a:pt x="4" y="223"/>
                  <a:pt x="4" y="221"/>
                </a:cubicBezTo>
                <a:cubicBezTo>
                  <a:pt x="4" y="219"/>
                  <a:pt x="5" y="220"/>
                  <a:pt x="6" y="219"/>
                </a:cubicBezTo>
                <a:cubicBezTo>
                  <a:pt x="8" y="218"/>
                  <a:pt x="8" y="220"/>
                  <a:pt x="8" y="220"/>
                </a:cubicBezTo>
                <a:cubicBezTo>
                  <a:pt x="8" y="221"/>
                  <a:pt x="8" y="222"/>
                  <a:pt x="7" y="223"/>
                </a:cubicBezTo>
                <a:cubicBezTo>
                  <a:pt x="6" y="223"/>
                  <a:pt x="5" y="224"/>
                  <a:pt x="5" y="226"/>
                </a:cubicBezTo>
                <a:cubicBezTo>
                  <a:pt x="5" y="227"/>
                  <a:pt x="6" y="227"/>
                  <a:pt x="7" y="227"/>
                </a:cubicBezTo>
                <a:cubicBezTo>
                  <a:pt x="8" y="227"/>
                  <a:pt x="8" y="225"/>
                  <a:pt x="9" y="223"/>
                </a:cubicBezTo>
                <a:cubicBezTo>
                  <a:pt x="11" y="221"/>
                  <a:pt x="10" y="225"/>
                  <a:pt x="9" y="226"/>
                </a:cubicBezTo>
                <a:cubicBezTo>
                  <a:pt x="9" y="227"/>
                  <a:pt x="7" y="229"/>
                  <a:pt x="7" y="231"/>
                </a:cubicBezTo>
                <a:cubicBezTo>
                  <a:pt x="6" y="233"/>
                  <a:pt x="8" y="234"/>
                  <a:pt x="11" y="232"/>
                </a:cubicBezTo>
                <a:cubicBezTo>
                  <a:pt x="13" y="231"/>
                  <a:pt x="20" y="231"/>
                  <a:pt x="23" y="232"/>
                </a:cubicBezTo>
                <a:cubicBezTo>
                  <a:pt x="26" y="232"/>
                  <a:pt x="26" y="233"/>
                  <a:pt x="26" y="231"/>
                </a:cubicBezTo>
                <a:cubicBezTo>
                  <a:pt x="26" y="230"/>
                  <a:pt x="26" y="230"/>
                  <a:pt x="26" y="229"/>
                </a:cubicBezTo>
                <a:cubicBezTo>
                  <a:pt x="27" y="228"/>
                  <a:pt x="24" y="229"/>
                  <a:pt x="30" y="228"/>
                </a:cubicBezTo>
                <a:cubicBezTo>
                  <a:pt x="37" y="228"/>
                  <a:pt x="33" y="230"/>
                  <a:pt x="36" y="233"/>
                </a:cubicBezTo>
                <a:cubicBezTo>
                  <a:pt x="38" y="235"/>
                  <a:pt x="36" y="234"/>
                  <a:pt x="37" y="236"/>
                </a:cubicBezTo>
                <a:cubicBezTo>
                  <a:pt x="38" y="238"/>
                  <a:pt x="40" y="239"/>
                  <a:pt x="42" y="238"/>
                </a:cubicBezTo>
                <a:cubicBezTo>
                  <a:pt x="43" y="237"/>
                  <a:pt x="43" y="236"/>
                  <a:pt x="44" y="237"/>
                </a:cubicBezTo>
                <a:cubicBezTo>
                  <a:pt x="46" y="237"/>
                  <a:pt x="45" y="236"/>
                  <a:pt x="48" y="236"/>
                </a:cubicBezTo>
                <a:cubicBezTo>
                  <a:pt x="50" y="236"/>
                  <a:pt x="50" y="236"/>
                  <a:pt x="50" y="238"/>
                </a:cubicBezTo>
                <a:cubicBezTo>
                  <a:pt x="51" y="240"/>
                  <a:pt x="52" y="239"/>
                  <a:pt x="55" y="241"/>
                </a:cubicBezTo>
                <a:cubicBezTo>
                  <a:pt x="57" y="243"/>
                  <a:pt x="53" y="242"/>
                  <a:pt x="51" y="244"/>
                </a:cubicBezTo>
                <a:cubicBezTo>
                  <a:pt x="50" y="246"/>
                  <a:pt x="54" y="246"/>
                  <a:pt x="55" y="245"/>
                </a:cubicBezTo>
                <a:cubicBezTo>
                  <a:pt x="56" y="244"/>
                  <a:pt x="56" y="244"/>
                  <a:pt x="57" y="244"/>
                </a:cubicBezTo>
                <a:cubicBezTo>
                  <a:pt x="57" y="244"/>
                  <a:pt x="56" y="247"/>
                  <a:pt x="57" y="247"/>
                </a:cubicBezTo>
                <a:cubicBezTo>
                  <a:pt x="58" y="248"/>
                  <a:pt x="59" y="248"/>
                  <a:pt x="59" y="246"/>
                </a:cubicBezTo>
                <a:cubicBezTo>
                  <a:pt x="60" y="244"/>
                  <a:pt x="60" y="247"/>
                  <a:pt x="62" y="245"/>
                </a:cubicBezTo>
                <a:cubicBezTo>
                  <a:pt x="64" y="244"/>
                  <a:pt x="64" y="246"/>
                  <a:pt x="65" y="245"/>
                </a:cubicBezTo>
                <a:cubicBezTo>
                  <a:pt x="67" y="244"/>
                  <a:pt x="67" y="246"/>
                  <a:pt x="67" y="246"/>
                </a:cubicBezTo>
                <a:cubicBezTo>
                  <a:pt x="67" y="246"/>
                  <a:pt x="67" y="247"/>
                  <a:pt x="67" y="248"/>
                </a:cubicBezTo>
                <a:cubicBezTo>
                  <a:pt x="67" y="250"/>
                  <a:pt x="69" y="250"/>
                  <a:pt x="70" y="250"/>
                </a:cubicBezTo>
                <a:cubicBezTo>
                  <a:pt x="71" y="249"/>
                  <a:pt x="73" y="250"/>
                  <a:pt x="74" y="248"/>
                </a:cubicBezTo>
                <a:cubicBezTo>
                  <a:pt x="75" y="246"/>
                  <a:pt x="75" y="249"/>
                  <a:pt x="77" y="248"/>
                </a:cubicBezTo>
                <a:cubicBezTo>
                  <a:pt x="78" y="246"/>
                  <a:pt x="78" y="247"/>
                  <a:pt x="79" y="246"/>
                </a:cubicBezTo>
                <a:cubicBezTo>
                  <a:pt x="80" y="246"/>
                  <a:pt x="80" y="248"/>
                  <a:pt x="81" y="248"/>
                </a:cubicBezTo>
                <a:cubicBezTo>
                  <a:pt x="82" y="248"/>
                  <a:pt x="83" y="247"/>
                  <a:pt x="85" y="246"/>
                </a:cubicBezTo>
                <a:cubicBezTo>
                  <a:pt x="87" y="246"/>
                  <a:pt x="87" y="244"/>
                  <a:pt x="90" y="244"/>
                </a:cubicBezTo>
                <a:cubicBezTo>
                  <a:pt x="93" y="243"/>
                  <a:pt x="93" y="242"/>
                  <a:pt x="94" y="241"/>
                </a:cubicBezTo>
                <a:cubicBezTo>
                  <a:pt x="95" y="239"/>
                  <a:pt x="94" y="238"/>
                  <a:pt x="94" y="236"/>
                </a:cubicBezTo>
                <a:cubicBezTo>
                  <a:pt x="95" y="234"/>
                  <a:pt x="96" y="234"/>
                  <a:pt x="99" y="232"/>
                </a:cubicBezTo>
                <a:cubicBezTo>
                  <a:pt x="102" y="230"/>
                  <a:pt x="104" y="230"/>
                  <a:pt x="105" y="230"/>
                </a:cubicBezTo>
                <a:cubicBezTo>
                  <a:pt x="105" y="229"/>
                  <a:pt x="106" y="228"/>
                  <a:pt x="106" y="226"/>
                </a:cubicBezTo>
                <a:cubicBezTo>
                  <a:pt x="107" y="224"/>
                  <a:pt x="107" y="224"/>
                  <a:pt x="108" y="222"/>
                </a:cubicBezTo>
                <a:cubicBezTo>
                  <a:pt x="109" y="220"/>
                  <a:pt x="109" y="220"/>
                  <a:pt x="111" y="218"/>
                </a:cubicBezTo>
                <a:cubicBezTo>
                  <a:pt x="113" y="217"/>
                  <a:pt x="114" y="217"/>
                  <a:pt x="117" y="215"/>
                </a:cubicBezTo>
                <a:cubicBezTo>
                  <a:pt x="119" y="214"/>
                  <a:pt x="119" y="213"/>
                  <a:pt x="118" y="212"/>
                </a:cubicBezTo>
                <a:cubicBezTo>
                  <a:pt x="117" y="211"/>
                  <a:pt x="116" y="212"/>
                  <a:pt x="116" y="209"/>
                </a:cubicBezTo>
                <a:cubicBezTo>
                  <a:pt x="115" y="205"/>
                  <a:pt x="117" y="206"/>
                  <a:pt x="119" y="204"/>
                </a:cubicBezTo>
                <a:cubicBezTo>
                  <a:pt x="121" y="203"/>
                  <a:pt x="121" y="203"/>
                  <a:pt x="122" y="201"/>
                </a:cubicBezTo>
                <a:cubicBezTo>
                  <a:pt x="123" y="199"/>
                  <a:pt x="122" y="199"/>
                  <a:pt x="124" y="198"/>
                </a:cubicBezTo>
                <a:cubicBezTo>
                  <a:pt x="127" y="197"/>
                  <a:pt x="124" y="195"/>
                  <a:pt x="124" y="191"/>
                </a:cubicBezTo>
                <a:cubicBezTo>
                  <a:pt x="124" y="187"/>
                  <a:pt x="125" y="189"/>
                  <a:pt x="127" y="187"/>
                </a:cubicBezTo>
                <a:cubicBezTo>
                  <a:pt x="129" y="185"/>
                  <a:pt x="129" y="186"/>
                  <a:pt x="131" y="183"/>
                </a:cubicBezTo>
                <a:cubicBezTo>
                  <a:pt x="133" y="180"/>
                  <a:pt x="132" y="179"/>
                  <a:pt x="133" y="176"/>
                </a:cubicBezTo>
                <a:cubicBezTo>
                  <a:pt x="134" y="172"/>
                  <a:pt x="133" y="170"/>
                  <a:pt x="132" y="168"/>
                </a:cubicBezTo>
                <a:cubicBezTo>
                  <a:pt x="132" y="166"/>
                  <a:pt x="131" y="166"/>
                  <a:pt x="132" y="164"/>
                </a:cubicBezTo>
                <a:cubicBezTo>
                  <a:pt x="134" y="162"/>
                  <a:pt x="135" y="162"/>
                  <a:pt x="136" y="159"/>
                </a:cubicBezTo>
                <a:cubicBezTo>
                  <a:pt x="138" y="156"/>
                  <a:pt x="136" y="157"/>
                  <a:pt x="137" y="153"/>
                </a:cubicBezTo>
                <a:cubicBezTo>
                  <a:pt x="138" y="149"/>
                  <a:pt x="141" y="151"/>
                  <a:pt x="144" y="148"/>
                </a:cubicBezTo>
                <a:cubicBezTo>
                  <a:pt x="147" y="146"/>
                  <a:pt x="149" y="145"/>
                  <a:pt x="152" y="143"/>
                </a:cubicBezTo>
                <a:cubicBezTo>
                  <a:pt x="155" y="141"/>
                  <a:pt x="158" y="140"/>
                  <a:pt x="159" y="139"/>
                </a:cubicBezTo>
                <a:cubicBezTo>
                  <a:pt x="160" y="139"/>
                  <a:pt x="165" y="138"/>
                  <a:pt x="167" y="136"/>
                </a:cubicBezTo>
                <a:cubicBezTo>
                  <a:pt x="169" y="134"/>
                  <a:pt x="167" y="135"/>
                  <a:pt x="167" y="133"/>
                </a:cubicBezTo>
                <a:cubicBezTo>
                  <a:pt x="167" y="130"/>
                  <a:pt x="169" y="131"/>
                  <a:pt x="170" y="131"/>
                </a:cubicBezTo>
                <a:cubicBezTo>
                  <a:pt x="171" y="130"/>
                  <a:pt x="172" y="132"/>
                  <a:pt x="173" y="131"/>
                </a:cubicBezTo>
                <a:cubicBezTo>
                  <a:pt x="173" y="130"/>
                  <a:pt x="174" y="133"/>
                  <a:pt x="174" y="134"/>
                </a:cubicBezTo>
                <a:cubicBezTo>
                  <a:pt x="174" y="134"/>
                  <a:pt x="171" y="134"/>
                  <a:pt x="170" y="134"/>
                </a:cubicBezTo>
                <a:cubicBezTo>
                  <a:pt x="168" y="134"/>
                  <a:pt x="171" y="135"/>
                  <a:pt x="171" y="135"/>
                </a:cubicBezTo>
                <a:cubicBezTo>
                  <a:pt x="172" y="135"/>
                  <a:pt x="173" y="135"/>
                  <a:pt x="175" y="135"/>
                </a:cubicBezTo>
                <a:cubicBezTo>
                  <a:pt x="177" y="134"/>
                  <a:pt x="177" y="134"/>
                  <a:pt x="178" y="134"/>
                </a:cubicBezTo>
                <a:cubicBezTo>
                  <a:pt x="179" y="134"/>
                  <a:pt x="179" y="136"/>
                  <a:pt x="180" y="137"/>
                </a:cubicBezTo>
                <a:cubicBezTo>
                  <a:pt x="181" y="137"/>
                  <a:pt x="182" y="140"/>
                  <a:pt x="183" y="139"/>
                </a:cubicBezTo>
                <a:cubicBezTo>
                  <a:pt x="185" y="139"/>
                  <a:pt x="183" y="138"/>
                  <a:pt x="183" y="136"/>
                </a:cubicBezTo>
                <a:cubicBezTo>
                  <a:pt x="183" y="134"/>
                  <a:pt x="183" y="134"/>
                  <a:pt x="184" y="132"/>
                </a:cubicBezTo>
                <a:cubicBezTo>
                  <a:pt x="185" y="130"/>
                  <a:pt x="185" y="135"/>
                  <a:pt x="185" y="135"/>
                </a:cubicBezTo>
                <a:cubicBezTo>
                  <a:pt x="185" y="135"/>
                  <a:pt x="185" y="137"/>
                  <a:pt x="186" y="137"/>
                </a:cubicBezTo>
                <a:cubicBezTo>
                  <a:pt x="187" y="138"/>
                  <a:pt x="188" y="137"/>
                  <a:pt x="189" y="136"/>
                </a:cubicBezTo>
                <a:cubicBezTo>
                  <a:pt x="190" y="135"/>
                  <a:pt x="190" y="133"/>
                  <a:pt x="190" y="131"/>
                </a:cubicBezTo>
                <a:cubicBezTo>
                  <a:pt x="189" y="129"/>
                  <a:pt x="189" y="130"/>
                  <a:pt x="187" y="129"/>
                </a:cubicBezTo>
                <a:cubicBezTo>
                  <a:pt x="185" y="129"/>
                  <a:pt x="185" y="128"/>
                  <a:pt x="184" y="127"/>
                </a:cubicBezTo>
                <a:cubicBezTo>
                  <a:pt x="183" y="126"/>
                  <a:pt x="183" y="127"/>
                  <a:pt x="182" y="127"/>
                </a:cubicBezTo>
                <a:cubicBezTo>
                  <a:pt x="181" y="126"/>
                  <a:pt x="179" y="127"/>
                  <a:pt x="177" y="126"/>
                </a:cubicBezTo>
                <a:cubicBezTo>
                  <a:pt x="175" y="126"/>
                  <a:pt x="178" y="126"/>
                  <a:pt x="179" y="125"/>
                </a:cubicBezTo>
                <a:cubicBezTo>
                  <a:pt x="181" y="125"/>
                  <a:pt x="181" y="123"/>
                  <a:pt x="180" y="123"/>
                </a:cubicBezTo>
                <a:cubicBezTo>
                  <a:pt x="179" y="122"/>
                  <a:pt x="179" y="121"/>
                  <a:pt x="177" y="119"/>
                </a:cubicBezTo>
                <a:cubicBezTo>
                  <a:pt x="176" y="117"/>
                  <a:pt x="177" y="117"/>
                  <a:pt x="178" y="115"/>
                </a:cubicBezTo>
                <a:cubicBezTo>
                  <a:pt x="179" y="114"/>
                  <a:pt x="180" y="113"/>
                  <a:pt x="179" y="111"/>
                </a:cubicBezTo>
                <a:cubicBezTo>
                  <a:pt x="179" y="109"/>
                  <a:pt x="180" y="111"/>
                  <a:pt x="181" y="109"/>
                </a:cubicBezTo>
                <a:cubicBezTo>
                  <a:pt x="183" y="108"/>
                  <a:pt x="184" y="109"/>
                  <a:pt x="185" y="107"/>
                </a:cubicBezTo>
                <a:cubicBezTo>
                  <a:pt x="186" y="105"/>
                  <a:pt x="187" y="106"/>
                  <a:pt x="188" y="104"/>
                </a:cubicBezTo>
                <a:cubicBezTo>
                  <a:pt x="189" y="103"/>
                  <a:pt x="190" y="103"/>
                  <a:pt x="191" y="101"/>
                </a:cubicBezTo>
                <a:cubicBezTo>
                  <a:pt x="193" y="98"/>
                  <a:pt x="193" y="100"/>
                  <a:pt x="195" y="99"/>
                </a:cubicBezTo>
                <a:cubicBezTo>
                  <a:pt x="197" y="98"/>
                  <a:pt x="196" y="98"/>
                  <a:pt x="197" y="96"/>
                </a:cubicBezTo>
                <a:cubicBezTo>
                  <a:pt x="197" y="94"/>
                  <a:pt x="198" y="92"/>
                  <a:pt x="199" y="91"/>
                </a:cubicBezTo>
                <a:cubicBezTo>
                  <a:pt x="200" y="89"/>
                  <a:pt x="202" y="86"/>
                  <a:pt x="202" y="84"/>
                </a:cubicBezTo>
                <a:cubicBezTo>
                  <a:pt x="203" y="82"/>
                  <a:pt x="203" y="82"/>
                  <a:pt x="204" y="80"/>
                </a:cubicBezTo>
                <a:cubicBezTo>
                  <a:pt x="205" y="79"/>
                  <a:pt x="205" y="79"/>
                  <a:pt x="208" y="79"/>
                </a:cubicBezTo>
                <a:cubicBezTo>
                  <a:pt x="210" y="79"/>
                  <a:pt x="209" y="79"/>
                  <a:pt x="209" y="77"/>
                </a:cubicBezTo>
                <a:cubicBezTo>
                  <a:pt x="210" y="76"/>
                  <a:pt x="210" y="76"/>
                  <a:pt x="210" y="74"/>
                </a:cubicBezTo>
                <a:cubicBezTo>
                  <a:pt x="210" y="72"/>
                  <a:pt x="211" y="73"/>
                  <a:pt x="212" y="72"/>
                </a:cubicBezTo>
                <a:cubicBezTo>
                  <a:pt x="214" y="71"/>
                  <a:pt x="215" y="71"/>
                  <a:pt x="216" y="70"/>
                </a:cubicBezTo>
                <a:cubicBezTo>
                  <a:pt x="217" y="69"/>
                  <a:pt x="216" y="69"/>
                  <a:pt x="216" y="66"/>
                </a:cubicBezTo>
                <a:cubicBezTo>
                  <a:pt x="215" y="64"/>
                  <a:pt x="218" y="63"/>
                  <a:pt x="221" y="59"/>
                </a:cubicBezTo>
                <a:cubicBezTo>
                  <a:pt x="224" y="55"/>
                  <a:pt x="224" y="56"/>
                  <a:pt x="226" y="52"/>
                </a:cubicBezTo>
                <a:cubicBezTo>
                  <a:pt x="226" y="52"/>
                  <a:pt x="225" y="50"/>
                  <a:pt x="224" y="48"/>
                </a:cubicBezTo>
                <a:cubicBezTo>
                  <a:pt x="223" y="47"/>
                  <a:pt x="223" y="46"/>
                  <a:pt x="223" y="44"/>
                </a:cubicBezTo>
                <a:cubicBezTo>
                  <a:pt x="222" y="42"/>
                  <a:pt x="221" y="42"/>
                  <a:pt x="220" y="39"/>
                </a:cubicBezTo>
                <a:cubicBezTo>
                  <a:pt x="219" y="37"/>
                  <a:pt x="221" y="38"/>
                  <a:pt x="221" y="36"/>
                </a:cubicBezTo>
                <a:cubicBezTo>
                  <a:pt x="221" y="33"/>
                  <a:pt x="222" y="36"/>
                  <a:pt x="223" y="35"/>
                </a:cubicBezTo>
                <a:cubicBezTo>
                  <a:pt x="224" y="35"/>
                  <a:pt x="227" y="34"/>
                  <a:pt x="229" y="33"/>
                </a:cubicBezTo>
                <a:cubicBezTo>
                  <a:pt x="230" y="31"/>
                  <a:pt x="228" y="32"/>
                  <a:pt x="227" y="31"/>
                </a:cubicBezTo>
                <a:close/>
                <a:moveTo>
                  <a:pt x="35" y="205"/>
                </a:moveTo>
                <a:cubicBezTo>
                  <a:pt x="34" y="206"/>
                  <a:pt x="33" y="206"/>
                  <a:pt x="32" y="205"/>
                </a:cubicBezTo>
                <a:cubicBezTo>
                  <a:pt x="31" y="203"/>
                  <a:pt x="31" y="205"/>
                  <a:pt x="29" y="205"/>
                </a:cubicBezTo>
                <a:cubicBezTo>
                  <a:pt x="28" y="206"/>
                  <a:pt x="26" y="205"/>
                  <a:pt x="24" y="202"/>
                </a:cubicBezTo>
                <a:cubicBezTo>
                  <a:pt x="22" y="200"/>
                  <a:pt x="25" y="201"/>
                  <a:pt x="26" y="201"/>
                </a:cubicBezTo>
                <a:cubicBezTo>
                  <a:pt x="26" y="201"/>
                  <a:pt x="27" y="202"/>
                  <a:pt x="28" y="202"/>
                </a:cubicBezTo>
                <a:cubicBezTo>
                  <a:pt x="30" y="201"/>
                  <a:pt x="30" y="201"/>
                  <a:pt x="32" y="201"/>
                </a:cubicBezTo>
                <a:cubicBezTo>
                  <a:pt x="32" y="201"/>
                  <a:pt x="34" y="202"/>
                  <a:pt x="35" y="202"/>
                </a:cubicBezTo>
                <a:cubicBezTo>
                  <a:pt x="36" y="203"/>
                  <a:pt x="35" y="204"/>
                  <a:pt x="35" y="205"/>
                </a:cubicBezTo>
                <a:close/>
                <a:moveTo>
                  <a:pt x="40" y="182"/>
                </a:moveTo>
                <a:cubicBezTo>
                  <a:pt x="40" y="183"/>
                  <a:pt x="40" y="184"/>
                  <a:pt x="39" y="186"/>
                </a:cubicBezTo>
                <a:cubicBezTo>
                  <a:pt x="39" y="187"/>
                  <a:pt x="39" y="188"/>
                  <a:pt x="38" y="189"/>
                </a:cubicBezTo>
                <a:cubicBezTo>
                  <a:pt x="38" y="190"/>
                  <a:pt x="39" y="191"/>
                  <a:pt x="39" y="192"/>
                </a:cubicBezTo>
                <a:cubicBezTo>
                  <a:pt x="39" y="194"/>
                  <a:pt x="39" y="196"/>
                  <a:pt x="38" y="197"/>
                </a:cubicBezTo>
                <a:cubicBezTo>
                  <a:pt x="37" y="198"/>
                  <a:pt x="37" y="198"/>
                  <a:pt x="34" y="197"/>
                </a:cubicBezTo>
                <a:cubicBezTo>
                  <a:pt x="32" y="197"/>
                  <a:pt x="31" y="197"/>
                  <a:pt x="29" y="195"/>
                </a:cubicBezTo>
                <a:cubicBezTo>
                  <a:pt x="27" y="194"/>
                  <a:pt x="30" y="194"/>
                  <a:pt x="31" y="194"/>
                </a:cubicBezTo>
                <a:cubicBezTo>
                  <a:pt x="32" y="194"/>
                  <a:pt x="32" y="195"/>
                  <a:pt x="34" y="196"/>
                </a:cubicBezTo>
                <a:cubicBezTo>
                  <a:pt x="35" y="197"/>
                  <a:pt x="34" y="196"/>
                  <a:pt x="36" y="195"/>
                </a:cubicBezTo>
                <a:cubicBezTo>
                  <a:pt x="37" y="194"/>
                  <a:pt x="36" y="193"/>
                  <a:pt x="35" y="191"/>
                </a:cubicBezTo>
                <a:cubicBezTo>
                  <a:pt x="34" y="190"/>
                  <a:pt x="34" y="191"/>
                  <a:pt x="32" y="190"/>
                </a:cubicBezTo>
                <a:cubicBezTo>
                  <a:pt x="31" y="189"/>
                  <a:pt x="30" y="189"/>
                  <a:pt x="31" y="186"/>
                </a:cubicBezTo>
                <a:cubicBezTo>
                  <a:pt x="31" y="183"/>
                  <a:pt x="31" y="186"/>
                  <a:pt x="32" y="187"/>
                </a:cubicBezTo>
                <a:cubicBezTo>
                  <a:pt x="33" y="187"/>
                  <a:pt x="33" y="188"/>
                  <a:pt x="34" y="188"/>
                </a:cubicBezTo>
                <a:cubicBezTo>
                  <a:pt x="35" y="188"/>
                  <a:pt x="36" y="188"/>
                  <a:pt x="35" y="186"/>
                </a:cubicBezTo>
                <a:cubicBezTo>
                  <a:pt x="34" y="185"/>
                  <a:pt x="35" y="184"/>
                  <a:pt x="37" y="185"/>
                </a:cubicBezTo>
                <a:cubicBezTo>
                  <a:pt x="37" y="185"/>
                  <a:pt x="37" y="183"/>
                  <a:pt x="37" y="182"/>
                </a:cubicBezTo>
                <a:cubicBezTo>
                  <a:pt x="37" y="180"/>
                  <a:pt x="38" y="180"/>
                  <a:pt x="40" y="179"/>
                </a:cubicBezTo>
                <a:cubicBezTo>
                  <a:pt x="42" y="178"/>
                  <a:pt x="41" y="180"/>
                  <a:pt x="40" y="182"/>
                </a:cubicBezTo>
                <a:close/>
                <a:moveTo>
                  <a:pt x="65" y="192"/>
                </a:moveTo>
                <a:cubicBezTo>
                  <a:pt x="63" y="192"/>
                  <a:pt x="64" y="190"/>
                  <a:pt x="64" y="188"/>
                </a:cubicBezTo>
                <a:cubicBezTo>
                  <a:pt x="64" y="186"/>
                  <a:pt x="64" y="186"/>
                  <a:pt x="62" y="185"/>
                </a:cubicBezTo>
                <a:cubicBezTo>
                  <a:pt x="60" y="184"/>
                  <a:pt x="60" y="185"/>
                  <a:pt x="57" y="185"/>
                </a:cubicBezTo>
                <a:cubicBezTo>
                  <a:pt x="54" y="185"/>
                  <a:pt x="55" y="183"/>
                  <a:pt x="54" y="181"/>
                </a:cubicBezTo>
                <a:cubicBezTo>
                  <a:pt x="52" y="179"/>
                  <a:pt x="51" y="178"/>
                  <a:pt x="53" y="176"/>
                </a:cubicBezTo>
                <a:cubicBezTo>
                  <a:pt x="55" y="174"/>
                  <a:pt x="55" y="178"/>
                  <a:pt x="55" y="179"/>
                </a:cubicBezTo>
                <a:cubicBezTo>
                  <a:pt x="55" y="180"/>
                  <a:pt x="57" y="181"/>
                  <a:pt x="58" y="181"/>
                </a:cubicBezTo>
                <a:cubicBezTo>
                  <a:pt x="58" y="182"/>
                  <a:pt x="59" y="182"/>
                  <a:pt x="61" y="181"/>
                </a:cubicBezTo>
                <a:cubicBezTo>
                  <a:pt x="63" y="181"/>
                  <a:pt x="63" y="182"/>
                  <a:pt x="64" y="182"/>
                </a:cubicBezTo>
                <a:cubicBezTo>
                  <a:pt x="65" y="183"/>
                  <a:pt x="65" y="184"/>
                  <a:pt x="66" y="185"/>
                </a:cubicBezTo>
                <a:cubicBezTo>
                  <a:pt x="66" y="185"/>
                  <a:pt x="67" y="188"/>
                  <a:pt x="67" y="190"/>
                </a:cubicBezTo>
                <a:cubicBezTo>
                  <a:pt x="67" y="191"/>
                  <a:pt x="67" y="192"/>
                  <a:pt x="65" y="192"/>
                </a:cubicBezTo>
                <a:close/>
                <a:moveTo>
                  <a:pt x="76" y="168"/>
                </a:moveTo>
                <a:cubicBezTo>
                  <a:pt x="75" y="169"/>
                  <a:pt x="73" y="168"/>
                  <a:pt x="71" y="166"/>
                </a:cubicBezTo>
                <a:cubicBezTo>
                  <a:pt x="70" y="164"/>
                  <a:pt x="72" y="164"/>
                  <a:pt x="73" y="162"/>
                </a:cubicBezTo>
                <a:cubicBezTo>
                  <a:pt x="74" y="160"/>
                  <a:pt x="73" y="161"/>
                  <a:pt x="73" y="158"/>
                </a:cubicBezTo>
                <a:cubicBezTo>
                  <a:pt x="73" y="155"/>
                  <a:pt x="74" y="154"/>
                  <a:pt x="75" y="154"/>
                </a:cubicBezTo>
                <a:cubicBezTo>
                  <a:pt x="76" y="154"/>
                  <a:pt x="76" y="155"/>
                  <a:pt x="76" y="155"/>
                </a:cubicBezTo>
                <a:cubicBezTo>
                  <a:pt x="76" y="155"/>
                  <a:pt x="75" y="156"/>
                  <a:pt x="76" y="158"/>
                </a:cubicBezTo>
                <a:cubicBezTo>
                  <a:pt x="76" y="159"/>
                  <a:pt x="76" y="160"/>
                  <a:pt x="75" y="161"/>
                </a:cubicBezTo>
                <a:cubicBezTo>
                  <a:pt x="75" y="162"/>
                  <a:pt x="74" y="164"/>
                  <a:pt x="74" y="165"/>
                </a:cubicBezTo>
                <a:cubicBezTo>
                  <a:pt x="74" y="166"/>
                  <a:pt x="75" y="165"/>
                  <a:pt x="76" y="165"/>
                </a:cubicBezTo>
                <a:cubicBezTo>
                  <a:pt x="77" y="164"/>
                  <a:pt x="76" y="167"/>
                  <a:pt x="76" y="168"/>
                </a:cubicBezTo>
                <a:close/>
                <a:moveTo>
                  <a:pt x="83" y="158"/>
                </a:moveTo>
                <a:cubicBezTo>
                  <a:pt x="82" y="159"/>
                  <a:pt x="81" y="160"/>
                  <a:pt x="80" y="162"/>
                </a:cubicBezTo>
                <a:cubicBezTo>
                  <a:pt x="80" y="164"/>
                  <a:pt x="80" y="164"/>
                  <a:pt x="79" y="165"/>
                </a:cubicBezTo>
                <a:cubicBezTo>
                  <a:pt x="78" y="167"/>
                  <a:pt x="78" y="161"/>
                  <a:pt x="78" y="160"/>
                </a:cubicBezTo>
                <a:cubicBezTo>
                  <a:pt x="78" y="160"/>
                  <a:pt x="79" y="158"/>
                  <a:pt x="80" y="157"/>
                </a:cubicBezTo>
                <a:cubicBezTo>
                  <a:pt x="81" y="156"/>
                  <a:pt x="81" y="154"/>
                  <a:pt x="83" y="154"/>
                </a:cubicBezTo>
                <a:cubicBezTo>
                  <a:pt x="83" y="154"/>
                  <a:pt x="83" y="157"/>
                  <a:pt x="83" y="158"/>
                </a:cubicBezTo>
                <a:close/>
                <a:moveTo>
                  <a:pt x="106" y="142"/>
                </a:moveTo>
                <a:cubicBezTo>
                  <a:pt x="106" y="144"/>
                  <a:pt x="106" y="145"/>
                  <a:pt x="106" y="147"/>
                </a:cubicBezTo>
                <a:cubicBezTo>
                  <a:pt x="106" y="148"/>
                  <a:pt x="106" y="150"/>
                  <a:pt x="106" y="151"/>
                </a:cubicBezTo>
                <a:cubicBezTo>
                  <a:pt x="105" y="151"/>
                  <a:pt x="104" y="150"/>
                  <a:pt x="104" y="149"/>
                </a:cubicBezTo>
                <a:cubicBezTo>
                  <a:pt x="103" y="148"/>
                  <a:pt x="103" y="147"/>
                  <a:pt x="104" y="146"/>
                </a:cubicBezTo>
                <a:cubicBezTo>
                  <a:pt x="104" y="145"/>
                  <a:pt x="104" y="144"/>
                  <a:pt x="103" y="142"/>
                </a:cubicBezTo>
                <a:cubicBezTo>
                  <a:pt x="103" y="140"/>
                  <a:pt x="102" y="137"/>
                  <a:pt x="103" y="137"/>
                </a:cubicBezTo>
                <a:cubicBezTo>
                  <a:pt x="103" y="137"/>
                  <a:pt x="105" y="135"/>
                  <a:pt x="106" y="137"/>
                </a:cubicBezTo>
                <a:cubicBezTo>
                  <a:pt x="106" y="138"/>
                  <a:pt x="107" y="141"/>
                  <a:pt x="106" y="14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85" name="Freeform 734"/>
          <p:cNvSpPr>
            <a:spLocks/>
          </p:cNvSpPr>
          <p:nvPr userDrawn="1"/>
        </p:nvSpPr>
        <p:spPr bwMode="auto">
          <a:xfrm>
            <a:off x="9442201" y="6416750"/>
            <a:ext cx="6700" cy="5025"/>
          </a:xfrm>
          <a:custGeom>
            <a:avLst/>
            <a:gdLst>
              <a:gd name="T0" fmla="*/ 2147483646 w 7"/>
              <a:gd name="T1" fmla="*/ 2147483646 h 6"/>
              <a:gd name="T2" fmla="*/ 2147483646 w 7"/>
              <a:gd name="T3" fmla="*/ 2147483646 h 6"/>
              <a:gd name="T4" fmla="*/ 2147483646 w 7"/>
              <a:gd name="T5" fmla="*/ 2147483646 h 6"/>
              <a:gd name="T6" fmla="*/ 2147483646 w 7"/>
              <a:gd name="T7" fmla="*/ 2147483646 h 6"/>
              <a:gd name="T8" fmla="*/ 2147483646 w 7"/>
              <a:gd name="T9" fmla="*/ 2147483646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6"/>
              <a:gd name="T17" fmla="*/ 7 w 7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6">
                <a:moveTo>
                  <a:pt x="4" y="1"/>
                </a:moveTo>
                <a:cubicBezTo>
                  <a:pt x="2" y="2"/>
                  <a:pt x="0" y="1"/>
                  <a:pt x="1" y="3"/>
                </a:cubicBezTo>
                <a:cubicBezTo>
                  <a:pt x="2" y="6"/>
                  <a:pt x="3" y="6"/>
                  <a:pt x="5" y="6"/>
                </a:cubicBezTo>
                <a:cubicBezTo>
                  <a:pt x="6" y="6"/>
                  <a:pt x="7" y="4"/>
                  <a:pt x="7" y="3"/>
                </a:cubicBezTo>
                <a:cubicBezTo>
                  <a:pt x="7" y="2"/>
                  <a:pt x="5" y="0"/>
                  <a:pt x="4" y="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86" name="Freeform 735"/>
          <p:cNvSpPr>
            <a:spLocks/>
          </p:cNvSpPr>
          <p:nvPr userDrawn="1"/>
        </p:nvSpPr>
        <p:spPr bwMode="auto">
          <a:xfrm>
            <a:off x="9469001" y="6455276"/>
            <a:ext cx="21776" cy="25125"/>
          </a:xfrm>
          <a:custGeom>
            <a:avLst/>
            <a:gdLst>
              <a:gd name="T0" fmla="*/ 2147483646 w 23"/>
              <a:gd name="T1" fmla="*/ 2147483646 h 26"/>
              <a:gd name="T2" fmla="*/ 2147483646 w 23"/>
              <a:gd name="T3" fmla="*/ 2147483646 h 26"/>
              <a:gd name="T4" fmla="*/ 2147483646 w 23"/>
              <a:gd name="T5" fmla="*/ 2147483646 h 26"/>
              <a:gd name="T6" fmla="*/ 2147483646 w 23"/>
              <a:gd name="T7" fmla="*/ 2147483646 h 26"/>
              <a:gd name="T8" fmla="*/ 2147483646 w 23"/>
              <a:gd name="T9" fmla="*/ 2147483646 h 26"/>
              <a:gd name="T10" fmla="*/ 2147483646 w 23"/>
              <a:gd name="T11" fmla="*/ 2147483646 h 26"/>
              <a:gd name="T12" fmla="*/ 2147483646 w 23"/>
              <a:gd name="T13" fmla="*/ 2147483646 h 26"/>
              <a:gd name="T14" fmla="*/ 2147483646 w 23"/>
              <a:gd name="T15" fmla="*/ 2147483646 h 26"/>
              <a:gd name="T16" fmla="*/ 2147483646 w 23"/>
              <a:gd name="T17" fmla="*/ 2147483646 h 26"/>
              <a:gd name="T18" fmla="*/ 2147483646 w 23"/>
              <a:gd name="T19" fmla="*/ 2147483646 h 26"/>
              <a:gd name="T20" fmla="*/ 2147483646 w 23"/>
              <a:gd name="T21" fmla="*/ 2147483646 h 26"/>
              <a:gd name="T22" fmla="*/ 2147483646 w 23"/>
              <a:gd name="T23" fmla="*/ 2147483646 h 26"/>
              <a:gd name="T24" fmla="*/ 2147483646 w 23"/>
              <a:gd name="T25" fmla="*/ 2147483646 h 26"/>
              <a:gd name="T26" fmla="*/ 2147483646 w 23"/>
              <a:gd name="T27" fmla="*/ 2147483646 h 26"/>
              <a:gd name="T28" fmla="*/ 2147483646 w 23"/>
              <a:gd name="T29" fmla="*/ 2147483646 h 26"/>
              <a:gd name="T30" fmla="*/ 2147483646 w 23"/>
              <a:gd name="T31" fmla="*/ 2147483646 h 26"/>
              <a:gd name="T32" fmla="*/ 2147483646 w 23"/>
              <a:gd name="T33" fmla="*/ 2147483646 h 26"/>
              <a:gd name="T34" fmla="*/ 2147483646 w 23"/>
              <a:gd name="T35" fmla="*/ 2147483646 h 26"/>
              <a:gd name="T36" fmla="*/ 2147483646 w 23"/>
              <a:gd name="T37" fmla="*/ 2147483646 h 26"/>
              <a:gd name="T38" fmla="*/ 2147483646 w 23"/>
              <a:gd name="T39" fmla="*/ 2147483646 h 26"/>
              <a:gd name="T40" fmla="*/ 2147483646 w 23"/>
              <a:gd name="T41" fmla="*/ 2147483646 h 26"/>
              <a:gd name="T42" fmla="*/ 2147483646 w 23"/>
              <a:gd name="T43" fmla="*/ 2147483646 h 26"/>
              <a:gd name="T44" fmla="*/ 2147483646 w 23"/>
              <a:gd name="T45" fmla="*/ 2147483646 h 26"/>
              <a:gd name="T46" fmla="*/ 2147483646 w 23"/>
              <a:gd name="T47" fmla="*/ 2147483646 h 26"/>
              <a:gd name="T48" fmla="*/ 2147483646 w 23"/>
              <a:gd name="T49" fmla="*/ 2147483646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3"/>
              <a:gd name="T76" fmla="*/ 0 h 26"/>
              <a:gd name="T77" fmla="*/ 23 w 23"/>
              <a:gd name="T78" fmla="*/ 26 h 2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3" h="26">
                <a:moveTo>
                  <a:pt x="12" y="2"/>
                </a:moveTo>
                <a:cubicBezTo>
                  <a:pt x="10" y="2"/>
                  <a:pt x="9" y="1"/>
                  <a:pt x="8" y="2"/>
                </a:cubicBezTo>
                <a:cubicBezTo>
                  <a:pt x="7" y="3"/>
                  <a:pt x="6" y="3"/>
                  <a:pt x="7" y="5"/>
                </a:cubicBezTo>
                <a:cubicBezTo>
                  <a:pt x="9" y="8"/>
                  <a:pt x="9" y="8"/>
                  <a:pt x="10" y="10"/>
                </a:cubicBezTo>
                <a:cubicBezTo>
                  <a:pt x="10" y="13"/>
                  <a:pt x="11" y="13"/>
                  <a:pt x="9" y="14"/>
                </a:cubicBezTo>
                <a:cubicBezTo>
                  <a:pt x="8" y="14"/>
                  <a:pt x="6" y="12"/>
                  <a:pt x="7" y="14"/>
                </a:cubicBezTo>
                <a:cubicBezTo>
                  <a:pt x="8" y="16"/>
                  <a:pt x="9" y="15"/>
                  <a:pt x="7" y="16"/>
                </a:cubicBezTo>
                <a:cubicBezTo>
                  <a:pt x="6" y="17"/>
                  <a:pt x="5" y="17"/>
                  <a:pt x="4" y="17"/>
                </a:cubicBezTo>
                <a:cubicBezTo>
                  <a:pt x="4" y="17"/>
                  <a:pt x="1" y="18"/>
                  <a:pt x="3" y="20"/>
                </a:cubicBezTo>
                <a:cubicBezTo>
                  <a:pt x="4" y="22"/>
                  <a:pt x="5" y="23"/>
                  <a:pt x="4" y="24"/>
                </a:cubicBezTo>
                <a:cubicBezTo>
                  <a:pt x="2" y="26"/>
                  <a:pt x="0" y="26"/>
                  <a:pt x="3" y="26"/>
                </a:cubicBezTo>
                <a:cubicBezTo>
                  <a:pt x="5" y="26"/>
                  <a:pt x="7" y="26"/>
                  <a:pt x="7" y="25"/>
                </a:cubicBezTo>
                <a:cubicBezTo>
                  <a:pt x="7" y="25"/>
                  <a:pt x="6" y="22"/>
                  <a:pt x="7" y="22"/>
                </a:cubicBezTo>
                <a:cubicBezTo>
                  <a:pt x="9" y="21"/>
                  <a:pt x="8" y="19"/>
                  <a:pt x="11" y="20"/>
                </a:cubicBezTo>
                <a:cubicBezTo>
                  <a:pt x="13" y="22"/>
                  <a:pt x="12" y="22"/>
                  <a:pt x="16" y="20"/>
                </a:cubicBezTo>
                <a:cubicBezTo>
                  <a:pt x="20" y="19"/>
                  <a:pt x="23" y="18"/>
                  <a:pt x="22" y="16"/>
                </a:cubicBezTo>
                <a:cubicBezTo>
                  <a:pt x="22" y="14"/>
                  <a:pt x="22" y="12"/>
                  <a:pt x="21" y="12"/>
                </a:cubicBezTo>
                <a:cubicBezTo>
                  <a:pt x="20" y="12"/>
                  <a:pt x="21" y="10"/>
                  <a:pt x="19" y="12"/>
                </a:cubicBezTo>
                <a:cubicBezTo>
                  <a:pt x="18" y="14"/>
                  <a:pt x="17" y="13"/>
                  <a:pt x="16" y="12"/>
                </a:cubicBezTo>
                <a:cubicBezTo>
                  <a:pt x="15" y="12"/>
                  <a:pt x="14" y="8"/>
                  <a:pt x="16" y="9"/>
                </a:cubicBezTo>
                <a:cubicBezTo>
                  <a:pt x="18" y="10"/>
                  <a:pt x="20" y="10"/>
                  <a:pt x="21" y="10"/>
                </a:cubicBezTo>
                <a:cubicBezTo>
                  <a:pt x="21" y="9"/>
                  <a:pt x="21" y="8"/>
                  <a:pt x="19" y="7"/>
                </a:cubicBezTo>
                <a:cubicBezTo>
                  <a:pt x="17" y="6"/>
                  <a:pt x="16" y="5"/>
                  <a:pt x="15" y="3"/>
                </a:cubicBezTo>
                <a:cubicBezTo>
                  <a:pt x="14" y="2"/>
                  <a:pt x="14" y="0"/>
                  <a:pt x="13" y="1"/>
                </a:cubicBezTo>
                <a:cubicBezTo>
                  <a:pt x="12" y="2"/>
                  <a:pt x="12" y="2"/>
                  <a:pt x="12" y="2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sp>
        <p:nvSpPr>
          <p:cNvPr id="387" name="Freeform 736"/>
          <p:cNvSpPr>
            <a:spLocks noEditPoints="1"/>
          </p:cNvSpPr>
          <p:nvPr userDrawn="1"/>
        </p:nvSpPr>
        <p:spPr bwMode="auto">
          <a:xfrm>
            <a:off x="9614734" y="5992951"/>
            <a:ext cx="174209" cy="279740"/>
          </a:xfrm>
          <a:custGeom>
            <a:avLst/>
            <a:gdLst>
              <a:gd name="T0" fmla="*/ 2147483646 w 186"/>
              <a:gd name="T1" fmla="*/ 2147483646 h 300"/>
              <a:gd name="T2" fmla="*/ 2147483646 w 186"/>
              <a:gd name="T3" fmla="*/ 2147483646 h 300"/>
              <a:gd name="T4" fmla="*/ 2147483646 w 186"/>
              <a:gd name="T5" fmla="*/ 2147483646 h 300"/>
              <a:gd name="T6" fmla="*/ 2147483646 w 186"/>
              <a:gd name="T7" fmla="*/ 2147483646 h 300"/>
              <a:gd name="T8" fmla="*/ 2147483646 w 186"/>
              <a:gd name="T9" fmla="*/ 2147483646 h 300"/>
              <a:gd name="T10" fmla="*/ 2147483646 w 186"/>
              <a:gd name="T11" fmla="*/ 2147483646 h 300"/>
              <a:gd name="T12" fmla="*/ 2147483646 w 186"/>
              <a:gd name="T13" fmla="*/ 2147483646 h 300"/>
              <a:gd name="T14" fmla="*/ 2147483646 w 186"/>
              <a:gd name="T15" fmla="*/ 2147483646 h 300"/>
              <a:gd name="T16" fmla="*/ 2147483646 w 186"/>
              <a:gd name="T17" fmla="*/ 2147483646 h 300"/>
              <a:gd name="T18" fmla="*/ 2147483646 w 186"/>
              <a:gd name="T19" fmla="*/ 2147483646 h 300"/>
              <a:gd name="T20" fmla="*/ 2147483646 w 186"/>
              <a:gd name="T21" fmla="*/ 2147483646 h 300"/>
              <a:gd name="T22" fmla="*/ 2147483646 w 186"/>
              <a:gd name="T23" fmla="*/ 2147483646 h 300"/>
              <a:gd name="T24" fmla="*/ 2147483646 w 186"/>
              <a:gd name="T25" fmla="*/ 2147483646 h 300"/>
              <a:gd name="T26" fmla="*/ 2147483646 w 186"/>
              <a:gd name="T27" fmla="*/ 2147483646 h 300"/>
              <a:gd name="T28" fmla="*/ 2147483646 w 186"/>
              <a:gd name="T29" fmla="*/ 2147483646 h 300"/>
              <a:gd name="T30" fmla="*/ 2147483646 w 186"/>
              <a:gd name="T31" fmla="*/ 2147483646 h 300"/>
              <a:gd name="T32" fmla="*/ 2147483646 w 186"/>
              <a:gd name="T33" fmla="*/ 2147483646 h 300"/>
              <a:gd name="T34" fmla="*/ 2147483646 w 186"/>
              <a:gd name="T35" fmla="*/ 2147483646 h 300"/>
              <a:gd name="T36" fmla="*/ 2147483646 w 186"/>
              <a:gd name="T37" fmla="*/ 2147483646 h 300"/>
              <a:gd name="T38" fmla="*/ 2147483646 w 186"/>
              <a:gd name="T39" fmla="*/ 2147483646 h 300"/>
              <a:gd name="T40" fmla="*/ 2147483646 w 186"/>
              <a:gd name="T41" fmla="*/ 2147483646 h 300"/>
              <a:gd name="T42" fmla="*/ 2147483646 w 186"/>
              <a:gd name="T43" fmla="*/ 2147483646 h 300"/>
              <a:gd name="T44" fmla="*/ 2147483646 w 186"/>
              <a:gd name="T45" fmla="*/ 2147483646 h 300"/>
              <a:gd name="T46" fmla="*/ 2147483646 w 186"/>
              <a:gd name="T47" fmla="*/ 2147483646 h 300"/>
              <a:gd name="T48" fmla="*/ 2147483646 w 186"/>
              <a:gd name="T49" fmla="*/ 2147483646 h 300"/>
              <a:gd name="T50" fmla="*/ 2147483646 w 186"/>
              <a:gd name="T51" fmla="*/ 2147483646 h 300"/>
              <a:gd name="T52" fmla="*/ 2147483646 w 186"/>
              <a:gd name="T53" fmla="*/ 2147483646 h 300"/>
              <a:gd name="T54" fmla="*/ 2147483646 w 186"/>
              <a:gd name="T55" fmla="*/ 2147483646 h 300"/>
              <a:gd name="T56" fmla="*/ 2147483646 w 186"/>
              <a:gd name="T57" fmla="*/ 2147483646 h 300"/>
              <a:gd name="T58" fmla="*/ 2147483646 w 186"/>
              <a:gd name="T59" fmla="*/ 2147483646 h 300"/>
              <a:gd name="T60" fmla="*/ 2147483646 w 186"/>
              <a:gd name="T61" fmla="*/ 2147483646 h 300"/>
              <a:gd name="T62" fmla="*/ 2147483646 w 186"/>
              <a:gd name="T63" fmla="*/ 2147483646 h 300"/>
              <a:gd name="T64" fmla="*/ 2147483646 w 186"/>
              <a:gd name="T65" fmla="*/ 2147483646 h 300"/>
              <a:gd name="T66" fmla="*/ 2147483646 w 186"/>
              <a:gd name="T67" fmla="*/ 2147483646 h 300"/>
              <a:gd name="T68" fmla="*/ 2147483646 w 186"/>
              <a:gd name="T69" fmla="*/ 2147483646 h 300"/>
              <a:gd name="T70" fmla="*/ 2147483646 w 186"/>
              <a:gd name="T71" fmla="*/ 2147483646 h 300"/>
              <a:gd name="T72" fmla="*/ 2147483646 w 186"/>
              <a:gd name="T73" fmla="*/ 2147483646 h 300"/>
              <a:gd name="T74" fmla="*/ 2147483646 w 186"/>
              <a:gd name="T75" fmla="*/ 2147483646 h 300"/>
              <a:gd name="T76" fmla="*/ 2147483646 w 186"/>
              <a:gd name="T77" fmla="*/ 2147483646 h 300"/>
              <a:gd name="T78" fmla="*/ 2147483646 w 186"/>
              <a:gd name="T79" fmla="*/ 2147483646 h 300"/>
              <a:gd name="T80" fmla="*/ 2147483646 w 186"/>
              <a:gd name="T81" fmla="*/ 2147483646 h 300"/>
              <a:gd name="T82" fmla="*/ 2147483646 w 186"/>
              <a:gd name="T83" fmla="*/ 2147483646 h 300"/>
              <a:gd name="T84" fmla="*/ 2147483646 w 186"/>
              <a:gd name="T85" fmla="*/ 2147483646 h 300"/>
              <a:gd name="T86" fmla="*/ 2147483646 w 186"/>
              <a:gd name="T87" fmla="*/ 2147483646 h 300"/>
              <a:gd name="T88" fmla="*/ 2147483646 w 186"/>
              <a:gd name="T89" fmla="*/ 2147483646 h 300"/>
              <a:gd name="T90" fmla="*/ 2147483646 w 186"/>
              <a:gd name="T91" fmla="*/ 2147483646 h 300"/>
              <a:gd name="T92" fmla="*/ 2147483646 w 186"/>
              <a:gd name="T93" fmla="*/ 2147483646 h 300"/>
              <a:gd name="T94" fmla="*/ 2147483646 w 186"/>
              <a:gd name="T95" fmla="*/ 2147483646 h 300"/>
              <a:gd name="T96" fmla="*/ 2147483646 w 186"/>
              <a:gd name="T97" fmla="*/ 2147483646 h 300"/>
              <a:gd name="T98" fmla="*/ 2147483646 w 186"/>
              <a:gd name="T99" fmla="*/ 2147483646 h 300"/>
              <a:gd name="T100" fmla="*/ 2147483646 w 186"/>
              <a:gd name="T101" fmla="*/ 2147483646 h 300"/>
              <a:gd name="T102" fmla="*/ 2147483646 w 186"/>
              <a:gd name="T103" fmla="*/ 2147483646 h 300"/>
              <a:gd name="T104" fmla="*/ 2147483646 w 186"/>
              <a:gd name="T105" fmla="*/ 2147483646 h 300"/>
              <a:gd name="T106" fmla="*/ 2147483646 w 186"/>
              <a:gd name="T107" fmla="*/ 2147483646 h 300"/>
              <a:gd name="T108" fmla="*/ 2147483646 w 186"/>
              <a:gd name="T109" fmla="*/ 2147483646 h 300"/>
              <a:gd name="T110" fmla="*/ 2147483646 w 186"/>
              <a:gd name="T111" fmla="*/ 2147483646 h 30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86"/>
              <a:gd name="T169" fmla="*/ 0 h 300"/>
              <a:gd name="T170" fmla="*/ 186 w 186"/>
              <a:gd name="T171" fmla="*/ 300 h 30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86" h="300">
                <a:moveTo>
                  <a:pt x="184" y="145"/>
                </a:moveTo>
                <a:cubicBezTo>
                  <a:pt x="183" y="143"/>
                  <a:pt x="179" y="144"/>
                  <a:pt x="179" y="142"/>
                </a:cubicBezTo>
                <a:cubicBezTo>
                  <a:pt x="179" y="140"/>
                  <a:pt x="176" y="137"/>
                  <a:pt x="174" y="138"/>
                </a:cubicBezTo>
                <a:cubicBezTo>
                  <a:pt x="172" y="139"/>
                  <a:pt x="170" y="136"/>
                  <a:pt x="168" y="138"/>
                </a:cubicBezTo>
                <a:cubicBezTo>
                  <a:pt x="166" y="141"/>
                  <a:pt x="163" y="144"/>
                  <a:pt x="162" y="143"/>
                </a:cubicBezTo>
                <a:cubicBezTo>
                  <a:pt x="161" y="142"/>
                  <a:pt x="160" y="143"/>
                  <a:pt x="158" y="145"/>
                </a:cubicBezTo>
                <a:cubicBezTo>
                  <a:pt x="157" y="147"/>
                  <a:pt x="144" y="157"/>
                  <a:pt x="142" y="155"/>
                </a:cubicBezTo>
                <a:cubicBezTo>
                  <a:pt x="140" y="154"/>
                  <a:pt x="139" y="156"/>
                  <a:pt x="139" y="156"/>
                </a:cubicBezTo>
                <a:cubicBezTo>
                  <a:pt x="139" y="156"/>
                  <a:pt x="139" y="153"/>
                  <a:pt x="135" y="152"/>
                </a:cubicBezTo>
                <a:cubicBezTo>
                  <a:pt x="131" y="151"/>
                  <a:pt x="125" y="151"/>
                  <a:pt x="123" y="148"/>
                </a:cubicBezTo>
                <a:cubicBezTo>
                  <a:pt x="121" y="144"/>
                  <a:pt x="117" y="142"/>
                  <a:pt x="115" y="141"/>
                </a:cubicBezTo>
                <a:cubicBezTo>
                  <a:pt x="113" y="139"/>
                  <a:pt x="109" y="138"/>
                  <a:pt x="109" y="140"/>
                </a:cubicBezTo>
                <a:cubicBezTo>
                  <a:pt x="110" y="141"/>
                  <a:pt x="104" y="138"/>
                  <a:pt x="103" y="136"/>
                </a:cubicBezTo>
                <a:cubicBezTo>
                  <a:pt x="102" y="133"/>
                  <a:pt x="103" y="132"/>
                  <a:pt x="102" y="131"/>
                </a:cubicBezTo>
                <a:cubicBezTo>
                  <a:pt x="101" y="130"/>
                  <a:pt x="105" y="130"/>
                  <a:pt x="104" y="128"/>
                </a:cubicBezTo>
                <a:cubicBezTo>
                  <a:pt x="103" y="125"/>
                  <a:pt x="101" y="125"/>
                  <a:pt x="101" y="119"/>
                </a:cubicBezTo>
                <a:cubicBezTo>
                  <a:pt x="101" y="113"/>
                  <a:pt x="103" y="112"/>
                  <a:pt x="101" y="110"/>
                </a:cubicBezTo>
                <a:cubicBezTo>
                  <a:pt x="99" y="109"/>
                  <a:pt x="99" y="105"/>
                  <a:pt x="98" y="104"/>
                </a:cubicBezTo>
                <a:cubicBezTo>
                  <a:pt x="96" y="103"/>
                  <a:pt x="99" y="102"/>
                  <a:pt x="99" y="101"/>
                </a:cubicBezTo>
                <a:cubicBezTo>
                  <a:pt x="100" y="101"/>
                  <a:pt x="101" y="100"/>
                  <a:pt x="100" y="99"/>
                </a:cubicBezTo>
                <a:cubicBezTo>
                  <a:pt x="99" y="98"/>
                  <a:pt x="97" y="102"/>
                  <a:pt x="95" y="101"/>
                </a:cubicBezTo>
                <a:cubicBezTo>
                  <a:pt x="94" y="99"/>
                  <a:pt x="93" y="98"/>
                  <a:pt x="92" y="97"/>
                </a:cubicBezTo>
                <a:cubicBezTo>
                  <a:pt x="91" y="97"/>
                  <a:pt x="94" y="94"/>
                  <a:pt x="92" y="93"/>
                </a:cubicBezTo>
                <a:cubicBezTo>
                  <a:pt x="91" y="93"/>
                  <a:pt x="91" y="91"/>
                  <a:pt x="89" y="90"/>
                </a:cubicBezTo>
                <a:cubicBezTo>
                  <a:pt x="88" y="90"/>
                  <a:pt x="86" y="88"/>
                  <a:pt x="84" y="89"/>
                </a:cubicBezTo>
                <a:cubicBezTo>
                  <a:pt x="83" y="90"/>
                  <a:pt x="86" y="94"/>
                  <a:pt x="87" y="94"/>
                </a:cubicBezTo>
                <a:cubicBezTo>
                  <a:pt x="89" y="95"/>
                  <a:pt x="90" y="98"/>
                  <a:pt x="89" y="98"/>
                </a:cubicBezTo>
                <a:cubicBezTo>
                  <a:pt x="88" y="99"/>
                  <a:pt x="89" y="100"/>
                  <a:pt x="89" y="101"/>
                </a:cubicBezTo>
                <a:cubicBezTo>
                  <a:pt x="90" y="101"/>
                  <a:pt x="89" y="101"/>
                  <a:pt x="88" y="102"/>
                </a:cubicBezTo>
                <a:cubicBezTo>
                  <a:pt x="87" y="102"/>
                  <a:pt x="86" y="103"/>
                  <a:pt x="87" y="105"/>
                </a:cubicBezTo>
                <a:cubicBezTo>
                  <a:pt x="89" y="107"/>
                  <a:pt x="91" y="109"/>
                  <a:pt x="90" y="110"/>
                </a:cubicBezTo>
                <a:cubicBezTo>
                  <a:pt x="90" y="112"/>
                  <a:pt x="91" y="113"/>
                  <a:pt x="90" y="115"/>
                </a:cubicBezTo>
                <a:cubicBezTo>
                  <a:pt x="89" y="117"/>
                  <a:pt x="88" y="120"/>
                  <a:pt x="86" y="119"/>
                </a:cubicBezTo>
                <a:cubicBezTo>
                  <a:pt x="83" y="117"/>
                  <a:pt x="81" y="116"/>
                  <a:pt x="81" y="113"/>
                </a:cubicBezTo>
                <a:cubicBezTo>
                  <a:pt x="81" y="110"/>
                  <a:pt x="83" y="108"/>
                  <a:pt x="81" y="108"/>
                </a:cubicBezTo>
                <a:cubicBezTo>
                  <a:pt x="78" y="108"/>
                  <a:pt x="75" y="108"/>
                  <a:pt x="75" y="106"/>
                </a:cubicBezTo>
                <a:cubicBezTo>
                  <a:pt x="75" y="105"/>
                  <a:pt x="75" y="105"/>
                  <a:pt x="73" y="105"/>
                </a:cubicBezTo>
                <a:cubicBezTo>
                  <a:pt x="71" y="106"/>
                  <a:pt x="70" y="104"/>
                  <a:pt x="69" y="103"/>
                </a:cubicBezTo>
                <a:cubicBezTo>
                  <a:pt x="67" y="101"/>
                  <a:pt x="65" y="101"/>
                  <a:pt x="65" y="103"/>
                </a:cubicBezTo>
                <a:cubicBezTo>
                  <a:pt x="64" y="105"/>
                  <a:pt x="62" y="104"/>
                  <a:pt x="62" y="102"/>
                </a:cubicBezTo>
                <a:cubicBezTo>
                  <a:pt x="63" y="100"/>
                  <a:pt x="65" y="101"/>
                  <a:pt x="66" y="100"/>
                </a:cubicBezTo>
                <a:cubicBezTo>
                  <a:pt x="67" y="98"/>
                  <a:pt x="65" y="96"/>
                  <a:pt x="66" y="95"/>
                </a:cubicBezTo>
                <a:cubicBezTo>
                  <a:pt x="67" y="95"/>
                  <a:pt x="68" y="95"/>
                  <a:pt x="68" y="94"/>
                </a:cubicBezTo>
                <a:cubicBezTo>
                  <a:pt x="68" y="93"/>
                  <a:pt x="64" y="96"/>
                  <a:pt x="65" y="93"/>
                </a:cubicBezTo>
                <a:cubicBezTo>
                  <a:pt x="65" y="91"/>
                  <a:pt x="64" y="89"/>
                  <a:pt x="65" y="89"/>
                </a:cubicBezTo>
                <a:cubicBezTo>
                  <a:pt x="67" y="88"/>
                  <a:pt x="65" y="86"/>
                  <a:pt x="65" y="85"/>
                </a:cubicBezTo>
                <a:cubicBezTo>
                  <a:pt x="66" y="84"/>
                  <a:pt x="69" y="85"/>
                  <a:pt x="69" y="84"/>
                </a:cubicBezTo>
                <a:cubicBezTo>
                  <a:pt x="69" y="83"/>
                  <a:pt x="67" y="82"/>
                  <a:pt x="67" y="82"/>
                </a:cubicBezTo>
                <a:cubicBezTo>
                  <a:pt x="67" y="81"/>
                  <a:pt x="69" y="81"/>
                  <a:pt x="69" y="80"/>
                </a:cubicBezTo>
                <a:cubicBezTo>
                  <a:pt x="69" y="79"/>
                  <a:pt x="64" y="79"/>
                  <a:pt x="64" y="76"/>
                </a:cubicBezTo>
                <a:cubicBezTo>
                  <a:pt x="63" y="72"/>
                  <a:pt x="64" y="70"/>
                  <a:pt x="61" y="69"/>
                </a:cubicBezTo>
                <a:cubicBezTo>
                  <a:pt x="58" y="69"/>
                  <a:pt x="57" y="67"/>
                  <a:pt x="57" y="65"/>
                </a:cubicBezTo>
                <a:cubicBezTo>
                  <a:pt x="58" y="63"/>
                  <a:pt x="59" y="62"/>
                  <a:pt x="57" y="61"/>
                </a:cubicBezTo>
                <a:cubicBezTo>
                  <a:pt x="55" y="60"/>
                  <a:pt x="53" y="60"/>
                  <a:pt x="53" y="59"/>
                </a:cubicBezTo>
                <a:cubicBezTo>
                  <a:pt x="54" y="58"/>
                  <a:pt x="55" y="57"/>
                  <a:pt x="57" y="58"/>
                </a:cubicBezTo>
                <a:cubicBezTo>
                  <a:pt x="58" y="59"/>
                  <a:pt x="60" y="58"/>
                  <a:pt x="60" y="60"/>
                </a:cubicBezTo>
                <a:cubicBezTo>
                  <a:pt x="60" y="61"/>
                  <a:pt x="61" y="63"/>
                  <a:pt x="61" y="62"/>
                </a:cubicBezTo>
                <a:cubicBezTo>
                  <a:pt x="62" y="61"/>
                  <a:pt x="62" y="60"/>
                  <a:pt x="62" y="58"/>
                </a:cubicBezTo>
                <a:cubicBezTo>
                  <a:pt x="62" y="57"/>
                  <a:pt x="63" y="56"/>
                  <a:pt x="61" y="55"/>
                </a:cubicBezTo>
                <a:cubicBezTo>
                  <a:pt x="60" y="53"/>
                  <a:pt x="61" y="52"/>
                  <a:pt x="60" y="51"/>
                </a:cubicBezTo>
                <a:cubicBezTo>
                  <a:pt x="60" y="49"/>
                  <a:pt x="61" y="51"/>
                  <a:pt x="59" y="49"/>
                </a:cubicBezTo>
                <a:cubicBezTo>
                  <a:pt x="58" y="47"/>
                  <a:pt x="59" y="47"/>
                  <a:pt x="58" y="46"/>
                </a:cubicBezTo>
                <a:cubicBezTo>
                  <a:pt x="56" y="45"/>
                  <a:pt x="55" y="46"/>
                  <a:pt x="55" y="44"/>
                </a:cubicBezTo>
                <a:cubicBezTo>
                  <a:pt x="55" y="43"/>
                  <a:pt x="55" y="42"/>
                  <a:pt x="55" y="42"/>
                </a:cubicBezTo>
                <a:cubicBezTo>
                  <a:pt x="55" y="42"/>
                  <a:pt x="57" y="42"/>
                  <a:pt x="56" y="41"/>
                </a:cubicBezTo>
                <a:cubicBezTo>
                  <a:pt x="54" y="40"/>
                  <a:pt x="54" y="41"/>
                  <a:pt x="54" y="40"/>
                </a:cubicBezTo>
                <a:cubicBezTo>
                  <a:pt x="54" y="38"/>
                  <a:pt x="57" y="36"/>
                  <a:pt x="54" y="37"/>
                </a:cubicBezTo>
                <a:cubicBezTo>
                  <a:pt x="51" y="37"/>
                  <a:pt x="51" y="38"/>
                  <a:pt x="50" y="38"/>
                </a:cubicBezTo>
                <a:cubicBezTo>
                  <a:pt x="49" y="38"/>
                  <a:pt x="49" y="38"/>
                  <a:pt x="49" y="38"/>
                </a:cubicBezTo>
                <a:cubicBezTo>
                  <a:pt x="49" y="38"/>
                  <a:pt x="48" y="37"/>
                  <a:pt x="49" y="39"/>
                </a:cubicBezTo>
                <a:cubicBezTo>
                  <a:pt x="49" y="40"/>
                  <a:pt x="48" y="42"/>
                  <a:pt x="47" y="40"/>
                </a:cubicBezTo>
                <a:cubicBezTo>
                  <a:pt x="46" y="38"/>
                  <a:pt x="48" y="36"/>
                  <a:pt x="46" y="36"/>
                </a:cubicBezTo>
                <a:cubicBezTo>
                  <a:pt x="44" y="35"/>
                  <a:pt x="42" y="33"/>
                  <a:pt x="44" y="33"/>
                </a:cubicBezTo>
                <a:cubicBezTo>
                  <a:pt x="46" y="33"/>
                  <a:pt x="47" y="35"/>
                  <a:pt x="47" y="34"/>
                </a:cubicBezTo>
                <a:cubicBezTo>
                  <a:pt x="48" y="33"/>
                  <a:pt x="47" y="31"/>
                  <a:pt x="46" y="31"/>
                </a:cubicBezTo>
                <a:cubicBezTo>
                  <a:pt x="44" y="31"/>
                  <a:pt x="41" y="33"/>
                  <a:pt x="42" y="31"/>
                </a:cubicBezTo>
                <a:cubicBezTo>
                  <a:pt x="42" y="29"/>
                  <a:pt x="43" y="26"/>
                  <a:pt x="40" y="26"/>
                </a:cubicBezTo>
                <a:cubicBezTo>
                  <a:pt x="38" y="26"/>
                  <a:pt x="35" y="27"/>
                  <a:pt x="35" y="28"/>
                </a:cubicBezTo>
                <a:cubicBezTo>
                  <a:pt x="34" y="29"/>
                  <a:pt x="35" y="26"/>
                  <a:pt x="33" y="25"/>
                </a:cubicBezTo>
                <a:cubicBezTo>
                  <a:pt x="32" y="24"/>
                  <a:pt x="31" y="23"/>
                  <a:pt x="30" y="24"/>
                </a:cubicBezTo>
                <a:cubicBezTo>
                  <a:pt x="29" y="24"/>
                  <a:pt x="30" y="26"/>
                  <a:pt x="28" y="25"/>
                </a:cubicBezTo>
                <a:cubicBezTo>
                  <a:pt x="26" y="25"/>
                  <a:pt x="24" y="24"/>
                  <a:pt x="24" y="22"/>
                </a:cubicBezTo>
                <a:cubicBezTo>
                  <a:pt x="25" y="20"/>
                  <a:pt x="26" y="19"/>
                  <a:pt x="25" y="18"/>
                </a:cubicBezTo>
                <a:cubicBezTo>
                  <a:pt x="24" y="17"/>
                  <a:pt x="23" y="18"/>
                  <a:pt x="22" y="19"/>
                </a:cubicBezTo>
                <a:cubicBezTo>
                  <a:pt x="21" y="20"/>
                  <a:pt x="21" y="22"/>
                  <a:pt x="22" y="22"/>
                </a:cubicBezTo>
                <a:cubicBezTo>
                  <a:pt x="23" y="23"/>
                  <a:pt x="23" y="27"/>
                  <a:pt x="21" y="26"/>
                </a:cubicBezTo>
                <a:cubicBezTo>
                  <a:pt x="19" y="24"/>
                  <a:pt x="21" y="23"/>
                  <a:pt x="20" y="22"/>
                </a:cubicBezTo>
                <a:cubicBezTo>
                  <a:pt x="19" y="20"/>
                  <a:pt x="16" y="20"/>
                  <a:pt x="17" y="18"/>
                </a:cubicBezTo>
                <a:cubicBezTo>
                  <a:pt x="17" y="17"/>
                  <a:pt x="17" y="17"/>
                  <a:pt x="15" y="15"/>
                </a:cubicBezTo>
                <a:cubicBezTo>
                  <a:pt x="13" y="13"/>
                  <a:pt x="12" y="11"/>
                  <a:pt x="12" y="10"/>
                </a:cubicBezTo>
                <a:cubicBezTo>
                  <a:pt x="12" y="8"/>
                  <a:pt x="12" y="7"/>
                  <a:pt x="11" y="7"/>
                </a:cubicBezTo>
                <a:cubicBezTo>
                  <a:pt x="10" y="8"/>
                  <a:pt x="9" y="8"/>
                  <a:pt x="9" y="6"/>
                </a:cubicBezTo>
                <a:cubicBezTo>
                  <a:pt x="10" y="5"/>
                  <a:pt x="12" y="7"/>
                  <a:pt x="12" y="5"/>
                </a:cubicBezTo>
                <a:cubicBezTo>
                  <a:pt x="12" y="4"/>
                  <a:pt x="12" y="4"/>
                  <a:pt x="12" y="3"/>
                </a:cubicBezTo>
                <a:cubicBezTo>
                  <a:pt x="13" y="2"/>
                  <a:pt x="14" y="0"/>
                  <a:pt x="12" y="1"/>
                </a:cubicBezTo>
                <a:cubicBezTo>
                  <a:pt x="12" y="1"/>
                  <a:pt x="10" y="2"/>
                  <a:pt x="8" y="1"/>
                </a:cubicBezTo>
                <a:cubicBezTo>
                  <a:pt x="7" y="0"/>
                  <a:pt x="7" y="2"/>
                  <a:pt x="6" y="2"/>
                </a:cubicBezTo>
                <a:cubicBezTo>
                  <a:pt x="5" y="2"/>
                  <a:pt x="2" y="0"/>
                  <a:pt x="1" y="1"/>
                </a:cubicBezTo>
                <a:cubicBezTo>
                  <a:pt x="0" y="3"/>
                  <a:pt x="0" y="4"/>
                  <a:pt x="1" y="5"/>
                </a:cubicBezTo>
                <a:cubicBezTo>
                  <a:pt x="3" y="6"/>
                  <a:pt x="16" y="21"/>
                  <a:pt x="16" y="25"/>
                </a:cubicBezTo>
                <a:cubicBezTo>
                  <a:pt x="16" y="28"/>
                  <a:pt x="17" y="31"/>
                  <a:pt x="15" y="31"/>
                </a:cubicBezTo>
                <a:cubicBezTo>
                  <a:pt x="14" y="31"/>
                  <a:pt x="12" y="32"/>
                  <a:pt x="14" y="34"/>
                </a:cubicBezTo>
                <a:cubicBezTo>
                  <a:pt x="15" y="35"/>
                  <a:pt x="16" y="36"/>
                  <a:pt x="16" y="37"/>
                </a:cubicBezTo>
                <a:cubicBezTo>
                  <a:pt x="15" y="38"/>
                  <a:pt x="22" y="47"/>
                  <a:pt x="23" y="45"/>
                </a:cubicBezTo>
                <a:cubicBezTo>
                  <a:pt x="23" y="43"/>
                  <a:pt x="24" y="41"/>
                  <a:pt x="26" y="41"/>
                </a:cubicBezTo>
                <a:cubicBezTo>
                  <a:pt x="27" y="41"/>
                  <a:pt x="29" y="40"/>
                  <a:pt x="29" y="39"/>
                </a:cubicBezTo>
                <a:cubicBezTo>
                  <a:pt x="29" y="38"/>
                  <a:pt x="30" y="39"/>
                  <a:pt x="31" y="40"/>
                </a:cubicBezTo>
                <a:cubicBezTo>
                  <a:pt x="31" y="41"/>
                  <a:pt x="31" y="42"/>
                  <a:pt x="29" y="42"/>
                </a:cubicBezTo>
                <a:cubicBezTo>
                  <a:pt x="28" y="42"/>
                  <a:pt x="25" y="42"/>
                  <a:pt x="24" y="44"/>
                </a:cubicBezTo>
                <a:cubicBezTo>
                  <a:pt x="24" y="46"/>
                  <a:pt x="21" y="48"/>
                  <a:pt x="23" y="49"/>
                </a:cubicBezTo>
                <a:cubicBezTo>
                  <a:pt x="25" y="50"/>
                  <a:pt x="38" y="67"/>
                  <a:pt x="41" y="78"/>
                </a:cubicBezTo>
                <a:cubicBezTo>
                  <a:pt x="43" y="84"/>
                  <a:pt x="43" y="83"/>
                  <a:pt x="45" y="83"/>
                </a:cubicBezTo>
                <a:cubicBezTo>
                  <a:pt x="47" y="83"/>
                  <a:pt x="49" y="80"/>
                  <a:pt x="47" y="79"/>
                </a:cubicBezTo>
                <a:cubicBezTo>
                  <a:pt x="45" y="77"/>
                  <a:pt x="41" y="73"/>
                  <a:pt x="44" y="73"/>
                </a:cubicBezTo>
                <a:cubicBezTo>
                  <a:pt x="47" y="74"/>
                  <a:pt x="48" y="74"/>
                  <a:pt x="48" y="75"/>
                </a:cubicBezTo>
                <a:cubicBezTo>
                  <a:pt x="48" y="77"/>
                  <a:pt x="49" y="78"/>
                  <a:pt x="50" y="77"/>
                </a:cubicBezTo>
                <a:cubicBezTo>
                  <a:pt x="51" y="76"/>
                  <a:pt x="49" y="72"/>
                  <a:pt x="50" y="72"/>
                </a:cubicBezTo>
                <a:cubicBezTo>
                  <a:pt x="51" y="73"/>
                  <a:pt x="51" y="76"/>
                  <a:pt x="53" y="75"/>
                </a:cubicBezTo>
                <a:cubicBezTo>
                  <a:pt x="54" y="75"/>
                  <a:pt x="56" y="74"/>
                  <a:pt x="55" y="76"/>
                </a:cubicBezTo>
                <a:cubicBezTo>
                  <a:pt x="53" y="77"/>
                  <a:pt x="52" y="77"/>
                  <a:pt x="53" y="78"/>
                </a:cubicBezTo>
                <a:cubicBezTo>
                  <a:pt x="53" y="79"/>
                  <a:pt x="55" y="78"/>
                  <a:pt x="55" y="79"/>
                </a:cubicBezTo>
                <a:cubicBezTo>
                  <a:pt x="55" y="81"/>
                  <a:pt x="53" y="81"/>
                  <a:pt x="52" y="81"/>
                </a:cubicBezTo>
                <a:cubicBezTo>
                  <a:pt x="52" y="80"/>
                  <a:pt x="50" y="80"/>
                  <a:pt x="50" y="82"/>
                </a:cubicBezTo>
                <a:cubicBezTo>
                  <a:pt x="50" y="83"/>
                  <a:pt x="52" y="85"/>
                  <a:pt x="53" y="84"/>
                </a:cubicBezTo>
                <a:cubicBezTo>
                  <a:pt x="54" y="83"/>
                  <a:pt x="56" y="82"/>
                  <a:pt x="56" y="83"/>
                </a:cubicBezTo>
                <a:cubicBezTo>
                  <a:pt x="56" y="85"/>
                  <a:pt x="54" y="85"/>
                  <a:pt x="55" y="87"/>
                </a:cubicBezTo>
                <a:cubicBezTo>
                  <a:pt x="56" y="89"/>
                  <a:pt x="56" y="91"/>
                  <a:pt x="56" y="92"/>
                </a:cubicBezTo>
                <a:cubicBezTo>
                  <a:pt x="55" y="93"/>
                  <a:pt x="54" y="94"/>
                  <a:pt x="53" y="93"/>
                </a:cubicBezTo>
                <a:cubicBezTo>
                  <a:pt x="52" y="93"/>
                  <a:pt x="55" y="90"/>
                  <a:pt x="53" y="90"/>
                </a:cubicBezTo>
                <a:cubicBezTo>
                  <a:pt x="52" y="90"/>
                  <a:pt x="51" y="89"/>
                  <a:pt x="51" y="87"/>
                </a:cubicBezTo>
                <a:cubicBezTo>
                  <a:pt x="50" y="86"/>
                  <a:pt x="50" y="86"/>
                  <a:pt x="49" y="86"/>
                </a:cubicBezTo>
                <a:cubicBezTo>
                  <a:pt x="48" y="86"/>
                  <a:pt x="46" y="86"/>
                  <a:pt x="47" y="87"/>
                </a:cubicBezTo>
                <a:cubicBezTo>
                  <a:pt x="48" y="88"/>
                  <a:pt x="51" y="91"/>
                  <a:pt x="51" y="93"/>
                </a:cubicBezTo>
                <a:cubicBezTo>
                  <a:pt x="52" y="95"/>
                  <a:pt x="57" y="106"/>
                  <a:pt x="57" y="108"/>
                </a:cubicBezTo>
                <a:cubicBezTo>
                  <a:pt x="57" y="110"/>
                  <a:pt x="59" y="111"/>
                  <a:pt x="60" y="109"/>
                </a:cubicBezTo>
                <a:cubicBezTo>
                  <a:pt x="62" y="108"/>
                  <a:pt x="63" y="105"/>
                  <a:pt x="64" y="106"/>
                </a:cubicBezTo>
                <a:cubicBezTo>
                  <a:pt x="65" y="108"/>
                  <a:pt x="66" y="108"/>
                  <a:pt x="67" y="109"/>
                </a:cubicBezTo>
                <a:cubicBezTo>
                  <a:pt x="69" y="110"/>
                  <a:pt x="70" y="111"/>
                  <a:pt x="68" y="112"/>
                </a:cubicBezTo>
                <a:cubicBezTo>
                  <a:pt x="67" y="112"/>
                  <a:pt x="64" y="113"/>
                  <a:pt x="63" y="112"/>
                </a:cubicBezTo>
                <a:cubicBezTo>
                  <a:pt x="63" y="112"/>
                  <a:pt x="62" y="111"/>
                  <a:pt x="61" y="111"/>
                </a:cubicBezTo>
                <a:cubicBezTo>
                  <a:pt x="59" y="111"/>
                  <a:pt x="57" y="111"/>
                  <a:pt x="58" y="113"/>
                </a:cubicBezTo>
                <a:cubicBezTo>
                  <a:pt x="60" y="115"/>
                  <a:pt x="61" y="118"/>
                  <a:pt x="62" y="121"/>
                </a:cubicBezTo>
                <a:cubicBezTo>
                  <a:pt x="63" y="125"/>
                  <a:pt x="62" y="127"/>
                  <a:pt x="63" y="130"/>
                </a:cubicBezTo>
                <a:cubicBezTo>
                  <a:pt x="64" y="133"/>
                  <a:pt x="65" y="135"/>
                  <a:pt x="65" y="137"/>
                </a:cubicBezTo>
                <a:cubicBezTo>
                  <a:pt x="66" y="139"/>
                  <a:pt x="67" y="141"/>
                  <a:pt x="68" y="140"/>
                </a:cubicBezTo>
                <a:cubicBezTo>
                  <a:pt x="69" y="140"/>
                  <a:pt x="71" y="141"/>
                  <a:pt x="69" y="142"/>
                </a:cubicBezTo>
                <a:cubicBezTo>
                  <a:pt x="67" y="142"/>
                  <a:pt x="63" y="141"/>
                  <a:pt x="63" y="144"/>
                </a:cubicBezTo>
                <a:cubicBezTo>
                  <a:pt x="64" y="147"/>
                  <a:pt x="63" y="149"/>
                  <a:pt x="65" y="149"/>
                </a:cubicBezTo>
                <a:cubicBezTo>
                  <a:pt x="66" y="148"/>
                  <a:pt x="68" y="149"/>
                  <a:pt x="66" y="150"/>
                </a:cubicBezTo>
                <a:cubicBezTo>
                  <a:pt x="64" y="151"/>
                  <a:pt x="64" y="151"/>
                  <a:pt x="64" y="152"/>
                </a:cubicBezTo>
                <a:cubicBezTo>
                  <a:pt x="65" y="153"/>
                  <a:pt x="67" y="152"/>
                  <a:pt x="68" y="153"/>
                </a:cubicBezTo>
                <a:cubicBezTo>
                  <a:pt x="68" y="154"/>
                  <a:pt x="67" y="154"/>
                  <a:pt x="65" y="155"/>
                </a:cubicBezTo>
                <a:cubicBezTo>
                  <a:pt x="64" y="155"/>
                  <a:pt x="61" y="153"/>
                  <a:pt x="61" y="155"/>
                </a:cubicBezTo>
                <a:cubicBezTo>
                  <a:pt x="61" y="157"/>
                  <a:pt x="62" y="161"/>
                  <a:pt x="60" y="163"/>
                </a:cubicBezTo>
                <a:cubicBezTo>
                  <a:pt x="59" y="164"/>
                  <a:pt x="58" y="164"/>
                  <a:pt x="58" y="166"/>
                </a:cubicBezTo>
                <a:cubicBezTo>
                  <a:pt x="58" y="169"/>
                  <a:pt x="58" y="180"/>
                  <a:pt x="56" y="182"/>
                </a:cubicBezTo>
                <a:cubicBezTo>
                  <a:pt x="55" y="184"/>
                  <a:pt x="53" y="188"/>
                  <a:pt x="52" y="188"/>
                </a:cubicBezTo>
                <a:cubicBezTo>
                  <a:pt x="51" y="189"/>
                  <a:pt x="48" y="190"/>
                  <a:pt x="48" y="189"/>
                </a:cubicBezTo>
                <a:cubicBezTo>
                  <a:pt x="48" y="188"/>
                  <a:pt x="47" y="188"/>
                  <a:pt x="46" y="189"/>
                </a:cubicBezTo>
                <a:cubicBezTo>
                  <a:pt x="45" y="189"/>
                  <a:pt x="43" y="188"/>
                  <a:pt x="43" y="189"/>
                </a:cubicBezTo>
                <a:cubicBezTo>
                  <a:pt x="42" y="191"/>
                  <a:pt x="41" y="191"/>
                  <a:pt x="40" y="191"/>
                </a:cubicBezTo>
                <a:cubicBezTo>
                  <a:pt x="39" y="191"/>
                  <a:pt x="39" y="191"/>
                  <a:pt x="37" y="192"/>
                </a:cubicBezTo>
                <a:cubicBezTo>
                  <a:pt x="36" y="193"/>
                  <a:pt x="32" y="194"/>
                  <a:pt x="31" y="196"/>
                </a:cubicBezTo>
                <a:cubicBezTo>
                  <a:pt x="30" y="198"/>
                  <a:pt x="28" y="202"/>
                  <a:pt x="31" y="205"/>
                </a:cubicBezTo>
                <a:cubicBezTo>
                  <a:pt x="35" y="208"/>
                  <a:pt x="40" y="211"/>
                  <a:pt x="43" y="213"/>
                </a:cubicBezTo>
                <a:cubicBezTo>
                  <a:pt x="46" y="215"/>
                  <a:pt x="48" y="218"/>
                  <a:pt x="49" y="219"/>
                </a:cubicBezTo>
                <a:cubicBezTo>
                  <a:pt x="51" y="221"/>
                  <a:pt x="56" y="224"/>
                  <a:pt x="62" y="226"/>
                </a:cubicBezTo>
                <a:cubicBezTo>
                  <a:pt x="68" y="227"/>
                  <a:pt x="72" y="229"/>
                  <a:pt x="72" y="238"/>
                </a:cubicBezTo>
                <a:cubicBezTo>
                  <a:pt x="73" y="246"/>
                  <a:pt x="74" y="246"/>
                  <a:pt x="73" y="249"/>
                </a:cubicBezTo>
                <a:cubicBezTo>
                  <a:pt x="71" y="251"/>
                  <a:pt x="70" y="251"/>
                  <a:pt x="71" y="254"/>
                </a:cubicBezTo>
                <a:cubicBezTo>
                  <a:pt x="71" y="257"/>
                  <a:pt x="72" y="258"/>
                  <a:pt x="69" y="262"/>
                </a:cubicBezTo>
                <a:cubicBezTo>
                  <a:pt x="67" y="265"/>
                  <a:pt x="65" y="266"/>
                  <a:pt x="64" y="269"/>
                </a:cubicBezTo>
                <a:cubicBezTo>
                  <a:pt x="64" y="272"/>
                  <a:pt x="65" y="270"/>
                  <a:pt x="62" y="272"/>
                </a:cubicBezTo>
                <a:cubicBezTo>
                  <a:pt x="60" y="274"/>
                  <a:pt x="58" y="278"/>
                  <a:pt x="56" y="279"/>
                </a:cubicBezTo>
                <a:cubicBezTo>
                  <a:pt x="53" y="280"/>
                  <a:pt x="51" y="280"/>
                  <a:pt x="53" y="282"/>
                </a:cubicBezTo>
                <a:cubicBezTo>
                  <a:pt x="54" y="285"/>
                  <a:pt x="56" y="287"/>
                  <a:pt x="58" y="286"/>
                </a:cubicBezTo>
                <a:cubicBezTo>
                  <a:pt x="61" y="285"/>
                  <a:pt x="60" y="290"/>
                  <a:pt x="62" y="288"/>
                </a:cubicBezTo>
                <a:cubicBezTo>
                  <a:pt x="65" y="286"/>
                  <a:pt x="68" y="287"/>
                  <a:pt x="69" y="289"/>
                </a:cubicBezTo>
                <a:cubicBezTo>
                  <a:pt x="69" y="290"/>
                  <a:pt x="68" y="294"/>
                  <a:pt x="70" y="294"/>
                </a:cubicBezTo>
                <a:cubicBezTo>
                  <a:pt x="72" y="294"/>
                  <a:pt x="71" y="300"/>
                  <a:pt x="74" y="297"/>
                </a:cubicBezTo>
                <a:cubicBezTo>
                  <a:pt x="77" y="294"/>
                  <a:pt x="83" y="294"/>
                  <a:pt x="86" y="290"/>
                </a:cubicBezTo>
                <a:cubicBezTo>
                  <a:pt x="89" y="286"/>
                  <a:pt x="92" y="285"/>
                  <a:pt x="94" y="284"/>
                </a:cubicBezTo>
                <a:cubicBezTo>
                  <a:pt x="96" y="283"/>
                  <a:pt x="94" y="279"/>
                  <a:pt x="97" y="278"/>
                </a:cubicBezTo>
                <a:cubicBezTo>
                  <a:pt x="100" y="278"/>
                  <a:pt x="98" y="273"/>
                  <a:pt x="100" y="272"/>
                </a:cubicBezTo>
                <a:cubicBezTo>
                  <a:pt x="103" y="271"/>
                  <a:pt x="102" y="269"/>
                  <a:pt x="105" y="265"/>
                </a:cubicBezTo>
                <a:cubicBezTo>
                  <a:pt x="107" y="261"/>
                  <a:pt x="108" y="263"/>
                  <a:pt x="110" y="261"/>
                </a:cubicBezTo>
                <a:cubicBezTo>
                  <a:pt x="111" y="260"/>
                  <a:pt x="109" y="258"/>
                  <a:pt x="111" y="257"/>
                </a:cubicBezTo>
                <a:cubicBezTo>
                  <a:pt x="113" y="256"/>
                  <a:pt x="115" y="256"/>
                  <a:pt x="116" y="254"/>
                </a:cubicBezTo>
                <a:cubicBezTo>
                  <a:pt x="117" y="253"/>
                  <a:pt x="115" y="251"/>
                  <a:pt x="117" y="250"/>
                </a:cubicBezTo>
                <a:cubicBezTo>
                  <a:pt x="119" y="249"/>
                  <a:pt x="117" y="247"/>
                  <a:pt x="119" y="246"/>
                </a:cubicBezTo>
                <a:cubicBezTo>
                  <a:pt x="120" y="245"/>
                  <a:pt x="122" y="245"/>
                  <a:pt x="123" y="241"/>
                </a:cubicBezTo>
                <a:cubicBezTo>
                  <a:pt x="125" y="237"/>
                  <a:pt x="128" y="233"/>
                  <a:pt x="130" y="229"/>
                </a:cubicBezTo>
                <a:cubicBezTo>
                  <a:pt x="133" y="225"/>
                  <a:pt x="130" y="224"/>
                  <a:pt x="132" y="224"/>
                </a:cubicBezTo>
                <a:cubicBezTo>
                  <a:pt x="134" y="224"/>
                  <a:pt x="133" y="222"/>
                  <a:pt x="131" y="222"/>
                </a:cubicBezTo>
                <a:cubicBezTo>
                  <a:pt x="130" y="222"/>
                  <a:pt x="128" y="221"/>
                  <a:pt x="128" y="218"/>
                </a:cubicBezTo>
                <a:cubicBezTo>
                  <a:pt x="129" y="216"/>
                  <a:pt x="128" y="215"/>
                  <a:pt x="128" y="213"/>
                </a:cubicBezTo>
                <a:cubicBezTo>
                  <a:pt x="127" y="212"/>
                  <a:pt x="127" y="211"/>
                  <a:pt x="128" y="210"/>
                </a:cubicBezTo>
                <a:cubicBezTo>
                  <a:pt x="129" y="209"/>
                  <a:pt x="130" y="205"/>
                  <a:pt x="132" y="204"/>
                </a:cubicBezTo>
                <a:cubicBezTo>
                  <a:pt x="135" y="202"/>
                  <a:pt x="137" y="200"/>
                  <a:pt x="141" y="200"/>
                </a:cubicBezTo>
                <a:cubicBezTo>
                  <a:pt x="145" y="199"/>
                  <a:pt x="154" y="199"/>
                  <a:pt x="155" y="199"/>
                </a:cubicBezTo>
                <a:cubicBezTo>
                  <a:pt x="156" y="199"/>
                  <a:pt x="158" y="202"/>
                  <a:pt x="159" y="201"/>
                </a:cubicBezTo>
                <a:cubicBezTo>
                  <a:pt x="160" y="200"/>
                  <a:pt x="160" y="198"/>
                  <a:pt x="160" y="196"/>
                </a:cubicBezTo>
                <a:cubicBezTo>
                  <a:pt x="160" y="194"/>
                  <a:pt x="159" y="191"/>
                  <a:pt x="161" y="190"/>
                </a:cubicBezTo>
                <a:cubicBezTo>
                  <a:pt x="164" y="189"/>
                  <a:pt x="160" y="185"/>
                  <a:pt x="162" y="184"/>
                </a:cubicBezTo>
                <a:cubicBezTo>
                  <a:pt x="164" y="183"/>
                  <a:pt x="165" y="187"/>
                  <a:pt x="167" y="185"/>
                </a:cubicBezTo>
                <a:cubicBezTo>
                  <a:pt x="169" y="184"/>
                  <a:pt x="169" y="184"/>
                  <a:pt x="171" y="182"/>
                </a:cubicBezTo>
                <a:cubicBezTo>
                  <a:pt x="173" y="179"/>
                  <a:pt x="175" y="180"/>
                  <a:pt x="174" y="178"/>
                </a:cubicBezTo>
                <a:cubicBezTo>
                  <a:pt x="174" y="175"/>
                  <a:pt x="175" y="176"/>
                  <a:pt x="176" y="175"/>
                </a:cubicBezTo>
                <a:cubicBezTo>
                  <a:pt x="176" y="174"/>
                  <a:pt x="176" y="172"/>
                  <a:pt x="176" y="170"/>
                </a:cubicBezTo>
                <a:cubicBezTo>
                  <a:pt x="177" y="169"/>
                  <a:pt x="176" y="168"/>
                  <a:pt x="176" y="167"/>
                </a:cubicBezTo>
                <a:cubicBezTo>
                  <a:pt x="176" y="166"/>
                  <a:pt x="176" y="163"/>
                  <a:pt x="177" y="163"/>
                </a:cubicBezTo>
                <a:cubicBezTo>
                  <a:pt x="178" y="164"/>
                  <a:pt x="177" y="159"/>
                  <a:pt x="178" y="159"/>
                </a:cubicBezTo>
                <a:cubicBezTo>
                  <a:pt x="179" y="160"/>
                  <a:pt x="179" y="157"/>
                  <a:pt x="180" y="156"/>
                </a:cubicBezTo>
                <a:cubicBezTo>
                  <a:pt x="181" y="155"/>
                  <a:pt x="180" y="152"/>
                  <a:pt x="182" y="151"/>
                </a:cubicBezTo>
                <a:cubicBezTo>
                  <a:pt x="184" y="150"/>
                  <a:pt x="186" y="147"/>
                  <a:pt x="184" y="145"/>
                </a:cubicBezTo>
                <a:close/>
                <a:moveTo>
                  <a:pt x="102" y="186"/>
                </a:moveTo>
                <a:cubicBezTo>
                  <a:pt x="100" y="186"/>
                  <a:pt x="100" y="190"/>
                  <a:pt x="99" y="191"/>
                </a:cubicBezTo>
                <a:cubicBezTo>
                  <a:pt x="98" y="191"/>
                  <a:pt x="93" y="190"/>
                  <a:pt x="93" y="188"/>
                </a:cubicBezTo>
                <a:cubicBezTo>
                  <a:pt x="94" y="185"/>
                  <a:pt x="95" y="185"/>
                  <a:pt x="95" y="184"/>
                </a:cubicBezTo>
                <a:cubicBezTo>
                  <a:pt x="94" y="183"/>
                  <a:pt x="92" y="184"/>
                  <a:pt x="91" y="182"/>
                </a:cubicBezTo>
                <a:cubicBezTo>
                  <a:pt x="90" y="181"/>
                  <a:pt x="94" y="180"/>
                  <a:pt x="95" y="178"/>
                </a:cubicBezTo>
                <a:cubicBezTo>
                  <a:pt x="96" y="177"/>
                  <a:pt x="98" y="179"/>
                  <a:pt x="99" y="180"/>
                </a:cubicBezTo>
                <a:cubicBezTo>
                  <a:pt x="100" y="181"/>
                  <a:pt x="102" y="180"/>
                  <a:pt x="103" y="179"/>
                </a:cubicBezTo>
                <a:cubicBezTo>
                  <a:pt x="103" y="179"/>
                  <a:pt x="105" y="181"/>
                  <a:pt x="105" y="183"/>
                </a:cubicBezTo>
                <a:cubicBezTo>
                  <a:pt x="105" y="184"/>
                  <a:pt x="104" y="185"/>
                  <a:pt x="102" y="186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3175" cap="rnd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33878"/>
              </a:solidFill>
              <a:latin typeface="Arial"/>
            </a:endParaRPr>
          </a:p>
        </p:txBody>
      </p:sp>
      <p:pic>
        <p:nvPicPr>
          <p:cNvPr id="388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9" name="Rectangle 388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90" name="Rectangle 389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91" name="Rectangle 390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92" name="Rectangle 391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94" name="Rectangle 393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95" name="ZoneTexte 394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397" name="Rectangle 396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98" name="Rectangle 397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6143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26" y="273049"/>
            <a:ext cx="4011084" cy="1162051"/>
          </a:xfrm>
        </p:spPr>
        <p:txBody>
          <a:bodyPr anchor="b"/>
          <a:lstStyle>
            <a:lvl1pPr algn="l">
              <a:defRPr sz="2667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66"/>
            <a:ext cx="6815667" cy="5853113"/>
          </a:xfrm>
        </p:spPr>
        <p:txBody>
          <a:bodyPr>
            <a:normAutofit/>
          </a:bodyPr>
          <a:lstStyle>
            <a:lvl1pPr>
              <a:defRPr sz="3733">
                <a:latin typeface="Arial" pitchFamily="34" charset="0"/>
                <a:cs typeface="Arial" pitchFamily="34" charset="0"/>
              </a:defRPr>
            </a:lvl1pPr>
            <a:lvl2pPr>
              <a:defRPr sz="3200">
                <a:latin typeface="Arial" pitchFamily="34" charset="0"/>
                <a:cs typeface="Arial" pitchFamily="34" charset="0"/>
              </a:defRPr>
            </a:lvl2pPr>
            <a:lvl3pPr>
              <a:defRPr sz="2667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</p:spPr>
        <p:txBody>
          <a:bodyPr/>
          <a:lstStyle>
            <a:lvl1pPr marL="0" indent="0">
              <a:buNone/>
              <a:defRPr sz="1867">
                <a:latin typeface="Arial" pitchFamily="34" charset="0"/>
                <a:cs typeface="Arial" pitchFamily="34" charset="0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8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5" name="ZoneTexte 24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3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9202A321-4829-4635-8E67-A1C47C788623}" type="datetime1">
              <a:rPr lang="fr-FR" sz="800" smtClean="0">
                <a:solidFill>
                  <a:srgbClr val="0071BA">
                    <a:lumMod val="75000"/>
                  </a:srgbClr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20/12/2020</a:t>
            </a:fld>
            <a:endParaRPr lang="fr-FR" sz="800">
              <a:solidFill>
                <a:srgbClr val="0071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4677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>
                <a:latin typeface="Arial" pitchFamily="34" charset="0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53"/>
            <a:ext cx="7315200" cy="804863"/>
          </a:xfrm>
        </p:spPr>
        <p:txBody>
          <a:bodyPr/>
          <a:lstStyle>
            <a:lvl1pPr marL="0" indent="0">
              <a:buNone/>
              <a:defRPr sz="1867">
                <a:latin typeface="Arial" pitchFamily="34" charset="0"/>
                <a:cs typeface="Arial" pitchFamily="34" charset="0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8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5" name="ZoneTexte 24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3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9202A321-4829-4635-8E67-A1C47C788623}" type="datetime1">
              <a:rPr lang="fr-FR" sz="800" smtClean="0">
                <a:solidFill>
                  <a:srgbClr val="0071BA">
                    <a:lumMod val="75000"/>
                  </a:srgbClr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20/12/2020</a:t>
            </a:fld>
            <a:endParaRPr lang="fr-FR" sz="800">
              <a:solidFill>
                <a:srgbClr val="0071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9985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104" y="4101075"/>
            <a:ext cx="1841793" cy="606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ZoneTexte 20"/>
          <p:cNvSpPr txBox="1"/>
          <p:nvPr userDrawn="1"/>
        </p:nvSpPr>
        <p:spPr>
          <a:xfrm>
            <a:off x="5322070" y="4773150"/>
            <a:ext cx="1467453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1333">
                <a:solidFill>
                  <a:srgbClr val="0071BA"/>
                </a:solidFill>
                <a:latin typeface="Arial" pitchFamily="34" charset="0"/>
                <a:cs typeface="Arial" pitchFamily="34" charset="0"/>
              </a:rPr>
              <a:t>www.servier.com</a:t>
            </a:r>
          </a:p>
        </p:txBody>
      </p:sp>
      <p:sp>
        <p:nvSpPr>
          <p:cNvPr id="17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9202A321-4829-4635-8E67-A1C47C788623}" type="datetime1">
              <a:rPr lang="fr-FR" sz="800" smtClean="0">
                <a:solidFill>
                  <a:srgbClr val="0071BA">
                    <a:lumMod val="75000"/>
                  </a:srgbClr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20/12/2020</a:t>
            </a:fld>
            <a:endParaRPr lang="fr-FR" sz="800">
              <a:solidFill>
                <a:srgbClr val="0071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0535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4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58" y="217875"/>
            <a:ext cx="5145692" cy="3499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7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7" name="ZoneTexte 26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9" name="Rectangle 28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rgbClr val="7030A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9202A321-4829-4635-8E67-A1C47C788623}" type="datetime1">
              <a:rPr lang="fr-FR" sz="800" smtClean="0">
                <a:solidFill>
                  <a:srgbClr val="0071BA">
                    <a:lumMod val="75000"/>
                  </a:srgbClr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20/12/2020</a:t>
            </a:fld>
            <a:endParaRPr lang="fr-FR" sz="800">
              <a:solidFill>
                <a:srgbClr val="0071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9045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06377"/>
            <a:ext cx="2743200" cy="4387851"/>
          </a:xfrm>
        </p:spPr>
        <p:txBody>
          <a:bodyPr vert="eaVert">
            <a:normAutofit/>
          </a:bodyPr>
          <a:lstStyle>
            <a:lvl1pPr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06377"/>
            <a:ext cx="8026400" cy="4387851"/>
          </a:xfrm>
        </p:spPr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3" name="ZoneTexte 22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rgbClr val="7030A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5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9202A321-4829-4635-8E67-A1C47C788623}" type="datetime1">
              <a:rPr lang="fr-FR" sz="800" smtClean="0">
                <a:solidFill>
                  <a:srgbClr val="0071BA">
                    <a:lumMod val="75000"/>
                  </a:srgbClr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20/12/2020</a:t>
            </a:fld>
            <a:endParaRPr lang="fr-FR" sz="800">
              <a:solidFill>
                <a:srgbClr val="0071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8474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6612C55A-D574-4010-8F22-7BA8D16A23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ZoneTexte 8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000" b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333" smtClean="0"/>
              <a:pPr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333"/>
          </a:p>
        </p:txBody>
      </p:sp>
      <p:sp>
        <p:nvSpPr>
          <p:cNvPr id="12" name="Rectangle 11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rgbClr val="6DC7DD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608668" y="-16930"/>
            <a:ext cx="3584219" cy="6874932"/>
          </a:xfrm>
          <a:prstGeom prst="rect">
            <a:avLst/>
          </a:prstGeom>
          <a:solidFill>
            <a:schemeClr val="accent1">
              <a:lumMod val="75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9541E2DC-21B4-43C3-94EB-401B0E4FEA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C473FC2-60ED-46A8-822D-2C04B0B8C29E}"/>
              </a:ext>
            </a:extLst>
          </p:cNvPr>
          <p:cNvSpPr/>
          <p:nvPr userDrawn="1"/>
        </p:nvSpPr>
        <p:spPr>
          <a:xfrm>
            <a:off x="2370142" y="5867016"/>
            <a:ext cx="20612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b="1">
                <a:solidFill>
                  <a:srgbClr val="FFFFFF"/>
                </a:solidFill>
                <a:latin typeface="Arial"/>
                <a:ea typeface="Roboto" pitchFamily="2" charset="0"/>
                <a:cs typeface="Arial" pitchFamily="34" charset="0"/>
              </a:rPr>
              <a:t>www.servier.com</a:t>
            </a:r>
            <a:endParaRPr lang="fr-FR">
              <a:solidFill>
                <a:srgbClr val="FFFFFF"/>
              </a:solidFill>
              <a:latin typeface="Arial"/>
              <a:ea typeface="Roboto" pitchFamily="2" charset="0"/>
              <a:cs typeface="Arial" pitchFamily="34" charset="0"/>
            </a:endParaRPr>
          </a:p>
        </p:txBody>
      </p:sp>
      <p:pic>
        <p:nvPicPr>
          <p:cNvPr id="19" name="Image 18" descr="LOGO_SERVIER_PANTONE_BLANC.png">
            <a:extLst>
              <a:ext uri="{FF2B5EF4-FFF2-40B4-BE49-F238E27FC236}">
                <a16:creationId xmlns:a16="http://schemas.microsoft.com/office/drawing/2014/main" id="{AB8473A9-1CEB-434C-BCB0-C682AB21D00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2323" y="1892829"/>
            <a:ext cx="2776912" cy="916043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518626B1-338B-4F84-A8F1-9427ABE0CC64}"/>
              </a:ext>
            </a:extLst>
          </p:cNvPr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918A1FD-62BD-469E-A177-669811071C8D}"/>
              </a:ext>
            </a:extLst>
          </p:cNvPr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CF74713-2DC1-4B66-B8DA-07229C9209AC}"/>
              </a:ext>
            </a:extLst>
          </p:cNvPr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D021BBA-F79B-40F7-9478-317FF16CE7DE}"/>
              </a:ext>
            </a:extLst>
          </p:cNvPr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8AF4C0-8A05-4A0B-A6D0-FBE01096A381}"/>
              </a:ext>
            </a:extLst>
          </p:cNvPr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146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475085"/>
            <a:ext cx="5384800" cy="3394075"/>
          </a:xfrm>
        </p:spPr>
        <p:txBody>
          <a:bodyPr>
            <a:normAutofit/>
          </a:bodyPr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  <a:lvl2pPr>
              <a:defRPr sz="2667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133">
                <a:latin typeface="Arial" pitchFamily="34" charset="0"/>
                <a:cs typeface="Arial" pitchFamily="34" charset="0"/>
              </a:defRPr>
            </a:lvl4pPr>
            <a:lvl5pPr>
              <a:defRPr sz="2133"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475085"/>
            <a:ext cx="5384800" cy="3394075"/>
          </a:xfrm>
        </p:spPr>
        <p:txBody>
          <a:bodyPr>
            <a:normAutofit/>
          </a:bodyPr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  <a:lvl2pPr>
              <a:defRPr sz="2667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133">
                <a:latin typeface="Arial" pitchFamily="34" charset="0"/>
                <a:cs typeface="Arial" pitchFamily="34" charset="0"/>
              </a:defRPr>
            </a:lvl4pPr>
            <a:lvl5pPr>
              <a:defRPr sz="2133">
                <a:latin typeface="Arial" pitchFamily="34" charset="0"/>
                <a:cs typeface="Arial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 algn="ctr"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endParaRPr lang="fr-FR" dirty="0"/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ZoneTexte 27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3123650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endParaRPr lang="fr-FR" dirty="0"/>
          </a:p>
        </p:txBody>
      </p:sp>
      <p:pic>
        <p:nvPicPr>
          <p:cNvPr id="31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11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ZoneTexte 24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3264145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B4F6F814-6ACB-496E-A1E9-B2587C8DA45E}"/>
              </a:ext>
            </a:extLst>
          </p:cNvPr>
          <p:cNvSpPr/>
          <p:nvPr userDrawn="1"/>
        </p:nvSpPr>
        <p:spPr>
          <a:xfrm>
            <a:off x="1" y="4101075"/>
            <a:ext cx="12191999" cy="2016224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ZoneTexte 23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1E57E540-11C6-41A7-AFF9-6F9F7D6DB1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7435" y="4519695"/>
            <a:ext cx="10177131" cy="1178984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3733" b="0" dirty="0" smtClean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fr-FR"/>
              <a:t>Modifier les styles du texte du masque</a:t>
            </a:r>
          </a:p>
        </p:txBody>
      </p:sp>
      <p:pic>
        <p:nvPicPr>
          <p:cNvPr id="28" name="Picture 2">
            <a:extLst>
              <a:ext uri="{FF2B5EF4-FFF2-40B4-BE49-F238E27FC236}">
                <a16:creationId xmlns:a16="http://schemas.microsoft.com/office/drawing/2014/main" id="{4E80ECA2-DC09-4E15-A664-8C61C53084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45653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1608668" y="-16930"/>
            <a:ext cx="3584219" cy="6874932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ZoneTexte 23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1871531" y="931333"/>
            <a:ext cx="3072341" cy="2689688"/>
          </a:xfrm>
        </p:spPr>
        <p:txBody>
          <a:bodyPr>
            <a:noAutofit/>
          </a:bodyPr>
          <a:lstStyle>
            <a:lvl1pPr marL="0" indent="0">
              <a:buNone/>
              <a:defRPr sz="3733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5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34AF6DF6-F701-4547-A297-797F1B1830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718435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7056107" y="10455"/>
            <a:ext cx="3584219" cy="6874932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ZoneTexte 23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7248129" y="924917"/>
            <a:ext cx="3168352" cy="3080147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3733" smtClean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fr-FR"/>
              <a:t>Modifier les styles du texte du masque</a:t>
            </a:r>
          </a:p>
        </p:txBody>
      </p:sp>
      <p:sp>
        <p:nvSpPr>
          <p:cNvPr id="25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  <p:pic>
        <p:nvPicPr>
          <p:cNvPr id="28" name="Picture 2">
            <a:extLst>
              <a:ext uri="{FF2B5EF4-FFF2-40B4-BE49-F238E27FC236}">
                <a16:creationId xmlns:a16="http://schemas.microsoft.com/office/drawing/2014/main" id="{4B70B6AF-BEE9-45CD-9579-4EE4501044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339500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Espace réservé du contenu 18"/>
          <p:cNvSpPr>
            <a:spLocks noGrp="1"/>
          </p:cNvSpPr>
          <p:nvPr>
            <p:ph sz="quarter" idx="15" hasCustomPrompt="1"/>
          </p:nvPr>
        </p:nvSpPr>
        <p:spPr>
          <a:xfrm>
            <a:off x="4847861" y="1796820"/>
            <a:ext cx="6817792" cy="4288041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FontTx/>
              <a:buNone/>
              <a:defRPr sz="2667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  <a:lvl2pPr marL="0">
              <a:defRPr sz="2133" baseline="0">
                <a:solidFill>
                  <a:srgbClr val="033878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2pPr>
          </a:lstStyle>
          <a:p>
            <a:pPr lvl="0"/>
            <a:r>
              <a:rPr lang="fr-FR" dirty="0"/>
              <a:t>Cliquez pour modifier les textes</a:t>
            </a:r>
          </a:p>
          <a:p>
            <a:pPr lvl="1"/>
            <a:r>
              <a:rPr lang="fr-FR" dirty="0"/>
              <a:t>Ou pour ajouter une images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1161" y="6318813"/>
            <a:ext cx="967644" cy="31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007435" y="525842"/>
            <a:ext cx="5760640" cy="896267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buFontTx/>
              <a:buNone/>
              <a:defRPr sz="3200" b="1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/>
            <a:r>
              <a:rPr lang="fr-FR" dirty="0"/>
              <a:t>Cliquez pour modifier le titre</a:t>
            </a: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313124" y="56039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 flipH="1" flipV="1">
            <a:off x="203933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ZoneTexte 23"/>
          <p:cNvSpPr txBox="1"/>
          <p:nvPr userDrawn="1"/>
        </p:nvSpPr>
        <p:spPr>
          <a:xfrm>
            <a:off x="11585537" y="452672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85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3412142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3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 algn="ctr">
              <a:defRPr sz="1333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13" name="ZoneTexte 12"/>
          <p:cNvSpPr txBox="1"/>
          <p:nvPr/>
        </p:nvSpPr>
        <p:spPr>
          <a:xfrm>
            <a:off x="11585537" y="452673"/>
            <a:ext cx="7203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600" b="0" smtClean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Helvetica "/>
              </a:rPr>
              <a:pPr algn="ctr"/>
              <a:t>‹N°›</a:t>
            </a:fld>
            <a:endParaRPr lang="fr-FR" sz="1600" b="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Helvetica "/>
            </a:endParaRPr>
          </a:p>
        </p:txBody>
      </p:sp>
      <p:sp>
        <p:nvSpPr>
          <p:cNvPr id="7" name="Espace réservé de la date 3"/>
          <p:cNvSpPr txBox="1">
            <a:spLocks/>
          </p:cNvSpPr>
          <p:nvPr userDrawn="1"/>
        </p:nvSpPr>
        <p:spPr>
          <a:xfrm>
            <a:off x="11184565" y="1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0/12/2020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258440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7" r:id="rId19"/>
    <p:sldLayoutId id="2147483708" r:id="rId20"/>
    <p:sldLayoutId id="2147483709" r:id="rId21"/>
  </p:sldLayoutIdLst>
  <p:hf sldNum="0" hdr="0" ftr="0"/>
  <p:txStyles>
    <p:titleStyle>
      <a:lvl1pPr algn="l" defTabSz="1219170" rtl="0" eaLnBrk="1" latinLnBrk="0" hangingPunct="1">
        <a:spcBef>
          <a:spcPct val="0"/>
        </a:spcBef>
        <a:buNone/>
        <a:defRPr sz="3733" b="1" kern="1200">
          <a:solidFill>
            <a:schemeClr val="tx2">
              <a:lumMod val="75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1867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sz="3733" b="1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609585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>
                <a:solidFill>
                  <a:srgbClr val="0071BA">
                    <a:lumMod val="75000"/>
                  </a:srgbClr>
                </a:solidFill>
              </a:rPr>
              <a:t>08/04/2020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11585537" y="452672"/>
            <a:ext cx="7203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</a:pPr>
            <a:fld id="{B4125227-88BC-A944-8C46-050305ADF61E}" type="slidenum">
              <a:rPr lang="fr-FR" sz="1600" smtClean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Helvetica "/>
              </a:rPr>
              <a:pPr algn="ctr" defTabSz="60958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600">
              <a:solidFill>
                <a:srgbClr val="FFFFFF"/>
              </a:solidFill>
              <a:latin typeface="Roboto" pitchFamily="2" charset="0"/>
              <a:ea typeface="Roboto" pitchFamily="2" charset="0"/>
              <a:cs typeface="Helvetica "/>
            </a:endParaRPr>
          </a:p>
        </p:txBody>
      </p:sp>
      <p:sp>
        <p:nvSpPr>
          <p:cNvPr id="6" name="MSIPCMContentMarking" descr="{&quot;HashCode&quot;:1859994762,&quot;Placement&quot;:&quot;Footer&quot;,&quot;Top&quot;:519.343,&quot;Left&quot;:844.5204,&quot;SlideWidth&quot;:960,&quot;SlideHeight&quot;:540}"/>
          <p:cNvSpPr txBox="1"/>
          <p:nvPr userDrawn="1"/>
        </p:nvSpPr>
        <p:spPr>
          <a:xfrm>
            <a:off x="10725409" y="6595656"/>
            <a:ext cx="14665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FF"/>
                </a:solidFill>
                <a:latin typeface="Calibri" panose="020F0502020204030204" pitchFamily="34" charset="0"/>
              </a:rPr>
              <a:t>Classification : Internal</a:t>
            </a:r>
          </a:p>
        </p:txBody>
      </p:sp>
    </p:spTree>
    <p:extLst>
      <p:ext uri="{BB962C8B-B14F-4D97-AF65-F5344CB8AC3E}">
        <p14:creationId xmlns:p14="http://schemas.microsoft.com/office/powerpoint/2010/main" val="1311131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</p:sldLayoutIdLst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3733" b="1" kern="1200">
          <a:solidFill>
            <a:schemeClr val="tx2">
              <a:lumMod val="75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1867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099" y="1223749"/>
            <a:ext cx="4532931" cy="4433088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2330E9F5-B0FE-4978-B847-60B174D05352}"/>
              </a:ext>
            </a:extLst>
          </p:cNvPr>
          <p:cNvSpPr txBox="1"/>
          <p:nvPr/>
        </p:nvSpPr>
        <p:spPr>
          <a:xfrm>
            <a:off x="1627795" y="1940889"/>
            <a:ext cx="198120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fr-FR" sz="1500" dirty="0">
                <a:latin typeface="Open Sans" panose="020B0606030504020204" pitchFamily="34" charset="0"/>
              </a:rPr>
              <a:t>36 Millions d’habitants en 2020</a:t>
            </a:r>
          </a:p>
        </p:txBody>
      </p:sp>
      <p:sp>
        <p:nvSpPr>
          <p:cNvPr id="6" name="TextBox 10">
            <a:extLst>
              <a:ext uri="{FF2B5EF4-FFF2-40B4-BE49-F238E27FC236}">
                <a16:creationId xmlns:a16="http://schemas.microsoft.com/office/drawing/2014/main" id="{7F327185-0F06-49D6-9B9D-F2D523F16208}"/>
              </a:ext>
            </a:extLst>
          </p:cNvPr>
          <p:cNvSpPr txBox="1"/>
          <p:nvPr/>
        </p:nvSpPr>
        <p:spPr>
          <a:xfrm>
            <a:off x="1627795" y="3312123"/>
            <a:ext cx="215089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fr-FR" sz="1500" dirty="0">
                <a:latin typeface="Open Sans" panose="020B0606030504020204" pitchFamily="34" charset="0"/>
              </a:rPr>
              <a:t>SMIG marocain : 2638 </a:t>
            </a:r>
            <a:r>
              <a:rPr lang="fr-FR" sz="1500" dirty="0" err="1">
                <a:latin typeface="Open Sans" panose="020B0606030504020204" pitchFamily="34" charset="0"/>
              </a:rPr>
              <a:t>dhs</a:t>
            </a:r>
            <a:endParaRPr lang="fr-FR" sz="1500" dirty="0">
              <a:latin typeface="Open Sans" panose="020B0606030504020204" pitchFamily="34" charset="0"/>
            </a:endParaRPr>
          </a:p>
          <a:p>
            <a:pPr lvl="0" algn="just">
              <a:defRPr/>
            </a:pPr>
            <a:r>
              <a:rPr lang="fr-FR" sz="1500" dirty="0" smtClean="0">
                <a:latin typeface="Open Sans" panose="020B0606030504020204" pitchFamily="34" charset="0"/>
              </a:rPr>
              <a:t>1/3 des marocains à l’AMO, 1/3 au RAMED, 1/3 sans rien</a:t>
            </a:r>
            <a:endParaRPr lang="fr-FR" sz="1500" dirty="0">
              <a:latin typeface="Open Sans" panose="020B0606030504020204" pitchFamily="34" charset="0"/>
            </a:endParaRPr>
          </a:p>
        </p:txBody>
      </p:sp>
      <p:sp>
        <p:nvSpPr>
          <p:cNvPr id="7" name="TextBox 11">
            <a:extLst>
              <a:ext uri="{FF2B5EF4-FFF2-40B4-BE49-F238E27FC236}">
                <a16:creationId xmlns:a16="http://schemas.microsoft.com/office/drawing/2014/main" id="{EF0F5EF9-3149-4A5B-A6C5-5C26E7A1EC23}"/>
              </a:ext>
            </a:extLst>
          </p:cNvPr>
          <p:cNvSpPr txBox="1"/>
          <p:nvPr/>
        </p:nvSpPr>
        <p:spPr>
          <a:xfrm>
            <a:off x="1541715" y="4799597"/>
            <a:ext cx="2216579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fr-FR" sz="1500" dirty="0">
                <a:latin typeface="Open Sans" panose="020B0606030504020204" pitchFamily="34" charset="0"/>
              </a:rPr>
              <a:t>Dépenses </a:t>
            </a:r>
            <a:r>
              <a:rPr lang="fr-FR" sz="1500" dirty="0" smtClean="0">
                <a:latin typeface="Open Sans" panose="020B0606030504020204" pitchFamily="34" charset="0"/>
              </a:rPr>
              <a:t>en médicaments/habitant :  </a:t>
            </a:r>
            <a:r>
              <a:rPr lang="fr-FR" sz="1500" b="1" dirty="0">
                <a:latin typeface="Open Sans" panose="020B0606030504020204" pitchFamily="34" charset="0"/>
              </a:rPr>
              <a:t>431 </a:t>
            </a:r>
            <a:r>
              <a:rPr lang="fr-FR" sz="1500" b="1" dirty="0" err="1" smtClean="0">
                <a:latin typeface="Open Sans" panose="020B0606030504020204" pitchFamily="34" charset="0"/>
              </a:rPr>
              <a:t>dhs</a:t>
            </a:r>
            <a:r>
              <a:rPr lang="fr-FR" sz="1500" b="1" dirty="0" smtClean="0">
                <a:latin typeface="Open Sans" panose="020B0606030504020204" pitchFamily="34" charset="0"/>
              </a:rPr>
              <a:t>/an  </a:t>
            </a:r>
            <a:r>
              <a:rPr lang="fr-FR" sz="1200" dirty="0" smtClean="0">
                <a:latin typeface="Open Sans" panose="020B0606030504020204" pitchFamily="34" charset="0"/>
              </a:rPr>
              <a:t>(</a:t>
            </a:r>
            <a:r>
              <a:rPr lang="fr-FR" sz="1200" dirty="0">
                <a:latin typeface="Open Sans" panose="020B0606030504020204" pitchFamily="34" charset="0"/>
              </a:rPr>
              <a:t>soit 43€ , vs 487€ en France)</a:t>
            </a:r>
          </a:p>
        </p:txBody>
      </p:sp>
      <p:grpSp>
        <p:nvGrpSpPr>
          <p:cNvPr id="14" name="Group 18">
            <a:extLst>
              <a:ext uri="{FF2B5EF4-FFF2-40B4-BE49-F238E27FC236}">
                <a16:creationId xmlns:a16="http://schemas.microsoft.com/office/drawing/2014/main" id="{45885FDA-4FB8-4620-A152-237D2B1F10AA}"/>
              </a:ext>
            </a:extLst>
          </p:cNvPr>
          <p:cNvGrpSpPr/>
          <p:nvPr/>
        </p:nvGrpSpPr>
        <p:grpSpPr>
          <a:xfrm>
            <a:off x="8383018" y="3482696"/>
            <a:ext cx="1084398" cy="776014"/>
            <a:chOff x="3994808" y="1703384"/>
            <a:chExt cx="5081816" cy="3636634"/>
          </a:xfrm>
          <a:solidFill>
            <a:schemeClr val="tx1"/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1576A326-8A20-44C7-9928-AA6167E29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272" y="4245538"/>
              <a:ext cx="484275" cy="621791"/>
            </a:xfrm>
            <a:custGeom>
              <a:avLst/>
              <a:gdLst>
                <a:gd name="T0" fmla="*/ 508 w 537"/>
                <a:gd name="T1" fmla="*/ 5 h 666"/>
                <a:gd name="T2" fmla="*/ 336 w 537"/>
                <a:gd name="T3" fmla="*/ 45 h 666"/>
                <a:gd name="T4" fmla="*/ 323 w 537"/>
                <a:gd name="T5" fmla="*/ 49 h 666"/>
                <a:gd name="T6" fmla="*/ 330 w 537"/>
                <a:gd name="T7" fmla="*/ 57 h 666"/>
                <a:gd name="T8" fmla="*/ 329 w 537"/>
                <a:gd name="T9" fmla="*/ 103 h 666"/>
                <a:gd name="T10" fmla="*/ 221 w 537"/>
                <a:gd name="T11" fmla="*/ 170 h 666"/>
                <a:gd name="T12" fmla="*/ 74 w 537"/>
                <a:gd name="T13" fmla="*/ 256 h 666"/>
                <a:gd name="T14" fmla="*/ 13 w 537"/>
                <a:gd name="T15" fmla="*/ 436 h 666"/>
                <a:gd name="T16" fmla="*/ 142 w 537"/>
                <a:gd name="T17" fmla="*/ 654 h 666"/>
                <a:gd name="T18" fmla="*/ 174 w 537"/>
                <a:gd name="T19" fmla="*/ 653 h 666"/>
                <a:gd name="T20" fmla="*/ 210 w 537"/>
                <a:gd name="T21" fmla="*/ 607 h 666"/>
                <a:gd name="T22" fmla="*/ 186 w 537"/>
                <a:gd name="T23" fmla="*/ 558 h 666"/>
                <a:gd name="T24" fmla="*/ 244 w 537"/>
                <a:gd name="T25" fmla="*/ 356 h 666"/>
                <a:gd name="T26" fmla="*/ 403 w 537"/>
                <a:gd name="T27" fmla="*/ 278 h 666"/>
                <a:gd name="T28" fmla="*/ 528 w 537"/>
                <a:gd name="T29" fmla="*/ 125 h 666"/>
                <a:gd name="T30" fmla="*/ 537 w 537"/>
                <a:gd name="T31" fmla="*/ 26 h 666"/>
                <a:gd name="T32" fmla="*/ 508 w 537"/>
                <a:gd name="T33" fmla="*/ 5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7" h="666">
                  <a:moveTo>
                    <a:pt x="508" y="5"/>
                  </a:moveTo>
                  <a:cubicBezTo>
                    <a:pt x="451" y="18"/>
                    <a:pt x="393" y="31"/>
                    <a:pt x="336" y="45"/>
                  </a:cubicBezTo>
                  <a:cubicBezTo>
                    <a:pt x="332" y="45"/>
                    <a:pt x="329" y="47"/>
                    <a:pt x="323" y="49"/>
                  </a:cubicBezTo>
                  <a:cubicBezTo>
                    <a:pt x="326" y="52"/>
                    <a:pt x="328" y="55"/>
                    <a:pt x="330" y="57"/>
                  </a:cubicBezTo>
                  <a:cubicBezTo>
                    <a:pt x="347" y="76"/>
                    <a:pt x="349" y="89"/>
                    <a:pt x="329" y="103"/>
                  </a:cubicBezTo>
                  <a:cubicBezTo>
                    <a:pt x="294" y="128"/>
                    <a:pt x="257" y="149"/>
                    <a:pt x="221" y="170"/>
                  </a:cubicBezTo>
                  <a:cubicBezTo>
                    <a:pt x="172" y="199"/>
                    <a:pt x="119" y="222"/>
                    <a:pt x="74" y="256"/>
                  </a:cubicBezTo>
                  <a:cubicBezTo>
                    <a:pt x="17" y="300"/>
                    <a:pt x="0" y="364"/>
                    <a:pt x="13" y="436"/>
                  </a:cubicBezTo>
                  <a:cubicBezTo>
                    <a:pt x="30" y="525"/>
                    <a:pt x="79" y="593"/>
                    <a:pt x="142" y="654"/>
                  </a:cubicBezTo>
                  <a:cubicBezTo>
                    <a:pt x="154" y="666"/>
                    <a:pt x="163" y="666"/>
                    <a:pt x="174" y="653"/>
                  </a:cubicBezTo>
                  <a:cubicBezTo>
                    <a:pt x="186" y="637"/>
                    <a:pt x="207" y="624"/>
                    <a:pt x="210" y="607"/>
                  </a:cubicBezTo>
                  <a:cubicBezTo>
                    <a:pt x="212" y="592"/>
                    <a:pt x="195" y="574"/>
                    <a:pt x="186" y="558"/>
                  </a:cubicBezTo>
                  <a:cubicBezTo>
                    <a:pt x="142" y="476"/>
                    <a:pt x="163" y="400"/>
                    <a:pt x="244" y="356"/>
                  </a:cubicBezTo>
                  <a:cubicBezTo>
                    <a:pt x="296" y="327"/>
                    <a:pt x="350" y="303"/>
                    <a:pt x="403" y="278"/>
                  </a:cubicBezTo>
                  <a:cubicBezTo>
                    <a:pt x="468" y="247"/>
                    <a:pt x="515" y="199"/>
                    <a:pt x="528" y="125"/>
                  </a:cubicBezTo>
                  <a:cubicBezTo>
                    <a:pt x="533" y="93"/>
                    <a:pt x="536" y="59"/>
                    <a:pt x="537" y="26"/>
                  </a:cubicBezTo>
                  <a:cubicBezTo>
                    <a:pt x="537" y="4"/>
                    <a:pt x="530" y="0"/>
                    <a:pt x="50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5A98D5D-C461-44E9-B9C8-4E7235C12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397" y="4523652"/>
              <a:ext cx="333067" cy="426160"/>
            </a:xfrm>
            <a:custGeom>
              <a:avLst/>
              <a:gdLst>
                <a:gd name="T0" fmla="*/ 317 w 369"/>
                <a:gd name="T1" fmla="*/ 12 h 457"/>
                <a:gd name="T2" fmla="*/ 193 w 369"/>
                <a:gd name="T3" fmla="*/ 80 h 457"/>
                <a:gd name="T4" fmla="*/ 187 w 369"/>
                <a:gd name="T5" fmla="*/ 106 h 457"/>
                <a:gd name="T6" fmla="*/ 198 w 369"/>
                <a:gd name="T7" fmla="*/ 214 h 457"/>
                <a:gd name="T8" fmla="*/ 61 w 369"/>
                <a:gd name="T9" fmla="*/ 404 h 457"/>
                <a:gd name="T10" fmla="*/ 12 w 369"/>
                <a:gd name="T11" fmla="*/ 443 h 457"/>
                <a:gd name="T12" fmla="*/ 0 w 369"/>
                <a:gd name="T13" fmla="*/ 456 h 457"/>
                <a:gd name="T14" fmla="*/ 98 w 369"/>
                <a:gd name="T15" fmla="*/ 437 h 457"/>
                <a:gd name="T16" fmla="*/ 328 w 369"/>
                <a:gd name="T17" fmla="*/ 217 h 457"/>
                <a:gd name="T18" fmla="*/ 344 w 369"/>
                <a:gd name="T19" fmla="*/ 22 h 457"/>
                <a:gd name="T20" fmla="*/ 317 w 369"/>
                <a:gd name="T21" fmla="*/ 12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9" h="457">
                  <a:moveTo>
                    <a:pt x="317" y="12"/>
                  </a:moveTo>
                  <a:cubicBezTo>
                    <a:pt x="277" y="37"/>
                    <a:pt x="235" y="58"/>
                    <a:pt x="193" y="80"/>
                  </a:cubicBezTo>
                  <a:cubicBezTo>
                    <a:pt x="180" y="87"/>
                    <a:pt x="177" y="92"/>
                    <a:pt x="187" y="106"/>
                  </a:cubicBezTo>
                  <a:cubicBezTo>
                    <a:pt x="212" y="139"/>
                    <a:pt x="209" y="178"/>
                    <a:pt x="198" y="214"/>
                  </a:cubicBezTo>
                  <a:cubicBezTo>
                    <a:pt x="175" y="293"/>
                    <a:pt x="122" y="352"/>
                    <a:pt x="61" y="404"/>
                  </a:cubicBezTo>
                  <a:cubicBezTo>
                    <a:pt x="46" y="418"/>
                    <a:pt x="28" y="430"/>
                    <a:pt x="12" y="443"/>
                  </a:cubicBezTo>
                  <a:cubicBezTo>
                    <a:pt x="8" y="446"/>
                    <a:pt x="6" y="450"/>
                    <a:pt x="0" y="456"/>
                  </a:cubicBezTo>
                  <a:cubicBezTo>
                    <a:pt x="37" y="457"/>
                    <a:pt x="68" y="449"/>
                    <a:pt x="98" y="437"/>
                  </a:cubicBezTo>
                  <a:cubicBezTo>
                    <a:pt x="203" y="393"/>
                    <a:pt x="279" y="318"/>
                    <a:pt x="328" y="217"/>
                  </a:cubicBezTo>
                  <a:cubicBezTo>
                    <a:pt x="358" y="155"/>
                    <a:pt x="369" y="89"/>
                    <a:pt x="344" y="22"/>
                  </a:cubicBezTo>
                  <a:cubicBezTo>
                    <a:pt x="339" y="8"/>
                    <a:pt x="335" y="0"/>
                    <a:pt x="3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EB3EE923-295F-4768-80E4-02B0F76EB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2218" y="4940295"/>
              <a:ext cx="63345" cy="399723"/>
            </a:xfrm>
            <a:custGeom>
              <a:avLst/>
              <a:gdLst>
                <a:gd name="T0" fmla="*/ 0 w 69"/>
                <a:gd name="T1" fmla="*/ 45 h 429"/>
                <a:gd name="T2" fmla="*/ 13 w 69"/>
                <a:gd name="T3" fmla="*/ 348 h 429"/>
                <a:gd name="T4" fmla="*/ 25 w 69"/>
                <a:gd name="T5" fmla="*/ 418 h 429"/>
                <a:gd name="T6" fmla="*/ 31 w 69"/>
                <a:gd name="T7" fmla="*/ 429 h 429"/>
                <a:gd name="T8" fmla="*/ 65 w 69"/>
                <a:gd name="T9" fmla="*/ 0 h 429"/>
                <a:gd name="T10" fmla="*/ 4 w 69"/>
                <a:gd name="T11" fmla="*/ 33 h 429"/>
                <a:gd name="T12" fmla="*/ 0 w 69"/>
                <a:gd name="T13" fmla="*/ 45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429">
                  <a:moveTo>
                    <a:pt x="0" y="45"/>
                  </a:moveTo>
                  <a:cubicBezTo>
                    <a:pt x="4" y="146"/>
                    <a:pt x="8" y="247"/>
                    <a:pt x="13" y="348"/>
                  </a:cubicBezTo>
                  <a:cubicBezTo>
                    <a:pt x="15" y="371"/>
                    <a:pt x="21" y="395"/>
                    <a:pt x="25" y="418"/>
                  </a:cubicBezTo>
                  <a:cubicBezTo>
                    <a:pt x="26" y="422"/>
                    <a:pt x="29" y="425"/>
                    <a:pt x="31" y="429"/>
                  </a:cubicBezTo>
                  <a:cubicBezTo>
                    <a:pt x="69" y="290"/>
                    <a:pt x="59" y="148"/>
                    <a:pt x="65" y="0"/>
                  </a:cubicBezTo>
                  <a:cubicBezTo>
                    <a:pt x="41" y="13"/>
                    <a:pt x="22" y="22"/>
                    <a:pt x="4" y="33"/>
                  </a:cubicBezTo>
                  <a:cubicBezTo>
                    <a:pt x="1" y="34"/>
                    <a:pt x="0" y="41"/>
                    <a:pt x="0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17ACDF7D-DC24-4281-82D9-FD3901FB4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5871" y="4621997"/>
              <a:ext cx="93994" cy="144873"/>
            </a:xfrm>
            <a:custGeom>
              <a:avLst/>
              <a:gdLst>
                <a:gd name="T0" fmla="*/ 83 w 104"/>
                <a:gd name="T1" fmla="*/ 0 h 155"/>
                <a:gd name="T2" fmla="*/ 57 w 104"/>
                <a:gd name="T3" fmla="*/ 155 h 155"/>
                <a:gd name="T4" fmla="*/ 83 w 104"/>
                <a:gd name="T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155">
                  <a:moveTo>
                    <a:pt x="83" y="0"/>
                  </a:moveTo>
                  <a:cubicBezTo>
                    <a:pt x="26" y="18"/>
                    <a:pt x="0" y="95"/>
                    <a:pt x="57" y="155"/>
                  </a:cubicBezTo>
                  <a:cubicBezTo>
                    <a:pt x="88" y="131"/>
                    <a:pt x="104" y="39"/>
                    <a:pt x="8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01B0F7C3-420A-41A6-936E-71ABC4E34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4045" y="4297354"/>
              <a:ext cx="79691" cy="54988"/>
            </a:xfrm>
            <a:custGeom>
              <a:avLst/>
              <a:gdLst>
                <a:gd name="T0" fmla="*/ 87 w 89"/>
                <a:gd name="T1" fmla="*/ 13 h 58"/>
                <a:gd name="T2" fmla="*/ 75 w 89"/>
                <a:gd name="T3" fmla="*/ 1 h 58"/>
                <a:gd name="T4" fmla="*/ 12 w 89"/>
                <a:gd name="T5" fmla="*/ 14 h 58"/>
                <a:gd name="T6" fmla="*/ 0 w 89"/>
                <a:gd name="T7" fmla="*/ 26 h 58"/>
                <a:gd name="T8" fmla="*/ 9 w 89"/>
                <a:gd name="T9" fmla="*/ 44 h 58"/>
                <a:gd name="T10" fmla="*/ 33 w 89"/>
                <a:gd name="T11" fmla="*/ 57 h 58"/>
                <a:gd name="T12" fmla="*/ 87 w 89"/>
                <a:gd name="T13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58">
                  <a:moveTo>
                    <a:pt x="87" y="13"/>
                  </a:moveTo>
                  <a:cubicBezTo>
                    <a:pt x="86" y="9"/>
                    <a:pt x="78" y="0"/>
                    <a:pt x="75" y="1"/>
                  </a:cubicBezTo>
                  <a:cubicBezTo>
                    <a:pt x="54" y="4"/>
                    <a:pt x="33" y="8"/>
                    <a:pt x="12" y="14"/>
                  </a:cubicBezTo>
                  <a:cubicBezTo>
                    <a:pt x="7" y="15"/>
                    <a:pt x="0" y="22"/>
                    <a:pt x="0" y="26"/>
                  </a:cubicBezTo>
                  <a:cubicBezTo>
                    <a:pt x="0" y="32"/>
                    <a:pt x="4" y="40"/>
                    <a:pt x="9" y="44"/>
                  </a:cubicBezTo>
                  <a:cubicBezTo>
                    <a:pt x="17" y="51"/>
                    <a:pt x="27" y="54"/>
                    <a:pt x="33" y="57"/>
                  </a:cubicBezTo>
                  <a:cubicBezTo>
                    <a:pt x="57" y="58"/>
                    <a:pt x="89" y="31"/>
                    <a:pt x="8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59EB534B-AF5C-4D23-BB7D-14FC883D4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9648" y="4907513"/>
              <a:ext cx="75605" cy="45471"/>
            </a:xfrm>
            <a:custGeom>
              <a:avLst/>
              <a:gdLst>
                <a:gd name="T0" fmla="*/ 0 w 84"/>
                <a:gd name="T1" fmla="*/ 32 h 49"/>
                <a:gd name="T2" fmla="*/ 84 w 84"/>
                <a:gd name="T3" fmla="*/ 49 h 49"/>
                <a:gd name="T4" fmla="*/ 0 w 84"/>
                <a:gd name="T5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4" h="49">
                  <a:moveTo>
                    <a:pt x="0" y="32"/>
                  </a:moveTo>
                  <a:cubicBezTo>
                    <a:pt x="30" y="38"/>
                    <a:pt x="56" y="43"/>
                    <a:pt x="84" y="49"/>
                  </a:cubicBezTo>
                  <a:cubicBezTo>
                    <a:pt x="67" y="8"/>
                    <a:pt x="31" y="0"/>
                    <a:pt x="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4F48CD0C-4EE2-426C-AB6F-8D8E311281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856" y="2387566"/>
              <a:ext cx="1252575" cy="1369422"/>
            </a:xfrm>
            <a:custGeom>
              <a:avLst/>
              <a:gdLst>
                <a:gd name="T0" fmla="*/ 1120 w 1390"/>
                <a:gd name="T1" fmla="*/ 36 h 1468"/>
                <a:gd name="T2" fmla="*/ 911 w 1390"/>
                <a:gd name="T3" fmla="*/ 39 h 1468"/>
                <a:gd name="T4" fmla="*/ 728 w 1390"/>
                <a:gd name="T5" fmla="*/ 185 h 1468"/>
                <a:gd name="T6" fmla="*/ 710 w 1390"/>
                <a:gd name="T7" fmla="*/ 215 h 1468"/>
                <a:gd name="T8" fmla="*/ 754 w 1390"/>
                <a:gd name="T9" fmla="*/ 290 h 1468"/>
                <a:gd name="T10" fmla="*/ 884 w 1390"/>
                <a:gd name="T11" fmla="*/ 313 h 1468"/>
                <a:gd name="T12" fmla="*/ 1032 w 1390"/>
                <a:gd name="T13" fmla="*/ 313 h 1468"/>
                <a:gd name="T14" fmla="*/ 1065 w 1390"/>
                <a:gd name="T15" fmla="*/ 314 h 1468"/>
                <a:gd name="T16" fmla="*/ 1148 w 1390"/>
                <a:gd name="T17" fmla="*/ 387 h 1468"/>
                <a:gd name="T18" fmla="*/ 1078 w 1390"/>
                <a:gd name="T19" fmla="*/ 598 h 1468"/>
                <a:gd name="T20" fmla="*/ 856 w 1390"/>
                <a:gd name="T21" fmla="*/ 741 h 1468"/>
                <a:gd name="T22" fmla="*/ 625 w 1390"/>
                <a:gd name="T23" fmla="*/ 831 h 1468"/>
                <a:gd name="T24" fmla="*/ 429 w 1390"/>
                <a:gd name="T25" fmla="*/ 895 h 1468"/>
                <a:gd name="T26" fmla="*/ 211 w 1390"/>
                <a:gd name="T27" fmla="*/ 984 h 1468"/>
                <a:gd name="T28" fmla="*/ 97 w 1390"/>
                <a:gd name="T29" fmla="*/ 1059 h 1468"/>
                <a:gd name="T30" fmla="*/ 61 w 1390"/>
                <a:gd name="T31" fmla="*/ 1332 h 1468"/>
                <a:gd name="T32" fmla="*/ 218 w 1390"/>
                <a:gd name="T33" fmla="*/ 1465 h 1468"/>
                <a:gd name="T34" fmla="*/ 243 w 1390"/>
                <a:gd name="T35" fmla="*/ 1465 h 1468"/>
                <a:gd name="T36" fmla="*/ 463 w 1390"/>
                <a:gd name="T37" fmla="*/ 1374 h 1468"/>
                <a:gd name="T38" fmla="*/ 500 w 1390"/>
                <a:gd name="T39" fmla="*/ 1359 h 1468"/>
                <a:gd name="T40" fmla="*/ 498 w 1390"/>
                <a:gd name="T41" fmla="*/ 1354 h 1468"/>
                <a:gd name="T42" fmla="*/ 374 w 1390"/>
                <a:gd name="T43" fmla="*/ 1309 h 1468"/>
                <a:gd name="T44" fmla="*/ 255 w 1390"/>
                <a:gd name="T45" fmla="*/ 1239 h 1468"/>
                <a:gd name="T46" fmla="*/ 260 w 1390"/>
                <a:gd name="T47" fmla="*/ 1179 h 1468"/>
                <a:gd name="T48" fmla="*/ 368 w 1390"/>
                <a:gd name="T49" fmla="*/ 1133 h 1468"/>
                <a:gd name="T50" fmla="*/ 631 w 1390"/>
                <a:gd name="T51" fmla="*/ 1058 h 1468"/>
                <a:gd name="T52" fmla="*/ 917 w 1390"/>
                <a:gd name="T53" fmla="*/ 965 h 1468"/>
                <a:gd name="T54" fmla="*/ 1256 w 1390"/>
                <a:gd name="T55" fmla="*/ 740 h 1468"/>
                <a:gd name="T56" fmla="*/ 1368 w 1390"/>
                <a:gd name="T57" fmla="*/ 544 h 1468"/>
                <a:gd name="T58" fmla="*/ 1375 w 1390"/>
                <a:gd name="T59" fmla="*/ 359 h 1468"/>
                <a:gd name="T60" fmla="*/ 1120 w 1390"/>
                <a:gd name="T61" fmla="*/ 36 h 1468"/>
                <a:gd name="T62" fmla="*/ 889 w 1390"/>
                <a:gd name="T63" fmla="*/ 177 h 1468"/>
                <a:gd name="T64" fmla="*/ 855 w 1390"/>
                <a:gd name="T65" fmla="*/ 141 h 1468"/>
                <a:gd name="T66" fmla="*/ 891 w 1390"/>
                <a:gd name="T67" fmla="*/ 105 h 1468"/>
                <a:gd name="T68" fmla="*/ 926 w 1390"/>
                <a:gd name="T69" fmla="*/ 141 h 1468"/>
                <a:gd name="T70" fmla="*/ 889 w 1390"/>
                <a:gd name="T71" fmla="*/ 177 h 1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90" h="1468">
                  <a:moveTo>
                    <a:pt x="1120" y="36"/>
                  </a:moveTo>
                  <a:cubicBezTo>
                    <a:pt x="1052" y="1"/>
                    <a:pt x="980" y="0"/>
                    <a:pt x="911" y="39"/>
                  </a:cubicBezTo>
                  <a:cubicBezTo>
                    <a:pt x="842" y="78"/>
                    <a:pt x="778" y="122"/>
                    <a:pt x="728" y="185"/>
                  </a:cubicBezTo>
                  <a:cubicBezTo>
                    <a:pt x="721" y="194"/>
                    <a:pt x="715" y="204"/>
                    <a:pt x="710" y="215"/>
                  </a:cubicBezTo>
                  <a:cubicBezTo>
                    <a:pt x="697" y="250"/>
                    <a:pt x="712" y="279"/>
                    <a:pt x="754" y="290"/>
                  </a:cubicBezTo>
                  <a:cubicBezTo>
                    <a:pt x="797" y="301"/>
                    <a:pt x="840" y="310"/>
                    <a:pt x="884" y="313"/>
                  </a:cubicBezTo>
                  <a:cubicBezTo>
                    <a:pt x="933" y="317"/>
                    <a:pt x="982" y="314"/>
                    <a:pt x="1032" y="313"/>
                  </a:cubicBezTo>
                  <a:cubicBezTo>
                    <a:pt x="1043" y="313"/>
                    <a:pt x="1054" y="313"/>
                    <a:pt x="1065" y="314"/>
                  </a:cubicBezTo>
                  <a:cubicBezTo>
                    <a:pt x="1110" y="316"/>
                    <a:pt x="1139" y="344"/>
                    <a:pt x="1148" y="387"/>
                  </a:cubicBezTo>
                  <a:cubicBezTo>
                    <a:pt x="1164" y="471"/>
                    <a:pt x="1136" y="540"/>
                    <a:pt x="1078" y="598"/>
                  </a:cubicBezTo>
                  <a:cubicBezTo>
                    <a:pt x="1014" y="661"/>
                    <a:pt x="937" y="706"/>
                    <a:pt x="856" y="741"/>
                  </a:cubicBezTo>
                  <a:cubicBezTo>
                    <a:pt x="780" y="774"/>
                    <a:pt x="703" y="803"/>
                    <a:pt x="625" y="831"/>
                  </a:cubicBezTo>
                  <a:cubicBezTo>
                    <a:pt x="561" y="855"/>
                    <a:pt x="494" y="872"/>
                    <a:pt x="429" y="895"/>
                  </a:cubicBezTo>
                  <a:cubicBezTo>
                    <a:pt x="356" y="923"/>
                    <a:pt x="282" y="951"/>
                    <a:pt x="211" y="984"/>
                  </a:cubicBezTo>
                  <a:cubicBezTo>
                    <a:pt x="170" y="1003"/>
                    <a:pt x="132" y="1031"/>
                    <a:pt x="97" y="1059"/>
                  </a:cubicBezTo>
                  <a:cubicBezTo>
                    <a:pt x="0" y="1136"/>
                    <a:pt x="6" y="1244"/>
                    <a:pt x="61" y="1332"/>
                  </a:cubicBezTo>
                  <a:cubicBezTo>
                    <a:pt x="99" y="1393"/>
                    <a:pt x="154" y="1434"/>
                    <a:pt x="218" y="1465"/>
                  </a:cubicBezTo>
                  <a:cubicBezTo>
                    <a:pt x="225" y="1468"/>
                    <a:pt x="236" y="1468"/>
                    <a:pt x="243" y="1465"/>
                  </a:cubicBezTo>
                  <a:cubicBezTo>
                    <a:pt x="317" y="1435"/>
                    <a:pt x="390" y="1404"/>
                    <a:pt x="463" y="1374"/>
                  </a:cubicBezTo>
                  <a:cubicBezTo>
                    <a:pt x="475" y="1369"/>
                    <a:pt x="487" y="1364"/>
                    <a:pt x="500" y="1359"/>
                  </a:cubicBezTo>
                  <a:cubicBezTo>
                    <a:pt x="499" y="1357"/>
                    <a:pt x="499" y="1356"/>
                    <a:pt x="498" y="1354"/>
                  </a:cubicBezTo>
                  <a:cubicBezTo>
                    <a:pt x="457" y="1339"/>
                    <a:pt x="415" y="1325"/>
                    <a:pt x="374" y="1309"/>
                  </a:cubicBezTo>
                  <a:cubicBezTo>
                    <a:pt x="331" y="1292"/>
                    <a:pt x="288" y="1275"/>
                    <a:pt x="255" y="1239"/>
                  </a:cubicBezTo>
                  <a:cubicBezTo>
                    <a:pt x="236" y="1218"/>
                    <a:pt x="235" y="1193"/>
                    <a:pt x="260" y="1179"/>
                  </a:cubicBezTo>
                  <a:cubicBezTo>
                    <a:pt x="294" y="1160"/>
                    <a:pt x="331" y="1144"/>
                    <a:pt x="368" y="1133"/>
                  </a:cubicBezTo>
                  <a:cubicBezTo>
                    <a:pt x="455" y="1106"/>
                    <a:pt x="544" y="1084"/>
                    <a:pt x="631" y="1058"/>
                  </a:cubicBezTo>
                  <a:cubicBezTo>
                    <a:pt x="727" y="1029"/>
                    <a:pt x="823" y="1000"/>
                    <a:pt x="917" y="965"/>
                  </a:cubicBezTo>
                  <a:cubicBezTo>
                    <a:pt x="1046" y="916"/>
                    <a:pt x="1163" y="846"/>
                    <a:pt x="1256" y="740"/>
                  </a:cubicBezTo>
                  <a:cubicBezTo>
                    <a:pt x="1307" y="683"/>
                    <a:pt x="1346" y="618"/>
                    <a:pt x="1368" y="544"/>
                  </a:cubicBezTo>
                  <a:cubicBezTo>
                    <a:pt x="1386" y="484"/>
                    <a:pt x="1390" y="421"/>
                    <a:pt x="1375" y="359"/>
                  </a:cubicBezTo>
                  <a:cubicBezTo>
                    <a:pt x="1340" y="213"/>
                    <a:pt x="1252" y="105"/>
                    <a:pt x="1120" y="36"/>
                  </a:cubicBezTo>
                  <a:close/>
                  <a:moveTo>
                    <a:pt x="889" y="177"/>
                  </a:moveTo>
                  <a:cubicBezTo>
                    <a:pt x="870" y="176"/>
                    <a:pt x="855" y="160"/>
                    <a:pt x="855" y="141"/>
                  </a:cubicBezTo>
                  <a:cubicBezTo>
                    <a:pt x="855" y="121"/>
                    <a:pt x="872" y="105"/>
                    <a:pt x="891" y="105"/>
                  </a:cubicBezTo>
                  <a:cubicBezTo>
                    <a:pt x="910" y="106"/>
                    <a:pt x="926" y="122"/>
                    <a:pt x="926" y="141"/>
                  </a:cubicBezTo>
                  <a:cubicBezTo>
                    <a:pt x="926" y="160"/>
                    <a:pt x="909" y="177"/>
                    <a:pt x="889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BCBC33C2-0978-4C90-AF9C-8D96EDC0D7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7261" y="2391796"/>
              <a:ext cx="637526" cy="863952"/>
            </a:xfrm>
            <a:custGeom>
              <a:avLst/>
              <a:gdLst>
                <a:gd name="T0" fmla="*/ 416 w 707"/>
                <a:gd name="T1" fmla="*/ 922 h 926"/>
                <a:gd name="T2" fmla="*/ 636 w 707"/>
                <a:gd name="T3" fmla="*/ 842 h 926"/>
                <a:gd name="T4" fmla="*/ 707 w 707"/>
                <a:gd name="T5" fmla="*/ 818 h 926"/>
                <a:gd name="T6" fmla="*/ 707 w 707"/>
                <a:gd name="T7" fmla="*/ 813 h 926"/>
                <a:gd name="T8" fmla="*/ 673 w 707"/>
                <a:gd name="T9" fmla="*/ 798 h 926"/>
                <a:gd name="T10" fmla="*/ 481 w 707"/>
                <a:gd name="T11" fmla="*/ 712 h 926"/>
                <a:gd name="T12" fmla="*/ 280 w 707"/>
                <a:gd name="T13" fmla="*/ 552 h 926"/>
                <a:gd name="T14" fmla="*/ 250 w 707"/>
                <a:gd name="T15" fmla="*/ 360 h 926"/>
                <a:gd name="T16" fmla="*/ 317 w 707"/>
                <a:gd name="T17" fmla="*/ 310 h 926"/>
                <a:gd name="T18" fmla="*/ 401 w 707"/>
                <a:gd name="T19" fmla="*/ 310 h 926"/>
                <a:gd name="T20" fmla="*/ 628 w 707"/>
                <a:gd name="T21" fmla="*/ 288 h 926"/>
                <a:gd name="T22" fmla="*/ 676 w 707"/>
                <a:gd name="T23" fmla="*/ 257 h 926"/>
                <a:gd name="T24" fmla="*/ 670 w 707"/>
                <a:gd name="T25" fmla="*/ 192 h 926"/>
                <a:gd name="T26" fmla="*/ 540 w 707"/>
                <a:gd name="T27" fmla="*/ 71 h 926"/>
                <a:gd name="T28" fmla="*/ 402 w 707"/>
                <a:gd name="T29" fmla="*/ 8 h 926"/>
                <a:gd name="T30" fmla="*/ 214 w 707"/>
                <a:gd name="T31" fmla="*/ 64 h 926"/>
                <a:gd name="T32" fmla="*/ 28 w 707"/>
                <a:gd name="T33" fmla="*/ 306 h 926"/>
                <a:gd name="T34" fmla="*/ 21 w 707"/>
                <a:gd name="T35" fmla="*/ 531 h 926"/>
                <a:gd name="T36" fmla="*/ 256 w 707"/>
                <a:gd name="T37" fmla="*/ 843 h 926"/>
                <a:gd name="T38" fmla="*/ 387 w 707"/>
                <a:gd name="T39" fmla="*/ 921 h 926"/>
                <a:gd name="T40" fmla="*/ 416 w 707"/>
                <a:gd name="T41" fmla="*/ 922 h 926"/>
                <a:gd name="T42" fmla="*/ 500 w 707"/>
                <a:gd name="T43" fmla="*/ 100 h 926"/>
                <a:gd name="T44" fmla="*/ 535 w 707"/>
                <a:gd name="T45" fmla="*/ 137 h 926"/>
                <a:gd name="T46" fmla="*/ 500 w 707"/>
                <a:gd name="T47" fmla="*/ 172 h 926"/>
                <a:gd name="T48" fmla="*/ 464 w 707"/>
                <a:gd name="T49" fmla="*/ 135 h 926"/>
                <a:gd name="T50" fmla="*/ 500 w 707"/>
                <a:gd name="T51" fmla="*/ 100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7" h="926">
                  <a:moveTo>
                    <a:pt x="416" y="922"/>
                  </a:moveTo>
                  <a:cubicBezTo>
                    <a:pt x="490" y="896"/>
                    <a:pt x="563" y="869"/>
                    <a:pt x="636" y="842"/>
                  </a:cubicBezTo>
                  <a:cubicBezTo>
                    <a:pt x="660" y="834"/>
                    <a:pt x="683" y="826"/>
                    <a:pt x="707" y="818"/>
                  </a:cubicBezTo>
                  <a:cubicBezTo>
                    <a:pt x="707" y="817"/>
                    <a:pt x="707" y="815"/>
                    <a:pt x="707" y="813"/>
                  </a:cubicBezTo>
                  <a:cubicBezTo>
                    <a:pt x="696" y="808"/>
                    <a:pt x="684" y="803"/>
                    <a:pt x="673" y="798"/>
                  </a:cubicBezTo>
                  <a:cubicBezTo>
                    <a:pt x="609" y="769"/>
                    <a:pt x="543" y="744"/>
                    <a:pt x="481" y="712"/>
                  </a:cubicBezTo>
                  <a:cubicBezTo>
                    <a:pt x="404" y="672"/>
                    <a:pt x="332" y="624"/>
                    <a:pt x="280" y="552"/>
                  </a:cubicBezTo>
                  <a:cubicBezTo>
                    <a:pt x="238" y="493"/>
                    <a:pt x="224" y="430"/>
                    <a:pt x="250" y="360"/>
                  </a:cubicBezTo>
                  <a:cubicBezTo>
                    <a:pt x="261" y="330"/>
                    <a:pt x="284" y="312"/>
                    <a:pt x="317" y="310"/>
                  </a:cubicBezTo>
                  <a:cubicBezTo>
                    <a:pt x="345" y="308"/>
                    <a:pt x="373" y="309"/>
                    <a:pt x="401" y="310"/>
                  </a:cubicBezTo>
                  <a:cubicBezTo>
                    <a:pt x="478" y="313"/>
                    <a:pt x="554" y="310"/>
                    <a:pt x="628" y="288"/>
                  </a:cubicBezTo>
                  <a:cubicBezTo>
                    <a:pt x="646" y="282"/>
                    <a:pt x="664" y="271"/>
                    <a:pt x="676" y="257"/>
                  </a:cubicBezTo>
                  <a:cubicBezTo>
                    <a:pt x="696" y="236"/>
                    <a:pt x="683" y="212"/>
                    <a:pt x="670" y="192"/>
                  </a:cubicBezTo>
                  <a:cubicBezTo>
                    <a:pt x="637" y="141"/>
                    <a:pt x="589" y="105"/>
                    <a:pt x="540" y="71"/>
                  </a:cubicBezTo>
                  <a:cubicBezTo>
                    <a:pt x="498" y="42"/>
                    <a:pt x="455" y="14"/>
                    <a:pt x="402" y="8"/>
                  </a:cubicBezTo>
                  <a:cubicBezTo>
                    <a:pt x="331" y="0"/>
                    <a:pt x="270" y="23"/>
                    <a:pt x="214" y="64"/>
                  </a:cubicBezTo>
                  <a:cubicBezTo>
                    <a:pt x="128" y="125"/>
                    <a:pt x="64" y="205"/>
                    <a:pt x="28" y="306"/>
                  </a:cubicBezTo>
                  <a:cubicBezTo>
                    <a:pt x="2" y="379"/>
                    <a:pt x="0" y="455"/>
                    <a:pt x="21" y="531"/>
                  </a:cubicBezTo>
                  <a:cubicBezTo>
                    <a:pt x="58" y="665"/>
                    <a:pt x="145" y="764"/>
                    <a:pt x="256" y="843"/>
                  </a:cubicBezTo>
                  <a:cubicBezTo>
                    <a:pt x="297" y="872"/>
                    <a:pt x="342" y="896"/>
                    <a:pt x="387" y="921"/>
                  </a:cubicBezTo>
                  <a:cubicBezTo>
                    <a:pt x="394" y="926"/>
                    <a:pt x="407" y="925"/>
                    <a:pt x="416" y="922"/>
                  </a:cubicBezTo>
                  <a:close/>
                  <a:moveTo>
                    <a:pt x="500" y="100"/>
                  </a:moveTo>
                  <a:cubicBezTo>
                    <a:pt x="520" y="100"/>
                    <a:pt x="536" y="117"/>
                    <a:pt x="535" y="137"/>
                  </a:cubicBezTo>
                  <a:cubicBezTo>
                    <a:pt x="535" y="156"/>
                    <a:pt x="519" y="172"/>
                    <a:pt x="500" y="172"/>
                  </a:cubicBezTo>
                  <a:cubicBezTo>
                    <a:pt x="480" y="171"/>
                    <a:pt x="463" y="154"/>
                    <a:pt x="464" y="135"/>
                  </a:cubicBezTo>
                  <a:cubicBezTo>
                    <a:pt x="464" y="117"/>
                    <a:pt x="482" y="100"/>
                    <a:pt x="500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AFB8100F-1FE9-4E3F-ABCC-4D4373F24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2588" y="3327655"/>
              <a:ext cx="909292" cy="857607"/>
            </a:xfrm>
            <a:custGeom>
              <a:avLst/>
              <a:gdLst>
                <a:gd name="T0" fmla="*/ 900 w 1007"/>
                <a:gd name="T1" fmla="*/ 42 h 918"/>
                <a:gd name="T2" fmla="*/ 864 w 1007"/>
                <a:gd name="T3" fmla="*/ 15 h 918"/>
                <a:gd name="T4" fmla="*/ 815 w 1007"/>
                <a:gd name="T5" fmla="*/ 9 h 918"/>
                <a:gd name="T6" fmla="*/ 600 w 1007"/>
                <a:gd name="T7" fmla="*/ 78 h 918"/>
                <a:gd name="T8" fmla="*/ 538 w 1007"/>
                <a:gd name="T9" fmla="*/ 98 h 918"/>
                <a:gd name="T10" fmla="*/ 641 w 1007"/>
                <a:gd name="T11" fmla="*/ 125 h 918"/>
                <a:gd name="T12" fmla="*/ 715 w 1007"/>
                <a:gd name="T13" fmla="*/ 160 h 918"/>
                <a:gd name="T14" fmla="*/ 719 w 1007"/>
                <a:gd name="T15" fmla="*/ 254 h 918"/>
                <a:gd name="T16" fmla="*/ 607 w 1007"/>
                <a:gd name="T17" fmla="*/ 310 h 918"/>
                <a:gd name="T18" fmla="*/ 296 w 1007"/>
                <a:gd name="T19" fmla="*/ 422 h 918"/>
                <a:gd name="T20" fmla="*/ 106 w 1007"/>
                <a:gd name="T21" fmla="*/ 526 h 918"/>
                <a:gd name="T22" fmla="*/ 9 w 1007"/>
                <a:gd name="T23" fmla="*/ 758 h 918"/>
                <a:gd name="T24" fmla="*/ 104 w 1007"/>
                <a:gd name="T25" fmla="*/ 915 h 918"/>
                <a:gd name="T26" fmla="*/ 125 w 1007"/>
                <a:gd name="T27" fmla="*/ 913 h 918"/>
                <a:gd name="T28" fmla="*/ 317 w 1007"/>
                <a:gd name="T29" fmla="*/ 812 h 918"/>
                <a:gd name="T30" fmla="*/ 339 w 1007"/>
                <a:gd name="T31" fmla="*/ 805 h 918"/>
                <a:gd name="T32" fmla="*/ 265 w 1007"/>
                <a:gd name="T33" fmla="*/ 776 h 918"/>
                <a:gd name="T34" fmla="*/ 253 w 1007"/>
                <a:gd name="T35" fmla="*/ 769 h 918"/>
                <a:gd name="T36" fmla="*/ 248 w 1007"/>
                <a:gd name="T37" fmla="*/ 668 h 918"/>
                <a:gd name="T38" fmla="*/ 426 w 1007"/>
                <a:gd name="T39" fmla="*/ 586 h 918"/>
                <a:gd name="T40" fmla="*/ 613 w 1007"/>
                <a:gd name="T41" fmla="*/ 521 h 918"/>
                <a:gd name="T42" fmla="*/ 765 w 1007"/>
                <a:gd name="T43" fmla="*/ 468 h 918"/>
                <a:gd name="T44" fmla="*/ 958 w 1007"/>
                <a:gd name="T45" fmla="*/ 302 h 918"/>
                <a:gd name="T46" fmla="*/ 900 w 1007"/>
                <a:gd name="T47" fmla="*/ 42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7" h="918">
                  <a:moveTo>
                    <a:pt x="900" y="42"/>
                  </a:moveTo>
                  <a:cubicBezTo>
                    <a:pt x="888" y="32"/>
                    <a:pt x="874" y="25"/>
                    <a:pt x="864" y="15"/>
                  </a:cubicBezTo>
                  <a:cubicBezTo>
                    <a:pt x="848" y="0"/>
                    <a:pt x="833" y="3"/>
                    <a:pt x="815" y="9"/>
                  </a:cubicBezTo>
                  <a:cubicBezTo>
                    <a:pt x="743" y="33"/>
                    <a:pt x="671" y="55"/>
                    <a:pt x="600" y="78"/>
                  </a:cubicBezTo>
                  <a:cubicBezTo>
                    <a:pt x="580" y="84"/>
                    <a:pt x="561" y="90"/>
                    <a:pt x="538" y="98"/>
                  </a:cubicBezTo>
                  <a:cubicBezTo>
                    <a:pt x="575" y="108"/>
                    <a:pt x="609" y="114"/>
                    <a:pt x="641" y="125"/>
                  </a:cubicBezTo>
                  <a:cubicBezTo>
                    <a:pt x="667" y="134"/>
                    <a:pt x="693" y="145"/>
                    <a:pt x="715" y="160"/>
                  </a:cubicBezTo>
                  <a:cubicBezTo>
                    <a:pt x="759" y="188"/>
                    <a:pt x="762" y="225"/>
                    <a:pt x="719" y="254"/>
                  </a:cubicBezTo>
                  <a:cubicBezTo>
                    <a:pt x="684" y="277"/>
                    <a:pt x="646" y="295"/>
                    <a:pt x="607" y="310"/>
                  </a:cubicBezTo>
                  <a:cubicBezTo>
                    <a:pt x="504" y="349"/>
                    <a:pt x="399" y="382"/>
                    <a:pt x="296" y="422"/>
                  </a:cubicBezTo>
                  <a:cubicBezTo>
                    <a:pt x="229" y="448"/>
                    <a:pt x="161" y="475"/>
                    <a:pt x="106" y="526"/>
                  </a:cubicBezTo>
                  <a:cubicBezTo>
                    <a:pt x="39" y="588"/>
                    <a:pt x="0" y="664"/>
                    <a:pt x="9" y="758"/>
                  </a:cubicBezTo>
                  <a:cubicBezTo>
                    <a:pt x="16" y="825"/>
                    <a:pt x="53" y="875"/>
                    <a:pt x="104" y="915"/>
                  </a:cubicBezTo>
                  <a:cubicBezTo>
                    <a:pt x="108" y="918"/>
                    <a:pt x="121" y="917"/>
                    <a:pt x="125" y="913"/>
                  </a:cubicBezTo>
                  <a:cubicBezTo>
                    <a:pt x="178" y="858"/>
                    <a:pt x="246" y="832"/>
                    <a:pt x="317" y="812"/>
                  </a:cubicBezTo>
                  <a:cubicBezTo>
                    <a:pt x="323" y="811"/>
                    <a:pt x="328" y="809"/>
                    <a:pt x="339" y="805"/>
                  </a:cubicBezTo>
                  <a:cubicBezTo>
                    <a:pt x="311" y="794"/>
                    <a:pt x="288" y="785"/>
                    <a:pt x="265" y="776"/>
                  </a:cubicBezTo>
                  <a:cubicBezTo>
                    <a:pt x="261" y="774"/>
                    <a:pt x="257" y="772"/>
                    <a:pt x="253" y="769"/>
                  </a:cubicBezTo>
                  <a:cubicBezTo>
                    <a:pt x="203" y="738"/>
                    <a:pt x="201" y="704"/>
                    <a:pt x="248" y="668"/>
                  </a:cubicBezTo>
                  <a:cubicBezTo>
                    <a:pt x="301" y="628"/>
                    <a:pt x="364" y="607"/>
                    <a:pt x="426" y="586"/>
                  </a:cubicBezTo>
                  <a:cubicBezTo>
                    <a:pt x="488" y="564"/>
                    <a:pt x="551" y="543"/>
                    <a:pt x="613" y="521"/>
                  </a:cubicBezTo>
                  <a:cubicBezTo>
                    <a:pt x="664" y="503"/>
                    <a:pt x="716" y="488"/>
                    <a:pt x="765" y="468"/>
                  </a:cubicBezTo>
                  <a:cubicBezTo>
                    <a:pt x="847" y="433"/>
                    <a:pt x="917" y="383"/>
                    <a:pt x="958" y="302"/>
                  </a:cubicBezTo>
                  <a:cubicBezTo>
                    <a:pt x="1007" y="202"/>
                    <a:pt x="989" y="111"/>
                    <a:pt x="90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FC4A115C-7C87-4A32-A30F-5830B2318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8842" y="3817264"/>
              <a:ext cx="684524" cy="654573"/>
            </a:xfrm>
            <a:custGeom>
              <a:avLst/>
              <a:gdLst>
                <a:gd name="T0" fmla="*/ 646 w 757"/>
                <a:gd name="T1" fmla="*/ 10 h 702"/>
                <a:gd name="T2" fmla="*/ 620 w 757"/>
                <a:gd name="T3" fmla="*/ 2 h 702"/>
                <a:gd name="T4" fmla="*/ 397 w 757"/>
                <a:gd name="T5" fmla="*/ 78 h 702"/>
                <a:gd name="T6" fmla="*/ 388 w 757"/>
                <a:gd name="T7" fmla="*/ 85 h 702"/>
                <a:gd name="T8" fmla="*/ 456 w 757"/>
                <a:gd name="T9" fmla="*/ 121 h 702"/>
                <a:gd name="T10" fmla="*/ 509 w 757"/>
                <a:gd name="T11" fmla="*/ 162 h 702"/>
                <a:gd name="T12" fmla="*/ 502 w 757"/>
                <a:gd name="T13" fmla="*/ 240 h 702"/>
                <a:gd name="T14" fmla="*/ 396 w 757"/>
                <a:gd name="T15" fmla="*/ 286 h 702"/>
                <a:gd name="T16" fmla="*/ 227 w 757"/>
                <a:gd name="T17" fmla="*/ 323 h 702"/>
                <a:gd name="T18" fmla="*/ 86 w 757"/>
                <a:gd name="T19" fmla="*/ 378 h 702"/>
                <a:gd name="T20" fmla="*/ 10 w 757"/>
                <a:gd name="T21" fmla="*/ 543 h 702"/>
                <a:gd name="T22" fmla="*/ 92 w 757"/>
                <a:gd name="T23" fmla="*/ 688 h 702"/>
                <a:gd name="T24" fmla="*/ 117 w 757"/>
                <a:gd name="T25" fmla="*/ 691 h 702"/>
                <a:gd name="T26" fmla="*/ 249 w 757"/>
                <a:gd name="T27" fmla="*/ 607 h 702"/>
                <a:gd name="T28" fmla="*/ 250 w 757"/>
                <a:gd name="T29" fmla="*/ 587 h 702"/>
                <a:gd name="T30" fmla="*/ 215 w 757"/>
                <a:gd name="T31" fmla="*/ 560 h 702"/>
                <a:gd name="T32" fmla="*/ 217 w 757"/>
                <a:gd name="T33" fmla="*/ 521 h 702"/>
                <a:gd name="T34" fmla="*/ 255 w 757"/>
                <a:gd name="T35" fmla="*/ 500 h 702"/>
                <a:gd name="T36" fmla="*/ 414 w 757"/>
                <a:gd name="T37" fmla="*/ 464 h 702"/>
                <a:gd name="T38" fmla="*/ 631 w 757"/>
                <a:gd name="T39" fmla="*/ 395 h 702"/>
                <a:gd name="T40" fmla="*/ 734 w 757"/>
                <a:gd name="T41" fmla="*/ 165 h 702"/>
                <a:gd name="T42" fmla="*/ 646 w 757"/>
                <a:gd name="T43" fmla="*/ 10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7" h="702">
                  <a:moveTo>
                    <a:pt x="646" y="10"/>
                  </a:moveTo>
                  <a:cubicBezTo>
                    <a:pt x="640" y="4"/>
                    <a:pt x="627" y="0"/>
                    <a:pt x="620" y="2"/>
                  </a:cubicBezTo>
                  <a:cubicBezTo>
                    <a:pt x="546" y="27"/>
                    <a:pt x="471" y="53"/>
                    <a:pt x="397" y="78"/>
                  </a:cubicBezTo>
                  <a:cubicBezTo>
                    <a:pt x="395" y="79"/>
                    <a:pt x="393" y="81"/>
                    <a:pt x="388" y="85"/>
                  </a:cubicBezTo>
                  <a:cubicBezTo>
                    <a:pt x="413" y="98"/>
                    <a:pt x="435" y="108"/>
                    <a:pt x="456" y="121"/>
                  </a:cubicBezTo>
                  <a:cubicBezTo>
                    <a:pt x="475" y="132"/>
                    <a:pt x="493" y="146"/>
                    <a:pt x="509" y="162"/>
                  </a:cubicBezTo>
                  <a:cubicBezTo>
                    <a:pt x="535" y="190"/>
                    <a:pt x="532" y="216"/>
                    <a:pt x="502" y="240"/>
                  </a:cubicBezTo>
                  <a:cubicBezTo>
                    <a:pt x="470" y="265"/>
                    <a:pt x="434" y="277"/>
                    <a:pt x="396" y="286"/>
                  </a:cubicBezTo>
                  <a:cubicBezTo>
                    <a:pt x="340" y="300"/>
                    <a:pt x="283" y="310"/>
                    <a:pt x="227" y="323"/>
                  </a:cubicBezTo>
                  <a:cubicBezTo>
                    <a:pt x="178" y="335"/>
                    <a:pt x="129" y="350"/>
                    <a:pt x="86" y="378"/>
                  </a:cubicBezTo>
                  <a:cubicBezTo>
                    <a:pt x="27" y="417"/>
                    <a:pt x="0" y="472"/>
                    <a:pt x="10" y="543"/>
                  </a:cubicBezTo>
                  <a:cubicBezTo>
                    <a:pt x="18" y="601"/>
                    <a:pt x="46" y="650"/>
                    <a:pt x="92" y="688"/>
                  </a:cubicBezTo>
                  <a:cubicBezTo>
                    <a:pt x="99" y="694"/>
                    <a:pt x="106" y="702"/>
                    <a:pt x="117" y="691"/>
                  </a:cubicBezTo>
                  <a:cubicBezTo>
                    <a:pt x="154" y="652"/>
                    <a:pt x="202" y="631"/>
                    <a:pt x="249" y="607"/>
                  </a:cubicBezTo>
                  <a:cubicBezTo>
                    <a:pt x="263" y="600"/>
                    <a:pt x="262" y="595"/>
                    <a:pt x="250" y="587"/>
                  </a:cubicBezTo>
                  <a:cubicBezTo>
                    <a:pt x="238" y="579"/>
                    <a:pt x="226" y="570"/>
                    <a:pt x="215" y="560"/>
                  </a:cubicBezTo>
                  <a:cubicBezTo>
                    <a:pt x="203" y="547"/>
                    <a:pt x="204" y="531"/>
                    <a:pt x="217" y="521"/>
                  </a:cubicBezTo>
                  <a:cubicBezTo>
                    <a:pt x="229" y="512"/>
                    <a:pt x="242" y="504"/>
                    <a:pt x="255" y="500"/>
                  </a:cubicBezTo>
                  <a:cubicBezTo>
                    <a:pt x="308" y="487"/>
                    <a:pt x="361" y="475"/>
                    <a:pt x="414" y="464"/>
                  </a:cubicBezTo>
                  <a:cubicBezTo>
                    <a:pt x="488" y="447"/>
                    <a:pt x="563" y="433"/>
                    <a:pt x="631" y="395"/>
                  </a:cubicBezTo>
                  <a:cubicBezTo>
                    <a:pt x="710" y="350"/>
                    <a:pt x="757" y="255"/>
                    <a:pt x="734" y="165"/>
                  </a:cubicBezTo>
                  <a:cubicBezTo>
                    <a:pt x="718" y="104"/>
                    <a:pt x="689" y="53"/>
                    <a:pt x="64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B27F1806-5F58-496F-9B0A-B33C10E15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5871" y="3901861"/>
              <a:ext cx="91951" cy="176598"/>
            </a:xfrm>
            <a:custGeom>
              <a:avLst/>
              <a:gdLst>
                <a:gd name="T0" fmla="*/ 16 w 101"/>
                <a:gd name="T1" fmla="*/ 189 h 189"/>
                <a:gd name="T2" fmla="*/ 89 w 101"/>
                <a:gd name="T3" fmla="*/ 173 h 189"/>
                <a:gd name="T4" fmla="*/ 100 w 101"/>
                <a:gd name="T5" fmla="*/ 163 h 189"/>
                <a:gd name="T6" fmla="*/ 101 w 101"/>
                <a:gd name="T7" fmla="*/ 0 h 189"/>
                <a:gd name="T8" fmla="*/ 9 w 101"/>
                <a:gd name="T9" fmla="*/ 31 h 189"/>
                <a:gd name="T10" fmla="*/ 0 w 101"/>
                <a:gd name="T11" fmla="*/ 49 h 189"/>
                <a:gd name="T12" fmla="*/ 3 w 101"/>
                <a:gd name="T13" fmla="*/ 176 h 189"/>
                <a:gd name="T14" fmla="*/ 16 w 101"/>
                <a:gd name="T1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89">
                  <a:moveTo>
                    <a:pt x="16" y="189"/>
                  </a:moveTo>
                  <a:cubicBezTo>
                    <a:pt x="41" y="185"/>
                    <a:pt x="65" y="179"/>
                    <a:pt x="89" y="173"/>
                  </a:cubicBezTo>
                  <a:cubicBezTo>
                    <a:pt x="94" y="172"/>
                    <a:pt x="100" y="167"/>
                    <a:pt x="100" y="163"/>
                  </a:cubicBezTo>
                  <a:cubicBezTo>
                    <a:pt x="101" y="110"/>
                    <a:pt x="101" y="57"/>
                    <a:pt x="101" y="0"/>
                  </a:cubicBezTo>
                  <a:cubicBezTo>
                    <a:pt x="68" y="11"/>
                    <a:pt x="38" y="20"/>
                    <a:pt x="9" y="31"/>
                  </a:cubicBezTo>
                  <a:cubicBezTo>
                    <a:pt x="4" y="33"/>
                    <a:pt x="0" y="42"/>
                    <a:pt x="0" y="49"/>
                  </a:cubicBezTo>
                  <a:cubicBezTo>
                    <a:pt x="0" y="91"/>
                    <a:pt x="1" y="134"/>
                    <a:pt x="3" y="176"/>
                  </a:cubicBezTo>
                  <a:cubicBezTo>
                    <a:pt x="3" y="181"/>
                    <a:pt x="12" y="189"/>
                    <a:pt x="16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92109166-5AFE-4119-9D70-BBC777E1E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808" y="1703384"/>
              <a:ext cx="2341681" cy="1223491"/>
            </a:xfrm>
            <a:custGeom>
              <a:avLst/>
              <a:gdLst>
                <a:gd name="T0" fmla="*/ 2166 w 2597"/>
                <a:gd name="T1" fmla="*/ 590 h 1311"/>
                <a:gd name="T2" fmla="*/ 2554 w 2597"/>
                <a:gd name="T3" fmla="*/ 623 h 1311"/>
                <a:gd name="T4" fmla="*/ 2588 w 2597"/>
                <a:gd name="T5" fmla="*/ 550 h 1311"/>
                <a:gd name="T6" fmla="*/ 2259 w 2597"/>
                <a:gd name="T7" fmla="*/ 253 h 1311"/>
                <a:gd name="T8" fmla="*/ 2187 w 2597"/>
                <a:gd name="T9" fmla="*/ 75 h 1311"/>
                <a:gd name="T10" fmla="*/ 1901 w 2597"/>
                <a:gd name="T11" fmla="*/ 7 h 1311"/>
                <a:gd name="T12" fmla="*/ 1030 w 2597"/>
                <a:gd name="T13" fmla="*/ 87 h 1311"/>
                <a:gd name="T14" fmla="*/ 234 w 2597"/>
                <a:gd name="T15" fmla="*/ 188 h 1311"/>
                <a:gd name="T16" fmla="*/ 6 w 2597"/>
                <a:gd name="T17" fmla="*/ 216 h 1311"/>
                <a:gd name="T18" fmla="*/ 293 w 2597"/>
                <a:gd name="T19" fmla="*/ 430 h 1311"/>
                <a:gd name="T20" fmla="*/ 1027 w 2597"/>
                <a:gd name="T21" fmla="*/ 350 h 1311"/>
                <a:gd name="T22" fmla="*/ 1507 w 2597"/>
                <a:gd name="T23" fmla="*/ 233 h 1311"/>
                <a:gd name="T24" fmla="*/ 1935 w 2597"/>
                <a:gd name="T25" fmla="*/ 174 h 1311"/>
                <a:gd name="T26" fmla="*/ 1516 w 2597"/>
                <a:gd name="T27" fmla="*/ 300 h 1311"/>
                <a:gd name="T28" fmla="*/ 990 w 2597"/>
                <a:gd name="T29" fmla="*/ 430 h 1311"/>
                <a:gd name="T30" fmla="*/ 445 w 2597"/>
                <a:gd name="T31" fmla="*/ 563 h 1311"/>
                <a:gd name="T32" fmla="*/ 306 w 2597"/>
                <a:gd name="T33" fmla="*/ 614 h 1311"/>
                <a:gd name="T34" fmla="*/ 529 w 2597"/>
                <a:gd name="T35" fmla="*/ 772 h 1311"/>
                <a:gd name="T36" fmla="*/ 1071 w 2597"/>
                <a:gd name="T37" fmla="*/ 635 h 1311"/>
                <a:gd name="T38" fmla="*/ 1521 w 2597"/>
                <a:gd name="T39" fmla="*/ 443 h 1311"/>
                <a:gd name="T40" fmla="*/ 1962 w 2597"/>
                <a:gd name="T41" fmla="*/ 287 h 1311"/>
                <a:gd name="T42" fmla="*/ 1576 w 2597"/>
                <a:gd name="T43" fmla="*/ 491 h 1311"/>
                <a:gd name="T44" fmla="*/ 1133 w 2597"/>
                <a:gd name="T45" fmla="*/ 681 h 1311"/>
                <a:gd name="T46" fmla="*/ 724 w 2597"/>
                <a:gd name="T47" fmla="*/ 858 h 1311"/>
                <a:gd name="T48" fmla="*/ 964 w 2597"/>
                <a:gd name="T49" fmla="*/ 1004 h 1311"/>
                <a:gd name="T50" fmla="*/ 1504 w 2597"/>
                <a:gd name="T51" fmla="*/ 737 h 1311"/>
                <a:gd name="T52" fmla="*/ 2017 w 2597"/>
                <a:gd name="T53" fmla="*/ 409 h 1311"/>
                <a:gd name="T54" fmla="*/ 1128 w 2597"/>
                <a:gd name="T55" fmla="*/ 1092 h 1311"/>
                <a:gd name="T56" fmla="*/ 1530 w 2597"/>
                <a:gd name="T57" fmla="*/ 1062 h 1311"/>
                <a:gd name="T58" fmla="*/ 2070 w 2597"/>
                <a:gd name="T59" fmla="*/ 516 h 1311"/>
                <a:gd name="T60" fmla="*/ 1654 w 2597"/>
                <a:gd name="T61" fmla="*/ 1045 h 1311"/>
                <a:gd name="T62" fmla="*/ 1505 w 2597"/>
                <a:gd name="T63" fmla="*/ 1287 h 1311"/>
                <a:gd name="T64" fmla="*/ 1814 w 2597"/>
                <a:gd name="T65" fmla="*/ 1159 h 1311"/>
                <a:gd name="T66" fmla="*/ 2139 w 2597"/>
                <a:gd name="T67" fmla="*/ 595 h 1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97" h="1311">
                  <a:moveTo>
                    <a:pt x="2139" y="595"/>
                  </a:moveTo>
                  <a:cubicBezTo>
                    <a:pt x="2146" y="581"/>
                    <a:pt x="2154" y="578"/>
                    <a:pt x="2166" y="590"/>
                  </a:cubicBezTo>
                  <a:cubicBezTo>
                    <a:pt x="2211" y="631"/>
                    <a:pt x="2262" y="660"/>
                    <a:pt x="2322" y="673"/>
                  </a:cubicBezTo>
                  <a:cubicBezTo>
                    <a:pt x="2407" y="693"/>
                    <a:pt x="2486" y="683"/>
                    <a:pt x="2554" y="623"/>
                  </a:cubicBezTo>
                  <a:cubicBezTo>
                    <a:pt x="2575" y="604"/>
                    <a:pt x="2592" y="583"/>
                    <a:pt x="2597" y="553"/>
                  </a:cubicBezTo>
                  <a:cubicBezTo>
                    <a:pt x="2593" y="552"/>
                    <a:pt x="2590" y="551"/>
                    <a:pt x="2588" y="550"/>
                  </a:cubicBezTo>
                  <a:cubicBezTo>
                    <a:pt x="2496" y="546"/>
                    <a:pt x="2414" y="513"/>
                    <a:pt x="2342" y="457"/>
                  </a:cubicBezTo>
                  <a:cubicBezTo>
                    <a:pt x="2277" y="405"/>
                    <a:pt x="2239" y="340"/>
                    <a:pt x="2259" y="253"/>
                  </a:cubicBezTo>
                  <a:cubicBezTo>
                    <a:pt x="2263" y="232"/>
                    <a:pt x="2264" y="211"/>
                    <a:pt x="2260" y="189"/>
                  </a:cubicBezTo>
                  <a:cubicBezTo>
                    <a:pt x="2256" y="139"/>
                    <a:pt x="2227" y="96"/>
                    <a:pt x="2187" y="75"/>
                  </a:cubicBezTo>
                  <a:cubicBezTo>
                    <a:pt x="2167" y="62"/>
                    <a:pt x="2145" y="51"/>
                    <a:pt x="2122" y="43"/>
                  </a:cubicBezTo>
                  <a:cubicBezTo>
                    <a:pt x="2051" y="18"/>
                    <a:pt x="1976" y="10"/>
                    <a:pt x="1901" y="7"/>
                  </a:cubicBezTo>
                  <a:cubicBezTo>
                    <a:pt x="1708" y="0"/>
                    <a:pt x="1518" y="22"/>
                    <a:pt x="1327" y="45"/>
                  </a:cubicBezTo>
                  <a:cubicBezTo>
                    <a:pt x="1228" y="57"/>
                    <a:pt x="1129" y="73"/>
                    <a:pt x="1030" y="87"/>
                  </a:cubicBezTo>
                  <a:cubicBezTo>
                    <a:pt x="878" y="108"/>
                    <a:pt x="726" y="130"/>
                    <a:pt x="573" y="149"/>
                  </a:cubicBezTo>
                  <a:cubicBezTo>
                    <a:pt x="461" y="164"/>
                    <a:pt x="348" y="177"/>
                    <a:pt x="234" y="188"/>
                  </a:cubicBezTo>
                  <a:cubicBezTo>
                    <a:pt x="164" y="194"/>
                    <a:pt x="94" y="196"/>
                    <a:pt x="24" y="199"/>
                  </a:cubicBezTo>
                  <a:cubicBezTo>
                    <a:pt x="13" y="200"/>
                    <a:pt x="0" y="199"/>
                    <a:pt x="6" y="216"/>
                  </a:cubicBezTo>
                  <a:cubicBezTo>
                    <a:pt x="20" y="257"/>
                    <a:pt x="39" y="294"/>
                    <a:pt x="69" y="326"/>
                  </a:cubicBezTo>
                  <a:cubicBezTo>
                    <a:pt x="130" y="391"/>
                    <a:pt x="209" y="418"/>
                    <a:pt x="293" y="430"/>
                  </a:cubicBezTo>
                  <a:cubicBezTo>
                    <a:pt x="430" y="451"/>
                    <a:pt x="566" y="439"/>
                    <a:pt x="701" y="417"/>
                  </a:cubicBezTo>
                  <a:cubicBezTo>
                    <a:pt x="811" y="399"/>
                    <a:pt x="919" y="374"/>
                    <a:pt x="1027" y="350"/>
                  </a:cubicBezTo>
                  <a:cubicBezTo>
                    <a:pt x="1118" y="331"/>
                    <a:pt x="1207" y="307"/>
                    <a:pt x="1297" y="285"/>
                  </a:cubicBezTo>
                  <a:cubicBezTo>
                    <a:pt x="1367" y="268"/>
                    <a:pt x="1437" y="249"/>
                    <a:pt x="1507" y="233"/>
                  </a:cubicBezTo>
                  <a:cubicBezTo>
                    <a:pt x="1573" y="217"/>
                    <a:pt x="1639" y="204"/>
                    <a:pt x="1706" y="191"/>
                  </a:cubicBezTo>
                  <a:cubicBezTo>
                    <a:pt x="1775" y="178"/>
                    <a:pt x="1929" y="173"/>
                    <a:pt x="1935" y="174"/>
                  </a:cubicBezTo>
                  <a:cubicBezTo>
                    <a:pt x="1935" y="176"/>
                    <a:pt x="1812" y="219"/>
                    <a:pt x="1760" y="233"/>
                  </a:cubicBezTo>
                  <a:cubicBezTo>
                    <a:pt x="1679" y="256"/>
                    <a:pt x="1598" y="279"/>
                    <a:pt x="1516" y="300"/>
                  </a:cubicBezTo>
                  <a:cubicBezTo>
                    <a:pt x="1430" y="322"/>
                    <a:pt x="1344" y="342"/>
                    <a:pt x="1258" y="363"/>
                  </a:cubicBezTo>
                  <a:cubicBezTo>
                    <a:pt x="1168" y="385"/>
                    <a:pt x="1079" y="408"/>
                    <a:pt x="990" y="430"/>
                  </a:cubicBezTo>
                  <a:cubicBezTo>
                    <a:pt x="909" y="450"/>
                    <a:pt x="828" y="469"/>
                    <a:pt x="747" y="489"/>
                  </a:cubicBezTo>
                  <a:cubicBezTo>
                    <a:pt x="646" y="514"/>
                    <a:pt x="546" y="538"/>
                    <a:pt x="445" y="563"/>
                  </a:cubicBezTo>
                  <a:cubicBezTo>
                    <a:pt x="403" y="573"/>
                    <a:pt x="361" y="584"/>
                    <a:pt x="319" y="595"/>
                  </a:cubicBezTo>
                  <a:cubicBezTo>
                    <a:pt x="309" y="598"/>
                    <a:pt x="302" y="601"/>
                    <a:pt x="306" y="614"/>
                  </a:cubicBezTo>
                  <a:cubicBezTo>
                    <a:pt x="316" y="654"/>
                    <a:pt x="335" y="689"/>
                    <a:pt x="366" y="717"/>
                  </a:cubicBezTo>
                  <a:cubicBezTo>
                    <a:pt x="413" y="758"/>
                    <a:pt x="470" y="770"/>
                    <a:pt x="529" y="772"/>
                  </a:cubicBezTo>
                  <a:cubicBezTo>
                    <a:pt x="629" y="776"/>
                    <a:pt x="725" y="754"/>
                    <a:pt x="819" y="725"/>
                  </a:cubicBezTo>
                  <a:cubicBezTo>
                    <a:pt x="904" y="698"/>
                    <a:pt x="988" y="667"/>
                    <a:pt x="1071" y="635"/>
                  </a:cubicBezTo>
                  <a:cubicBezTo>
                    <a:pt x="1155" y="602"/>
                    <a:pt x="1237" y="566"/>
                    <a:pt x="1319" y="531"/>
                  </a:cubicBezTo>
                  <a:cubicBezTo>
                    <a:pt x="1387" y="502"/>
                    <a:pt x="1454" y="472"/>
                    <a:pt x="1521" y="443"/>
                  </a:cubicBezTo>
                  <a:cubicBezTo>
                    <a:pt x="1591" y="412"/>
                    <a:pt x="1661" y="381"/>
                    <a:pt x="1733" y="353"/>
                  </a:cubicBezTo>
                  <a:cubicBezTo>
                    <a:pt x="1787" y="333"/>
                    <a:pt x="1894" y="299"/>
                    <a:pt x="1962" y="287"/>
                  </a:cubicBezTo>
                  <a:cubicBezTo>
                    <a:pt x="1962" y="288"/>
                    <a:pt x="1851" y="363"/>
                    <a:pt x="1795" y="390"/>
                  </a:cubicBezTo>
                  <a:cubicBezTo>
                    <a:pt x="1723" y="425"/>
                    <a:pt x="1650" y="458"/>
                    <a:pt x="1576" y="491"/>
                  </a:cubicBezTo>
                  <a:cubicBezTo>
                    <a:pt x="1509" y="521"/>
                    <a:pt x="1441" y="549"/>
                    <a:pt x="1374" y="578"/>
                  </a:cubicBezTo>
                  <a:cubicBezTo>
                    <a:pt x="1294" y="612"/>
                    <a:pt x="1214" y="647"/>
                    <a:pt x="1133" y="681"/>
                  </a:cubicBezTo>
                  <a:cubicBezTo>
                    <a:pt x="1066" y="710"/>
                    <a:pt x="998" y="738"/>
                    <a:pt x="931" y="767"/>
                  </a:cubicBezTo>
                  <a:cubicBezTo>
                    <a:pt x="862" y="797"/>
                    <a:pt x="794" y="828"/>
                    <a:pt x="724" y="858"/>
                  </a:cubicBezTo>
                  <a:cubicBezTo>
                    <a:pt x="711" y="864"/>
                    <a:pt x="709" y="870"/>
                    <a:pt x="717" y="882"/>
                  </a:cubicBezTo>
                  <a:cubicBezTo>
                    <a:pt x="776" y="971"/>
                    <a:pt x="858" y="1012"/>
                    <a:pt x="964" y="1004"/>
                  </a:cubicBezTo>
                  <a:cubicBezTo>
                    <a:pt x="1061" y="996"/>
                    <a:pt x="1148" y="960"/>
                    <a:pt x="1230" y="913"/>
                  </a:cubicBezTo>
                  <a:cubicBezTo>
                    <a:pt x="1324" y="858"/>
                    <a:pt x="1415" y="799"/>
                    <a:pt x="1504" y="737"/>
                  </a:cubicBezTo>
                  <a:cubicBezTo>
                    <a:pt x="1583" y="683"/>
                    <a:pt x="1657" y="622"/>
                    <a:pt x="1734" y="566"/>
                  </a:cubicBezTo>
                  <a:cubicBezTo>
                    <a:pt x="1803" y="515"/>
                    <a:pt x="1953" y="431"/>
                    <a:pt x="2017" y="409"/>
                  </a:cubicBezTo>
                  <a:cubicBezTo>
                    <a:pt x="1967" y="456"/>
                    <a:pt x="1959" y="464"/>
                    <a:pt x="1934" y="484"/>
                  </a:cubicBezTo>
                  <a:cubicBezTo>
                    <a:pt x="1814" y="579"/>
                    <a:pt x="1247" y="1005"/>
                    <a:pt x="1128" y="1092"/>
                  </a:cubicBezTo>
                  <a:cubicBezTo>
                    <a:pt x="1187" y="1169"/>
                    <a:pt x="1271" y="1195"/>
                    <a:pt x="1364" y="1162"/>
                  </a:cubicBezTo>
                  <a:cubicBezTo>
                    <a:pt x="1426" y="1141"/>
                    <a:pt x="1479" y="1104"/>
                    <a:pt x="1530" y="1062"/>
                  </a:cubicBezTo>
                  <a:cubicBezTo>
                    <a:pt x="1636" y="975"/>
                    <a:pt x="1724" y="871"/>
                    <a:pt x="1814" y="768"/>
                  </a:cubicBezTo>
                  <a:cubicBezTo>
                    <a:pt x="1881" y="693"/>
                    <a:pt x="1987" y="583"/>
                    <a:pt x="2070" y="516"/>
                  </a:cubicBezTo>
                  <a:cubicBezTo>
                    <a:pt x="2067" y="521"/>
                    <a:pt x="1996" y="623"/>
                    <a:pt x="1960" y="667"/>
                  </a:cubicBezTo>
                  <a:cubicBezTo>
                    <a:pt x="1859" y="793"/>
                    <a:pt x="1755" y="918"/>
                    <a:pt x="1654" y="1045"/>
                  </a:cubicBezTo>
                  <a:cubicBezTo>
                    <a:pt x="1599" y="1114"/>
                    <a:pt x="1549" y="1187"/>
                    <a:pt x="1497" y="1258"/>
                  </a:cubicBezTo>
                  <a:cubicBezTo>
                    <a:pt x="1483" y="1277"/>
                    <a:pt x="1484" y="1278"/>
                    <a:pt x="1505" y="1287"/>
                  </a:cubicBezTo>
                  <a:cubicBezTo>
                    <a:pt x="1563" y="1311"/>
                    <a:pt x="1619" y="1306"/>
                    <a:pt x="1674" y="1279"/>
                  </a:cubicBezTo>
                  <a:cubicBezTo>
                    <a:pt x="1731" y="1251"/>
                    <a:pt x="1775" y="1207"/>
                    <a:pt x="1814" y="1159"/>
                  </a:cubicBezTo>
                  <a:cubicBezTo>
                    <a:pt x="1919" y="1030"/>
                    <a:pt x="1989" y="881"/>
                    <a:pt x="2063" y="735"/>
                  </a:cubicBezTo>
                  <a:cubicBezTo>
                    <a:pt x="2088" y="688"/>
                    <a:pt x="2113" y="641"/>
                    <a:pt x="2139" y="5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D78E48A9-017B-4925-BBDB-CAD536E2C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4943" y="1703384"/>
              <a:ext cx="2341681" cy="1223491"/>
            </a:xfrm>
            <a:custGeom>
              <a:avLst/>
              <a:gdLst>
                <a:gd name="T0" fmla="*/ 2362 w 2596"/>
                <a:gd name="T1" fmla="*/ 188 h 1311"/>
                <a:gd name="T2" fmla="*/ 1566 w 2596"/>
                <a:gd name="T3" fmla="*/ 87 h 1311"/>
                <a:gd name="T4" fmla="*/ 696 w 2596"/>
                <a:gd name="T5" fmla="*/ 7 h 1311"/>
                <a:gd name="T6" fmla="*/ 410 w 2596"/>
                <a:gd name="T7" fmla="*/ 75 h 1311"/>
                <a:gd name="T8" fmla="*/ 338 w 2596"/>
                <a:gd name="T9" fmla="*/ 253 h 1311"/>
                <a:gd name="T10" fmla="*/ 9 w 2596"/>
                <a:gd name="T11" fmla="*/ 550 h 1311"/>
                <a:gd name="T12" fmla="*/ 43 w 2596"/>
                <a:gd name="T13" fmla="*/ 623 h 1311"/>
                <a:gd name="T14" fmla="*/ 430 w 2596"/>
                <a:gd name="T15" fmla="*/ 590 h 1311"/>
                <a:gd name="T16" fmla="*/ 533 w 2596"/>
                <a:gd name="T17" fmla="*/ 735 h 1311"/>
                <a:gd name="T18" fmla="*/ 923 w 2596"/>
                <a:gd name="T19" fmla="*/ 1279 h 1311"/>
                <a:gd name="T20" fmla="*/ 1100 w 2596"/>
                <a:gd name="T21" fmla="*/ 1258 h 1311"/>
                <a:gd name="T22" fmla="*/ 636 w 2596"/>
                <a:gd name="T23" fmla="*/ 667 h 1311"/>
                <a:gd name="T24" fmla="*/ 782 w 2596"/>
                <a:gd name="T25" fmla="*/ 768 h 1311"/>
                <a:gd name="T26" fmla="*/ 1233 w 2596"/>
                <a:gd name="T27" fmla="*/ 1162 h 1311"/>
                <a:gd name="T28" fmla="*/ 663 w 2596"/>
                <a:gd name="T29" fmla="*/ 484 h 1311"/>
                <a:gd name="T30" fmla="*/ 863 w 2596"/>
                <a:gd name="T31" fmla="*/ 566 h 1311"/>
                <a:gd name="T32" fmla="*/ 1366 w 2596"/>
                <a:gd name="T33" fmla="*/ 913 h 1311"/>
                <a:gd name="T34" fmla="*/ 1880 w 2596"/>
                <a:gd name="T35" fmla="*/ 882 h 1311"/>
                <a:gd name="T36" fmla="*/ 1666 w 2596"/>
                <a:gd name="T37" fmla="*/ 767 h 1311"/>
                <a:gd name="T38" fmla="*/ 1223 w 2596"/>
                <a:gd name="T39" fmla="*/ 578 h 1311"/>
                <a:gd name="T40" fmla="*/ 802 w 2596"/>
                <a:gd name="T41" fmla="*/ 390 h 1311"/>
                <a:gd name="T42" fmla="*/ 864 w 2596"/>
                <a:gd name="T43" fmla="*/ 353 h 1311"/>
                <a:gd name="T44" fmla="*/ 1277 w 2596"/>
                <a:gd name="T45" fmla="*/ 531 h 1311"/>
                <a:gd name="T46" fmla="*/ 1777 w 2596"/>
                <a:gd name="T47" fmla="*/ 725 h 1311"/>
                <a:gd name="T48" fmla="*/ 2230 w 2596"/>
                <a:gd name="T49" fmla="*/ 717 h 1311"/>
                <a:gd name="T50" fmla="*/ 2278 w 2596"/>
                <a:gd name="T51" fmla="*/ 595 h 1311"/>
                <a:gd name="T52" fmla="*/ 1849 w 2596"/>
                <a:gd name="T53" fmla="*/ 489 h 1311"/>
                <a:gd name="T54" fmla="*/ 1339 w 2596"/>
                <a:gd name="T55" fmla="*/ 363 h 1311"/>
                <a:gd name="T56" fmla="*/ 836 w 2596"/>
                <a:gd name="T57" fmla="*/ 233 h 1311"/>
                <a:gd name="T58" fmla="*/ 891 w 2596"/>
                <a:gd name="T59" fmla="*/ 191 h 1311"/>
                <a:gd name="T60" fmla="*/ 1299 w 2596"/>
                <a:gd name="T61" fmla="*/ 285 h 1311"/>
                <a:gd name="T62" fmla="*/ 1895 w 2596"/>
                <a:gd name="T63" fmla="*/ 417 h 1311"/>
                <a:gd name="T64" fmla="*/ 2528 w 2596"/>
                <a:gd name="T65" fmla="*/ 326 h 1311"/>
                <a:gd name="T66" fmla="*/ 2573 w 2596"/>
                <a:gd name="T67" fmla="*/ 199 h 1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96" h="1311">
                  <a:moveTo>
                    <a:pt x="2573" y="199"/>
                  </a:moveTo>
                  <a:cubicBezTo>
                    <a:pt x="2503" y="196"/>
                    <a:pt x="2432" y="194"/>
                    <a:pt x="2362" y="188"/>
                  </a:cubicBezTo>
                  <a:cubicBezTo>
                    <a:pt x="2249" y="177"/>
                    <a:pt x="2136" y="164"/>
                    <a:pt x="2023" y="149"/>
                  </a:cubicBezTo>
                  <a:cubicBezTo>
                    <a:pt x="1871" y="130"/>
                    <a:pt x="1719" y="108"/>
                    <a:pt x="1566" y="87"/>
                  </a:cubicBezTo>
                  <a:cubicBezTo>
                    <a:pt x="1467" y="73"/>
                    <a:pt x="1369" y="57"/>
                    <a:pt x="1270" y="45"/>
                  </a:cubicBezTo>
                  <a:cubicBezTo>
                    <a:pt x="1079" y="22"/>
                    <a:pt x="888" y="0"/>
                    <a:pt x="696" y="7"/>
                  </a:cubicBezTo>
                  <a:cubicBezTo>
                    <a:pt x="621" y="10"/>
                    <a:pt x="546" y="18"/>
                    <a:pt x="475" y="43"/>
                  </a:cubicBezTo>
                  <a:cubicBezTo>
                    <a:pt x="452" y="51"/>
                    <a:pt x="430" y="62"/>
                    <a:pt x="410" y="75"/>
                  </a:cubicBezTo>
                  <a:cubicBezTo>
                    <a:pt x="369" y="96"/>
                    <a:pt x="341" y="139"/>
                    <a:pt x="337" y="189"/>
                  </a:cubicBezTo>
                  <a:cubicBezTo>
                    <a:pt x="333" y="211"/>
                    <a:pt x="334" y="232"/>
                    <a:pt x="338" y="253"/>
                  </a:cubicBezTo>
                  <a:cubicBezTo>
                    <a:pt x="357" y="340"/>
                    <a:pt x="320" y="405"/>
                    <a:pt x="254" y="457"/>
                  </a:cubicBezTo>
                  <a:cubicBezTo>
                    <a:pt x="183" y="513"/>
                    <a:pt x="101" y="546"/>
                    <a:pt x="9" y="550"/>
                  </a:cubicBezTo>
                  <a:cubicBezTo>
                    <a:pt x="6" y="551"/>
                    <a:pt x="4" y="552"/>
                    <a:pt x="0" y="553"/>
                  </a:cubicBezTo>
                  <a:cubicBezTo>
                    <a:pt x="4" y="583"/>
                    <a:pt x="22" y="604"/>
                    <a:pt x="43" y="623"/>
                  </a:cubicBezTo>
                  <a:cubicBezTo>
                    <a:pt x="110" y="683"/>
                    <a:pt x="190" y="693"/>
                    <a:pt x="275" y="673"/>
                  </a:cubicBezTo>
                  <a:cubicBezTo>
                    <a:pt x="335" y="660"/>
                    <a:pt x="386" y="631"/>
                    <a:pt x="430" y="590"/>
                  </a:cubicBezTo>
                  <a:cubicBezTo>
                    <a:pt x="443" y="578"/>
                    <a:pt x="451" y="581"/>
                    <a:pt x="458" y="595"/>
                  </a:cubicBezTo>
                  <a:cubicBezTo>
                    <a:pt x="483" y="641"/>
                    <a:pt x="509" y="688"/>
                    <a:pt x="533" y="735"/>
                  </a:cubicBezTo>
                  <a:cubicBezTo>
                    <a:pt x="608" y="881"/>
                    <a:pt x="677" y="1030"/>
                    <a:pt x="782" y="1159"/>
                  </a:cubicBezTo>
                  <a:cubicBezTo>
                    <a:pt x="822" y="1207"/>
                    <a:pt x="866" y="1251"/>
                    <a:pt x="923" y="1279"/>
                  </a:cubicBezTo>
                  <a:cubicBezTo>
                    <a:pt x="978" y="1306"/>
                    <a:pt x="1034" y="1311"/>
                    <a:pt x="1092" y="1287"/>
                  </a:cubicBezTo>
                  <a:cubicBezTo>
                    <a:pt x="1113" y="1278"/>
                    <a:pt x="1114" y="1277"/>
                    <a:pt x="1100" y="1258"/>
                  </a:cubicBezTo>
                  <a:cubicBezTo>
                    <a:pt x="1048" y="1187"/>
                    <a:pt x="998" y="1114"/>
                    <a:pt x="943" y="1045"/>
                  </a:cubicBezTo>
                  <a:cubicBezTo>
                    <a:pt x="842" y="918"/>
                    <a:pt x="738" y="793"/>
                    <a:pt x="636" y="667"/>
                  </a:cubicBezTo>
                  <a:cubicBezTo>
                    <a:pt x="601" y="623"/>
                    <a:pt x="530" y="521"/>
                    <a:pt x="527" y="516"/>
                  </a:cubicBezTo>
                  <a:cubicBezTo>
                    <a:pt x="610" y="583"/>
                    <a:pt x="716" y="693"/>
                    <a:pt x="782" y="768"/>
                  </a:cubicBezTo>
                  <a:cubicBezTo>
                    <a:pt x="873" y="871"/>
                    <a:pt x="961" y="975"/>
                    <a:pt x="1067" y="1062"/>
                  </a:cubicBezTo>
                  <a:cubicBezTo>
                    <a:pt x="1117" y="1104"/>
                    <a:pt x="1171" y="1141"/>
                    <a:pt x="1233" y="1162"/>
                  </a:cubicBezTo>
                  <a:cubicBezTo>
                    <a:pt x="1326" y="1195"/>
                    <a:pt x="1410" y="1169"/>
                    <a:pt x="1469" y="1092"/>
                  </a:cubicBezTo>
                  <a:cubicBezTo>
                    <a:pt x="1350" y="1005"/>
                    <a:pt x="783" y="579"/>
                    <a:pt x="663" y="484"/>
                  </a:cubicBezTo>
                  <a:cubicBezTo>
                    <a:pt x="637" y="464"/>
                    <a:pt x="630" y="456"/>
                    <a:pt x="580" y="409"/>
                  </a:cubicBezTo>
                  <a:cubicBezTo>
                    <a:pt x="644" y="431"/>
                    <a:pt x="793" y="515"/>
                    <a:pt x="863" y="566"/>
                  </a:cubicBezTo>
                  <a:cubicBezTo>
                    <a:pt x="940" y="622"/>
                    <a:pt x="1014" y="683"/>
                    <a:pt x="1092" y="737"/>
                  </a:cubicBezTo>
                  <a:cubicBezTo>
                    <a:pt x="1182" y="799"/>
                    <a:pt x="1273" y="858"/>
                    <a:pt x="1366" y="913"/>
                  </a:cubicBezTo>
                  <a:cubicBezTo>
                    <a:pt x="1448" y="960"/>
                    <a:pt x="1536" y="996"/>
                    <a:pt x="1632" y="1004"/>
                  </a:cubicBezTo>
                  <a:cubicBezTo>
                    <a:pt x="1739" y="1012"/>
                    <a:pt x="1821" y="971"/>
                    <a:pt x="1880" y="882"/>
                  </a:cubicBezTo>
                  <a:cubicBezTo>
                    <a:pt x="1888" y="870"/>
                    <a:pt x="1886" y="864"/>
                    <a:pt x="1872" y="858"/>
                  </a:cubicBezTo>
                  <a:cubicBezTo>
                    <a:pt x="1803" y="828"/>
                    <a:pt x="1735" y="797"/>
                    <a:pt x="1666" y="767"/>
                  </a:cubicBezTo>
                  <a:cubicBezTo>
                    <a:pt x="1598" y="738"/>
                    <a:pt x="1531" y="710"/>
                    <a:pt x="1463" y="681"/>
                  </a:cubicBezTo>
                  <a:cubicBezTo>
                    <a:pt x="1383" y="647"/>
                    <a:pt x="1303" y="612"/>
                    <a:pt x="1223" y="578"/>
                  </a:cubicBezTo>
                  <a:cubicBezTo>
                    <a:pt x="1155" y="549"/>
                    <a:pt x="1088" y="521"/>
                    <a:pt x="1021" y="491"/>
                  </a:cubicBezTo>
                  <a:cubicBezTo>
                    <a:pt x="947" y="458"/>
                    <a:pt x="874" y="425"/>
                    <a:pt x="802" y="390"/>
                  </a:cubicBezTo>
                  <a:cubicBezTo>
                    <a:pt x="746" y="363"/>
                    <a:pt x="635" y="288"/>
                    <a:pt x="635" y="287"/>
                  </a:cubicBezTo>
                  <a:cubicBezTo>
                    <a:pt x="703" y="299"/>
                    <a:pt x="810" y="333"/>
                    <a:pt x="864" y="353"/>
                  </a:cubicBezTo>
                  <a:cubicBezTo>
                    <a:pt x="935" y="381"/>
                    <a:pt x="1005" y="412"/>
                    <a:pt x="1076" y="443"/>
                  </a:cubicBezTo>
                  <a:cubicBezTo>
                    <a:pt x="1143" y="472"/>
                    <a:pt x="1210" y="502"/>
                    <a:pt x="1277" y="531"/>
                  </a:cubicBezTo>
                  <a:cubicBezTo>
                    <a:pt x="1360" y="566"/>
                    <a:pt x="1442" y="602"/>
                    <a:pt x="1526" y="635"/>
                  </a:cubicBezTo>
                  <a:cubicBezTo>
                    <a:pt x="1609" y="667"/>
                    <a:pt x="1692" y="698"/>
                    <a:pt x="1777" y="725"/>
                  </a:cubicBezTo>
                  <a:cubicBezTo>
                    <a:pt x="1872" y="754"/>
                    <a:pt x="1968" y="776"/>
                    <a:pt x="2068" y="772"/>
                  </a:cubicBezTo>
                  <a:cubicBezTo>
                    <a:pt x="2127" y="770"/>
                    <a:pt x="2184" y="758"/>
                    <a:pt x="2230" y="717"/>
                  </a:cubicBezTo>
                  <a:cubicBezTo>
                    <a:pt x="2262" y="689"/>
                    <a:pt x="2280" y="654"/>
                    <a:pt x="2291" y="614"/>
                  </a:cubicBezTo>
                  <a:cubicBezTo>
                    <a:pt x="2294" y="601"/>
                    <a:pt x="2288" y="598"/>
                    <a:pt x="2278" y="595"/>
                  </a:cubicBezTo>
                  <a:cubicBezTo>
                    <a:pt x="2236" y="584"/>
                    <a:pt x="2194" y="573"/>
                    <a:pt x="2152" y="563"/>
                  </a:cubicBezTo>
                  <a:cubicBezTo>
                    <a:pt x="2051" y="538"/>
                    <a:pt x="1950" y="514"/>
                    <a:pt x="1849" y="489"/>
                  </a:cubicBezTo>
                  <a:cubicBezTo>
                    <a:pt x="1768" y="469"/>
                    <a:pt x="1687" y="450"/>
                    <a:pt x="1607" y="430"/>
                  </a:cubicBezTo>
                  <a:cubicBezTo>
                    <a:pt x="1517" y="408"/>
                    <a:pt x="1428" y="385"/>
                    <a:pt x="1339" y="363"/>
                  </a:cubicBezTo>
                  <a:cubicBezTo>
                    <a:pt x="1253" y="342"/>
                    <a:pt x="1167" y="322"/>
                    <a:pt x="1081" y="300"/>
                  </a:cubicBezTo>
                  <a:cubicBezTo>
                    <a:pt x="999" y="279"/>
                    <a:pt x="918" y="256"/>
                    <a:pt x="836" y="233"/>
                  </a:cubicBezTo>
                  <a:cubicBezTo>
                    <a:pt x="785" y="219"/>
                    <a:pt x="661" y="176"/>
                    <a:pt x="662" y="174"/>
                  </a:cubicBezTo>
                  <a:cubicBezTo>
                    <a:pt x="668" y="173"/>
                    <a:pt x="822" y="178"/>
                    <a:pt x="891" y="191"/>
                  </a:cubicBezTo>
                  <a:cubicBezTo>
                    <a:pt x="957" y="204"/>
                    <a:pt x="1023" y="217"/>
                    <a:pt x="1089" y="233"/>
                  </a:cubicBezTo>
                  <a:cubicBezTo>
                    <a:pt x="1160" y="249"/>
                    <a:pt x="1229" y="268"/>
                    <a:pt x="1299" y="285"/>
                  </a:cubicBezTo>
                  <a:cubicBezTo>
                    <a:pt x="1389" y="307"/>
                    <a:pt x="1479" y="331"/>
                    <a:pt x="1569" y="350"/>
                  </a:cubicBezTo>
                  <a:cubicBezTo>
                    <a:pt x="1678" y="374"/>
                    <a:pt x="1786" y="399"/>
                    <a:pt x="1895" y="417"/>
                  </a:cubicBezTo>
                  <a:cubicBezTo>
                    <a:pt x="2031" y="439"/>
                    <a:pt x="2167" y="451"/>
                    <a:pt x="2304" y="430"/>
                  </a:cubicBezTo>
                  <a:cubicBezTo>
                    <a:pt x="2388" y="418"/>
                    <a:pt x="2467" y="391"/>
                    <a:pt x="2528" y="326"/>
                  </a:cubicBezTo>
                  <a:cubicBezTo>
                    <a:pt x="2557" y="294"/>
                    <a:pt x="2576" y="257"/>
                    <a:pt x="2590" y="216"/>
                  </a:cubicBezTo>
                  <a:cubicBezTo>
                    <a:pt x="2596" y="199"/>
                    <a:pt x="2584" y="200"/>
                    <a:pt x="2573" y="1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1DF1EFA9-FD89-47B7-BF2A-5744B9770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7698" y="3426000"/>
              <a:ext cx="110341" cy="222068"/>
            </a:xfrm>
            <a:custGeom>
              <a:avLst/>
              <a:gdLst>
                <a:gd name="T0" fmla="*/ 123 w 123"/>
                <a:gd name="T1" fmla="*/ 19 h 238"/>
                <a:gd name="T2" fmla="*/ 106 w 123"/>
                <a:gd name="T3" fmla="*/ 5 h 238"/>
                <a:gd name="T4" fmla="*/ 13 w 123"/>
                <a:gd name="T5" fmla="*/ 31 h 238"/>
                <a:gd name="T6" fmla="*/ 0 w 123"/>
                <a:gd name="T7" fmla="*/ 48 h 238"/>
                <a:gd name="T8" fmla="*/ 4 w 123"/>
                <a:gd name="T9" fmla="*/ 225 h 238"/>
                <a:gd name="T10" fmla="*/ 19 w 123"/>
                <a:gd name="T11" fmla="*/ 235 h 238"/>
                <a:gd name="T12" fmla="*/ 106 w 123"/>
                <a:gd name="T13" fmla="*/ 204 h 238"/>
                <a:gd name="T14" fmla="*/ 121 w 123"/>
                <a:gd name="T15" fmla="*/ 183 h 238"/>
                <a:gd name="T16" fmla="*/ 122 w 123"/>
                <a:gd name="T17" fmla="*/ 100 h 238"/>
                <a:gd name="T18" fmla="*/ 123 w 123"/>
                <a:gd name="T19" fmla="*/ 100 h 238"/>
                <a:gd name="T20" fmla="*/ 123 w 123"/>
                <a:gd name="T21" fmla="*/ 19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238">
                  <a:moveTo>
                    <a:pt x="123" y="19"/>
                  </a:moveTo>
                  <a:cubicBezTo>
                    <a:pt x="123" y="7"/>
                    <a:pt x="121" y="0"/>
                    <a:pt x="106" y="5"/>
                  </a:cubicBezTo>
                  <a:cubicBezTo>
                    <a:pt x="75" y="14"/>
                    <a:pt x="44" y="21"/>
                    <a:pt x="13" y="31"/>
                  </a:cubicBezTo>
                  <a:cubicBezTo>
                    <a:pt x="7" y="33"/>
                    <a:pt x="0" y="42"/>
                    <a:pt x="0" y="48"/>
                  </a:cubicBezTo>
                  <a:cubicBezTo>
                    <a:pt x="1" y="107"/>
                    <a:pt x="2" y="166"/>
                    <a:pt x="4" y="225"/>
                  </a:cubicBezTo>
                  <a:cubicBezTo>
                    <a:pt x="4" y="236"/>
                    <a:pt x="10" y="238"/>
                    <a:pt x="19" y="235"/>
                  </a:cubicBezTo>
                  <a:cubicBezTo>
                    <a:pt x="48" y="225"/>
                    <a:pt x="78" y="216"/>
                    <a:pt x="106" y="204"/>
                  </a:cubicBezTo>
                  <a:cubicBezTo>
                    <a:pt x="113" y="201"/>
                    <a:pt x="120" y="190"/>
                    <a:pt x="121" y="183"/>
                  </a:cubicBezTo>
                  <a:cubicBezTo>
                    <a:pt x="123" y="155"/>
                    <a:pt x="122" y="127"/>
                    <a:pt x="122" y="100"/>
                  </a:cubicBezTo>
                  <a:cubicBezTo>
                    <a:pt x="122" y="100"/>
                    <a:pt x="123" y="100"/>
                    <a:pt x="123" y="100"/>
                  </a:cubicBezTo>
                  <a:cubicBezTo>
                    <a:pt x="123" y="73"/>
                    <a:pt x="123" y="46"/>
                    <a:pt x="12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1C9C6536-C690-4C1F-BED3-1BD09F202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4012" y="1726648"/>
              <a:ext cx="459755" cy="1422295"/>
            </a:xfrm>
            <a:custGeom>
              <a:avLst/>
              <a:gdLst>
                <a:gd name="T0" fmla="*/ 166 w 508"/>
                <a:gd name="T1" fmla="*/ 492 h 1524"/>
                <a:gd name="T2" fmla="*/ 166 w 508"/>
                <a:gd name="T3" fmla="*/ 493 h 1524"/>
                <a:gd name="T4" fmla="*/ 174 w 508"/>
                <a:gd name="T5" fmla="*/ 1020 h 1524"/>
                <a:gd name="T6" fmla="*/ 184 w 508"/>
                <a:gd name="T7" fmla="*/ 1503 h 1524"/>
                <a:gd name="T8" fmla="*/ 206 w 508"/>
                <a:gd name="T9" fmla="*/ 1519 h 1524"/>
                <a:gd name="T10" fmla="*/ 310 w 508"/>
                <a:gd name="T11" fmla="*/ 1484 h 1524"/>
                <a:gd name="T12" fmla="*/ 320 w 508"/>
                <a:gd name="T13" fmla="*/ 1463 h 1524"/>
                <a:gd name="T14" fmla="*/ 325 w 508"/>
                <a:gd name="T15" fmla="*/ 1274 h 1524"/>
                <a:gd name="T16" fmla="*/ 332 w 508"/>
                <a:gd name="T17" fmla="*/ 864 h 1524"/>
                <a:gd name="T18" fmla="*/ 338 w 508"/>
                <a:gd name="T19" fmla="*/ 501 h 1524"/>
                <a:gd name="T20" fmla="*/ 338 w 508"/>
                <a:gd name="T21" fmla="*/ 493 h 1524"/>
                <a:gd name="T22" fmla="*/ 508 w 508"/>
                <a:gd name="T23" fmla="*/ 254 h 1524"/>
                <a:gd name="T24" fmla="*/ 254 w 508"/>
                <a:gd name="T25" fmla="*/ 0 h 1524"/>
                <a:gd name="T26" fmla="*/ 0 w 508"/>
                <a:gd name="T27" fmla="*/ 254 h 1524"/>
                <a:gd name="T28" fmla="*/ 166 w 508"/>
                <a:gd name="T29" fmla="*/ 492 h 1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08" h="1524">
                  <a:moveTo>
                    <a:pt x="166" y="492"/>
                  </a:moveTo>
                  <a:cubicBezTo>
                    <a:pt x="166" y="492"/>
                    <a:pt x="166" y="493"/>
                    <a:pt x="166" y="493"/>
                  </a:cubicBezTo>
                  <a:cubicBezTo>
                    <a:pt x="169" y="669"/>
                    <a:pt x="171" y="844"/>
                    <a:pt x="174" y="1020"/>
                  </a:cubicBezTo>
                  <a:cubicBezTo>
                    <a:pt x="177" y="1181"/>
                    <a:pt x="181" y="1342"/>
                    <a:pt x="184" y="1503"/>
                  </a:cubicBezTo>
                  <a:cubicBezTo>
                    <a:pt x="184" y="1520"/>
                    <a:pt x="191" y="1524"/>
                    <a:pt x="206" y="1519"/>
                  </a:cubicBezTo>
                  <a:cubicBezTo>
                    <a:pt x="241" y="1507"/>
                    <a:pt x="276" y="1496"/>
                    <a:pt x="310" y="1484"/>
                  </a:cubicBezTo>
                  <a:cubicBezTo>
                    <a:pt x="315" y="1482"/>
                    <a:pt x="319" y="1470"/>
                    <a:pt x="320" y="1463"/>
                  </a:cubicBezTo>
                  <a:cubicBezTo>
                    <a:pt x="322" y="1400"/>
                    <a:pt x="324" y="1337"/>
                    <a:pt x="325" y="1274"/>
                  </a:cubicBezTo>
                  <a:cubicBezTo>
                    <a:pt x="327" y="1137"/>
                    <a:pt x="329" y="1000"/>
                    <a:pt x="332" y="864"/>
                  </a:cubicBezTo>
                  <a:cubicBezTo>
                    <a:pt x="333" y="743"/>
                    <a:pt x="336" y="622"/>
                    <a:pt x="338" y="501"/>
                  </a:cubicBezTo>
                  <a:cubicBezTo>
                    <a:pt x="338" y="498"/>
                    <a:pt x="338" y="495"/>
                    <a:pt x="338" y="493"/>
                  </a:cubicBezTo>
                  <a:cubicBezTo>
                    <a:pt x="437" y="458"/>
                    <a:pt x="508" y="364"/>
                    <a:pt x="508" y="254"/>
                  </a:cubicBezTo>
                  <a:cubicBezTo>
                    <a:pt x="508" y="113"/>
                    <a:pt x="394" y="0"/>
                    <a:pt x="254" y="0"/>
                  </a:cubicBezTo>
                  <a:cubicBezTo>
                    <a:pt x="114" y="0"/>
                    <a:pt x="0" y="113"/>
                    <a:pt x="0" y="254"/>
                  </a:cubicBezTo>
                  <a:cubicBezTo>
                    <a:pt x="0" y="363"/>
                    <a:pt x="69" y="456"/>
                    <a:pt x="166" y="4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" name="TextBox 40">
            <a:extLst>
              <a:ext uri="{FF2B5EF4-FFF2-40B4-BE49-F238E27FC236}">
                <a16:creationId xmlns:a16="http://schemas.microsoft.com/office/drawing/2014/main" id="{52C43384-379E-4890-8D56-3917648E2569}"/>
              </a:ext>
            </a:extLst>
          </p:cNvPr>
          <p:cNvSpPr txBox="1"/>
          <p:nvPr/>
        </p:nvSpPr>
        <p:spPr>
          <a:xfrm>
            <a:off x="9467416" y="1998995"/>
            <a:ext cx="198120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en-US" sz="1500" dirty="0">
                <a:latin typeface="Open Sans" panose="020B0606030504020204" pitchFamily="34" charset="0"/>
              </a:rPr>
              <a:t>27 266 </a:t>
            </a:r>
            <a:r>
              <a:rPr lang="en-US" sz="1500" dirty="0" err="1">
                <a:latin typeface="Open Sans" panose="020B0606030504020204" pitchFamily="34" charset="0"/>
              </a:rPr>
              <a:t>médecins</a:t>
            </a:r>
            <a:endParaRPr lang="en-US" sz="1500" dirty="0">
              <a:latin typeface="Open Sans" panose="020B0606030504020204" pitchFamily="34" charset="0"/>
            </a:endParaRPr>
          </a:p>
        </p:txBody>
      </p:sp>
      <p:sp>
        <p:nvSpPr>
          <p:cNvPr id="31" name="TextBox 42">
            <a:extLst>
              <a:ext uri="{FF2B5EF4-FFF2-40B4-BE49-F238E27FC236}">
                <a16:creationId xmlns:a16="http://schemas.microsoft.com/office/drawing/2014/main" id="{F7C06965-1F70-4D90-ADA4-599B4935B524}"/>
              </a:ext>
            </a:extLst>
          </p:cNvPr>
          <p:cNvSpPr txBox="1"/>
          <p:nvPr/>
        </p:nvSpPr>
        <p:spPr>
          <a:xfrm>
            <a:off x="9368750" y="5084241"/>
            <a:ext cx="25319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500" dirty="0" smtClean="0">
                <a:latin typeface="Open Sans" panose="020B0606030504020204" pitchFamily="34" charset="0"/>
              </a:rPr>
              <a:t>75 </a:t>
            </a:r>
            <a:r>
              <a:rPr lang="en-US" sz="1500" dirty="0" err="1" smtClean="0">
                <a:latin typeface="Open Sans" panose="020B0606030504020204" pitchFamily="34" charset="0"/>
              </a:rPr>
              <a:t>laboratoires</a:t>
            </a:r>
            <a:r>
              <a:rPr lang="en-US" sz="1500" dirty="0" smtClean="0">
                <a:latin typeface="Open Sans" panose="020B0606030504020204" pitchFamily="34" charset="0"/>
              </a:rPr>
              <a:t> </a:t>
            </a:r>
            <a:r>
              <a:rPr lang="en-US" sz="1500" dirty="0" err="1">
                <a:latin typeface="Open Sans" panose="020B0606030504020204" pitchFamily="34" charset="0"/>
              </a:rPr>
              <a:t>pharmaceutiques</a:t>
            </a:r>
            <a:endParaRPr lang="en-US" sz="1500" dirty="0">
              <a:latin typeface="Open Sans" panose="020B0606030504020204" pitchFamily="34" charset="0"/>
            </a:endParaRPr>
          </a:p>
        </p:txBody>
      </p:sp>
      <p:sp>
        <p:nvSpPr>
          <p:cNvPr id="32" name="TextBox 43">
            <a:extLst>
              <a:ext uri="{FF2B5EF4-FFF2-40B4-BE49-F238E27FC236}">
                <a16:creationId xmlns:a16="http://schemas.microsoft.com/office/drawing/2014/main" id="{3F88DD6A-B4F6-45BB-8995-601D34F489AA}"/>
              </a:ext>
            </a:extLst>
          </p:cNvPr>
          <p:cNvSpPr txBox="1"/>
          <p:nvPr/>
        </p:nvSpPr>
        <p:spPr>
          <a:xfrm>
            <a:off x="9469458" y="3715387"/>
            <a:ext cx="198120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en-US" sz="1500" dirty="0">
                <a:latin typeface="Open Sans" panose="020B0606030504020204" pitchFamily="34" charset="0"/>
              </a:rPr>
              <a:t>11 848 </a:t>
            </a:r>
            <a:r>
              <a:rPr lang="en-US" sz="1500" dirty="0" err="1">
                <a:latin typeface="Open Sans" panose="020B0606030504020204" pitchFamily="34" charset="0"/>
              </a:rPr>
              <a:t>pharmaciens</a:t>
            </a:r>
            <a:endParaRPr lang="en-US" sz="1500" dirty="0">
              <a:latin typeface="Open Sans" panose="020B0606030504020204" pitchFamily="34" charset="0"/>
            </a:endParaRPr>
          </a:p>
        </p:txBody>
      </p:sp>
      <p:grpSp>
        <p:nvGrpSpPr>
          <p:cNvPr id="33" name="Group 44">
            <a:extLst>
              <a:ext uri="{FF2B5EF4-FFF2-40B4-BE49-F238E27FC236}">
                <a16:creationId xmlns:a16="http://schemas.microsoft.com/office/drawing/2014/main" id="{2A1408C5-5AD0-4C4D-A355-BFF1B0BC3CC3}"/>
              </a:ext>
            </a:extLst>
          </p:cNvPr>
          <p:cNvGrpSpPr/>
          <p:nvPr/>
        </p:nvGrpSpPr>
        <p:grpSpPr>
          <a:xfrm>
            <a:off x="8621778" y="4596701"/>
            <a:ext cx="637399" cy="1408301"/>
            <a:chOff x="4435636" y="1324066"/>
            <a:chExt cx="2821062" cy="6232990"/>
          </a:xfrm>
          <a:solidFill>
            <a:schemeClr val="tx1"/>
          </a:solidFill>
        </p:grpSpPr>
        <p:sp>
          <p:nvSpPr>
            <p:cNvPr id="34" name="Block Arc 45">
              <a:extLst>
                <a:ext uri="{FF2B5EF4-FFF2-40B4-BE49-F238E27FC236}">
                  <a16:creationId xmlns:a16="http://schemas.microsoft.com/office/drawing/2014/main" id="{928B9FCA-2F83-4CDE-8BDB-6A409EA45AC1}"/>
                </a:ext>
              </a:extLst>
            </p:cNvPr>
            <p:cNvSpPr/>
            <p:nvPr/>
          </p:nvSpPr>
          <p:spPr>
            <a:xfrm rot="10116285">
              <a:off x="4803924" y="2522430"/>
              <a:ext cx="2452774" cy="2510725"/>
            </a:xfrm>
            <a:prstGeom prst="blockArc">
              <a:avLst>
                <a:gd name="adj1" fmla="val 7483090"/>
                <a:gd name="adj2" fmla="val 20677706"/>
                <a:gd name="adj3" fmla="val 16126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5" name="Chord 46">
              <a:extLst>
                <a:ext uri="{FF2B5EF4-FFF2-40B4-BE49-F238E27FC236}">
                  <a16:creationId xmlns:a16="http://schemas.microsoft.com/office/drawing/2014/main" id="{54DC37C0-93A1-4F45-8502-262C8E8FDCB5}"/>
                </a:ext>
              </a:extLst>
            </p:cNvPr>
            <p:cNvSpPr/>
            <p:nvPr/>
          </p:nvSpPr>
          <p:spPr>
            <a:xfrm rot="9890057">
              <a:off x="4607639" y="4718293"/>
              <a:ext cx="2547767" cy="2838763"/>
            </a:xfrm>
            <a:prstGeom prst="chord">
              <a:avLst>
                <a:gd name="adj1" fmla="val 2700000"/>
                <a:gd name="adj2" fmla="val 983243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: Top Corners Rounded 47">
              <a:extLst>
                <a:ext uri="{FF2B5EF4-FFF2-40B4-BE49-F238E27FC236}">
                  <a16:creationId xmlns:a16="http://schemas.microsoft.com/office/drawing/2014/main" id="{57E4AF24-1C6A-47B3-87BC-3C34DBF063B9}"/>
                </a:ext>
              </a:extLst>
            </p:cNvPr>
            <p:cNvSpPr/>
            <p:nvPr/>
          </p:nvSpPr>
          <p:spPr>
            <a:xfrm rot="10800000">
              <a:off x="4719209" y="5470837"/>
              <a:ext cx="2259440" cy="330200"/>
            </a:xfrm>
            <a:prstGeom prst="round2Same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: Rounded Corners 48">
              <a:extLst>
                <a:ext uri="{FF2B5EF4-FFF2-40B4-BE49-F238E27FC236}">
                  <a16:creationId xmlns:a16="http://schemas.microsoft.com/office/drawing/2014/main" id="{8609AFA2-A56B-46BE-8EFC-C7DC9FE0F267}"/>
                </a:ext>
              </a:extLst>
            </p:cNvPr>
            <p:cNvSpPr/>
            <p:nvPr/>
          </p:nvSpPr>
          <p:spPr>
            <a:xfrm rot="18896352">
              <a:off x="5582708" y="2304549"/>
              <a:ext cx="1554418" cy="615500"/>
            </a:xfrm>
            <a:prstGeom prst="roundRect">
              <a:avLst>
                <a:gd name="adj" fmla="val 821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: Rounded Corners 49">
              <a:extLst>
                <a:ext uri="{FF2B5EF4-FFF2-40B4-BE49-F238E27FC236}">
                  <a16:creationId xmlns:a16="http://schemas.microsoft.com/office/drawing/2014/main" id="{DF1241E8-4667-4198-8737-43AA38A96A77}"/>
                </a:ext>
              </a:extLst>
            </p:cNvPr>
            <p:cNvSpPr/>
            <p:nvPr/>
          </p:nvSpPr>
          <p:spPr>
            <a:xfrm rot="18896352">
              <a:off x="5306572" y="2707969"/>
              <a:ext cx="1554418" cy="437614"/>
            </a:xfrm>
            <a:prstGeom prst="roundRect">
              <a:avLst>
                <a:gd name="adj" fmla="val 821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: Rounded Corners 50">
              <a:extLst>
                <a:ext uri="{FF2B5EF4-FFF2-40B4-BE49-F238E27FC236}">
                  <a16:creationId xmlns:a16="http://schemas.microsoft.com/office/drawing/2014/main" id="{8D4031EF-C982-4552-95F4-2DDB2290BB2B}"/>
                </a:ext>
              </a:extLst>
            </p:cNvPr>
            <p:cNvSpPr/>
            <p:nvPr/>
          </p:nvSpPr>
          <p:spPr>
            <a:xfrm rot="18896352">
              <a:off x="6050302" y="1882468"/>
              <a:ext cx="1554418" cy="437614"/>
            </a:xfrm>
            <a:prstGeom prst="roundRect">
              <a:avLst>
                <a:gd name="adj" fmla="val 821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: Rounded Corners 51">
              <a:extLst>
                <a:ext uri="{FF2B5EF4-FFF2-40B4-BE49-F238E27FC236}">
                  <a16:creationId xmlns:a16="http://schemas.microsoft.com/office/drawing/2014/main" id="{813E3FA8-A36F-44A0-9107-1CC81811A1B6}"/>
                </a:ext>
              </a:extLst>
            </p:cNvPr>
            <p:cNvSpPr/>
            <p:nvPr/>
          </p:nvSpPr>
          <p:spPr>
            <a:xfrm>
              <a:off x="4435636" y="4124433"/>
              <a:ext cx="1452170" cy="290935"/>
            </a:xfrm>
            <a:prstGeom prst="roundRect">
              <a:avLst>
                <a:gd name="adj" fmla="val 821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8" name="Group 70">
            <a:extLst>
              <a:ext uri="{FF2B5EF4-FFF2-40B4-BE49-F238E27FC236}">
                <a16:creationId xmlns:a16="http://schemas.microsoft.com/office/drawing/2014/main" id="{C0538EDD-5A2A-46D1-AA3D-0FA9358E0218}"/>
              </a:ext>
            </a:extLst>
          </p:cNvPr>
          <p:cNvGrpSpPr/>
          <p:nvPr/>
        </p:nvGrpSpPr>
        <p:grpSpPr>
          <a:xfrm>
            <a:off x="8539043" y="1736836"/>
            <a:ext cx="816192" cy="923992"/>
            <a:chOff x="4226983" y="1496113"/>
            <a:chExt cx="3738033" cy="4231746"/>
          </a:xfrm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CF96CC5E-D97E-477D-A0E9-E0B47A83F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6983" y="1496113"/>
              <a:ext cx="3738033" cy="4231746"/>
            </a:xfrm>
            <a:custGeom>
              <a:avLst/>
              <a:gdLst>
                <a:gd name="T0" fmla="*/ 2834 w 4297"/>
                <a:gd name="T1" fmla="*/ 2902 h 5156"/>
                <a:gd name="T2" fmla="*/ 2717 w 4297"/>
                <a:gd name="T3" fmla="*/ 3318 h 5156"/>
                <a:gd name="T4" fmla="*/ 2541 w 4297"/>
                <a:gd name="T5" fmla="*/ 3918 h 5156"/>
                <a:gd name="T6" fmla="*/ 2463 w 4297"/>
                <a:gd name="T7" fmla="*/ 4084 h 5156"/>
                <a:gd name="T8" fmla="*/ 2371 w 4297"/>
                <a:gd name="T9" fmla="*/ 3601 h 5156"/>
                <a:gd name="T10" fmla="*/ 2268 w 4297"/>
                <a:gd name="T11" fmla="*/ 3275 h 5156"/>
                <a:gd name="T12" fmla="*/ 2368 w 4297"/>
                <a:gd name="T13" fmla="*/ 3096 h 5156"/>
                <a:gd name="T14" fmla="*/ 2740 w 4297"/>
                <a:gd name="T15" fmla="*/ 2525 h 5156"/>
                <a:gd name="T16" fmla="*/ 2706 w 4297"/>
                <a:gd name="T17" fmla="*/ 2287 h 5156"/>
                <a:gd name="T18" fmla="*/ 2803 w 4297"/>
                <a:gd name="T19" fmla="*/ 2033 h 5156"/>
                <a:gd name="T20" fmla="*/ 2858 w 4297"/>
                <a:gd name="T21" fmla="*/ 1838 h 5156"/>
                <a:gd name="T22" fmla="*/ 2938 w 4297"/>
                <a:gd name="T23" fmla="*/ 1775 h 5156"/>
                <a:gd name="T24" fmla="*/ 3039 w 4297"/>
                <a:gd name="T25" fmla="*/ 1393 h 5156"/>
                <a:gd name="T26" fmla="*/ 3003 w 4297"/>
                <a:gd name="T27" fmla="*/ 1286 h 5156"/>
                <a:gd name="T28" fmla="*/ 3016 w 4297"/>
                <a:gd name="T29" fmla="*/ 1057 h 5156"/>
                <a:gd name="T30" fmla="*/ 2993 w 4297"/>
                <a:gd name="T31" fmla="*/ 597 h 5156"/>
                <a:gd name="T32" fmla="*/ 2837 w 4297"/>
                <a:gd name="T33" fmla="*/ 398 h 5156"/>
                <a:gd name="T34" fmla="*/ 2735 w 4297"/>
                <a:gd name="T35" fmla="*/ 234 h 5156"/>
                <a:gd name="T36" fmla="*/ 2073 w 4297"/>
                <a:gd name="T37" fmla="*/ 25 h 5156"/>
                <a:gd name="T38" fmla="*/ 1323 w 4297"/>
                <a:gd name="T39" fmla="*/ 588 h 5156"/>
                <a:gd name="T40" fmla="*/ 1308 w 4297"/>
                <a:gd name="T41" fmla="*/ 1140 h 5156"/>
                <a:gd name="T42" fmla="*/ 1322 w 4297"/>
                <a:gd name="T43" fmla="*/ 1279 h 5156"/>
                <a:gd name="T44" fmla="*/ 1285 w 4297"/>
                <a:gd name="T45" fmla="*/ 1517 h 5156"/>
                <a:gd name="T46" fmla="*/ 1404 w 4297"/>
                <a:gd name="T47" fmla="*/ 1803 h 5156"/>
                <a:gd name="T48" fmla="*/ 1455 w 4297"/>
                <a:gd name="T49" fmla="*/ 1835 h 5156"/>
                <a:gd name="T50" fmla="*/ 1593 w 4297"/>
                <a:gd name="T51" fmla="*/ 2234 h 5156"/>
                <a:gd name="T52" fmla="*/ 1573 w 4297"/>
                <a:gd name="T53" fmla="*/ 2473 h 5156"/>
                <a:gd name="T54" fmla="*/ 1575 w 4297"/>
                <a:gd name="T55" fmla="*/ 2525 h 5156"/>
                <a:gd name="T56" fmla="*/ 1982 w 4297"/>
                <a:gd name="T57" fmla="*/ 3043 h 5156"/>
                <a:gd name="T58" fmla="*/ 1949 w 4297"/>
                <a:gd name="T59" fmla="*/ 3129 h 5156"/>
                <a:gd name="T60" fmla="*/ 2057 w 4297"/>
                <a:gd name="T61" fmla="*/ 3325 h 5156"/>
                <a:gd name="T62" fmla="*/ 1925 w 4297"/>
                <a:gd name="T63" fmla="*/ 3672 h 5156"/>
                <a:gd name="T64" fmla="*/ 1843 w 4297"/>
                <a:gd name="T65" fmla="*/ 4241 h 5156"/>
                <a:gd name="T66" fmla="*/ 1682 w 4297"/>
                <a:gd name="T67" fmla="*/ 3601 h 5156"/>
                <a:gd name="T68" fmla="*/ 1534 w 4297"/>
                <a:gd name="T69" fmla="*/ 3101 h 5156"/>
                <a:gd name="T70" fmla="*/ 1467 w 4297"/>
                <a:gd name="T71" fmla="*/ 2806 h 5156"/>
                <a:gd name="T72" fmla="*/ 1321 w 4297"/>
                <a:gd name="T73" fmla="*/ 2617 h 5156"/>
                <a:gd name="T74" fmla="*/ 826 w 4297"/>
                <a:gd name="T75" fmla="*/ 2826 h 5156"/>
                <a:gd name="T76" fmla="*/ 351 w 4297"/>
                <a:gd name="T77" fmla="*/ 3100 h 5156"/>
                <a:gd name="T78" fmla="*/ 122 w 4297"/>
                <a:gd name="T79" fmla="*/ 3586 h 5156"/>
                <a:gd name="T80" fmla="*/ 7 w 4297"/>
                <a:gd name="T81" fmla="*/ 4665 h 5156"/>
                <a:gd name="T82" fmla="*/ 308 w 4297"/>
                <a:gd name="T83" fmla="*/ 4919 h 5156"/>
                <a:gd name="T84" fmla="*/ 725 w 4297"/>
                <a:gd name="T85" fmla="*/ 5032 h 5156"/>
                <a:gd name="T86" fmla="*/ 1084 w 4297"/>
                <a:gd name="T87" fmla="*/ 5089 h 5156"/>
                <a:gd name="T88" fmla="*/ 1542 w 4297"/>
                <a:gd name="T89" fmla="*/ 5133 h 5156"/>
                <a:gd name="T90" fmla="*/ 2764 w 4297"/>
                <a:gd name="T91" fmla="*/ 5133 h 5156"/>
                <a:gd name="T92" fmla="*/ 3324 w 4297"/>
                <a:gd name="T93" fmla="*/ 5077 h 5156"/>
                <a:gd name="T94" fmla="*/ 3597 w 4297"/>
                <a:gd name="T95" fmla="*/ 5032 h 5156"/>
                <a:gd name="T96" fmla="*/ 3978 w 4297"/>
                <a:gd name="T97" fmla="*/ 4929 h 5156"/>
                <a:gd name="T98" fmla="*/ 4227 w 4297"/>
                <a:gd name="T99" fmla="*/ 3743 h 5156"/>
                <a:gd name="T100" fmla="*/ 4160 w 4297"/>
                <a:gd name="T101" fmla="*/ 3440 h 5156"/>
                <a:gd name="T102" fmla="*/ 3827 w 4297"/>
                <a:gd name="T103" fmla="*/ 2984 h 5156"/>
                <a:gd name="T104" fmla="*/ 3439 w 4297"/>
                <a:gd name="T105" fmla="*/ 2805 h 5156"/>
                <a:gd name="T106" fmla="*/ 2922 w 4297"/>
                <a:gd name="T107" fmla="*/ 2588 h 5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97" h="5156">
                  <a:moveTo>
                    <a:pt x="2747" y="2504"/>
                  </a:moveTo>
                  <a:cubicBezTo>
                    <a:pt x="2758" y="2540"/>
                    <a:pt x="2846" y="2808"/>
                    <a:pt x="2834" y="2902"/>
                  </a:cubicBezTo>
                  <a:cubicBezTo>
                    <a:pt x="2829" y="2947"/>
                    <a:pt x="2813" y="2992"/>
                    <a:pt x="2801" y="3036"/>
                  </a:cubicBezTo>
                  <a:cubicBezTo>
                    <a:pt x="2773" y="3130"/>
                    <a:pt x="2745" y="3224"/>
                    <a:pt x="2717" y="3318"/>
                  </a:cubicBezTo>
                  <a:cubicBezTo>
                    <a:pt x="2686" y="3422"/>
                    <a:pt x="2656" y="3525"/>
                    <a:pt x="2626" y="3628"/>
                  </a:cubicBezTo>
                  <a:cubicBezTo>
                    <a:pt x="2598" y="3724"/>
                    <a:pt x="2569" y="3821"/>
                    <a:pt x="2541" y="3918"/>
                  </a:cubicBezTo>
                  <a:cubicBezTo>
                    <a:pt x="2524" y="3975"/>
                    <a:pt x="2480" y="4221"/>
                    <a:pt x="2471" y="4239"/>
                  </a:cubicBezTo>
                  <a:cubicBezTo>
                    <a:pt x="2469" y="4219"/>
                    <a:pt x="2466" y="4103"/>
                    <a:pt x="2463" y="4084"/>
                  </a:cubicBezTo>
                  <a:cubicBezTo>
                    <a:pt x="2453" y="4011"/>
                    <a:pt x="2444" y="3939"/>
                    <a:pt x="2430" y="3867"/>
                  </a:cubicBezTo>
                  <a:cubicBezTo>
                    <a:pt x="2413" y="3778"/>
                    <a:pt x="2394" y="3689"/>
                    <a:pt x="2371" y="3601"/>
                  </a:cubicBezTo>
                  <a:cubicBezTo>
                    <a:pt x="2347" y="3512"/>
                    <a:pt x="2323" y="3423"/>
                    <a:pt x="2270" y="3346"/>
                  </a:cubicBezTo>
                  <a:cubicBezTo>
                    <a:pt x="2250" y="3319"/>
                    <a:pt x="2256" y="3300"/>
                    <a:pt x="2268" y="3275"/>
                  </a:cubicBezTo>
                  <a:cubicBezTo>
                    <a:pt x="2293" y="3222"/>
                    <a:pt x="2325" y="3174"/>
                    <a:pt x="2364" y="3131"/>
                  </a:cubicBezTo>
                  <a:cubicBezTo>
                    <a:pt x="2376" y="3118"/>
                    <a:pt x="2375" y="3109"/>
                    <a:pt x="2368" y="3096"/>
                  </a:cubicBezTo>
                  <a:cubicBezTo>
                    <a:pt x="2331" y="3032"/>
                    <a:pt x="2265" y="2958"/>
                    <a:pt x="2158" y="2930"/>
                  </a:cubicBezTo>
                  <a:cubicBezTo>
                    <a:pt x="2189" y="2908"/>
                    <a:pt x="2564" y="2772"/>
                    <a:pt x="2740" y="2525"/>
                  </a:cubicBezTo>
                  <a:cubicBezTo>
                    <a:pt x="2744" y="2519"/>
                    <a:pt x="2748" y="2510"/>
                    <a:pt x="2746" y="2503"/>
                  </a:cubicBezTo>
                  <a:cubicBezTo>
                    <a:pt x="2733" y="2431"/>
                    <a:pt x="2719" y="2359"/>
                    <a:pt x="2706" y="2287"/>
                  </a:cubicBezTo>
                  <a:cubicBezTo>
                    <a:pt x="2704" y="2279"/>
                    <a:pt x="2706" y="2269"/>
                    <a:pt x="2710" y="2261"/>
                  </a:cubicBezTo>
                  <a:cubicBezTo>
                    <a:pt x="2749" y="2188"/>
                    <a:pt x="2778" y="2112"/>
                    <a:pt x="2803" y="2033"/>
                  </a:cubicBezTo>
                  <a:cubicBezTo>
                    <a:pt x="2821" y="1974"/>
                    <a:pt x="2837" y="1914"/>
                    <a:pt x="2855" y="1855"/>
                  </a:cubicBezTo>
                  <a:cubicBezTo>
                    <a:pt x="2856" y="1849"/>
                    <a:pt x="2858" y="1844"/>
                    <a:pt x="2858" y="1838"/>
                  </a:cubicBezTo>
                  <a:cubicBezTo>
                    <a:pt x="2860" y="1826"/>
                    <a:pt x="2863" y="1820"/>
                    <a:pt x="2878" y="1819"/>
                  </a:cubicBezTo>
                  <a:cubicBezTo>
                    <a:pt x="2906" y="1816"/>
                    <a:pt x="2923" y="1795"/>
                    <a:pt x="2938" y="1775"/>
                  </a:cubicBezTo>
                  <a:cubicBezTo>
                    <a:pt x="2979" y="1720"/>
                    <a:pt x="3001" y="1657"/>
                    <a:pt x="3018" y="1591"/>
                  </a:cubicBezTo>
                  <a:cubicBezTo>
                    <a:pt x="3035" y="1526"/>
                    <a:pt x="3044" y="1460"/>
                    <a:pt x="3039" y="1393"/>
                  </a:cubicBezTo>
                  <a:cubicBezTo>
                    <a:pt x="3036" y="1364"/>
                    <a:pt x="3030" y="1335"/>
                    <a:pt x="3018" y="1306"/>
                  </a:cubicBezTo>
                  <a:cubicBezTo>
                    <a:pt x="3015" y="1299"/>
                    <a:pt x="3010" y="1289"/>
                    <a:pt x="3003" y="1286"/>
                  </a:cubicBezTo>
                  <a:cubicBezTo>
                    <a:pt x="2986" y="1278"/>
                    <a:pt x="2990" y="1267"/>
                    <a:pt x="2991" y="1253"/>
                  </a:cubicBezTo>
                  <a:cubicBezTo>
                    <a:pt x="3001" y="1188"/>
                    <a:pt x="3011" y="1123"/>
                    <a:pt x="3016" y="1057"/>
                  </a:cubicBezTo>
                  <a:cubicBezTo>
                    <a:pt x="3023" y="979"/>
                    <a:pt x="3026" y="901"/>
                    <a:pt x="3028" y="822"/>
                  </a:cubicBezTo>
                  <a:cubicBezTo>
                    <a:pt x="3029" y="745"/>
                    <a:pt x="3020" y="669"/>
                    <a:pt x="2993" y="597"/>
                  </a:cubicBezTo>
                  <a:cubicBezTo>
                    <a:pt x="2968" y="528"/>
                    <a:pt x="2933" y="463"/>
                    <a:pt x="2873" y="417"/>
                  </a:cubicBezTo>
                  <a:cubicBezTo>
                    <a:pt x="2863" y="409"/>
                    <a:pt x="2849" y="405"/>
                    <a:pt x="2837" y="398"/>
                  </a:cubicBezTo>
                  <a:cubicBezTo>
                    <a:pt x="2830" y="393"/>
                    <a:pt x="2822" y="387"/>
                    <a:pt x="2819" y="379"/>
                  </a:cubicBezTo>
                  <a:cubicBezTo>
                    <a:pt x="2796" y="328"/>
                    <a:pt x="2769" y="279"/>
                    <a:pt x="2735" y="234"/>
                  </a:cubicBezTo>
                  <a:cubicBezTo>
                    <a:pt x="2666" y="146"/>
                    <a:pt x="2579" y="84"/>
                    <a:pt x="2473" y="48"/>
                  </a:cubicBezTo>
                  <a:cubicBezTo>
                    <a:pt x="2342" y="2"/>
                    <a:pt x="2208" y="0"/>
                    <a:pt x="2073" y="25"/>
                  </a:cubicBezTo>
                  <a:cubicBezTo>
                    <a:pt x="1846" y="67"/>
                    <a:pt x="1651" y="168"/>
                    <a:pt x="1489" y="331"/>
                  </a:cubicBezTo>
                  <a:cubicBezTo>
                    <a:pt x="1416" y="405"/>
                    <a:pt x="1359" y="490"/>
                    <a:pt x="1323" y="588"/>
                  </a:cubicBezTo>
                  <a:cubicBezTo>
                    <a:pt x="1300" y="653"/>
                    <a:pt x="1290" y="720"/>
                    <a:pt x="1287" y="787"/>
                  </a:cubicBezTo>
                  <a:cubicBezTo>
                    <a:pt x="1283" y="906"/>
                    <a:pt x="1290" y="1023"/>
                    <a:pt x="1308" y="1140"/>
                  </a:cubicBezTo>
                  <a:cubicBezTo>
                    <a:pt x="1314" y="1181"/>
                    <a:pt x="1320" y="1222"/>
                    <a:pt x="1325" y="1263"/>
                  </a:cubicBezTo>
                  <a:cubicBezTo>
                    <a:pt x="1326" y="1268"/>
                    <a:pt x="1325" y="1277"/>
                    <a:pt x="1322" y="1279"/>
                  </a:cubicBezTo>
                  <a:cubicBezTo>
                    <a:pt x="1285" y="1302"/>
                    <a:pt x="1280" y="1341"/>
                    <a:pt x="1277" y="1377"/>
                  </a:cubicBezTo>
                  <a:cubicBezTo>
                    <a:pt x="1273" y="1424"/>
                    <a:pt x="1277" y="1469"/>
                    <a:pt x="1285" y="1517"/>
                  </a:cubicBezTo>
                  <a:cubicBezTo>
                    <a:pt x="1293" y="1565"/>
                    <a:pt x="1298" y="1597"/>
                    <a:pt x="1310" y="1636"/>
                  </a:cubicBezTo>
                  <a:cubicBezTo>
                    <a:pt x="1329" y="1698"/>
                    <a:pt x="1353" y="1759"/>
                    <a:pt x="1404" y="1803"/>
                  </a:cubicBezTo>
                  <a:cubicBezTo>
                    <a:pt x="1414" y="1811"/>
                    <a:pt x="1429" y="1813"/>
                    <a:pt x="1440" y="1820"/>
                  </a:cubicBezTo>
                  <a:cubicBezTo>
                    <a:pt x="1446" y="1823"/>
                    <a:pt x="1454" y="1829"/>
                    <a:pt x="1455" y="1835"/>
                  </a:cubicBezTo>
                  <a:cubicBezTo>
                    <a:pt x="1473" y="1896"/>
                    <a:pt x="1487" y="1959"/>
                    <a:pt x="1508" y="2020"/>
                  </a:cubicBezTo>
                  <a:cubicBezTo>
                    <a:pt x="1533" y="2093"/>
                    <a:pt x="1560" y="2165"/>
                    <a:pt x="1593" y="2234"/>
                  </a:cubicBezTo>
                  <a:cubicBezTo>
                    <a:pt x="1608" y="2266"/>
                    <a:pt x="1610" y="2294"/>
                    <a:pt x="1603" y="2326"/>
                  </a:cubicBezTo>
                  <a:cubicBezTo>
                    <a:pt x="1592" y="2375"/>
                    <a:pt x="1582" y="2424"/>
                    <a:pt x="1573" y="2473"/>
                  </a:cubicBezTo>
                  <a:cubicBezTo>
                    <a:pt x="1570" y="2485"/>
                    <a:pt x="1567" y="2496"/>
                    <a:pt x="1567" y="2508"/>
                  </a:cubicBezTo>
                  <a:cubicBezTo>
                    <a:pt x="1566" y="2514"/>
                    <a:pt x="1571" y="2521"/>
                    <a:pt x="1575" y="2525"/>
                  </a:cubicBezTo>
                  <a:cubicBezTo>
                    <a:pt x="1789" y="2786"/>
                    <a:pt x="2084" y="2877"/>
                    <a:pt x="2158" y="2930"/>
                  </a:cubicBezTo>
                  <a:cubicBezTo>
                    <a:pt x="2099" y="2945"/>
                    <a:pt x="2015" y="3003"/>
                    <a:pt x="1982" y="3043"/>
                  </a:cubicBezTo>
                  <a:cubicBezTo>
                    <a:pt x="1967" y="3060"/>
                    <a:pt x="1957" y="3081"/>
                    <a:pt x="1946" y="3100"/>
                  </a:cubicBezTo>
                  <a:cubicBezTo>
                    <a:pt x="1939" y="3110"/>
                    <a:pt x="1939" y="3119"/>
                    <a:pt x="1949" y="3129"/>
                  </a:cubicBezTo>
                  <a:cubicBezTo>
                    <a:pt x="1997" y="3181"/>
                    <a:pt x="2034" y="3240"/>
                    <a:pt x="2060" y="3306"/>
                  </a:cubicBezTo>
                  <a:cubicBezTo>
                    <a:pt x="2062" y="3311"/>
                    <a:pt x="2061" y="3321"/>
                    <a:pt x="2057" y="3325"/>
                  </a:cubicBezTo>
                  <a:cubicBezTo>
                    <a:pt x="2012" y="3387"/>
                    <a:pt x="1988" y="3458"/>
                    <a:pt x="1965" y="3529"/>
                  </a:cubicBezTo>
                  <a:cubicBezTo>
                    <a:pt x="1951" y="3576"/>
                    <a:pt x="1937" y="3624"/>
                    <a:pt x="1925" y="3672"/>
                  </a:cubicBezTo>
                  <a:cubicBezTo>
                    <a:pt x="1909" y="3742"/>
                    <a:pt x="1893" y="3812"/>
                    <a:pt x="1881" y="3883"/>
                  </a:cubicBezTo>
                  <a:cubicBezTo>
                    <a:pt x="1867" y="3967"/>
                    <a:pt x="1845" y="4234"/>
                    <a:pt x="1843" y="4241"/>
                  </a:cubicBezTo>
                  <a:cubicBezTo>
                    <a:pt x="1834" y="4213"/>
                    <a:pt x="1786" y="3957"/>
                    <a:pt x="1769" y="3900"/>
                  </a:cubicBezTo>
                  <a:cubicBezTo>
                    <a:pt x="1740" y="3800"/>
                    <a:pt x="1711" y="3700"/>
                    <a:pt x="1682" y="3601"/>
                  </a:cubicBezTo>
                  <a:cubicBezTo>
                    <a:pt x="1662" y="3535"/>
                    <a:pt x="1642" y="3469"/>
                    <a:pt x="1623" y="3403"/>
                  </a:cubicBezTo>
                  <a:cubicBezTo>
                    <a:pt x="1593" y="3302"/>
                    <a:pt x="1564" y="3202"/>
                    <a:pt x="1534" y="3101"/>
                  </a:cubicBezTo>
                  <a:cubicBezTo>
                    <a:pt x="1522" y="3059"/>
                    <a:pt x="1510" y="3018"/>
                    <a:pt x="1497" y="2977"/>
                  </a:cubicBezTo>
                  <a:cubicBezTo>
                    <a:pt x="1480" y="2921"/>
                    <a:pt x="1472" y="2864"/>
                    <a:pt x="1467" y="2806"/>
                  </a:cubicBezTo>
                  <a:cubicBezTo>
                    <a:pt x="1462" y="2735"/>
                    <a:pt x="1569" y="2526"/>
                    <a:pt x="1568" y="2514"/>
                  </a:cubicBezTo>
                  <a:cubicBezTo>
                    <a:pt x="1523" y="2533"/>
                    <a:pt x="1364" y="2600"/>
                    <a:pt x="1321" y="2617"/>
                  </a:cubicBezTo>
                  <a:cubicBezTo>
                    <a:pt x="1259" y="2643"/>
                    <a:pt x="1196" y="2668"/>
                    <a:pt x="1134" y="2695"/>
                  </a:cubicBezTo>
                  <a:cubicBezTo>
                    <a:pt x="1031" y="2738"/>
                    <a:pt x="929" y="2783"/>
                    <a:pt x="826" y="2826"/>
                  </a:cubicBezTo>
                  <a:cubicBezTo>
                    <a:pt x="749" y="2859"/>
                    <a:pt x="672" y="2891"/>
                    <a:pt x="595" y="2925"/>
                  </a:cubicBezTo>
                  <a:cubicBezTo>
                    <a:pt x="502" y="2966"/>
                    <a:pt x="422" y="3026"/>
                    <a:pt x="351" y="3100"/>
                  </a:cubicBezTo>
                  <a:cubicBezTo>
                    <a:pt x="271" y="3185"/>
                    <a:pt x="208" y="3280"/>
                    <a:pt x="170" y="3390"/>
                  </a:cubicBezTo>
                  <a:cubicBezTo>
                    <a:pt x="148" y="3453"/>
                    <a:pt x="137" y="3521"/>
                    <a:pt x="122" y="3586"/>
                  </a:cubicBezTo>
                  <a:cubicBezTo>
                    <a:pt x="111" y="3633"/>
                    <a:pt x="102" y="3681"/>
                    <a:pt x="92" y="3728"/>
                  </a:cubicBezTo>
                  <a:cubicBezTo>
                    <a:pt x="29" y="4017"/>
                    <a:pt x="0" y="4609"/>
                    <a:pt x="7" y="4665"/>
                  </a:cubicBezTo>
                  <a:cubicBezTo>
                    <a:pt x="14" y="4719"/>
                    <a:pt x="42" y="4760"/>
                    <a:pt x="82" y="4795"/>
                  </a:cubicBezTo>
                  <a:cubicBezTo>
                    <a:pt x="148" y="4852"/>
                    <a:pt x="227" y="4889"/>
                    <a:pt x="308" y="4919"/>
                  </a:cubicBezTo>
                  <a:cubicBezTo>
                    <a:pt x="374" y="4943"/>
                    <a:pt x="440" y="4965"/>
                    <a:pt x="508" y="4983"/>
                  </a:cubicBezTo>
                  <a:cubicBezTo>
                    <a:pt x="579" y="5002"/>
                    <a:pt x="653" y="5017"/>
                    <a:pt x="725" y="5032"/>
                  </a:cubicBezTo>
                  <a:cubicBezTo>
                    <a:pt x="770" y="5042"/>
                    <a:pt x="814" y="5050"/>
                    <a:pt x="859" y="5057"/>
                  </a:cubicBezTo>
                  <a:cubicBezTo>
                    <a:pt x="934" y="5069"/>
                    <a:pt x="1009" y="5080"/>
                    <a:pt x="1084" y="5089"/>
                  </a:cubicBezTo>
                  <a:cubicBezTo>
                    <a:pt x="1181" y="5100"/>
                    <a:pt x="1279" y="5110"/>
                    <a:pt x="1376" y="5120"/>
                  </a:cubicBezTo>
                  <a:cubicBezTo>
                    <a:pt x="1431" y="5125"/>
                    <a:pt x="1486" y="5130"/>
                    <a:pt x="1542" y="5133"/>
                  </a:cubicBezTo>
                  <a:cubicBezTo>
                    <a:pt x="1815" y="5148"/>
                    <a:pt x="2089" y="5156"/>
                    <a:pt x="2363" y="5148"/>
                  </a:cubicBezTo>
                  <a:cubicBezTo>
                    <a:pt x="2497" y="5145"/>
                    <a:pt x="2630" y="5141"/>
                    <a:pt x="2764" y="5133"/>
                  </a:cubicBezTo>
                  <a:cubicBezTo>
                    <a:pt x="2883" y="5125"/>
                    <a:pt x="3002" y="5113"/>
                    <a:pt x="3120" y="5101"/>
                  </a:cubicBezTo>
                  <a:cubicBezTo>
                    <a:pt x="3188" y="5095"/>
                    <a:pt x="3256" y="5087"/>
                    <a:pt x="3324" y="5077"/>
                  </a:cubicBezTo>
                  <a:cubicBezTo>
                    <a:pt x="3367" y="5071"/>
                    <a:pt x="3410" y="5062"/>
                    <a:pt x="3454" y="5054"/>
                  </a:cubicBezTo>
                  <a:cubicBezTo>
                    <a:pt x="3501" y="5046"/>
                    <a:pt x="3549" y="5040"/>
                    <a:pt x="3597" y="5032"/>
                  </a:cubicBezTo>
                  <a:cubicBezTo>
                    <a:pt x="3643" y="5023"/>
                    <a:pt x="3689" y="5014"/>
                    <a:pt x="3734" y="5001"/>
                  </a:cubicBezTo>
                  <a:cubicBezTo>
                    <a:pt x="3816" y="4979"/>
                    <a:pt x="3898" y="4957"/>
                    <a:pt x="3978" y="4929"/>
                  </a:cubicBezTo>
                  <a:cubicBezTo>
                    <a:pt x="4075" y="4896"/>
                    <a:pt x="4169" y="4855"/>
                    <a:pt x="4245" y="4783"/>
                  </a:cubicBezTo>
                  <a:cubicBezTo>
                    <a:pt x="4297" y="4734"/>
                    <a:pt x="4266" y="3926"/>
                    <a:pt x="4227" y="3743"/>
                  </a:cubicBezTo>
                  <a:cubicBezTo>
                    <a:pt x="4217" y="3698"/>
                    <a:pt x="4208" y="3653"/>
                    <a:pt x="4198" y="3609"/>
                  </a:cubicBezTo>
                  <a:cubicBezTo>
                    <a:pt x="4186" y="3552"/>
                    <a:pt x="4173" y="3496"/>
                    <a:pt x="4160" y="3440"/>
                  </a:cubicBezTo>
                  <a:cubicBezTo>
                    <a:pt x="4146" y="3379"/>
                    <a:pt x="4120" y="3322"/>
                    <a:pt x="4088" y="3268"/>
                  </a:cubicBezTo>
                  <a:cubicBezTo>
                    <a:pt x="4023" y="3154"/>
                    <a:pt x="3936" y="3059"/>
                    <a:pt x="3827" y="2984"/>
                  </a:cubicBezTo>
                  <a:cubicBezTo>
                    <a:pt x="3767" y="2943"/>
                    <a:pt x="3700" y="2917"/>
                    <a:pt x="3634" y="2888"/>
                  </a:cubicBezTo>
                  <a:cubicBezTo>
                    <a:pt x="3569" y="2860"/>
                    <a:pt x="3504" y="2832"/>
                    <a:pt x="3439" y="2805"/>
                  </a:cubicBezTo>
                  <a:cubicBezTo>
                    <a:pt x="3332" y="2760"/>
                    <a:pt x="3225" y="2716"/>
                    <a:pt x="3118" y="2671"/>
                  </a:cubicBezTo>
                  <a:cubicBezTo>
                    <a:pt x="3053" y="2644"/>
                    <a:pt x="2987" y="2616"/>
                    <a:pt x="2922" y="2588"/>
                  </a:cubicBezTo>
                  <a:cubicBezTo>
                    <a:pt x="2904" y="2580"/>
                    <a:pt x="2772" y="2516"/>
                    <a:pt x="2747" y="250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60" name="Group 72">
              <a:extLst>
                <a:ext uri="{FF2B5EF4-FFF2-40B4-BE49-F238E27FC236}">
                  <a16:creationId xmlns:a16="http://schemas.microsoft.com/office/drawing/2014/main" id="{E55D185E-215E-4864-AB6D-FD55F246F353}"/>
                </a:ext>
              </a:extLst>
            </p:cNvPr>
            <p:cNvGrpSpPr/>
            <p:nvPr/>
          </p:nvGrpSpPr>
          <p:grpSpPr>
            <a:xfrm>
              <a:off x="6696692" y="4329460"/>
              <a:ext cx="889206" cy="889207"/>
              <a:chOff x="6810213" y="1414243"/>
              <a:chExt cx="692340" cy="692342"/>
            </a:xfrm>
            <a:solidFill>
              <a:srgbClr val="FF0000"/>
            </a:solidFill>
          </p:grpSpPr>
          <p:sp>
            <p:nvSpPr>
              <p:cNvPr id="61" name="Rectangle: Rounded Corners 73">
                <a:extLst>
                  <a:ext uri="{FF2B5EF4-FFF2-40B4-BE49-F238E27FC236}">
                    <a16:creationId xmlns:a16="http://schemas.microsoft.com/office/drawing/2014/main" id="{400A733A-E0D5-4B38-B3F2-B1B2825E2743}"/>
                  </a:ext>
                </a:extLst>
              </p:cNvPr>
              <p:cNvSpPr/>
              <p:nvPr/>
            </p:nvSpPr>
            <p:spPr>
              <a:xfrm>
                <a:off x="7051989" y="1414243"/>
                <a:ext cx="208788" cy="692342"/>
              </a:xfrm>
              <a:prstGeom prst="roundRect">
                <a:avLst>
                  <a:gd name="adj" fmla="val 1420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Rectangle: Rounded Corners 74">
                <a:extLst>
                  <a:ext uri="{FF2B5EF4-FFF2-40B4-BE49-F238E27FC236}">
                    <a16:creationId xmlns:a16="http://schemas.microsoft.com/office/drawing/2014/main" id="{ECEA12F7-C3B1-446F-9089-3C6683F46CB9}"/>
                  </a:ext>
                </a:extLst>
              </p:cNvPr>
              <p:cNvSpPr/>
              <p:nvPr/>
            </p:nvSpPr>
            <p:spPr>
              <a:xfrm rot="5400000">
                <a:off x="7051989" y="1414245"/>
                <a:ext cx="208787" cy="692340"/>
              </a:xfrm>
              <a:prstGeom prst="roundRect">
                <a:avLst>
                  <a:gd name="adj" fmla="val 1420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63" name="Group 75">
            <a:extLst>
              <a:ext uri="{FF2B5EF4-FFF2-40B4-BE49-F238E27FC236}">
                <a16:creationId xmlns:a16="http://schemas.microsoft.com/office/drawing/2014/main" id="{E3E98119-AF88-4896-9356-CC69D588BDA3}"/>
              </a:ext>
            </a:extLst>
          </p:cNvPr>
          <p:cNvGrpSpPr/>
          <p:nvPr/>
        </p:nvGrpSpPr>
        <p:grpSpPr>
          <a:xfrm rot="18146296">
            <a:off x="477465" y="5019127"/>
            <a:ext cx="969430" cy="377414"/>
            <a:chOff x="3263666" y="1453816"/>
            <a:chExt cx="2213109" cy="861597"/>
          </a:xfrm>
        </p:grpSpPr>
        <p:sp>
          <p:nvSpPr>
            <p:cNvPr id="64" name="Rectangle: Rounded Corners 76">
              <a:extLst>
                <a:ext uri="{FF2B5EF4-FFF2-40B4-BE49-F238E27FC236}">
                  <a16:creationId xmlns:a16="http://schemas.microsoft.com/office/drawing/2014/main" id="{1A764349-4BF4-482C-87B6-DE313EC2DFCA}"/>
                </a:ext>
              </a:extLst>
            </p:cNvPr>
            <p:cNvSpPr/>
            <p:nvPr/>
          </p:nvSpPr>
          <p:spPr>
            <a:xfrm rot="16200000">
              <a:off x="3939422" y="778060"/>
              <a:ext cx="861597" cy="2213109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5" name="Rectangle: Rounded Corners 77">
              <a:extLst>
                <a:ext uri="{FF2B5EF4-FFF2-40B4-BE49-F238E27FC236}">
                  <a16:creationId xmlns:a16="http://schemas.microsoft.com/office/drawing/2014/main" id="{E5A6B8BE-E754-47EA-BEF7-1EBAD651BD54}"/>
                </a:ext>
              </a:extLst>
            </p:cNvPr>
            <p:cNvSpPr/>
            <p:nvPr/>
          </p:nvSpPr>
          <p:spPr>
            <a:xfrm rot="16200000">
              <a:off x="4179441" y="1015485"/>
              <a:ext cx="676730" cy="173826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Freeform: Shape 78">
              <a:extLst>
                <a:ext uri="{FF2B5EF4-FFF2-40B4-BE49-F238E27FC236}">
                  <a16:creationId xmlns:a16="http://schemas.microsoft.com/office/drawing/2014/main" id="{B404826A-805E-4394-A563-CD18E65B8033}"/>
                </a:ext>
              </a:extLst>
            </p:cNvPr>
            <p:cNvSpPr/>
            <p:nvPr/>
          </p:nvSpPr>
          <p:spPr>
            <a:xfrm rot="16200000">
              <a:off x="3523496" y="1376255"/>
              <a:ext cx="676730" cy="1016720"/>
            </a:xfrm>
            <a:custGeom>
              <a:avLst/>
              <a:gdLst>
                <a:gd name="connsiteX0" fmla="*/ 0 w 676730"/>
                <a:gd name="connsiteY0" fmla="*/ 1016720 h 1016720"/>
                <a:gd name="connsiteX1" fmla="*/ 0 w 676730"/>
                <a:gd name="connsiteY1" fmla="*/ 338365 h 1016720"/>
                <a:gd name="connsiteX2" fmla="*/ 338365 w 676730"/>
                <a:gd name="connsiteY2" fmla="*/ 0 h 1016720"/>
                <a:gd name="connsiteX3" fmla="*/ 676730 w 676730"/>
                <a:gd name="connsiteY3" fmla="*/ 338365 h 1016720"/>
                <a:gd name="connsiteX4" fmla="*/ 676730 w 676730"/>
                <a:gd name="connsiteY4" fmla="*/ 1016720 h 101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730" h="1016720">
                  <a:moveTo>
                    <a:pt x="0" y="1016720"/>
                  </a:moveTo>
                  <a:lnTo>
                    <a:pt x="0" y="338365"/>
                  </a:lnTo>
                  <a:cubicBezTo>
                    <a:pt x="0" y="151491"/>
                    <a:pt x="151491" y="0"/>
                    <a:pt x="338365" y="0"/>
                  </a:cubicBezTo>
                  <a:cubicBezTo>
                    <a:pt x="525239" y="0"/>
                    <a:pt x="676730" y="151491"/>
                    <a:pt x="676730" y="338365"/>
                  </a:cubicBezTo>
                  <a:lnTo>
                    <a:pt x="676730" y="101672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7" name="Freeform: Shape 79">
              <a:extLst>
                <a:ext uri="{FF2B5EF4-FFF2-40B4-BE49-F238E27FC236}">
                  <a16:creationId xmlns:a16="http://schemas.microsoft.com/office/drawing/2014/main" id="{01939CFA-83D2-439D-8DEC-6FA052F3AC65}"/>
                </a:ext>
              </a:extLst>
            </p:cNvPr>
            <p:cNvSpPr/>
            <p:nvPr/>
          </p:nvSpPr>
          <p:spPr>
            <a:xfrm rot="16200000">
              <a:off x="3733520" y="1296550"/>
              <a:ext cx="214574" cy="883921"/>
            </a:xfrm>
            <a:custGeom>
              <a:avLst/>
              <a:gdLst>
                <a:gd name="connsiteX0" fmla="*/ 214574 w 214574"/>
                <a:gd name="connsiteY0" fmla="*/ 313373 h 883921"/>
                <a:gd name="connsiteX1" fmla="*/ 214574 w 214574"/>
                <a:gd name="connsiteY1" fmla="*/ 883921 h 883921"/>
                <a:gd name="connsiteX2" fmla="*/ 118934 w 214574"/>
                <a:gd name="connsiteY2" fmla="*/ 883921 h 883921"/>
                <a:gd name="connsiteX3" fmla="*/ 118934 w 214574"/>
                <a:gd name="connsiteY3" fmla="*/ 255621 h 883921"/>
                <a:gd name="connsiteX4" fmla="*/ 19829 w 214574"/>
                <a:gd name="connsiteY4" fmla="*/ 16361 h 883921"/>
                <a:gd name="connsiteX5" fmla="*/ 0 w 214574"/>
                <a:gd name="connsiteY5" fmla="*/ 0 h 883921"/>
                <a:gd name="connsiteX6" fmla="*/ 7916 w 214574"/>
                <a:gd name="connsiteY6" fmla="*/ 1599 h 883921"/>
                <a:gd name="connsiteX7" fmla="*/ 214574 w 214574"/>
                <a:gd name="connsiteY7" fmla="*/ 313373 h 88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4574" h="883921">
                  <a:moveTo>
                    <a:pt x="214574" y="313373"/>
                  </a:moveTo>
                  <a:lnTo>
                    <a:pt x="214574" y="883921"/>
                  </a:lnTo>
                  <a:lnTo>
                    <a:pt x="118934" y="883921"/>
                  </a:lnTo>
                  <a:lnTo>
                    <a:pt x="118934" y="255621"/>
                  </a:lnTo>
                  <a:cubicBezTo>
                    <a:pt x="118934" y="162184"/>
                    <a:pt x="81061" y="77593"/>
                    <a:pt x="19829" y="16361"/>
                  </a:cubicBezTo>
                  <a:lnTo>
                    <a:pt x="0" y="0"/>
                  </a:lnTo>
                  <a:lnTo>
                    <a:pt x="7916" y="1599"/>
                  </a:lnTo>
                  <a:cubicBezTo>
                    <a:pt x="129360" y="52965"/>
                    <a:pt x="214574" y="173218"/>
                    <a:pt x="214574" y="31337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8" name="Rectangle 67"/>
          <p:cNvSpPr/>
          <p:nvPr/>
        </p:nvSpPr>
        <p:spPr>
          <a:xfrm>
            <a:off x="415381" y="1568832"/>
            <a:ext cx="122957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sz="8000" dirty="0">
                <a:solidFill>
                  <a:srgbClr val="033878"/>
                </a:solidFill>
                <a:latin typeface="Barlow"/>
                <a:ea typeface="Barlow"/>
                <a:cs typeface="Barlow"/>
                <a:sym typeface="Barlow"/>
              </a:rPr>
              <a:t>👪</a:t>
            </a:r>
            <a:endParaRPr lang="fr-FR" sz="1600" dirty="0">
              <a:solidFill>
                <a:srgbClr val="033878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7474C7E-0E08-4D54-8F78-B83D60E76FE3}"/>
              </a:ext>
            </a:extLst>
          </p:cNvPr>
          <p:cNvSpPr/>
          <p:nvPr/>
        </p:nvSpPr>
        <p:spPr>
          <a:xfrm>
            <a:off x="642508" y="449523"/>
            <a:ext cx="10806112" cy="5508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-342891">
              <a:spcBef>
                <a:spcPct val="20000"/>
              </a:spcBef>
              <a:defRPr/>
            </a:pPr>
            <a:r>
              <a:rPr lang="fr-FR" altLang="fr-FR" sz="3200" b="1" dirty="0">
                <a:solidFill>
                  <a:srgbClr val="00558B"/>
                </a:solidFill>
                <a:cs typeface="Helvetica" panose="020B0604020202020204" pitchFamily="34" charset="0"/>
              </a:rPr>
              <a:t>Structure démographique et tissu médical</a:t>
            </a:r>
          </a:p>
        </p:txBody>
      </p:sp>
      <p:grpSp>
        <p:nvGrpSpPr>
          <p:cNvPr id="591" name="Group 1">
            <a:extLst>
              <a:ext uri="{FF2B5EF4-FFF2-40B4-BE49-F238E27FC236}">
                <a16:creationId xmlns:a16="http://schemas.microsoft.com/office/drawing/2014/main" id="{556C495D-C4E5-4AE3-9D66-C5D6AE8FA1AC}"/>
              </a:ext>
            </a:extLst>
          </p:cNvPr>
          <p:cNvGrpSpPr/>
          <p:nvPr/>
        </p:nvGrpSpPr>
        <p:grpSpPr>
          <a:xfrm>
            <a:off x="537496" y="3088315"/>
            <a:ext cx="987526" cy="1187553"/>
            <a:chOff x="2050732" y="1266266"/>
            <a:chExt cx="3359467" cy="4325468"/>
          </a:xfrm>
          <a:solidFill>
            <a:srgbClr val="033878"/>
          </a:solidFill>
        </p:grpSpPr>
        <p:grpSp>
          <p:nvGrpSpPr>
            <p:cNvPr id="592" name="Group 2">
              <a:extLst>
                <a:ext uri="{FF2B5EF4-FFF2-40B4-BE49-F238E27FC236}">
                  <a16:creationId xmlns:a16="http://schemas.microsoft.com/office/drawing/2014/main" id="{8A5818AC-2081-417B-9B1E-FB7BBFBE5E72}"/>
                </a:ext>
              </a:extLst>
            </p:cNvPr>
            <p:cNvGrpSpPr/>
            <p:nvPr/>
          </p:nvGrpSpPr>
          <p:grpSpPr>
            <a:xfrm>
              <a:off x="2050732" y="1266266"/>
              <a:ext cx="3359467" cy="4325468"/>
              <a:chOff x="5230813" y="2312988"/>
              <a:chExt cx="1733550" cy="2232025"/>
            </a:xfrm>
            <a:grpFill/>
          </p:grpSpPr>
          <p:sp>
            <p:nvSpPr>
              <p:cNvPr id="600" name="Freeform 6">
                <a:extLst>
                  <a:ext uri="{FF2B5EF4-FFF2-40B4-BE49-F238E27FC236}">
                    <a16:creationId xmlns:a16="http://schemas.microsoft.com/office/drawing/2014/main" id="{2910113B-2D1D-41F6-8D16-DCCE53A9C9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3514" y="4191001"/>
                <a:ext cx="41276" cy="60325"/>
              </a:xfrm>
              <a:custGeom>
                <a:avLst/>
                <a:gdLst>
                  <a:gd name="T0" fmla="*/ 0 w 13"/>
                  <a:gd name="T1" fmla="*/ 3 h 19"/>
                  <a:gd name="T2" fmla="*/ 4 w 13"/>
                  <a:gd name="T3" fmla="*/ 0 h 19"/>
                  <a:gd name="T4" fmla="*/ 10 w 13"/>
                  <a:gd name="T5" fmla="*/ 5 h 19"/>
                  <a:gd name="T6" fmla="*/ 5 w 13"/>
                  <a:gd name="T7" fmla="*/ 18 h 19"/>
                  <a:gd name="T8" fmla="*/ 0 w 13"/>
                  <a:gd name="T9" fmla="*/ 15 h 19"/>
                  <a:gd name="T10" fmla="*/ 0 w 13"/>
                  <a:gd name="T11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9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6" y="2"/>
                      <a:pt x="8" y="3"/>
                      <a:pt x="10" y="5"/>
                    </a:cubicBezTo>
                    <a:cubicBezTo>
                      <a:pt x="13" y="10"/>
                      <a:pt x="11" y="17"/>
                      <a:pt x="5" y="18"/>
                    </a:cubicBezTo>
                    <a:cubicBezTo>
                      <a:pt x="4" y="19"/>
                      <a:pt x="2" y="17"/>
                      <a:pt x="0" y="15"/>
                    </a:cubicBezTo>
                    <a:cubicBezTo>
                      <a:pt x="7" y="11"/>
                      <a:pt x="5" y="7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1" name="Freeform 7">
                <a:extLst>
                  <a:ext uri="{FF2B5EF4-FFF2-40B4-BE49-F238E27FC236}">
                    <a16:creationId xmlns:a16="http://schemas.microsoft.com/office/drawing/2014/main" id="{931C88FC-E09E-4687-9C26-683421221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944814"/>
                <a:ext cx="28575" cy="34925"/>
              </a:xfrm>
              <a:custGeom>
                <a:avLst/>
                <a:gdLst>
                  <a:gd name="T0" fmla="*/ 0 w 9"/>
                  <a:gd name="T1" fmla="*/ 10 h 11"/>
                  <a:gd name="T2" fmla="*/ 2 w 9"/>
                  <a:gd name="T3" fmla="*/ 1 h 11"/>
                  <a:gd name="T4" fmla="*/ 8 w 9"/>
                  <a:gd name="T5" fmla="*/ 1 h 11"/>
                  <a:gd name="T6" fmla="*/ 9 w 9"/>
                  <a:gd name="T7" fmla="*/ 3 h 11"/>
                  <a:gd name="T8" fmla="*/ 8 w 9"/>
                  <a:gd name="T9" fmla="*/ 4 h 11"/>
                  <a:gd name="T10" fmla="*/ 2 w 9"/>
                  <a:gd name="T11" fmla="*/ 11 h 11"/>
                  <a:gd name="T12" fmla="*/ 0 w 9"/>
                  <a:gd name="T13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11">
                    <a:moveTo>
                      <a:pt x="0" y="10"/>
                    </a:moveTo>
                    <a:cubicBezTo>
                      <a:pt x="1" y="7"/>
                      <a:pt x="1" y="4"/>
                      <a:pt x="2" y="1"/>
                    </a:cubicBezTo>
                    <a:cubicBezTo>
                      <a:pt x="2" y="0"/>
                      <a:pt x="6" y="1"/>
                      <a:pt x="8" y="1"/>
                    </a:cubicBezTo>
                    <a:cubicBezTo>
                      <a:pt x="9" y="1"/>
                      <a:pt x="9" y="2"/>
                      <a:pt x="9" y="3"/>
                    </a:cubicBezTo>
                    <a:cubicBezTo>
                      <a:pt x="9" y="3"/>
                      <a:pt x="8" y="4"/>
                      <a:pt x="8" y="4"/>
                    </a:cubicBezTo>
                    <a:cubicBezTo>
                      <a:pt x="3" y="3"/>
                      <a:pt x="2" y="7"/>
                      <a:pt x="2" y="11"/>
                    </a:cubicBezTo>
                    <a:cubicBezTo>
                      <a:pt x="1" y="11"/>
                      <a:pt x="1" y="10"/>
                      <a:pt x="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2" name="Freeform 8">
                <a:extLst>
                  <a:ext uri="{FF2B5EF4-FFF2-40B4-BE49-F238E27FC236}">
                    <a16:creationId xmlns:a16="http://schemas.microsoft.com/office/drawing/2014/main" id="{F872C711-58B1-4AD1-934E-D14C8DE679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7102" y="3649663"/>
                <a:ext cx="622301" cy="611189"/>
              </a:xfrm>
              <a:custGeom>
                <a:avLst/>
                <a:gdLst>
                  <a:gd name="T0" fmla="*/ 145 w 195"/>
                  <a:gd name="T1" fmla="*/ 111 h 192"/>
                  <a:gd name="T2" fmla="*/ 109 w 195"/>
                  <a:gd name="T3" fmla="*/ 179 h 192"/>
                  <a:gd name="T4" fmla="*/ 82 w 195"/>
                  <a:gd name="T5" fmla="*/ 183 h 192"/>
                  <a:gd name="T6" fmla="*/ 7 w 195"/>
                  <a:gd name="T7" fmla="*/ 107 h 192"/>
                  <a:gd name="T8" fmla="*/ 6 w 195"/>
                  <a:gd name="T9" fmla="*/ 84 h 192"/>
                  <a:gd name="T10" fmla="*/ 30 w 195"/>
                  <a:gd name="T11" fmla="*/ 85 h 192"/>
                  <a:gd name="T12" fmla="*/ 87 w 195"/>
                  <a:gd name="T13" fmla="*/ 142 h 192"/>
                  <a:gd name="T14" fmla="*/ 91 w 195"/>
                  <a:gd name="T15" fmla="*/ 146 h 192"/>
                  <a:gd name="T16" fmla="*/ 102 w 195"/>
                  <a:gd name="T17" fmla="*/ 124 h 192"/>
                  <a:gd name="T18" fmla="*/ 148 w 195"/>
                  <a:gd name="T19" fmla="*/ 39 h 192"/>
                  <a:gd name="T20" fmla="*/ 163 w 195"/>
                  <a:gd name="T21" fmla="*/ 11 h 192"/>
                  <a:gd name="T22" fmla="*/ 185 w 195"/>
                  <a:gd name="T23" fmla="*/ 3 h 192"/>
                  <a:gd name="T24" fmla="*/ 191 w 195"/>
                  <a:gd name="T25" fmla="*/ 26 h 192"/>
                  <a:gd name="T26" fmla="*/ 162 w 195"/>
                  <a:gd name="T27" fmla="*/ 79 h 192"/>
                  <a:gd name="T28" fmla="*/ 145 w 195"/>
                  <a:gd name="T29" fmla="*/ 111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5" h="192">
                    <a:moveTo>
                      <a:pt x="145" y="111"/>
                    </a:moveTo>
                    <a:cubicBezTo>
                      <a:pt x="133" y="134"/>
                      <a:pt x="121" y="157"/>
                      <a:pt x="109" y="179"/>
                    </a:cubicBezTo>
                    <a:cubicBezTo>
                      <a:pt x="103" y="190"/>
                      <a:pt x="91" y="192"/>
                      <a:pt x="82" y="183"/>
                    </a:cubicBezTo>
                    <a:cubicBezTo>
                      <a:pt x="57" y="158"/>
                      <a:pt x="32" y="132"/>
                      <a:pt x="7" y="107"/>
                    </a:cubicBezTo>
                    <a:cubicBezTo>
                      <a:pt x="0" y="100"/>
                      <a:pt x="1" y="89"/>
                      <a:pt x="6" y="84"/>
                    </a:cubicBezTo>
                    <a:cubicBezTo>
                      <a:pt x="13" y="77"/>
                      <a:pt x="23" y="78"/>
                      <a:pt x="30" y="85"/>
                    </a:cubicBezTo>
                    <a:cubicBezTo>
                      <a:pt x="49" y="104"/>
                      <a:pt x="68" y="123"/>
                      <a:pt x="87" y="142"/>
                    </a:cubicBezTo>
                    <a:cubicBezTo>
                      <a:pt x="88" y="143"/>
                      <a:pt x="89" y="144"/>
                      <a:pt x="91" y="146"/>
                    </a:cubicBezTo>
                    <a:cubicBezTo>
                      <a:pt x="95" y="138"/>
                      <a:pt x="98" y="131"/>
                      <a:pt x="102" y="124"/>
                    </a:cubicBezTo>
                    <a:cubicBezTo>
                      <a:pt x="117" y="96"/>
                      <a:pt x="132" y="68"/>
                      <a:pt x="148" y="39"/>
                    </a:cubicBezTo>
                    <a:cubicBezTo>
                      <a:pt x="153" y="30"/>
                      <a:pt x="158" y="20"/>
                      <a:pt x="163" y="11"/>
                    </a:cubicBezTo>
                    <a:cubicBezTo>
                      <a:pt x="168" y="1"/>
                      <a:pt x="178" y="0"/>
                      <a:pt x="185" y="3"/>
                    </a:cubicBezTo>
                    <a:cubicBezTo>
                      <a:pt x="193" y="7"/>
                      <a:pt x="195" y="18"/>
                      <a:pt x="191" y="26"/>
                    </a:cubicBezTo>
                    <a:cubicBezTo>
                      <a:pt x="182" y="44"/>
                      <a:pt x="172" y="62"/>
                      <a:pt x="162" y="79"/>
                    </a:cubicBezTo>
                    <a:cubicBezTo>
                      <a:pt x="161" y="82"/>
                      <a:pt x="149" y="105"/>
                      <a:pt x="145" y="1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3" name="Freeform 9">
                <a:extLst>
                  <a:ext uri="{FF2B5EF4-FFF2-40B4-BE49-F238E27FC236}">
                    <a16:creationId xmlns:a16="http://schemas.microsoft.com/office/drawing/2014/main" id="{75BBBF00-BD18-4F31-B237-7214E4570F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30813" y="2312988"/>
                <a:ext cx="1733550" cy="2232025"/>
              </a:xfrm>
              <a:custGeom>
                <a:avLst/>
                <a:gdLst>
                  <a:gd name="T0" fmla="*/ 519 w 543"/>
                  <a:gd name="T1" fmla="*/ 420 h 700"/>
                  <a:gd name="T2" fmla="*/ 452 w 543"/>
                  <a:gd name="T3" fmla="*/ 344 h 700"/>
                  <a:gd name="T4" fmla="*/ 451 w 543"/>
                  <a:gd name="T5" fmla="*/ 131 h 700"/>
                  <a:gd name="T6" fmla="*/ 353 w 543"/>
                  <a:gd name="T7" fmla="*/ 120 h 700"/>
                  <a:gd name="T8" fmla="*/ 350 w 543"/>
                  <a:gd name="T9" fmla="*/ 120 h 700"/>
                  <a:gd name="T10" fmla="*/ 347 w 543"/>
                  <a:gd name="T11" fmla="*/ 93 h 700"/>
                  <a:gd name="T12" fmla="*/ 309 w 543"/>
                  <a:gd name="T13" fmla="*/ 76 h 700"/>
                  <a:gd name="T14" fmla="*/ 273 w 543"/>
                  <a:gd name="T15" fmla="*/ 18 h 700"/>
                  <a:gd name="T16" fmla="*/ 261 w 543"/>
                  <a:gd name="T17" fmla="*/ 10 h 700"/>
                  <a:gd name="T18" fmla="*/ 234 w 543"/>
                  <a:gd name="T19" fmla="*/ 2 h 700"/>
                  <a:gd name="T20" fmla="*/ 231 w 543"/>
                  <a:gd name="T21" fmla="*/ 2 h 700"/>
                  <a:gd name="T22" fmla="*/ 150 w 543"/>
                  <a:gd name="T23" fmla="*/ 69 h 700"/>
                  <a:gd name="T24" fmla="*/ 123 w 543"/>
                  <a:gd name="T25" fmla="*/ 75 h 700"/>
                  <a:gd name="T26" fmla="*/ 105 w 543"/>
                  <a:gd name="T27" fmla="*/ 114 h 700"/>
                  <a:gd name="T28" fmla="*/ 18 w 543"/>
                  <a:gd name="T29" fmla="*/ 120 h 700"/>
                  <a:gd name="T30" fmla="*/ 0 w 543"/>
                  <a:gd name="T31" fmla="*/ 371 h 700"/>
                  <a:gd name="T32" fmla="*/ 0 w 543"/>
                  <a:gd name="T33" fmla="*/ 606 h 700"/>
                  <a:gd name="T34" fmla="*/ 0 w 543"/>
                  <a:gd name="T35" fmla="*/ 607 h 700"/>
                  <a:gd name="T36" fmla="*/ 19 w 543"/>
                  <a:gd name="T37" fmla="*/ 621 h 700"/>
                  <a:gd name="T38" fmla="*/ 206 w 543"/>
                  <a:gd name="T39" fmla="*/ 625 h 700"/>
                  <a:gd name="T40" fmla="*/ 321 w 543"/>
                  <a:gd name="T41" fmla="*/ 695 h 700"/>
                  <a:gd name="T42" fmla="*/ 478 w 543"/>
                  <a:gd name="T43" fmla="*/ 651 h 700"/>
                  <a:gd name="T44" fmla="*/ 538 w 543"/>
                  <a:gd name="T45" fmla="*/ 473 h 700"/>
                  <a:gd name="T46" fmla="*/ 215 w 543"/>
                  <a:gd name="T47" fmla="*/ 35 h 700"/>
                  <a:gd name="T48" fmla="*/ 255 w 543"/>
                  <a:gd name="T49" fmla="*/ 45 h 700"/>
                  <a:gd name="T50" fmla="*/ 261 w 543"/>
                  <a:gd name="T51" fmla="*/ 51 h 700"/>
                  <a:gd name="T52" fmla="*/ 271 w 543"/>
                  <a:gd name="T53" fmla="*/ 76 h 700"/>
                  <a:gd name="T54" fmla="*/ 181 w 543"/>
                  <a:gd name="T55" fmla="*/ 75 h 700"/>
                  <a:gd name="T56" fmla="*/ 137 w 543"/>
                  <a:gd name="T57" fmla="*/ 107 h 700"/>
                  <a:gd name="T58" fmla="*/ 309 w 543"/>
                  <a:gd name="T59" fmla="*/ 108 h 700"/>
                  <a:gd name="T60" fmla="*/ 315 w 543"/>
                  <a:gd name="T61" fmla="*/ 160 h 700"/>
                  <a:gd name="T62" fmla="*/ 261 w 543"/>
                  <a:gd name="T63" fmla="*/ 166 h 700"/>
                  <a:gd name="T64" fmla="*/ 136 w 543"/>
                  <a:gd name="T65" fmla="*/ 160 h 700"/>
                  <a:gd name="T66" fmla="*/ 183 w 543"/>
                  <a:gd name="T67" fmla="*/ 588 h 700"/>
                  <a:gd name="T68" fmla="*/ 32 w 543"/>
                  <a:gd name="T69" fmla="*/ 290 h 700"/>
                  <a:gd name="T70" fmla="*/ 38 w 543"/>
                  <a:gd name="T71" fmla="*/ 152 h 700"/>
                  <a:gd name="T72" fmla="*/ 105 w 543"/>
                  <a:gd name="T73" fmla="*/ 158 h 700"/>
                  <a:gd name="T74" fmla="*/ 123 w 543"/>
                  <a:gd name="T75" fmla="*/ 197 h 700"/>
                  <a:gd name="T76" fmla="*/ 329 w 543"/>
                  <a:gd name="T77" fmla="*/ 197 h 700"/>
                  <a:gd name="T78" fmla="*/ 347 w 543"/>
                  <a:gd name="T79" fmla="*/ 158 h 700"/>
                  <a:gd name="T80" fmla="*/ 382 w 543"/>
                  <a:gd name="T81" fmla="*/ 152 h 700"/>
                  <a:gd name="T82" fmla="*/ 420 w 543"/>
                  <a:gd name="T83" fmla="*/ 157 h 700"/>
                  <a:gd name="T84" fmla="*/ 420 w 543"/>
                  <a:gd name="T85" fmla="*/ 327 h 700"/>
                  <a:gd name="T86" fmla="*/ 404 w 543"/>
                  <a:gd name="T87" fmla="*/ 329 h 700"/>
                  <a:gd name="T88" fmla="*/ 276 w 543"/>
                  <a:gd name="T89" fmla="*/ 339 h 700"/>
                  <a:gd name="T90" fmla="*/ 175 w 543"/>
                  <a:gd name="T91" fmla="*/ 452 h 700"/>
                  <a:gd name="T92" fmla="*/ 507 w 543"/>
                  <a:gd name="T93" fmla="*/ 536 h 700"/>
                  <a:gd name="T94" fmla="*/ 391 w 543"/>
                  <a:gd name="T95" fmla="*/ 661 h 700"/>
                  <a:gd name="T96" fmla="*/ 282 w 543"/>
                  <a:gd name="T97" fmla="*/ 648 h 700"/>
                  <a:gd name="T98" fmla="*/ 211 w 543"/>
                  <a:gd name="T99" fmla="*/ 572 h 700"/>
                  <a:gd name="T100" fmla="*/ 278 w 543"/>
                  <a:gd name="T101" fmla="*/ 374 h 700"/>
                  <a:gd name="T102" fmla="*/ 481 w 543"/>
                  <a:gd name="T103" fmla="*/ 421 h 700"/>
                  <a:gd name="T104" fmla="*/ 507 w 543"/>
                  <a:gd name="T105" fmla="*/ 536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43" h="700">
                    <a:moveTo>
                      <a:pt x="538" y="473"/>
                    </a:moveTo>
                    <a:cubicBezTo>
                      <a:pt x="534" y="454"/>
                      <a:pt x="528" y="437"/>
                      <a:pt x="519" y="420"/>
                    </a:cubicBezTo>
                    <a:cubicBezTo>
                      <a:pt x="504" y="393"/>
                      <a:pt x="483" y="370"/>
                      <a:pt x="457" y="353"/>
                    </a:cubicBezTo>
                    <a:cubicBezTo>
                      <a:pt x="453" y="351"/>
                      <a:pt x="452" y="348"/>
                      <a:pt x="452" y="344"/>
                    </a:cubicBezTo>
                    <a:cubicBezTo>
                      <a:pt x="452" y="276"/>
                      <a:pt x="452" y="208"/>
                      <a:pt x="452" y="140"/>
                    </a:cubicBezTo>
                    <a:cubicBezTo>
                      <a:pt x="452" y="137"/>
                      <a:pt x="452" y="134"/>
                      <a:pt x="451" y="131"/>
                    </a:cubicBezTo>
                    <a:cubicBezTo>
                      <a:pt x="448" y="123"/>
                      <a:pt x="442" y="120"/>
                      <a:pt x="434" y="120"/>
                    </a:cubicBezTo>
                    <a:cubicBezTo>
                      <a:pt x="407" y="120"/>
                      <a:pt x="380" y="120"/>
                      <a:pt x="353" y="120"/>
                    </a:cubicBezTo>
                    <a:cubicBezTo>
                      <a:pt x="352" y="120"/>
                      <a:pt x="351" y="120"/>
                      <a:pt x="350" y="120"/>
                    </a:cubicBezTo>
                    <a:cubicBezTo>
                      <a:pt x="350" y="120"/>
                      <a:pt x="350" y="120"/>
                      <a:pt x="350" y="120"/>
                    </a:cubicBezTo>
                    <a:cubicBezTo>
                      <a:pt x="347" y="120"/>
                      <a:pt x="347" y="119"/>
                      <a:pt x="347" y="114"/>
                    </a:cubicBezTo>
                    <a:cubicBezTo>
                      <a:pt x="347" y="107"/>
                      <a:pt x="347" y="100"/>
                      <a:pt x="347" y="93"/>
                    </a:cubicBezTo>
                    <a:cubicBezTo>
                      <a:pt x="347" y="81"/>
                      <a:pt x="341" y="76"/>
                      <a:pt x="329" y="76"/>
                    </a:cubicBezTo>
                    <a:cubicBezTo>
                      <a:pt x="322" y="75"/>
                      <a:pt x="316" y="75"/>
                      <a:pt x="309" y="76"/>
                    </a:cubicBezTo>
                    <a:cubicBezTo>
                      <a:pt x="304" y="76"/>
                      <a:pt x="303" y="74"/>
                      <a:pt x="302" y="69"/>
                    </a:cubicBezTo>
                    <a:cubicBezTo>
                      <a:pt x="300" y="48"/>
                      <a:pt x="290" y="31"/>
                      <a:pt x="273" y="18"/>
                    </a:cubicBezTo>
                    <a:cubicBezTo>
                      <a:pt x="269" y="15"/>
                      <a:pt x="265" y="13"/>
                      <a:pt x="261" y="10"/>
                    </a:cubicBezTo>
                    <a:cubicBezTo>
                      <a:pt x="261" y="10"/>
                      <a:pt x="261" y="10"/>
                      <a:pt x="261" y="10"/>
                    </a:cubicBezTo>
                    <a:cubicBezTo>
                      <a:pt x="259" y="9"/>
                      <a:pt x="257" y="8"/>
                      <a:pt x="255" y="8"/>
                    </a:cubicBezTo>
                    <a:cubicBezTo>
                      <a:pt x="249" y="5"/>
                      <a:pt x="242" y="3"/>
                      <a:pt x="234" y="2"/>
                    </a:cubicBezTo>
                    <a:cubicBezTo>
                      <a:pt x="233" y="2"/>
                      <a:pt x="232" y="2"/>
                      <a:pt x="231" y="2"/>
                    </a:cubicBezTo>
                    <a:cubicBezTo>
                      <a:pt x="231" y="2"/>
                      <a:pt x="231" y="2"/>
                      <a:pt x="231" y="2"/>
                    </a:cubicBezTo>
                    <a:cubicBezTo>
                      <a:pt x="212" y="0"/>
                      <a:pt x="194" y="6"/>
                      <a:pt x="179" y="18"/>
                    </a:cubicBezTo>
                    <a:cubicBezTo>
                      <a:pt x="162" y="31"/>
                      <a:pt x="152" y="48"/>
                      <a:pt x="150" y="69"/>
                    </a:cubicBezTo>
                    <a:cubicBezTo>
                      <a:pt x="149" y="74"/>
                      <a:pt x="148" y="76"/>
                      <a:pt x="143" y="75"/>
                    </a:cubicBezTo>
                    <a:cubicBezTo>
                      <a:pt x="136" y="75"/>
                      <a:pt x="129" y="75"/>
                      <a:pt x="123" y="75"/>
                    </a:cubicBezTo>
                    <a:cubicBezTo>
                      <a:pt x="111" y="75"/>
                      <a:pt x="105" y="81"/>
                      <a:pt x="105" y="93"/>
                    </a:cubicBezTo>
                    <a:cubicBezTo>
                      <a:pt x="105" y="100"/>
                      <a:pt x="105" y="107"/>
                      <a:pt x="105" y="114"/>
                    </a:cubicBezTo>
                    <a:cubicBezTo>
                      <a:pt x="105" y="120"/>
                      <a:pt x="105" y="120"/>
                      <a:pt x="98" y="120"/>
                    </a:cubicBezTo>
                    <a:cubicBezTo>
                      <a:pt x="72" y="120"/>
                      <a:pt x="45" y="121"/>
                      <a:pt x="18" y="120"/>
                    </a:cubicBezTo>
                    <a:cubicBezTo>
                      <a:pt x="7" y="120"/>
                      <a:pt x="0" y="127"/>
                      <a:pt x="0" y="139"/>
                    </a:cubicBezTo>
                    <a:cubicBezTo>
                      <a:pt x="0" y="216"/>
                      <a:pt x="0" y="293"/>
                      <a:pt x="0" y="371"/>
                    </a:cubicBezTo>
                    <a:cubicBezTo>
                      <a:pt x="0" y="448"/>
                      <a:pt x="0" y="526"/>
                      <a:pt x="0" y="603"/>
                    </a:cubicBezTo>
                    <a:cubicBezTo>
                      <a:pt x="0" y="604"/>
                      <a:pt x="0" y="605"/>
                      <a:pt x="0" y="606"/>
                    </a:cubicBezTo>
                    <a:cubicBezTo>
                      <a:pt x="0" y="607"/>
                      <a:pt x="0" y="607"/>
                      <a:pt x="0" y="607"/>
                    </a:cubicBezTo>
                    <a:cubicBezTo>
                      <a:pt x="0" y="607"/>
                      <a:pt x="0" y="607"/>
                      <a:pt x="0" y="607"/>
                    </a:cubicBezTo>
                    <a:cubicBezTo>
                      <a:pt x="1" y="609"/>
                      <a:pt x="1" y="610"/>
                      <a:pt x="1" y="611"/>
                    </a:cubicBezTo>
                    <a:cubicBezTo>
                      <a:pt x="4" y="619"/>
                      <a:pt x="11" y="621"/>
                      <a:pt x="19" y="621"/>
                    </a:cubicBezTo>
                    <a:cubicBezTo>
                      <a:pt x="78" y="621"/>
                      <a:pt x="138" y="621"/>
                      <a:pt x="197" y="621"/>
                    </a:cubicBezTo>
                    <a:cubicBezTo>
                      <a:pt x="201" y="621"/>
                      <a:pt x="203" y="622"/>
                      <a:pt x="206" y="625"/>
                    </a:cubicBezTo>
                    <a:cubicBezTo>
                      <a:pt x="216" y="636"/>
                      <a:pt x="226" y="647"/>
                      <a:pt x="237" y="657"/>
                    </a:cubicBezTo>
                    <a:cubicBezTo>
                      <a:pt x="261" y="677"/>
                      <a:pt x="290" y="689"/>
                      <a:pt x="321" y="695"/>
                    </a:cubicBezTo>
                    <a:cubicBezTo>
                      <a:pt x="350" y="700"/>
                      <a:pt x="378" y="698"/>
                      <a:pt x="406" y="690"/>
                    </a:cubicBezTo>
                    <a:cubicBezTo>
                      <a:pt x="433" y="682"/>
                      <a:pt x="457" y="669"/>
                      <a:pt x="478" y="651"/>
                    </a:cubicBezTo>
                    <a:cubicBezTo>
                      <a:pt x="511" y="621"/>
                      <a:pt x="532" y="584"/>
                      <a:pt x="539" y="540"/>
                    </a:cubicBezTo>
                    <a:cubicBezTo>
                      <a:pt x="543" y="518"/>
                      <a:pt x="542" y="495"/>
                      <a:pt x="538" y="473"/>
                    </a:cubicBezTo>
                    <a:close/>
                    <a:moveTo>
                      <a:pt x="197" y="44"/>
                    </a:moveTo>
                    <a:cubicBezTo>
                      <a:pt x="202" y="40"/>
                      <a:pt x="209" y="36"/>
                      <a:pt x="215" y="35"/>
                    </a:cubicBezTo>
                    <a:cubicBezTo>
                      <a:pt x="215" y="35"/>
                      <a:pt x="215" y="35"/>
                      <a:pt x="215" y="35"/>
                    </a:cubicBezTo>
                    <a:cubicBezTo>
                      <a:pt x="229" y="32"/>
                      <a:pt x="244" y="35"/>
                      <a:pt x="255" y="45"/>
                    </a:cubicBezTo>
                    <a:cubicBezTo>
                      <a:pt x="257" y="46"/>
                      <a:pt x="259" y="48"/>
                      <a:pt x="261" y="50"/>
                    </a:cubicBezTo>
                    <a:cubicBezTo>
                      <a:pt x="261" y="50"/>
                      <a:pt x="261" y="51"/>
                      <a:pt x="261" y="51"/>
                    </a:cubicBezTo>
                    <a:cubicBezTo>
                      <a:pt x="261" y="51"/>
                      <a:pt x="261" y="51"/>
                      <a:pt x="261" y="51"/>
                    </a:cubicBezTo>
                    <a:cubicBezTo>
                      <a:pt x="267" y="57"/>
                      <a:pt x="270" y="65"/>
                      <a:pt x="271" y="76"/>
                    </a:cubicBezTo>
                    <a:cubicBezTo>
                      <a:pt x="268" y="76"/>
                      <a:pt x="212" y="75"/>
                      <a:pt x="188" y="75"/>
                    </a:cubicBezTo>
                    <a:cubicBezTo>
                      <a:pt x="186" y="75"/>
                      <a:pt x="184" y="75"/>
                      <a:pt x="181" y="75"/>
                    </a:cubicBezTo>
                    <a:cubicBezTo>
                      <a:pt x="182" y="62"/>
                      <a:pt x="188" y="52"/>
                      <a:pt x="197" y="44"/>
                    </a:cubicBezTo>
                    <a:close/>
                    <a:moveTo>
                      <a:pt x="137" y="107"/>
                    </a:moveTo>
                    <a:cubicBezTo>
                      <a:pt x="139" y="107"/>
                      <a:pt x="141" y="107"/>
                      <a:pt x="142" y="107"/>
                    </a:cubicBezTo>
                    <a:cubicBezTo>
                      <a:pt x="167" y="107"/>
                      <a:pt x="278" y="108"/>
                      <a:pt x="309" y="108"/>
                    </a:cubicBezTo>
                    <a:cubicBezTo>
                      <a:pt x="311" y="108"/>
                      <a:pt x="313" y="108"/>
                      <a:pt x="315" y="108"/>
                    </a:cubicBezTo>
                    <a:cubicBezTo>
                      <a:pt x="315" y="110"/>
                      <a:pt x="315" y="145"/>
                      <a:pt x="315" y="160"/>
                    </a:cubicBezTo>
                    <a:cubicBezTo>
                      <a:pt x="315" y="165"/>
                      <a:pt x="314" y="166"/>
                      <a:pt x="310" y="166"/>
                    </a:cubicBezTo>
                    <a:cubicBezTo>
                      <a:pt x="293" y="166"/>
                      <a:pt x="261" y="166"/>
                      <a:pt x="261" y="166"/>
                    </a:cubicBezTo>
                    <a:cubicBezTo>
                      <a:pt x="221" y="165"/>
                      <a:pt x="182" y="165"/>
                      <a:pt x="142" y="166"/>
                    </a:cubicBezTo>
                    <a:cubicBezTo>
                      <a:pt x="138" y="166"/>
                      <a:pt x="136" y="165"/>
                      <a:pt x="136" y="160"/>
                    </a:cubicBezTo>
                    <a:cubicBezTo>
                      <a:pt x="137" y="144"/>
                      <a:pt x="137" y="123"/>
                      <a:pt x="137" y="107"/>
                    </a:cubicBezTo>
                    <a:close/>
                    <a:moveTo>
                      <a:pt x="183" y="588"/>
                    </a:moveTo>
                    <a:cubicBezTo>
                      <a:pt x="159" y="589"/>
                      <a:pt x="31" y="587"/>
                      <a:pt x="31" y="587"/>
                    </a:cubicBezTo>
                    <a:cubicBezTo>
                      <a:pt x="31" y="587"/>
                      <a:pt x="32" y="374"/>
                      <a:pt x="32" y="290"/>
                    </a:cubicBezTo>
                    <a:cubicBezTo>
                      <a:pt x="32" y="246"/>
                      <a:pt x="32" y="202"/>
                      <a:pt x="32" y="158"/>
                    </a:cubicBezTo>
                    <a:cubicBezTo>
                      <a:pt x="32" y="154"/>
                      <a:pt x="33" y="152"/>
                      <a:pt x="38" y="152"/>
                    </a:cubicBezTo>
                    <a:cubicBezTo>
                      <a:pt x="58" y="152"/>
                      <a:pt x="79" y="152"/>
                      <a:pt x="99" y="152"/>
                    </a:cubicBezTo>
                    <a:cubicBezTo>
                      <a:pt x="104" y="152"/>
                      <a:pt x="105" y="154"/>
                      <a:pt x="105" y="158"/>
                    </a:cubicBezTo>
                    <a:cubicBezTo>
                      <a:pt x="105" y="165"/>
                      <a:pt x="105" y="173"/>
                      <a:pt x="105" y="180"/>
                    </a:cubicBezTo>
                    <a:cubicBezTo>
                      <a:pt x="105" y="190"/>
                      <a:pt x="113" y="197"/>
                      <a:pt x="123" y="197"/>
                    </a:cubicBezTo>
                    <a:cubicBezTo>
                      <a:pt x="154" y="197"/>
                      <a:pt x="184" y="197"/>
                      <a:pt x="215" y="197"/>
                    </a:cubicBezTo>
                    <a:cubicBezTo>
                      <a:pt x="215" y="197"/>
                      <a:pt x="291" y="197"/>
                      <a:pt x="329" y="197"/>
                    </a:cubicBezTo>
                    <a:cubicBezTo>
                      <a:pt x="339" y="197"/>
                      <a:pt x="347" y="191"/>
                      <a:pt x="347" y="180"/>
                    </a:cubicBezTo>
                    <a:cubicBezTo>
                      <a:pt x="347" y="173"/>
                      <a:pt x="347" y="165"/>
                      <a:pt x="347" y="158"/>
                    </a:cubicBezTo>
                    <a:cubicBezTo>
                      <a:pt x="347" y="154"/>
                      <a:pt x="348" y="152"/>
                      <a:pt x="352" y="152"/>
                    </a:cubicBezTo>
                    <a:cubicBezTo>
                      <a:pt x="362" y="152"/>
                      <a:pt x="382" y="152"/>
                      <a:pt x="382" y="152"/>
                    </a:cubicBezTo>
                    <a:cubicBezTo>
                      <a:pt x="393" y="152"/>
                      <a:pt x="404" y="152"/>
                      <a:pt x="416" y="152"/>
                    </a:cubicBezTo>
                    <a:cubicBezTo>
                      <a:pt x="419" y="152"/>
                      <a:pt x="420" y="153"/>
                      <a:pt x="420" y="157"/>
                    </a:cubicBezTo>
                    <a:cubicBezTo>
                      <a:pt x="420" y="168"/>
                      <a:pt x="420" y="179"/>
                      <a:pt x="420" y="190"/>
                    </a:cubicBezTo>
                    <a:cubicBezTo>
                      <a:pt x="420" y="235"/>
                      <a:pt x="420" y="281"/>
                      <a:pt x="420" y="327"/>
                    </a:cubicBezTo>
                    <a:cubicBezTo>
                      <a:pt x="420" y="329"/>
                      <a:pt x="420" y="331"/>
                      <a:pt x="420" y="334"/>
                    </a:cubicBezTo>
                    <a:cubicBezTo>
                      <a:pt x="414" y="332"/>
                      <a:pt x="409" y="331"/>
                      <a:pt x="404" y="329"/>
                    </a:cubicBezTo>
                    <a:cubicBezTo>
                      <a:pt x="378" y="321"/>
                      <a:pt x="351" y="321"/>
                      <a:pt x="324" y="324"/>
                    </a:cubicBezTo>
                    <a:cubicBezTo>
                      <a:pt x="308" y="327"/>
                      <a:pt x="292" y="332"/>
                      <a:pt x="276" y="339"/>
                    </a:cubicBezTo>
                    <a:cubicBezTo>
                      <a:pt x="275" y="339"/>
                      <a:pt x="261" y="346"/>
                      <a:pt x="261" y="346"/>
                    </a:cubicBezTo>
                    <a:cubicBezTo>
                      <a:pt x="220" y="371"/>
                      <a:pt x="190" y="406"/>
                      <a:pt x="175" y="452"/>
                    </a:cubicBezTo>
                    <a:cubicBezTo>
                      <a:pt x="160" y="498"/>
                      <a:pt x="164" y="544"/>
                      <a:pt x="183" y="588"/>
                    </a:cubicBezTo>
                    <a:close/>
                    <a:moveTo>
                      <a:pt x="507" y="536"/>
                    </a:moveTo>
                    <a:cubicBezTo>
                      <a:pt x="501" y="572"/>
                      <a:pt x="484" y="603"/>
                      <a:pt x="456" y="627"/>
                    </a:cubicBezTo>
                    <a:cubicBezTo>
                      <a:pt x="437" y="644"/>
                      <a:pt x="415" y="655"/>
                      <a:pt x="391" y="661"/>
                    </a:cubicBezTo>
                    <a:cubicBezTo>
                      <a:pt x="376" y="665"/>
                      <a:pt x="361" y="666"/>
                      <a:pt x="346" y="666"/>
                    </a:cubicBezTo>
                    <a:cubicBezTo>
                      <a:pt x="324" y="665"/>
                      <a:pt x="302" y="659"/>
                      <a:pt x="282" y="648"/>
                    </a:cubicBezTo>
                    <a:cubicBezTo>
                      <a:pt x="280" y="647"/>
                      <a:pt x="270" y="641"/>
                      <a:pt x="268" y="640"/>
                    </a:cubicBezTo>
                    <a:cubicBezTo>
                      <a:pt x="242" y="623"/>
                      <a:pt x="224" y="600"/>
                      <a:pt x="211" y="572"/>
                    </a:cubicBezTo>
                    <a:cubicBezTo>
                      <a:pt x="198" y="544"/>
                      <a:pt x="195" y="514"/>
                      <a:pt x="200" y="484"/>
                    </a:cubicBezTo>
                    <a:cubicBezTo>
                      <a:pt x="209" y="435"/>
                      <a:pt x="235" y="398"/>
                      <a:pt x="278" y="374"/>
                    </a:cubicBezTo>
                    <a:cubicBezTo>
                      <a:pt x="304" y="359"/>
                      <a:pt x="331" y="352"/>
                      <a:pt x="360" y="354"/>
                    </a:cubicBezTo>
                    <a:cubicBezTo>
                      <a:pt x="411" y="357"/>
                      <a:pt x="452" y="379"/>
                      <a:pt x="481" y="421"/>
                    </a:cubicBezTo>
                    <a:cubicBezTo>
                      <a:pt x="493" y="437"/>
                      <a:pt x="501" y="455"/>
                      <a:pt x="506" y="475"/>
                    </a:cubicBezTo>
                    <a:cubicBezTo>
                      <a:pt x="510" y="495"/>
                      <a:pt x="511" y="515"/>
                      <a:pt x="507" y="53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593" name="Straight Connector 3">
              <a:extLst>
                <a:ext uri="{FF2B5EF4-FFF2-40B4-BE49-F238E27FC236}">
                  <a16:creationId xmlns:a16="http://schemas.microsoft.com/office/drawing/2014/main" id="{5E353802-DD1B-4DAF-8C0C-3600FD501DC3}"/>
                </a:ext>
              </a:extLst>
            </p:cNvPr>
            <p:cNvCxnSpPr/>
            <p:nvPr/>
          </p:nvCxnSpPr>
          <p:spPr>
            <a:xfrm>
              <a:off x="2489200" y="2743200"/>
              <a:ext cx="1859280" cy="0"/>
            </a:xfrm>
            <a:prstGeom prst="line">
              <a:avLst/>
            </a:prstGeom>
            <a:grpFill/>
            <a:ln w="85725">
              <a:solidFill>
                <a:srgbClr val="0338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4" name="Straight Connector 4">
              <a:extLst>
                <a:ext uri="{FF2B5EF4-FFF2-40B4-BE49-F238E27FC236}">
                  <a16:creationId xmlns:a16="http://schemas.microsoft.com/office/drawing/2014/main" id="{12C8C2FB-4C44-4E59-9818-40D2B953F1E7}"/>
                </a:ext>
              </a:extLst>
            </p:cNvPr>
            <p:cNvCxnSpPr/>
            <p:nvPr/>
          </p:nvCxnSpPr>
          <p:spPr>
            <a:xfrm>
              <a:off x="2489200" y="3063240"/>
              <a:ext cx="1859280" cy="0"/>
            </a:xfrm>
            <a:prstGeom prst="line">
              <a:avLst/>
            </a:prstGeom>
            <a:grpFill/>
            <a:ln w="85725">
              <a:solidFill>
                <a:srgbClr val="0338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5" name="Straight Connector 5">
              <a:extLst>
                <a:ext uri="{FF2B5EF4-FFF2-40B4-BE49-F238E27FC236}">
                  <a16:creationId xmlns:a16="http://schemas.microsoft.com/office/drawing/2014/main" id="{726E4499-A9E5-425D-9D44-EB88116F03B0}"/>
                </a:ext>
              </a:extLst>
            </p:cNvPr>
            <p:cNvCxnSpPr>
              <a:cxnSpLocks/>
            </p:cNvCxnSpPr>
            <p:nvPr/>
          </p:nvCxnSpPr>
          <p:spPr>
            <a:xfrm>
              <a:off x="2489200" y="3383280"/>
              <a:ext cx="853440" cy="0"/>
            </a:xfrm>
            <a:prstGeom prst="line">
              <a:avLst/>
            </a:prstGeom>
            <a:grpFill/>
            <a:ln w="85725">
              <a:solidFill>
                <a:srgbClr val="0338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6" name="Straight Connector 6">
              <a:extLst>
                <a:ext uri="{FF2B5EF4-FFF2-40B4-BE49-F238E27FC236}">
                  <a16:creationId xmlns:a16="http://schemas.microsoft.com/office/drawing/2014/main" id="{26CF9612-6FA5-423E-A1F1-3DFE806D5491}"/>
                </a:ext>
              </a:extLst>
            </p:cNvPr>
            <p:cNvCxnSpPr>
              <a:cxnSpLocks/>
            </p:cNvCxnSpPr>
            <p:nvPr/>
          </p:nvCxnSpPr>
          <p:spPr>
            <a:xfrm>
              <a:off x="2489200" y="3693160"/>
              <a:ext cx="635000" cy="0"/>
            </a:xfrm>
            <a:prstGeom prst="line">
              <a:avLst/>
            </a:prstGeom>
            <a:grpFill/>
            <a:ln w="85725">
              <a:solidFill>
                <a:srgbClr val="0338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7" name="Straight Connector 7">
              <a:extLst>
                <a:ext uri="{FF2B5EF4-FFF2-40B4-BE49-F238E27FC236}">
                  <a16:creationId xmlns:a16="http://schemas.microsoft.com/office/drawing/2014/main" id="{5D38AB6E-685D-426C-AA42-75E321E57303}"/>
                </a:ext>
              </a:extLst>
            </p:cNvPr>
            <p:cNvCxnSpPr>
              <a:cxnSpLocks/>
            </p:cNvCxnSpPr>
            <p:nvPr/>
          </p:nvCxnSpPr>
          <p:spPr>
            <a:xfrm>
              <a:off x="2489200" y="4013200"/>
              <a:ext cx="477520" cy="0"/>
            </a:xfrm>
            <a:prstGeom prst="line">
              <a:avLst/>
            </a:prstGeom>
            <a:grpFill/>
            <a:ln w="85725">
              <a:solidFill>
                <a:srgbClr val="0338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8" name="Straight Connector 8">
              <a:extLst>
                <a:ext uri="{FF2B5EF4-FFF2-40B4-BE49-F238E27FC236}">
                  <a16:creationId xmlns:a16="http://schemas.microsoft.com/office/drawing/2014/main" id="{577D8F16-1502-4A3C-BBC2-C6BF5E335601}"/>
                </a:ext>
              </a:extLst>
            </p:cNvPr>
            <p:cNvCxnSpPr>
              <a:cxnSpLocks/>
            </p:cNvCxnSpPr>
            <p:nvPr/>
          </p:nvCxnSpPr>
          <p:spPr>
            <a:xfrm>
              <a:off x="2489200" y="4333240"/>
              <a:ext cx="426720" cy="0"/>
            </a:xfrm>
            <a:prstGeom prst="line">
              <a:avLst/>
            </a:prstGeom>
            <a:grpFill/>
            <a:ln w="85725">
              <a:solidFill>
                <a:srgbClr val="0338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9">
              <a:extLst>
                <a:ext uri="{FF2B5EF4-FFF2-40B4-BE49-F238E27FC236}">
                  <a16:creationId xmlns:a16="http://schemas.microsoft.com/office/drawing/2014/main" id="{40F8AAA9-263C-46D9-9132-861F847F16D5}"/>
                </a:ext>
              </a:extLst>
            </p:cNvPr>
            <p:cNvCxnSpPr>
              <a:cxnSpLocks/>
            </p:cNvCxnSpPr>
            <p:nvPr/>
          </p:nvCxnSpPr>
          <p:spPr>
            <a:xfrm>
              <a:off x="2489200" y="4638040"/>
              <a:ext cx="426720" cy="0"/>
            </a:xfrm>
            <a:prstGeom prst="line">
              <a:avLst/>
            </a:prstGeom>
            <a:grpFill/>
            <a:ln w="85725">
              <a:solidFill>
                <a:srgbClr val="0338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4" name="Espace réservé du texte 10">
            <a:extLst>
              <a:ext uri="{FF2B5EF4-FFF2-40B4-BE49-F238E27FC236}">
                <a16:creationId xmlns:a16="http://schemas.microsoft.com/office/drawing/2014/main" id="{DFC3B0B2-3F07-415B-86B3-B9B71205CBD9}"/>
              </a:ext>
            </a:extLst>
          </p:cNvPr>
          <p:cNvSpPr txBox="1">
            <a:spLocks/>
          </p:cNvSpPr>
          <p:nvPr/>
        </p:nvSpPr>
        <p:spPr bwMode="auto">
          <a:xfrm>
            <a:off x="823914" y="6080126"/>
            <a:ext cx="5311775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r>
              <a:rPr lang="fr-FR" altLang="fr-FR" sz="900" dirty="0">
                <a:solidFill>
                  <a:srgbClr val="7F7F7F"/>
                </a:solidFill>
              </a:rPr>
              <a:t>Sources : HCP données 2019 ; AMIP données 2017 et Ministère de la Santé données 2018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fr-FR" altLang="fr-FR" sz="900" dirty="0">
                <a:solidFill>
                  <a:srgbClr val="7F7F7F"/>
                </a:solidFill>
              </a:rPr>
              <a:t>HCP (Haut commissariat du Plan) 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fr-FR" altLang="fr-FR" sz="900" dirty="0">
                <a:solidFill>
                  <a:srgbClr val="7F7F7F"/>
                </a:solidFill>
              </a:rPr>
              <a:t>AMIP (Association Marocaine des Industries Pharmaceutiques) </a:t>
            </a:r>
          </a:p>
          <a:p>
            <a:pPr eaLnBrk="1" hangingPunct="1">
              <a:buFont typeface="Arial" panose="020B0604020202020204" pitchFamily="34" charset="0"/>
              <a:buNone/>
            </a:pPr>
            <a:endParaRPr lang="fr-FR" altLang="fr-FR" sz="900" dirty="0">
              <a:solidFill>
                <a:srgbClr val="7F7F7F"/>
              </a:solidFill>
            </a:endParaRPr>
          </a:p>
          <a:p>
            <a:pPr eaLnBrk="1" hangingPunct="1">
              <a:buFont typeface="Arial" panose="020B0604020202020204" pitchFamily="34" charset="0"/>
              <a:buNone/>
            </a:pPr>
            <a:endParaRPr lang="fr-FR" altLang="fr-FR" sz="900" dirty="0">
              <a:solidFill>
                <a:srgbClr val="7F7F7F"/>
              </a:solidFill>
            </a:endParaRPr>
          </a:p>
        </p:txBody>
      </p:sp>
      <p:sp>
        <p:nvSpPr>
          <p:cNvPr id="605" name="Espace réservé du texte 5">
            <a:extLst>
              <a:ext uri="{FF2B5EF4-FFF2-40B4-BE49-F238E27FC236}">
                <a16:creationId xmlns:a16="http://schemas.microsoft.com/office/drawing/2014/main" id="{C9C65461-F0ED-40D7-87F8-4DC436DCF1FE}"/>
              </a:ext>
            </a:extLst>
          </p:cNvPr>
          <p:cNvSpPr txBox="1">
            <a:spLocks/>
          </p:cNvSpPr>
          <p:nvPr/>
        </p:nvSpPr>
        <p:spPr>
          <a:xfrm>
            <a:off x="239350" y="186486"/>
            <a:ext cx="5145617" cy="349249"/>
          </a:xfrm>
          <a:prstGeom prst="rect">
            <a:avLst/>
          </a:prstGeom>
        </p:spPr>
        <p:txBody>
          <a:bodyPr vert="horz" lIns="121920" tIns="60960" rIns="121920" bIns="60960" rtlCol="0">
            <a:normAutofit fontScale="55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altLang="fr-FR" sz="2667" dirty="0">
                <a:solidFill>
                  <a:srgbClr val="0071BA"/>
                </a:solidFill>
              </a:rPr>
              <a:t>Plan Orientation </a:t>
            </a:r>
            <a:r>
              <a:rPr lang="fr-FR" altLang="fr-FR" sz="2667" dirty="0">
                <a:solidFill>
                  <a:srgbClr val="F39325"/>
                </a:solidFill>
              </a:rPr>
              <a:t>Maroc 21-22 </a:t>
            </a:r>
            <a:r>
              <a:rPr lang="fr-FR" altLang="fr-FR" sz="2667" b="1" dirty="0">
                <a:solidFill>
                  <a:srgbClr val="00B050"/>
                </a:solidFill>
              </a:rPr>
              <a:t>Coversyl-Cover</a:t>
            </a:r>
            <a:r>
              <a:rPr lang="fr-FR" altLang="fr-FR" sz="2667" b="1" dirty="0">
                <a:solidFill>
                  <a:srgbClr val="0070C0"/>
                </a:solidFill>
              </a:rPr>
              <a:t>am</a:t>
            </a:r>
          </a:p>
        </p:txBody>
      </p:sp>
    </p:spTree>
    <p:extLst>
      <p:ext uri="{BB962C8B-B14F-4D97-AF65-F5344CB8AC3E}">
        <p14:creationId xmlns:p14="http://schemas.microsoft.com/office/powerpoint/2010/main" val="3128915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1gEku8iCOy3W9U4ey._A"/>
</p:tagLst>
</file>

<file path=ppt/theme/theme1.xml><?xml version="1.0" encoding="utf-8"?>
<a:theme xmlns:a="http://schemas.openxmlformats.org/drawingml/2006/main" name="modèle-template_présentation_PPT_style guide_charte graphique_09_2018">
  <a:themeElements>
    <a:clrScheme name="charte graphique juin 2018">
      <a:dk1>
        <a:srgbClr val="033878"/>
      </a:dk1>
      <a:lt1>
        <a:sysClr val="window" lastClr="FFFFFF"/>
      </a:lt1>
      <a:dk2>
        <a:srgbClr val="0071BA"/>
      </a:dk2>
      <a:lt2>
        <a:srgbClr val="EAF6FB"/>
      </a:lt2>
      <a:accent1>
        <a:srgbClr val="6DC7DD"/>
      </a:accent1>
      <a:accent2>
        <a:srgbClr val="E73458"/>
      </a:accent2>
      <a:accent3>
        <a:srgbClr val="95C11F"/>
      </a:accent3>
      <a:accent4>
        <a:srgbClr val="96368B"/>
      </a:accent4>
      <a:accent5>
        <a:srgbClr val="00B3BB"/>
      </a:accent5>
      <a:accent6>
        <a:srgbClr val="F39325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PPT graphic charter Servier Sept 2019 sans photos" id="{A5C5FCF4-99E4-4123-86EB-D562985F9982}" vid="{B184A5FF-BD85-4CD7-A068-A94F31FF8E3B}"/>
    </a:ext>
  </a:extLst>
</a:theme>
</file>

<file path=ppt/theme/theme2.xml><?xml version="1.0" encoding="utf-8"?>
<a:theme xmlns:a="http://schemas.openxmlformats.org/drawingml/2006/main" name="powerpoint-masque">
  <a:themeElements>
    <a:clrScheme name="charte graphique juin 2018">
      <a:dk1>
        <a:srgbClr val="033878"/>
      </a:dk1>
      <a:lt1>
        <a:sysClr val="window" lastClr="FFFFFF"/>
      </a:lt1>
      <a:dk2>
        <a:srgbClr val="0071BA"/>
      </a:dk2>
      <a:lt2>
        <a:srgbClr val="EAF6FB"/>
      </a:lt2>
      <a:accent1>
        <a:srgbClr val="6DC7DD"/>
      </a:accent1>
      <a:accent2>
        <a:srgbClr val="E73458"/>
      </a:accent2>
      <a:accent3>
        <a:srgbClr val="95C11F"/>
      </a:accent3>
      <a:accent4>
        <a:srgbClr val="96368B"/>
      </a:accent4>
      <a:accent5>
        <a:srgbClr val="00B3BB"/>
      </a:accent5>
      <a:accent6>
        <a:srgbClr val="F39325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rvier template - Global Operations GMMA" id="{FF62072B-79F2-0247-8E18-281AF3B36929}" vid="{08873F27-148C-DF45-A957-5F837D260609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9</TotalTime>
  <Words>91</Words>
  <Application>Microsoft Office PowerPoint</Application>
  <PresentationFormat>Grand écran</PresentationFormat>
  <Paragraphs>1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12" baseType="lpstr">
      <vt:lpstr>Arial</vt:lpstr>
      <vt:lpstr>Barlow</vt:lpstr>
      <vt:lpstr>Calibri</vt:lpstr>
      <vt:lpstr>Courier New</vt:lpstr>
      <vt:lpstr>Helvetica</vt:lpstr>
      <vt:lpstr>Helvetica </vt:lpstr>
      <vt:lpstr>Open Sans</vt:lpstr>
      <vt:lpstr>Roboto</vt:lpstr>
      <vt:lpstr>modèle-template_présentation_PPT_style guide_charte graphique_09_2018</vt:lpstr>
      <vt:lpstr>powerpoint-masque</vt:lpstr>
      <vt:lpstr>think-cell Slide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POINT PRODUIT</dc:title>
  <dc:creator>TOUJRI Soukaina MOROCCO 1</dc:creator>
  <cp:lastModifiedBy>Samir GRABOU</cp:lastModifiedBy>
  <cp:revision>49</cp:revision>
  <dcterms:created xsi:type="dcterms:W3CDTF">2020-12-07T15:44:52Z</dcterms:created>
  <dcterms:modified xsi:type="dcterms:W3CDTF">2020-12-20T21:57:27Z</dcterms:modified>
</cp:coreProperties>
</file>